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40.xml" ContentType="application/vnd.openxmlformats-officedocument.drawingml.chart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chart45.xml" ContentType="application/vnd.openxmlformats-officedocument.drawingml.chart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charts/chart46.xml" ContentType="application/vnd.openxmlformats-officedocument.drawingml.chart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49.xml" ContentType="application/vnd.openxmlformats-officedocument.drawingml.chart+xml"/>
  <Override PartName="/ppt/charts/chart50.xml" ContentType="application/vnd.openxmlformats-officedocument.drawingml.chart+xml"/>
  <Override PartName="/ppt/charts/chart51.xml" ContentType="application/vnd.openxmlformats-officedocument.drawingml.chart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52.xml" ContentType="application/vnd.openxmlformats-officedocument.drawingml.chart+xml"/>
  <Override PartName="/ppt/charts/chart53.xml" ContentType="application/vnd.openxmlformats-officedocument.drawingml.chart+xml"/>
  <Override PartName="/ppt/charts/chart54.xml" ContentType="application/vnd.openxmlformats-officedocument.drawingml.chart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55.xml" ContentType="application/vnd.openxmlformats-officedocument.drawingml.chart+xml"/>
  <Override PartName="/ppt/charts/chart56.xml" ContentType="application/vnd.openxmlformats-officedocument.drawingml.chart+xml"/>
  <Override PartName="/ppt/charts/chart57.xml" ContentType="application/vnd.openxmlformats-officedocument.drawingml.chart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58.xml" ContentType="application/vnd.openxmlformats-officedocument.drawingml.chart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61.xml" ContentType="application/vnd.openxmlformats-officedocument.drawingml.chart+xml"/>
  <Override PartName="/ppt/charts/chart62.xml" ContentType="application/vnd.openxmlformats-officedocument.drawingml.chart+xml"/>
  <Override PartName="/ppt/charts/chart63.xml" ContentType="application/vnd.openxmlformats-officedocument.drawingml.chart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64.xml" ContentType="application/vnd.openxmlformats-officedocument.drawingml.chart+xml"/>
  <Override PartName="/ppt/charts/chart65.xml" ContentType="application/vnd.openxmlformats-officedocument.drawingml.chart+xml"/>
  <Override PartName="/ppt/charts/chart66.xml" ContentType="application/vnd.openxmlformats-officedocument.drawingml.chart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chart69.xml" ContentType="application/vnd.openxmlformats-officedocument.drawingml.chart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70.xml" ContentType="application/vnd.openxmlformats-officedocument.drawingml.chart+xml"/>
  <Override PartName="/ppt/charts/chart71.xml" ContentType="application/vnd.openxmlformats-officedocument.drawingml.chart+xml"/>
  <Override PartName="/ppt/charts/chart72.xml" ContentType="application/vnd.openxmlformats-officedocument.drawingml.chart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73.xml" ContentType="application/vnd.openxmlformats-officedocument.drawingml.chart+xml"/>
  <Override PartName="/ppt/charts/chart74.xml" ContentType="application/vnd.openxmlformats-officedocument.drawingml.chart+xml"/>
  <Override PartName="/ppt/charts/chart75.xml" ContentType="application/vnd.openxmlformats-officedocument.drawingml.chart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76.xml" ContentType="application/vnd.openxmlformats-officedocument.drawingml.chart+xml"/>
  <Override PartName="/ppt/charts/chart77.xml" ContentType="application/vnd.openxmlformats-officedocument.drawingml.chart+xml"/>
  <Override PartName="/ppt/charts/chart78.xml" ContentType="application/vnd.openxmlformats-officedocument.drawingml.chart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charts/chart81.xml" ContentType="application/vnd.openxmlformats-officedocument.drawingml.chart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82.xml" ContentType="application/vnd.openxmlformats-officedocument.drawingml.chart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notesSlides/notesSlide29.xml" ContentType="application/vnd.openxmlformats-officedocument.presentationml.notesSlide+xml"/>
  <Override PartName="/ppt/charts/chart85.xml" ContentType="application/vnd.openxmlformats-officedocument.drawingml.chart+xml"/>
  <Override PartName="/ppt/charts/chart86.xml" ContentType="application/vnd.openxmlformats-officedocument.drawingml.chart+xml"/>
  <Override PartName="/ppt/charts/chart87.xml" ContentType="application/vnd.openxmlformats-officedocument.drawingml.chart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88.xml" ContentType="application/vnd.openxmlformats-officedocument.drawingml.chart+xml"/>
  <Override PartName="/ppt/charts/chart89.xml" ContentType="application/vnd.openxmlformats-officedocument.drawingml.chart+xml"/>
  <Override PartName="/ppt/charts/chart90.xml" ContentType="application/vnd.openxmlformats-officedocument.drawingml.chart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notesSlides/notesSlide31.xml" ContentType="application/vnd.openxmlformats-officedocument.presentationml.notesSlide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charts/chart93.xml" ContentType="application/vnd.openxmlformats-officedocument.drawingml.chart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notesSlides/notesSlide32.xml" ContentType="application/vnd.openxmlformats-officedocument.presentationml.notesSlide+xml"/>
  <Override PartName="/ppt/charts/chart94.xml" ContentType="application/vnd.openxmlformats-officedocument.drawingml.chart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notesSlides/notesSlide33.xml" ContentType="application/vnd.openxmlformats-officedocument.presentationml.notesSlide+xml"/>
  <Override PartName="/ppt/charts/chart97.xml" ContentType="application/vnd.openxmlformats-officedocument.drawingml.chart+xml"/>
  <Override PartName="/ppt/charts/chart98.xml" ContentType="application/vnd.openxmlformats-officedocument.drawingml.chart+xml"/>
  <Override PartName="/ppt/charts/chart99.xml" ContentType="application/vnd.openxmlformats-officedocument.drawingml.chart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notesSlides/notesSlide34.xml" ContentType="application/vnd.openxmlformats-officedocument.presentationml.notesSlide+xml"/>
  <Override PartName="/ppt/charts/chart100.xml" ContentType="application/vnd.openxmlformats-officedocument.drawingml.chart+xml"/>
  <Override PartName="/ppt/charts/chart101.xml" ContentType="application/vnd.openxmlformats-officedocument.drawingml.chart+xml"/>
  <Override PartName="/ppt/charts/chart102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260" r:id="rId2"/>
    <p:sldId id="294" r:id="rId3"/>
    <p:sldId id="263" r:id="rId4"/>
    <p:sldId id="293" r:id="rId5"/>
    <p:sldId id="258" r:id="rId6"/>
    <p:sldId id="295" r:id="rId7"/>
    <p:sldId id="264" r:id="rId8"/>
    <p:sldId id="296" r:id="rId9"/>
    <p:sldId id="259" r:id="rId10"/>
    <p:sldId id="266" r:id="rId11"/>
    <p:sldId id="265" r:id="rId12"/>
    <p:sldId id="267" r:id="rId13"/>
    <p:sldId id="269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79" r:id="rId23"/>
    <p:sldId id="297" r:id="rId24"/>
    <p:sldId id="302" r:id="rId25"/>
    <p:sldId id="270" r:id="rId26"/>
    <p:sldId id="281" r:id="rId27"/>
    <p:sldId id="282" r:id="rId28"/>
    <p:sldId id="284" r:id="rId29"/>
    <p:sldId id="285" r:id="rId30"/>
    <p:sldId id="286" r:id="rId31"/>
    <p:sldId id="288" r:id="rId32"/>
    <p:sldId id="290" r:id="rId33"/>
    <p:sldId id="292" r:id="rId34"/>
    <p:sldId id="291" r:id="rId35"/>
    <p:sldId id="298" r:id="rId36"/>
    <p:sldId id="299" r:id="rId37"/>
    <p:sldId id="300" r:id="rId38"/>
    <p:sldId id="301" r:id="rId39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  <a:srgbClr val="C5E0B4"/>
    <a:srgbClr val="DC3102"/>
    <a:srgbClr val="C00000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B2768D1-DFDD-45FF-849C-23AD8ECAB483}" v="35471" dt="2024-05-09T19:33:28.1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6" autoAdjust="0"/>
    <p:restoredTop sz="95575" autoAdjust="0"/>
  </p:normalViewPr>
  <p:slideViewPr>
    <p:cSldViewPr snapToGrid="0">
      <p:cViewPr varScale="1">
        <p:scale>
          <a:sx n="95" d="100"/>
          <a:sy n="95" d="100"/>
        </p:scale>
        <p:origin x="38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microsoft.com/office/2016/11/relationships/changesInfo" Target="changesInfos/changesInfo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48" Type="http://schemas.microsoft.com/office/2015/10/relationships/revisionInfo" Target="revisionInfo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elle Brehm" userId="a518f54c-6985-42c0-8041-2bb16a414839" providerId="ADAL" clId="{9B2768D1-DFDD-45FF-849C-23AD8ECAB483}"/>
    <pc:docChg chg="undo custSel addSld delSld modSld replTag">
      <pc:chgData name="Joelle Brehm" userId="a518f54c-6985-42c0-8041-2bb16a414839" providerId="ADAL" clId="{9B2768D1-DFDD-45FF-849C-23AD8ECAB483}" dt="2024-05-09T19:33:28.124" v="66240"/>
      <pc:docMkLst>
        <pc:docMk/>
      </pc:docMkLst>
      <pc:sldChg chg="addSp delSp modSp mod">
        <pc:chgData name="Joelle Brehm" userId="a518f54c-6985-42c0-8041-2bb16a414839" providerId="ADAL" clId="{9B2768D1-DFDD-45FF-849C-23AD8ECAB483}" dt="2024-05-09T19:29:20.536" v="65488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9B2768D1-DFDD-45FF-849C-23AD8ECAB483}" dt="2024-05-08T19:00:29.472" v="63962" actId="478"/>
          <ac:spMkLst>
            <pc:docMk/>
            <pc:sldMk cId="3839614074" sldId="258"/>
            <ac:spMk id="9" creationId="{533B465A-87B2-422B-A7D4-954EFA63A4AC}"/>
          </ac:spMkLst>
        </pc:spChg>
        <pc:spChg chg="mod">
          <ac:chgData name="Joelle Brehm" userId="a518f54c-6985-42c0-8041-2bb16a414839" providerId="ADAL" clId="{9B2768D1-DFDD-45FF-849C-23AD8ECAB483}" dt="2024-05-08T19:10:31.589" v="64359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9B2768D1-DFDD-45FF-849C-23AD8ECAB483}" dt="2024-05-09T19:29:20.536" v="65488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9B2768D1-DFDD-45FF-849C-23AD8ECAB483}" dt="2024-05-08T16:29:52.235" v="47472"/>
        <pc:sldMkLst>
          <pc:docMk/>
          <pc:sldMk cId="3798164587" sldId="259"/>
        </pc:sldMkLst>
        <pc:spChg chg="mod ord">
          <ac:chgData name="Joelle Brehm" userId="a518f54c-6985-42c0-8041-2bb16a414839" providerId="ADAL" clId="{9B2768D1-DFDD-45FF-849C-23AD8ECAB483}" dt="2024-05-08T16:29:52.214" v="47466"/>
          <ac:spMkLst>
            <pc:docMk/>
            <pc:sldMk cId="3798164587" sldId="259"/>
            <ac:spMk id="2" creationId="{8EDF2A74-9587-4C1D-91CA-8D21248ED6E8}"/>
          </ac:spMkLst>
        </pc:spChg>
        <pc:spChg chg="add del mod modVis">
          <ac:chgData name="Joelle Brehm" userId="a518f54c-6985-42c0-8041-2bb16a414839" providerId="ADAL" clId="{9B2768D1-DFDD-45FF-849C-23AD8ECAB483}" dt="2024-05-08T16:29:49.470" v="47264"/>
          <ac:spMkLst>
            <pc:docMk/>
            <pc:sldMk cId="3798164587" sldId="259"/>
            <ac:spMk id="3" creationId="{2D29C759-5BE0-122D-98E6-79B0F18C02C2}"/>
          </ac:spMkLst>
        </pc:spChg>
        <pc:spChg chg="mod ord">
          <ac:chgData name="Joelle Brehm" userId="a518f54c-6985-42c0-8041-2bb16a414839" providerId="ADAL" clId="{9B2768D1-DFDD-45FF-849C-23AD8ECAB483}" dt="2024-05-08T16:29:52.191" v="47381"/>
          <ac:spMkLst>
            <pc:docMk/>
            <pc:sldMk cId="3798164587" sldId="259"/>
            <ac:spMk id="6" creationId="{B47CE71D-7819-4857-B121-737A3BD39B4D}"/>
          </ac:spMkLst>
        </pc:spChg>
        <pc:spChg chg="add del mod">
          <ac:chgData name="Joelle Brehm" userId="a518f54c-6985-42c0-8041-2bb16a414839" providerId="ADAL" clId="{9B2768D1-DFDD-45FF-849C-23AD8ECAB483}" dt="2024-05-07T21:21:43.866" v="11639" actId="478"/>
          <ac:spMkLst>
            <pc:docMk/>
            <pc:sldMk cId="3798164587" sldId="259"/>
            <ac:spMk id="8" creationId="{D440F9F9-690E-9576-FF20-EFDFDECBFC55}"/>
          </ac:spMkLst>
        </pc:spChg>
        <pc:spChg chg="add del mod modVis">
          <ac:chgData name="Joelle Brehm" userId="a518f54c-6985-42c0-8041-2bb16a414839" providerId="ADAL" clId="{9B2768D1-DFDD-45FF-849C-23AD8ECAB483}" dt="2024-05-07T21:21:50.906" v="11878"/>
          <ac:spMkLst>
            <pc:docMk/>
            <pc:sldMk cId="3798164587" sldId="259"/>
            <ac:spMk id="9" creationId="{9CE0CE0B-8F40-D9E8-CD32-2DEA95D9C630}"/>
          </ac:spMkLst>
        </pc:spChg>
        <pc:spChg chg="add del mod modVis">
          <ac:chgData name="Joelle Brehm" userId="a518f54c-6985-42c0-8041-2bb16a414839" providerId="ADAL" clId="{9B2768D1-DFDD-45FF-849C-23AD8ECAB483}" dt="2024-05-08T16:29:52.214" v="47470"/>
          <ac:spMkLst>
            <pc:docMk/>
            <pc:sldMk cId="3798164587" sldId="259"/>
            <ac:spMk id="9" creationId="{9F400040-5120-4174-5601-1BF85934EB9D}"/>
          </ac:spMkLst>
        </pc:spChg>
        <pc:spChg chg="mod">
          <ac:chgData name="Joelle Brehm" userId="a518f54c-6985-42c0-8041-2bb16a414839" providerId="ADAL" clId="{9B2768D1-DFDD-45FF-849C-23AD8ECAB483}" dt="2024-05-08T16:29:52.198" v="47392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29:52.198" v="47388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29:52.198" v="47389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29:52.198" v="47386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29:52.198" v="47387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29:52.198" v="47390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29:52.198" v="47391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29:52.198" v="47393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29:52.198" v="47394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29:52.198" v="47395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29:52.198" v="47396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29:52.198" v="47397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29:52.198" v="47399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29:52.198" v="47400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29:52.198" v="47402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29:52.198" v="47401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29:52.198" v="47404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29:52.198" v="47405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29:52.198" v="47403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29:52.198" v="47407"/>
          <ac:spMkLst>
            <pc:docMk/>
            <pc:sldMk cId="3798164587" sldId="259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7T21:22:28.596" v="12204"/>
          <ac:spMkLst>
            <pc:docMk/>
            <pc:sldMk cId="3798164587" sldId="259"/>
            <ac:spMk id="33" creationId="{14564F57-B740-92F6-D602-00180BCE62A6}"/>
          </ac:spMkLst>
        </pc:spChg>
        <pc:spChg chg="mod">
          <ac:chgData name="Joelle Brehm" userId="a518f54c-6985-42c0-8041-2bb16a414839" providerId="ADAL" clId="{9B2768D1-DFDD-45FF-849C-23AD8ECAB483}" dt="2024-05-08T16:29:52.198" v="47420"/>
          <ac:spMkLst>
            <pc:docMk/>
            <pc:sldMk cId="3798164587" sldId="259"/>
            <ac:spMk id="35" creationId="{1ACE69F8-F1AC-EF80-230F-4DB2F50E9D36}"/>
          </ac:spMkLst>
        </pc:spChg>
        <pc:spChg chg="add mod replST">
          <ac:chgData name="Joelle Brehm" userId="a518f54c-6985-42c0-8041-2bb16a414839" providerId="ADAL" clId="{9B2768D1-DFDD-45FF-849C-23AD8ECAB483}" dt="2024-05-08T16:29:52.214" v="47442"/>
          <ac:spMkLst>
            <pc:docMk/>
            <pc:sldMk cId="3798164587" sldId="259"/>
            <ac:spMk id="36" creationId="{DB341A37-AF80-1B81-094A-228262E1C609}"/>
          </ac:spMkLst>
        </pc:spChg>
        <pc:spChg chg="mod">
          <ac:chgData name="Joelle Brehm" userId="a518f54c-6985-42c0-8041-2bb16a414839" providerId="ADAL" clId="{9B2768D1-DFDD-45FF-849C-23AD8ECAB483}" dt="2024-05-08T16:29:52.198" v="47424"/>
          <ac:spMkLst>
            <pc:docMk/>
            <pc:sldMk cId="3798164587" sldId="259"/>
            <ac:spMk id="37" creationId="{E3EAC238-37CE-FE97-F754-1E4E04FB6278}"/>
          </ac:spMkLst>
        </pc:spChg>
        <pc:spChg chg="add mod replST">
          <ac:chgData name="Joelle Brehm" userId="a518f54c-6985-42c0-8041-2bb16a414839" providerId="ADAL" clId="{9B2768D1-DFDD-45FF-849C-23AD8ECAB483}" dt="2024-05-08T16:29:52.214" v="47441"/>
          <ac:spMkLst>
            <pc:docMk/>
            <pc:sldMk cId="3798164587" sldId="259"/>
            <ac:spMk id="38" creationId="{2A57A6B4-A47C-F48E-F4FB-B5045CD7D5D3}"/>
          </ac:spMkLst>
        </pc:spChg>
        <pc:spChg chg="mod">
          <ac:chgData name="Joelle Brehm" userId="a518f54c-6985-42c0-8041-2bb16a414839" providerId="ADAL" clId="{9B2768D1-DFDD-45FF-849C-23AD8ECAB483}" dt="2024-05-08T16:29:52.213" v="47429"/>
          <ac:spMkLst>
            <pc:docMk/>
            <pc:sldMk cId="3798164587" sldId="259"/>
            <ac:spMk id="39" creationId="{D4D13DFD-8B8D-47B0-DF09-93358F670D14}"/>
          </ac:spMkLst>
        </pc:spChg>
        <pc:spChg chg="add del mod modVis">
          <ac:chgData name="Joelle Brehm" userId="a518f54c-6985-42c0-8041-2bb16a414839" providerId="ADAL" clId="{9B2768D1-DFDD-45FF-849C-23AD8ECAB483}" dt="2024-05-07T21:22:35.924" v="12605"/>
          <ac:spMkLst>
            <pc:docMk/>
            <pc:sldMk cId="3798164587" sldId="259"/>
            <ac:spMk id="40" creationId="{6E36607D-29CB-45B1-D309-598F6C928D02}"/>
          </ac:spMkLst>
        </pc:spChg>
        <pc:spChg chg="mod">
          <ac:chgData name="Joelle Brehm" userId="a518f54c-6985-42c0-8041-2bb16a414839" providerId="ADAL" clId="{9B2768D1-DFDD-45FF-849C-23AD8ECAB483}" dt="2024-05-08T16:29:52.198" v="47422"/>
          <ac:spMkLst>
            <pc:docMk/>
            <pc:sldMk cId="3798164587" sldId="259"/>
            <ac:spMk id="41" creationId="{AAEA4991-6EDC-4585-53B3-43FCB8287F41}"/>
          </ac:spMkLst>
        </pc:spChg>
        <pc:spChg chg="mod">
          <ac:chgData name="Joelle Brehm" userId="a518f54c-6985-42c0-8041-2bb16a414839" providerId="ADAL" clId="{9B2768D1-DFDD-45FF-849C-23AD8ECAB483}" dt="2024-05-08T16:29:52.214" v="47439"/>
          <ac:spMkLst>
            <pc:docMk/>
            <pc:sldMk cId="3798164587" sldId="259"/>
            <ac:spMk id="42" creationId="{B1A4620F-C4D0-90F3-EA10-F65E2F656656}"/>
          </ac:spMkLst>
        </pc:spChg>
        <pc:spChg chg="add del mod modVis">
          <ac:chgData name="Joelle Brehm" userId="a518f54c-6985-42c0-8041-2bb16a414839" providerId="ADAL" clId="{9B2768D1-DFDD-45FF-849C-23AD8ECAB483}" dt="2024-05-07T21:22:38.067" v="12818"/>
          <ac:spMkLst>
            <pc:docMk/>
            <pc:sldMk cId="3798164587" sldId="259"/>
            <ac:spMk id="44" creationId="{3EC00A8C-28FA-B9D2-BFC1-C2ADBD3BE281}"/>
          </ac:spMkLst>
        </pc:spChg>
        <pc:spChg chg="mod">
          <ac:chgData name="Joelle Brehm" userId="a518f54c-6985-42c0-8041-2bb16a414839" providerId="ADAL" clId="{9B2768D1-DFDD-45FF-849C-23AD8ECAB483}" dt="2024-05-08T16:29:52.214" v="47435"/>
          <ac:spMkLst>
            <pc:docMk/>
            <pc:sldMk cId="3798164587" sldId="259"/>
            <ac:spMk id="46" creationId="{E6B65AFA-ED65-790E-FD9D-900AB5F10F73}"/>
          </ac:spMkLst>
        </pc:spChg>
        <pc:spChg chg="mod">
          <ac:chgData name="Joelle Brehm" userId="a518f54c-6985-42c0-8041-2bb16a414839" providerId="ADAL" clId="{9B2768D1-DFDD-45FF-849C-23AD8ECAB483}" dt="2024-05-08T16:29:52.198" v="47416"/>
          <ac:spMkLst>
            <pc:docMk/>
            <pc:sldMk cId="3798164587" sldId="259"/>
            <ac:spMk id="47" creationId="{0420A3C3-1A1B-41EB-AFAA-911B5CDBCB49}"/>
          </ac:spMkLst>
        </pc:spChg>
        <pc:spChg chg="add del mod modVis">
          <ac:chgData name="Joelle Brehm" userId="a518f54c-6985-42c0-8041-2bb16a414839" providerId="ADAL" clId="{9B2768D1-DFDD-45FF-849C-23AD8ECAB483}" dt="2024-05-07T21:22:42.493" v="13031"/>
          <ac:spMkLst>
            <pc:docMk/>
            <pc:sldMk cId="3798164587" sldId="259"/>
            <ac:spMk id="48" creationId="{0AED1C78-EC52-83EB-DCCE-6711B498A8AD}"/>
          </ac:spMkLst>
        </pc:spChg>
        <pc:spChg chg="del mod">
          <ac:chgData name="Joelle Brehm" userId="a518f54c-6985-42c0-8041-2bb16a414839" providerId="ADAL" clId="{9B2768D1-DFDD-45FF-849C-23AD8ECAB483}" dt="2024-05-07T21:22:47.738" v="13034"/>
          <ac:spMkLst>
            <pc:docMk/>
            <pc:sldMk cId="3798164587" sldId="259"/>
            <ac:spMk id="49" creationId="{4EF4B9C9-590D-7FAC-314A-6E7170817158}"/>
          </ac:spMkLst>
        </pc:spChg>
        <pc:spChg chg="add del mod modVis">
          <ac:chgData name="Joelle Brehm" userId="a518f54c-6985-42c0-8041-2bb16a414839" providerId="ADAL" clId="{9B2768D1-DFDD-45FF-849C-23AD8ECAB483}" dt="2024-05-07T21:22:47.895" v="13282"/>
          <ac:spMkLst>
            <pc:docMk/>
            <pc:sldMk cId="3798164587" sldId="259"/>
            <ac:spMk id="51" creationId="{94B8C6C3-DBD6-F048-9215-F195277BF6DA}"/>
          </ac:spMkLst>
        </pc:spChg>
        <pc:spChg chg="mod">
          <ac:chgData name="Joelle Brehm" userId="a518f54c-6985-42c0-8041-2bb16a414839" providerId="ADAL" clId="{9B2768D1-DFDD-45FF-849C-23AD8ECAB483}" dt="2024-05-08T16:29:52.198" v="47426"/>
          <ac:spMkLst>
            <pc:docMk/>
            <pc:sldMk cId="3798164587" sldId="259"/>
            <ac:spMk id="52" creationId="{D8EE27B5-3F46-02AD-6192-2B83C625A7E3}"/>
          </ac:spMkLst>
        </pc:spChg>
        <pc:spChg chg="mod">
          <ac:chgData name="Joelle Brehm" userId="a518f54c-6985-42c0-8041-2bb16a414839" providerId="ADAL" clId="{9B2768D1-DFDD-45FF-849C-23AD8ECAB483}" dt="2024-05-08T16:29:52.198" v="47427"/>
          <ac:spMkLst>
            <pc:docMk/>
            <pc:sldMk cId="3798164587" sldId="259"/>
            <ac:spMk id="55" creationId="{02AD7D81-8D13-B15E-2594-BD31882D675C}"/>
          </ac:spMkLst>
        </pc:spChg>
        <pc:spChg chg="mod">
          <ac:chgData name="Joelle Brehm" userId="a518f54c-6985-42c0-8041-2bb16a414839" providerId="ADAL" clId="{9B2768D1-DFDD-45FF-849C-23AD8ECAB483}" dt="2024-05-08T16:29:52.214" v="47433"/>
          <ac:spMkLst>
            <pc:docMk/>
            <pc:sldMk cId="3798164587" sldId="259"/>
            <ac:spMk id="57" creationId="{9FDD95CB-347D-31C2-8C7C-8885536C3772}"/>
          </ac:spMkLst>
        </pc:spChg>
        <pc:spChg chg="mod">
          <ac:chgData name="Joelle Brehm" userId="a518f54c-6985-42c0-8041-2bb16a414839" providerId="ADAL" clId="{9B2768D1-DFDD-45FF-849C-23AD8ECAB483}" dt="2024-05-08T16:29:52.214" v="47437"/>
          <ac:spMkLst>
            <pc:docMk/>
            <pc:sldMk cId="3798164587" sldId="259"/>
            <ac:spMk id="58" creationId="{0DD75451-1FE2-C8B1-4E2C-E9CB46E6123B}"/>
          </ac:spMkLst>
        </pc:spChg>
        <pc:spChg chg="mod">
          <ac:chgData name="Joelle Brehm" userId="a518f54c-6985-42c0-8041-2bb16a414839" providerId="ADAL" clId="{9B2768D1-DFDD-45FF-849C-23AD8ECAB483}" dt="2024-05-08T16:29:52.214" v="47431"/>
          <ac:spMkLst>
            <pc:docMk/>
            <pc:sldMk cId="3798164587" sldId="259"/>
            <ac:spMk id="59" creationId="{FC0B19CE-D222-373E-7B18-A491724F2CFE}"/>
          </ac:spMkLst>
        </pc:spChg>
        <pc:spChg chg="mod">
          <ac:chgData name="Joelle Brehm" userId="a518f54c-6985-42c0-8041-2bb16a414839" providerId="ADAL" clId="{9B2768D1-DFDD-45FF-849C-23AD8ECAB483}" dt="2024-05-08T16:29:52.198" v="47410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9B2768D1-DFDD-45FF-849C-23AD8ECAB483}" dt="2024-05-08T16:29:52.198" v="47412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9B2768D1-DFDD-45FF-849C-23AD8ECAB483}" dt="2024-05-08T16:29:52.198" v="47414"/>
          <ac:spMkLst>
            <pc:docMk/>
            <pc:sldMk cId="3798164587" sldId="259"/>
            <ac:spMk id="64" creationId="{28987B1A-D33C-4BEB-B42D-5DE09D6199E9}"/>
          </ac:spMkLst>
        </pc:spChg>
        <pc:spChg chg="mod">
          <ac:chgData name="Joelle Brehm" userId="a518f54c-6985-42c0-8041-2bb16a414839" providerId="ADAL" clId="{9B2768D1-DFDD-45FF-849C-23AD8ECAB483}" dt="2024-05-08T16:29:52.198" v="47419"/>
          <ac:spMkLst>
            <pc:docMk/>
            <pc:sldMk cId="3798164587" sldId="259"/>
            <ac:spMk id="6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11"/>
          <ac:spMkLst>
            <pc:docMk/>
            <pc:sldMk cId="3798164587" sldId="259"/>
            <ac:spMk id="6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13"/>
          <ac:spMkLst>
            <pc:docMk/>
            <pc:sldMk cId="3798164587" sldId="259"/>
            <ac:spMk id="7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15"/>
          <ac:spMkLst>
            <pc:docMk/>
            <pc:sldMk cId="3798164587" sldId="259"/>
            <ac:spMk id="7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17"/>
          <ac:spMkLst>
            <pc:docMk/>
            <pc:sldMk cId="3798164587" sldId="259"/>
            <ac:spMk id="73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9:52.214" v="47445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29:52.214" v="47447"/>
          <ac:spMkLst>
            <pc:docMk/>
            <pc:sldMk cId="3798164587" sldId="259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29:52.198" v="47418"/>
          <ac:spMkLst>
            <pc:docMk/>
            <pc:sldMk cId="3798164587" sldId="259"/>
            <ac:spMk id="91" creationId="{7CAA3B95-4C78-4122-BECA-B5FB0F3F3764}"/>
          </ac:spMkLst>
        </pc:spChg>
        <pc:spChg chg="del mod">
          <ac:chgData name="Joelle Brehm" userId="a518f54c-6985-42c0-8041-2bb16a414839" providerId="ADAL" clId="{9B2768D1-DFDD-45FF-849C-23AD8ECAB483}" dt="2024-05-07T21:22:47.738" v="13035"/>
          <ac:spMkLst>
            <pc:docMk/>
            <pc:sldMk cId="3798164587" sldId="259"/>
            <ac:spMk id="9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21"/>
          <ac:spMkLst>
            <pc:docMk/>
            <pc:sldMk cId="3798164587" sldId="259"/>
            <ac:spMk id="9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23"/>
          <ac:spMkLst>
            <pc:docMk/>
            <pc:sldMk cId="3798164587" sldId="259"/>
            <ac:spMk id="98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25"/>
          <ac:spMkLst>
            <pc:docMk/>
            <pc:sldMk cId="3798164587" sldId="259"/>
            <ac:spMk id="99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9:52.214" v="47449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9B2768D1-DFDD-45FF-849C-23AD8ECAB483}" dt="2024-05-08T16:29:52.214" v="47443"/>
          <ac:spMkLst>
            <pc:docMk/>
            <pc:sldMk cId="3798164587" sldId="259"/>
            <ac:spMk id="10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198" v="47428"/>
          <ac:spMkLst>
            <pc:docMk/>
            <pc:sldMk cId="3798164587" sldId="259"/>
            <ac:spMk id="10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3" v="47430"/>
          <ac:spMkLst>
            <pc:docMk/>
            <pc:sldMk cId="3798164587" sldId="259"/>
            <ac:spMk id="10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32"/>
          <ac:spMkLst>
            <pc:docMk/>
            <pc:sldMk cId="3798164587" sldId="259"/>
            <ac:spMk id="10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34"/>
          <ac:spMkLst>
            <pc:docMk/>
            <pc:sldMk cId="3798164587" sldId="259"/>
            <ac:spMk id="10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36"/>
          <ac:spMkLst>
            <pc:docMk/>
            <pc:sldMk cId="3798164587" sldId="259"/>
            <ac:spMk id="106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9:52.214" v="47451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29:52.214" v="47453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29:52.214" v="47455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29:52.214" v="47438"/>
          <ac:spMkLst>
            <pc:docMk/>
            <pc:sldMk cId="3798164587" sldId="259"/>
            <ac:spMk id="11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40"/>
          <ac:spMkLst>
            <pc:docMk/>
            <pc:sldMk cId="3798164587" sldId="259"/>
            <ac:spMk id="11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58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59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60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52.214" v="47461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29:52.214" v="47462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29:52.235" v="47472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9:52.152" v="47369"/>
          <ac:graphicFrameMkLst>
            <pc:docMk/>
            <pc:sldMk cId="3798164587" sldId="259"/>
            <ac:graphicFrameMk id="8" creationId="{2F280CB1-ACA6-30A7-40E6-5C6E9BDF380B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9:52.198" v="47385"/>
          <ac:graphicFrameMkLst>
            <pc:docMk/>
            <pc:sldMk cId="3798164587" sldId="259"/>
            <ac:graphicFrameMk id="10" creationId="{E3FFAAE3-4831-09D9-5919-56072C1B60B1}"/>
          </ac:graphicFrameMkLst>
        </pc:graphicFrameChg>
        <pc:graphicFrameChg chg="del">
          <ac:chgData name="Joelle Brehm" userId="a518f54c-6985-42c0-8041-2bb16a414839" providerId="ADAL" clId="{9B2768D1-DFDD-45FF-849C-23AD8ECAB483}" dt="2024-05-07T21:21:50.853" v="11773"/>
          <ac:graphicFrameMkLst>
            <pc:docMk/>
            <pc:sldMk cId="3798164587" sldId="259"/>
            <ac:graphicFrameMk id="31" creationId="{9193F6EC-3564-B64F-36D0-EF7715351DBE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9:52.198" v="47409"/>
          <ac:graphicFrameMkLst>
            <pc:docMk/>
            <pc:sldMk cId="3798164587" sldId="259"/>
            <ac:graphicFrameMk id="31" creationId="{DEDE4E3C-AAB6-EDBF-C2C3-1C27961CA41B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9:52.214" v="47457"/>
          <ac:graphicFrameMkLst>
            <pc:docMk/>
            <pc:sldMk cId="3798164587" sldId="259"/>
            <ac:graphicFrameMk id="34" creationId="{6488E171-08F8-8600-F42D-C4DFB438D63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1:22:37.992" v="12715"/>
          <ac:graphicFrameMkLst>
            <pc:docMk/>
            <pc:sldMk cId="3798164587" sldId="259"/>
            <ac:graphicFrameMk id="43" creationId="{CF3EC36F-10EC-E31E-CFBD-72AE275FCB1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1:22:42.443" v="12928"/>
          <ac:graphicFrameMkLst>
            <pc:docMk/>
            <pc:sldMk cId="3798164587" sldId="259"/>
            <ac:graphicFrameMk id="45" creationId="{0CA83BC6-A65D-3BA7-CF4E-13970F63255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1:22:47.853" v="13181"/>
          <ac:graphicFrameMkLst>
            <pc:docMk/>
            <pc:sldMk cId="3798164587" sldId="259"/>
            <ac:graphicFrameMk id="50" creationId="{785D205C-F3A2-7A37-D408-9F4F2322CD9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9:49.402" v="47163"/>
          <ac:graphicFrameMkLst>
            <pc:docMk/>
            <pc:sldMk cId="3798164587" sldId="259"/>
            <ac:graphicFrameMk id="53" creationId="{6D6E7A1B-7556-6821-7354-A666DC2C1B3E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1:22:28.521" v="12103"/>
          <ac:graphicFrameMkLst>
            <pc:docMk/>
            <pc:sldMk cId="3798164587" sldId="259"/>
            <ac:graphicFrameMk id="90" creationId="{AA41345C-40AF-57C3-9A14-0C14360FAF8C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1:22:35.853" v="12502"/>
          <ac:graphicFrameMkLst>
            <pc:docMk/>
            <pc:sldMk cId="3798164587" sldId="259"/>
            <ac:graphicFrameMk id="115" creationId="{35FA1063-9567-38D5-5F64-1C6D99EE6D90}"/>
          </ac:graphicFrameMkLst>
        </pc:graphicFrameChg>
        <pc:picChg chg="del mod ord">
          <ac:chgData name="Joelle Brehm" userId="a518f54c-6985-42c0-8041-2bb16a414839" providerId="ADAL" clId="{9B2768D1-DFDD-45FF-849C-23AD8ECAB483}" dt="2024-05-07T21:22:13.865" v="11983" actId="478"/>
          <ac:picMkLst>
            <pc:docMk/>
            <pc:sldMk cId="3798164587" sldId="259"/>
            <ac:picMk id="3" creationId="{738F2EFE-3FCB-A772-7AFE-E3358881A153}"/>
          </ac:picMkLst>
        </pc:picChg>
        <pc:picChg chg="mod ord">
          <ac:chgData name="Joelle Brehm" userId="a518f54c-6985-42c0-8041-2bb16a414839" providerId="ADAL" clId="{9B2768D1-DFDD-45FF-849C-23AD8ECAB483}" dt="2024-05-08T16:29:52.191" v="47379"/>
          <ac:picMkLst>
            <pc:docMk/>
            <pc:sldMk cId="3798164587" sldId="259"/>
            <ac:picMk id="5" creationId="{8F4A2CF4-0CF3-47E4-B23B-AC49D50CFFA1}"/>
          </ac:picMkLst>
        </pc:picChg>
        <pc:picChg chg="add mod ord">
          <ac:chgData name="Joelle Brehm" userId="a518f54c-6985-42c0-8041-2bb16a414839" providerId="ADAL" clId="{9B2768D1-DFDD-45FF-849C-23AD8ECAB483}" dt="2024-05-08T16:29:52.191" v="47377"/>
          <ac:picMkLst>
            <pc:docMk/>
            <pc:sldMk cId="3798164587" sldId="259"/>
            <ac:picMk id="32" creationId="{DA403D48-FEFF-89A4-CB02-86B5ABECB9C8}"/>
          </ac:picMkLst>
        </pc:picChg>
        <pc:picChg chg="mod ord">
          <ac:chgData name="Joelle Brehm" userId="a518f54c-6985-42c0-8041-2bb16a414839" providerId="ADAL" clId="{9B2768D1-DFDD-45FF-849C-23AD8ECAB483}" dt="2024-05-08T16:29:52.214" v="47464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29:52.191" v="47383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9B2768D1-DFDD-45FF-849C-23AD8ECAB483}" dt="2024-05-07T15:57:28.004" v="6" actId="20577"/>
        <pc:sldMkLst>
          <pc:docMk/>
          <pc:sldMk cId="4090961396" sldId="260"/>
        </pc:sldMkLst>
        <pc:spChg chg="mod">
          <ac:chgData name="Joelle Brehm" userId="a518f54c-6985-42c0-8041-2bb16a414839" providerId="ADAL" clId="{9B2768D1-DFDD-45FF-849C-23AD8ECAB483}" dt="2024-05-07T15:57:28.004" v="6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9B2768D1-DFDD-45FF-849C-23AD8ECAB483}" dt="2024-05-07T16:11:31.417" v="721" actId="1036"/>
        <pc:sldMkLst>
          <pc:docMk/>
          <pc:sldMk cId="3980989934" sldId="263"/>
        </pc:sldMkLst>
        <pc:spChg chg="mod ord">
          <ac:chgData name="Joelle Brehm" userId="a518f54c-6985-42c0-8041-2bb16a414839" providerId="ADAL" clId="{9B2768D1-DFDD-45FF-849C-23AD8ECAB483}" dt="2024-05-07T16:09:06.830" v="398"/>
          <ac:spMkLst>
            <pc:docMk/>
            <pc:sldMk cId="3980989934" sldId="263"/>
            <ac:spMk id="2" creationId="{75C72E1E-661F-4997-A353-2798333F5BE3}"/>
          </ac:spMkLst>
        </pc:spChg>
        <pc:spChg chg="mod ord">
          <ac:chgData name="Joelle Brehm" userId="a518f54c-6985-42c0-8041-2bb16a414839" providerId="ADAL" clId="{9B2768D1-DFDD-45FF-849C-23AD8ECAB483}" dt="2024-05-07T16:09:06.830" v="373"/>
          <ac:spMkLst>
            <pc:docMk/>
            <pc:sldMk cId="3980989934" sldId="263"/>
            <ac:spMk id="5" creationId="{7B827F87-784E-46DA-B4AC-26C5F16C015D}"/>
          </ac:spMkLst>
        </pc:spChg>
        <pc:spChg chg="add del mod ord">
          <ac:chgData name="Joelle Brehm" userId="a518f54c-6985-42c0-8041-2bb16a414839" providerId="ADAL" clId="{9B2768D1-DFDD-45FF-849C-23AD8ECAB483}" dt="2024-05-07T15:59:32.092" v="98" actId="478"/>
          <ac:spMkLst>
            <pc:docMk/>
            <pc:sldMk cId="3980989934" sldId="263"/>
            <ac:spMk id="6" creationId="{2D9384F8-330C-84B8-895B-246EBC385C4A}"/>
          </ac:spMkLst>
        </pc:spChg>
        <pc:spChg chg="mod">
          <ac:chgData name="Joelle Brehm" userId="a518f54c-6985-42c0-8041-2bb16a414839" providerId="ADAL" clId="{9B2768D1-DFDD-45FF-849C-23AD8ECAB483}" dt="2024-05-07T16:09:06.830" v="382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9B2768D1-DFDD-45FF-849C-23AD8ECAB483}" dt="2024-05-07T16:09:06.830" v="378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9B2768D1-DFDD-45FF-849C-23AD8ECAB483}" dt="2024-05-07T16:09:06.830" v="376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9B2768D1-DFDD-45FF-849C-23AD8ECAB483}" dt="2024-05-07T16:09:06.830" v="377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9B2768D1-DFDD-45FF-849C-23AD8ECAB483}" dt="2024-05-07T16:09:06.830" v="379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9B2768D1-DFDD-45FF-849C-23AD8ECAB483}" dt="2024-05-07T16:09:06.830" v="385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9B2768D1-DFDD-45FF-849C-23AD8ECAB483}" dt="2024-05-07T16:09:06.830" v="380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9B2768D1-DFDD-45FF-849C-23AD8ECAB483}" dt="2024-05-07T16:09:06.830" v="383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9B2768D1-DFDD-45FF-849C-23AD8ECAB483}" dt="2024-05-07T16:09:06.830" v="381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9B2768D1-DFDD-45FF-849C-23AD8ECAB483}" dt="2024-05-07T16:09:06.830" v="384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9B2768D1-DFDD-45FF-849C-23AD8ECAB483}" dt="2024-05-07T16:09:06.830" v="386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9B2768D1-DFDD-45FF-849C-23AD8ECAB483}" dt="2024-05-07T16:09:06.830" v="387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9B2768D1-DFDD-45FF-849C-23AD8ECAB483}" dt="2024-05-07T16:09:06.830" v="389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9B2768D1-DFDD-45FF-849C-23AD8ECAB483}" dt="2024-05-07T16:09:06.830" v="391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9B2768D1-DFDD-45FF-849C-23AD8ECAB483}" dt="2024-05-07T16:08:46.997" v="348"/>
          <ac:spMkLst>
            <pc:docMk/>
            <pc:sldMk cId="3980989934" sldId="263"/>
            <ac:spMk id="22" creationId="{F0D09764-03B8-DB76-9449-6A38E4CDA270}"/>
          </ac:spMkLst>
        </pc:spChg>
        <pc:spChg chg="add mod">
          <ac:chgData name="Joelle Brehm" userId="a518f54c-6985-42c0-8041-2bb16a414839" providerId="ADAL" clId="{9B2768D1-DFDD-45FF-849C-23AD8ECAB483}" dt="2024-05-07T16:11:31.417" v="721" actId="1036"/>
          <ac:spMkLst>
            <pc:docMk/>
            <pc:sldMk cId="3980989934" sldId="263"/>
            <ac:spMk id="26" creationId="{65E2E38E-7332-94FB-F54F-68426F26E1F9}"/>
          </ac:spMkLst>
        </pc:spChg>
        <pc:spChg chg="del mod ord">
          <ac:chgData name="Joelle Brehm" userId="a518f54c-6985-42c0-8041-2bb16a414839" providerId="ADAL" clId="{9B2768D1-DFDD-45FF-849C-23AD8ECAB483}" dt="2024-05-07T16:11:28.214" v="712" actId="478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9B2768D1-DFDD-45FF-849C-23AD8ECAB483}" dt="2024-05-07T16:09:06.830" v="393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9B2768D1-DFDD-45FF-849C-23AD8ECAB483}" dt="2024-05-07T16:09:06.830" v="395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9B2768D1-DFDD-45FF-849C-23AD8ECAB483}" dt="2024-05-07T16:09:06.847" v="404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16:09:06.830" v="375"/>
          <ac:graphicFrameMkLst>
            <pc:docMk/>
            <pc:sldMk cId="3980989934" sldId="263"/>
            <ac:graphicFrameMk id="23" creationId="{424051C8-1484-8307-5AA2-62B823431010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16:08:46.954" v="305"/>
          <ac:graphicFrameMkLst>
            <pc:docMk/>
            <pc:sldMk cId="3980989934" sldId="263"/>
            <ac:graphicFrameMk id="27" creationId="{824C389B-492C-8A6F-059E-E77E5A47CC8E}"/>
          </ac:graphicFrameMkLst>
        </pc:graphicFrameChg>
        <pc:picChg chg="del mod ord">
          <ac:chgData name="Joelle Brehm" userId="a518f54c-6985-42c0-8041-2bb16a414839" providerId="ADAL" clId="{9B2768D1-DFDD-45FF-849C-23AD8ECAB483}" dt="2024-05-07T15:59:22.372" v="96" actId="478"/>
          <ac:picMkLst>
            <pc:docMk/>
            <pc:sldMk cId="3980989934" sldId="263"/>
            <ac:picMk id="3" creationId="{6CD50359-D725-519A-6924-EBBE5FAD6701}"/>
          </ac:picMkLst>
        </pc:picChg>
        <pc:picChg chg="add mod ord">
          <ac:chgData name="Joelle Brehm" userId="a518f54c-6985-42c0-8041-2bb16a414839" providerId="ADAL" clId="{9B2768D1-DFDD-45FF-849C-23AD8ECAB483}" dt="2024-05-07T16:09:06.830" v="369"/>
          <ac:picMkLst>
            <pc:docMk/>
            <pc:sldMk cId="3980989934" sldId="263"/>
            <ac:picMk id="7" creationId="{C079D8A1-0470-CDEB-B241-56DC16A77D46}"/>
          </ac:picMkLst>
        </pc:picChg>
        <pc:picChg chg="del mod ord">
          <ac:chgData name="Joelle Brehm" userId="a518f54c-6985-42c0-8041-2bb16a414839" providerId="ADAL" clId="{9B2768D1-DFDD-45FF-849C-23AD8ECAB483}" dt="2024-05-07T16:09:08.402" v="405" actId="478"/>
          <ac:picMkLst>
            <pc:docMk/>
            <pc:sldMk cId="3980989934" sldId="263"/>
            <ac:picMk id="24" creationId="{BE160122-8CAE-3078-1188-02CAA0D23245}"/>
          </ac:picMkLst>
        </pc:picChg>
        <pc:picChg chg="add mod ord">
          <ac:chgData name="Joelle Brehm" userId="a518f54c-6985-42c0-8041-2bb16a414839" providerId="ADAL" clId="{9B2768D1-DFDD-45FF-849C-23AD8ECAB483}" dt="2024-05-07T16:09:13.684" v="407" actId="1038"/>
          <ac:picMkLst>
            <pc:docMk/>
            <pc:sldMk cId="3980989934" sldId="263"/>
            <ac:picMk id="25" creationId="{AE22843E-7582-8826-B2C2-5F7CB384A2FA}"/>
          </ac:picMkLst>
        </pc:picChg>
        <pc:picChg chg="mod">
          <ac:chgData name="Joelle Brehm" userId="a518f54c-6985-42c0-8041-2bb16a414839" providerId="ADAL" clId="{9B2768D1-DFDD-45FF-849C-23AD8ECAB483}" dt="2024-05-07T16:09:06.830" v="396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9B2768D1-DFDD-45FF-849C-23AD8ECAB483}" dt="2024-05-07T20:47:48.612" v="6926"/>
        <pc:sldMkLst>
          <pc:docMk/>
          <pc:sldMk cId="1450446987" sldId="264"/>
        </pc:sldMkLst>
        <pc:spChg chg="add del mod">
          <ac:chgData name="Joelle Brehm" userId="a518f54c-6985-42c0-8041-2bb16a414839" providerId="ADAL" clId="{9B2768D1-DFDD-45FF-849C-23AD8ECAB483}" dt="2024-05-07T20:44:59.804" v="795" actId="478"/>
          <ac:spMkLst>
            <pc:docMk/>
            <pc:sldMk cId="1450446987" sldId="264"/>
            <ac:spMk id="2" creationId="{9D2AEE2B-4EF0-878F-45A4-AFA97115C3D7}"/>
          </ac:spMkLst>
        </pc:spChg>
        <pc:spChg chg="mod ord">
          <ac:chgData name="Joelle Brehm" userId="a518f54c-6985-42c0-8041-2bb16a414839" providerId="ADAL" clId="{9B2768D1-DFDD-45FF-849C-23AD8ECAB483}" dt="2024-05-07T20:47:48.550" v="6782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9B2768D1-DFDD-45FF-849C-23AD8ECAB483}" dt="2024-05-07T20:47:48.567" v="6848"/>
          <ac:spMkLst>
            <pc:docMk/>
            <pc:sldMk cId="1450446987" sldId="264"/>
            <ac:spMk id="6" creationId="{94041F47-DFC6-9E3F-6F9D-DC51588D95FB}"/>
          </ac:spMkLst>
        </pc:spChg>
        <pc:spChg chg="mod">
          <ac:chgData name="Joelle Brehm" userId="a518f54c-6985-42c0-8041-2bb16a414839" providerId="ADAL" clId="{9B2768D1-DFDD-45FF-849C-23AD8ECAB483}" dt="2024-05-07T20:47:48.567" v="6845"/>
          <ac:spMkLst>
            <pc:docMk/>
            <pc:sldMk cId="1450446987" sldId="264"/>
            <ac:spMk id="7" creationId="{DE57A07F-6746-6404-6ACC-31B88A8A6B3A}"/>
          </ac:spMkLst>
        </pc:spChg>
        <pc:spChg chg="mod">
          <ac:chgData name="Joelle Brehm" userId="a518f54c-6985-42c0-8041-2bb16a414839" providerId="ADAL" clId="{9B2768D1-DFDD-45FF-849C-23AD8ECAB483}" dt="2024-05-07T20:47:48.567" v="6847"/>
          <ac:spMkLst>
            <pc:docMk/>
            <pc:sldMk cId="1450446987" sldId="264"/>
            <ac:spMk id="8" creationId="{58B78C31-BB5C-89ED-34D3-7C1F9D71DB92}"/>
          </ac:spMkLst>
        </pc:spChg>
        <pc:spChg chg="mod">
          <ac:chgData name="Joelle Brehm" userId="a518f54c-6985-42c0-8041-2bb16a414839" providerId="ADAL" clId="{9B2768D1-DFDD-45FF-849C-23AD8ECAB483}" dt="2024-05-07T20:47:48.567" v="6846"/>
          <ac:spMkLst>
            <pc:docMk/>
            <pc:sldMk cId="1450446987" sldId="264"/>
            <ac:spMk id="11" creationId="{D34BD6AF-79B7-0201-A9E6-DEFEE9B380F3}"/>
          </ac:spMkLst>
        </pc:spChg>
        <pc:spChg chg="add del mod modVis">
          <ac:chgData name="Joelle Brehm" userId="a518f54c-6985-42c0-8041-2bb16a414839" providerId="ADAL" clId="{9B2768D1-DFDD-45FF-849C-23AD8ECAB483}" dt="2024-05-07T20:45:14.621" v="980"/>
          <ac:spMkLst>
            <pc:docMk/>
            <pc:sldMk cId="1450446987" sldId="264"/>
            <ac:spMk id="12" creationId="{6A46B56D-9387-271B-9136-3B2185666B09}"/>
          </ac:spMkLst>
        </pc:spChg>
        <pc:spChg chg="mod">
          <ac:chgData name="Joelle Brehm" userId="a518f54c-6985-42c0-8041-2bb16a414839" providerId="ADAL" clId="{9B2768D1-DFDD-45FF-849C-23AD8ECAB483}" dt="2024-05-07T20:47:48.567" v="6849"/>
          <ac:spMkLst>
            <pc:docMk/>
            <pc:sldMk cId="1450446987" sldId="264"/>
            <ac:spMk id="13" creationId="{59E51F57-4F87-30DB-F9BB-D534DA6D3887}"/>
          </ac:spMkLst>
        </pc:spChg>
        <pc:spChg chg="add del mod modVis">
          <ac:chgData name="Joelle Brehm" userId="a518f54c-6985-42c0-8041-2bb16a414839" providerId="ADAL" clId="{9B2768D1-DFDD-45FF-849C-23AD8ECAB483}" dt="2024-05-07T20:45:39.473" v="1299"/>
          <ac:spMkLst>
            <pc:docMk/>
            <pc:sldMk cId="1450446987" sldId="264"/>
            <ac:spMk id="14" creationId="{237C9787-4880-20BF-8098-4683D6CA9611}"/>
          </ac:spMkLst>
        </pc:spChg>
        <pc:spChg chg="mod">
          <ac:chgData name="Joelle Brehm" userId="a518f54c-6985-42c0-8041-2bb16a414839" providerId="ADAL" clId="{9B2768D1-DFDD-45FF-849C-23AD8ECAB483}" dt="2024-05-07T20:47:48.567" v="6858"/>
          <ac:spMkLst>
            <pc:docMk/>
            <pc:sldMk cId="1450446987" sldId="264"/>
            <ac:spMk id="15" creationId="{78323779-3C77-06EC-7E74-E6B35BABC750}"/>
          </ac:spMkLst>
        </pc:spChg>
        <pc:spChg chg="mod ord">
          <ac:chgData name="Joelle Brehm" userId="a518f54c-6985-42c0-8041-2bb16a414839" providerId="ADAL" clId="{9B2768D1-DFDD-45FF-849C-23AD8ECAB483}" dt="2024-05-07T20:47:48.583" v="6889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9B2768D1-DFDD-45FF-849C-23AD8ECAB483}" dt="2024-05-07T20:47:48.567" v="6859"/>
          <ac:spMkLst>
            <pc:docMk/>
            <pc:sldMk cId="1450446987" sldId="264"/>
            <ac:spMk id="17" creationId="{A63BB7A4-7E0B-7C45-80AE-587ED115AADD}"/>
          </ac:spMkLst>
        </pc:spChg>
        <pc:spChg chg="mod">
          <ac:chgData name="Joelle Brehm" userId="a518f54c-6985-42c0-8041-2bb16a414839" providerId="ADAL" clId="{9B2768D1-DFDD-45FF-849C-23AD8ECAB483}" dt="2024-05-07T20:47:48.567" v="6851"/>
          <ac:spMkLst>
            <pc:docMk/>
            <pc:sldMk cId="1450446987" sldId="264"/>
            <ac:spMk id="18" creationId="{3B2F615D-61D1-3EE6-4C63-ABEC5F01E6F7}"/>
          </ac:spMkLst>
        </pc:spChg>
        <pc:spChg chg="mod">
          <ac:chgData name="Joelle Brehm" userId="a518f54c-6985-42c0-8041-2bb16a414839" providerId="ADAL" clId="{9B2768D1-DFDD-45FF-849C-23AD8ECAB483}" dt="2024-05-07T20:47:48.567" v="6850"/>
          <ac:spMkLst>
            <pc:docMk/>
            <pc:sldMk cId="1450446987" sldId="264"/>
            <ac:spMk id="19" creationId="{2BD2C9D2-45AB-B0EE-41F5-E56B76D40A08}"/>
          </ac:spMkLst>
        </pc:spChg>
        <pc:spChg chg="mod">
          <ac:chgData name="Joelle Brehm" userId="a518f54c-6985-42c0-8041-2bb16a414839" providerId="ADAL" clId="{9B2768D1-DFDD-45FF-849C-23AD8ECAB483}" dt="2024-05-07T20:47:48.583" v="6881"/>
          <ac:spMkLst>
            <pc:docMk/>
            <pc:sldMk cId="1450446987" sldId="264"/>
            <ac:spMk id="20" creationId="{18BB98B9-3195-BC71-0830-E8C7C89B36EF}"/>
          </ac:spMkLst>
        </pc:spChg>
        <pc:spChg chg="add mod replST">
          <ac:chgData name="Joelle Brehm" userId="a518f54c-6985-42c0-8041-2bb16a414839" providerId="ADAL" clId="{9B2768D1-DFDD-45FF-849C-23AD8ECAB483}" dt="2024-05-07T20:47:48.583" v="6884"/>
          <ac:spMkLst>
            <pc:docMk/>
            <pc:sldMk cId="1450446987" sldId="264"/>
            <ac:spMk id="22" creationId="{60C1764A-69A2-F04A-957F-0289083BC6B4}"/>
          </ac:spMkLst>
        </pc:spChg>
        <pc:spChg chg="mod">
          <ac:chgData name="Joelle Brehm" userId="a518f54c-6985-42c0-8041-2bb16a414839" providerId="ADAL" clId="{9B2768D1-DFDD-45FF-849C-23AD8ECAB483}" dt="2024-05-07T20:47:48.567" v="6857"/>
          <ac:spMkLst>
            <pc:docMk/>
            <pc:sldMk cId="1450446987" sldId="264"/>
            <ac:spMk id="23" creationId="{ECE85BCC-DA74-38B9-C409-63F89574AA2B}"/>
          </ac:spMkLst>
        </pc:spChg>
        <pc:spChg chg="mod">
          <ac:chgData name="Joelle Brehm" userId="a518f54c-6985-42c0-8041-2bb16a414839" providerId="ADAL" clId="{9B2768D1-DFDD-45FF-849C-23AD8ECAB483}" dt="2024-05-07T20:47:48.550" v="6795"/>
          <ac:spMkLst>
            <pc:docMk/>
            <pc:sldMk cId="1450446987" sldId="264"/>
            <ac:spMk id="24" creationId="{E5D53381-936F-04EC-A4BF-61AC62630B7E}"/>
          </ac:spMkLst>
        </pc:spChg>
        <pc:spChg chg="del mod">
          <ac:chgData name="Joelle Brehm" userId="a518f54c-6985-42c0-8041-2bb16a414839" providerId="ADAL" clId="{9B2768D1-DFDD-45FF-849C-23AD8ECAB483}" dt="2024-05-07T20:46:45.331" v="4244"/>
          <ac:spMkLst>
            <pc:docMk/>
            <pc:sldMk cId="1450446987" sldId="264"/>
            <ac:spMk id="25" creationId="{DDCB9CFD-6336-9FEE-8109-046E7B1EDE09}"/>
          </ac:spMkLst>
        </pc:spChg>
        <pc:spChg chg="add del mod modVis">
          <ac:chgData name="Joelle Brehm" userId="a518f54c-6985-42c0-8041-2bb16a414839" providerId="ADAL" clId="{9B2768D1-DFDD-45FF-849C-23AD8ECAB483}" dt="2024-05-07T20:45:42.921" v="1545"/>
          <ac:spMkLst>
            <pc:docMk/>
            <pc:sldMk cId="1450446987" sldId="264"/>
            <ac:spMk id="26" creationId="{30942799-6F3B-E8A3-A682-DBA767F00004}"/>
          </ac:spMkLst>
        </pc:spChg>
        <pc:spChg chg="mod">
          <ac:chgData name="Joelle Brehm" userId="a518f54c-6985-42c0-8041-2bb16a414839" providerId="ADAL" clId="{9B2768D1-DFDD-45FF-849C-23AD8ECAB483}" dt="2024-05-07T20:47:48.567" v="6860"/>
          <ac:spMkLst>
            <pc:docMk/>
            <pc:sldMk cId="1450446987" sldId="264"/>
            <ac:spMk id="27" creationId="{BE79AA66-A658-FB5E-FB38-1F294A525890}"/>
          </ac:spMkLst>
        </pc:spChg>
        <pc:spChg chg="mod">
          <ac:chgData name="Joelle Brehm" userId="a518f54c-6985-42c0-8041-2bb16a414839" providerId="ADAL" clId="{9B2768D1-DFDD-45FF-849C-23AD8ECAB483}" dt="2024-05-07T20:47:48.583" v="6862"/>
          <ac:spMkLst>
            <pc:docMk/>
            <pc:sldMk cId="1450446987" sldId="264"/>
            <ac:spMk id="28" creationId="{8099BDDE-97A2-D2F0-D81B-420C034F20A3}"/>
          </ac:spMkLst>
        </pc:spChg>
        <pc:spChg chg="mod">
          <ac:chgData name="Joelle Brehm" userId="a518f54c-6985-42c0-8041-2bb16a414839" providerId="ADAL" clId="{9B2768D1-DFDD-45FF-849C-23AD8ECAB483}" dt="2024-05-07T20:47:48.550" v="6796"/>
          <ac:spMkLst>
            <pc:docMk/>
            <pc:sldMk cId="1450446987" sldId="264"/>
            <ac:spMk id="29" creationId="{D93C115D-D127-7D81-3796-9889DB2B0610}"/>
          </ac:spMkLst>
        </pc:spChg>
        <pc:spChg chg="mod">
          <ac:chgData name="Joelle Brehm" userId="a518f54c-6985-42c0-8041-2bb16a414839" providerId="ADAL" clId="{9B2768D1-DFDD-45FF-849C-23AD8ECAB483}" dt="2024-05-07T20:47:48.583" v="6861"/>
          <ac:spMkLst>
            <pc:docMk/>
            <pc:sldMk cId="1450446987" sldId="264"/>
            <ac:spMk id="30" creationId="{2F070BDA-EC70-8B53-0816-3E05697FB1EF}"/>
          </ac:spMkLst>
        </pc:spChg>
        <pc:spChg chg="mod">
          <ac:chgData name="Joelle Brehm" userId="a518f54c-6985-42c0-8041-2bb16a414839" providerId="ADAL" clId="{9B2768D1-DFDD-45FF-849C-23AD8ECAB483}" dt="2024-05-07T20:47:48.567" v="6841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9B2768D1-DFDD-45FF-849C-23AD8ECAB483}" dt="2024-05-07T20:47:48.550" v="6797"/>
          <ac:spMkLst>
            <pc:docMk/>
            <pc:sldMk cId="1450446987" sldId="264"/>
            <ac:spMk id="33" creationId="{F8B53093-42EB-7465-F3DF-B254169B7CA1}"/>
          </ac:spMkLst>
        </pc:spChg>
        <pc:spChg chg="del mod">
          <ac:chgData name="Joelle Brehm" userId="a518f54c-6985-42c0-8041-2bb16a414839" providerId="ADAL" clId="{9B2768D1-DFDD-45FF-849C-23AD8ECAB483}" dt="2024-05-07T20:46:45.331" v="4243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9B2768D1-DFDD-45FF-849C-23AD8ECAB483}" dt="2024-05-07T20:47:48.567" v="6856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9B2768D1-DFDD-45FF-849C-23AD8ECAB483}" dt="2024-05-07T20:47:48.567" v="6852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9B2768D1-DFDD-45FF-849C-23AD8ECAB483}" dt="2024-05-07T20:47:48.583" v="6883"/>
          <ac:spMkLst>
            <pc:docMk/>
            <pc:sldMk cId="1450446987" sldId="264"/>
            <ac:spMk id="3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0:47:48.550" v="6799"/>
          <ac:spMkLst>
            <pc:docMk/>
            <pc:sldMk cId="1450446987" sldId="264"/>
            <ac:spMk id="40" creationId="{061B8C24-862E-39F3-377B-84A1D6209614}"/>
          </ac:spMkLst>
        </pc:spChg>
        <pc:spChg chg="mod">
          <ac:chgData name="Joelle Brehm" userId="a518f54c-6985-42c0-8041-2bb16a414839" providerId="ADAL" clId="{9B2768D1-DFDD-45FF-849C-23AD8ECAB483}" dt="2024-05-07T20:47:48.550" v="6798"/>
          <ac:spMkLst>
            <pc:docMk/>
            <pc:sldMk cId="1450446987" sldId="264"/>
            <ac:spMk id="41" creationId="{A2C1F74C-6393-C0BE-3E25-A442CC66BD8E}"/>
          </ac:spMkLst>
        </pc:spChg>
        <pc:spChg chg="mod">
          <ac:chgData name="Joelle Brehm" userId="a518f54c-6985-42c0-8041-2bb16a414839" providerId="ADAL" clId="{9B2768D1-DFDD-45FF-849C-23AD8ECAB483}" dt="2024-05-07T20:47:48.567" v="6842"/>
          <ac:spMkLst>
            <pc:docMk/>
            <pc:sldMk cId="1450446987" sldId="264"/>
            <ac:spMk id="42" creationId="{B28F9CDB-79D1-9419-42CA-EBC66895D4A0}"/>
          </ac:spMkLst>
        </pc:spChg>
        <pc:spChg chg="del mod">
          <ac:chgData name="Joelle Brehm" userId="a518f54c-6985-42c0-8041-2bb16a414839" providerId="ADAL" clId="{9B2768D1-DFDD-45FF-849C-23AD8ECAB483}" dt="2024-05-07T20:47:01.733" v="4979"/>
          <ac:spMkLst>
            <pc:docMk/>
            <pc:sldMk cId="1450446987" sldId="264"/>
            <ac:spMk id="43" creationId="{B0C42678-4B24-F5DF-7ACE-3084C7C56E60}"/>
          </ac:spMkLst>
        </pc:spChg>
        <pc:spChg chg="add del mod modVis">
          <ac:chgData name="Joelle Brehm" userId="a518f54c-6985-42c0-8041-2bb16a414839" providerId="ADAL" clId="{9B2768D1-DFDD-45FF-849C-23AD8ECAB483}" dt="2024-05-07T20:45:51.128" v="1911"/>
          <ac:spMkLst>
            <pc:docMk/>
            <pc:sldMk cId="1450446987" sldId="264"/>
            <ac:spMk id="44" creationId="{E253D386-4698-32C1-6813-C898EAF34B8C}"/>
          </ac:spMkLst>
        </pc:spChg>
        <pc:spChg chg="mod">
          <ac:chgData name="Joelle Brehm" userId="a518f54c-6985-42c0-8041-2bb16a414839" providerId="ADAL" clId="{9B2768D1-DFDD-45FF-849C-23AD8ECAB483}" dt="2024-05-07T20:47:48.583" v="6880"/>
          <ac:spMkLst>
            <pc:docMk/>
            <pc:sldMk cId="1450446987" sldId="264"/>
            <ac:spMk id="45" creationId="{5786C259-6C1E-237B-24A0-B980E0283E5D}"/>
          </ac:spMkLst>
        </pc:spChg>
        <pc:spChg chg="mod">
          <ac:chgData name="Joelle Brehm" userId="a518f54c-6985-42c0-8041-2bb16a414839" providerId="ADAL" clId="{9B2768D1-DFDD-45FF-849C-23AD8ECAB483}" dt="2024-05-07T20:47:48.550" v="6794"/>
          <ac:spMkLst>
            <pc:docMk/>
            <pc:sldMk cId="1450446987" sldId="264"/>
            <ac:spMk id="47" creationId="{6D64FB34-D8B2-66AB-BCB4-DA6A0216CA2C}"/>
          </ac:spMkLst>
        </pc:spChg>
        <pc:spChg chg="mod">
          <ac:chgData name="Joelle Brehm" userId="a518f54c-6985-42c0-8041-2bb16a414839" providerId="ADAL" clId="{9B2768D1-DFDD-45FF-849C-23AD8ECAB483}" dt="2024-05-07T20:47:48.567" v="6808"/>
          <ac:spMkLst>
            <pc:docMk/>
            <pc:sldMk cId="1450446987" sldId="264"/>
            <ac:spMk id="48" creationId="{0123679F-CC40-E7DD-5F47-C9F2E6E51361}"/>
          </ac:spMkLst>
        </pc:spChg>
        <pc:spChg chg="mod">
          <ac:chgData name="Joelle Brehm" userId="a518f54c-6985-42c0-8041-2bb16a414839" providerId="ADAL" clId="{9B2768D1-DFDD-45FF-849C-23AD8ECAB483}" dt="2024-05-07T20:47:48.567" v="6806"/>
          <ac:spMkLst>
            <pc:docMk/>
            <pc:sldMk cId="1450446987" sldId="264"/>
            <ac:spMk id="49" creationId="{6C902FB1-9C72-CCD9-9F28-79FEEA1EBE9E}"/>
          </ac:spMkLst>
        </pc:spChg>
        <pc:spChg chg="mod">
          <ac:chgData name="Joelle Brehm" userId="a518f54c-6985-42c0-8041-2bb16a414839" providerId="ADAL" clId="{9B2768D1-DFDD-45FF-849C-23AD8ECAB483}" dt="2024-05-07T20:47:48.567" v="6843"/>
          <ac:spMkLst>
            <pc:docMk/>
            <pc:sldMk cId="1450446987" sldId="264"/>
            <ac:spMk id="50" creationId="{5FE9258F-A945-F4FF-832B-478FD9BAC76D}"/>
          </ac:spMkLst>
        </pc:spChg>
        <pc:spChg chg="mod">
          <ac:chgData name="Joelle Brehm" userId="a518f54c-6985-42c0-8041-2bb16a414839" providerId="ADAL" clId="{9B2768D1-DFDD-45FF-849C-23AD8ECAB483}" dt="2024-05-07T20:47:48.567" v="6810"/>
          <ac:spMkLst>
            <pc:docMk/>
            <pc:sldMk cId="1450446987" sldId="264"/>
            <ac:spMk id="51" creationId="{73C74AE1-D0FF-BCEF-47C0-9B723DC459AB}"/>
          </ac:spMkLst>
        </pc:spChg>
        <pc:spChg chg="add del mod modVis">
          <ac:chgData name="Joelle Brehm" userId="a518f54c-6985-42c0-8041-2bb16a414839" providerId="ADAL" clId="{9B2768D1-DFDD-45FF-849C-23AD8ECAB483}" dt="2024-05-07T20:45:57.046" v="2125"/>
          <ac:spMkLst>
            <pc:docMk/>
            <pc:sldMk cId="1450446987" sldId="264"/>
            <ac:spMk id="52" creationId="{95570F82-BC7A-84BA-14F6-E1F062EF850B}"/>
          </ac:spMkLst>
        </pc:spChg>
        <pc:spChg chg="mod">
          <ac:chgData name="Joelle Brehm" userId="a518f54c-6985-42c0-8041-2bb16a414839" providerId="ADAL" clId="{9B2768D1-DFDD-45FF-849C-23AD8ECAB483}" dt="2024-05-07T20:47:48.567" v="6807"/>
          <ac:spMkLst>
            <pc:docMk/>
            <pc:sldMk cId="1450446987" sldId="264"/>
            <ac:spMk id="53" creationId="{522E8E80-2D36-FBB2-D9BA-CCEAD36B44DA}"/>
          </ac:spMkLst>
        </pc:spChg>
        <pc:spChg chg="del mod">
          <ac:chgData name="Joelle Brehm" userId="a518f54c-6985-42c0-8041-2bb16a414839" providerId="ADAL" clId="{9B2768D1-DFDD-45FF-849C-23AD8ECAB483}" dt="2024-05-07T20:47:01.733" v="4978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9B2768D1-DFDD-45FF-849C-23AD8ECAB483}" dt="2024-05-07T20:47:48.567" v="6809"/>
          <ac:spMkLst>
            <pc:docMk/>
            <pc:sldMk cId="1450446987" sldId="264"/>
            <ac:spMk id="56" creationId="{1D921D1B-5A18-FD5E-8FE7-0CE90EC79A50}"/>
          </ac:spMkLst>
        </pc:spChg>
        <pc:spChg chg="mod">
          <ac:chgData name="Joelle Brehm" userId="a518f54c-6985-42c0-8041-2bb16a414839" providerId="ADAL" clId="{9B2768D1-DFDD-45FF-849C-23AD8ECAB483}" dt="2024-05-07T20:47:48.567" v="6805"/>
          <ac:spMkLst>
            <pc:docMk/>
            <pc:sldMk cId="1450446987" sldId="264"/>
            <ac:spMk id="58" creationId="{998C3F37-48B7-D5CB-D2DD-2BF1FE08D1D9}"/>
          </ac:spMkLst>
        </pc:spChg>
        <pc:spChg chg="mod">
          <ac:chgData name="Joelle Brehm" userId="a518f54c-6985-42c0-8041-2bb16a414839" providerId="ADAL" clId="{9B2768D1-DFDD-45FF-849C-23AD8ECAB483}" dt="2024-05-07T20:47:48.550" v="6789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9B2768D1-DFDD-45FF-849C-23AD8ECAB483}" dt="2024-05-07T20:47:48.583" v="6866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9B2768D1-DFDD-45FF-849C-23AD8ECAB483}" dt="2024-05-07T20:47:48.583" v="6868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9B2768D1-DFDD-45FF-849C-23AD8ECAB483}" dt="2024-05-07T20:47:48.583" v="6870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9B2768D1-DFDD-45FF-849C-23AD8ECAB483}" dt="2024-05-07T20:47:48.583" v="6907"/>
          <ac:spMkLst>
            <pc:docMk/>
            <pc:sldMk cId="1450446987" sldId="264"/>
            <ac:spMk id="63" creationId="{CFD4D196-473C-340C-8B94-2E623BCF43C9}"/>
          </ac:spMkLst>
        </pc:spChg>
        <pc:spChg chg="mod">
          <ac:chgData name="Joelle Brehm" userId="a518f54c-6985-42c0-8041-2bb16a414839" providerId="ADAL" clId="{9B2768D1-DFDD-45FF-849C-23AD8ECAB483}" dt="2024-05-07T20:47:48.567" v="6853"/>
          <ac:spMkLst>
            <pc:docMk/>
            <pc:sldMk cId="1450446987" sldId="264"/>
            <ac:spMk id="64" creationId="{A32634C8-6FE7-6BB1-8251-847A1565A477}"/>
          </ac:spMkLst>
        </pc:spChg>
        <pc:spChg chg="add del mod modVis">
          <ac:chgData name="Joelle Brehm" userId="a518f54c-6985-42c0-8041-2bb16a414839" providerId="ADAL" clId="{9B2768D1-DFDD-45FF-849C-23AD8ECAB483}" dt="2024-05-07T20:45:59.548" v="2397"/>
          <ac:spMkLst>
            <pc:docMk/>
            <pc:sldMk cId="1450446987" sldId="264"/>
            <ac:spMk id="65" creationId="{416C4FBE-6985-F75C-C6B6-43A4D86736AB}"/>
          </ac:spMkLst>
        </pc:spChg>
        <pc:spChg chg="add del mod replST">
          <ac:chgData name="Joelle Brehm" userId="a518f54c-6985-42c0-8041-2bb16a414839" providerId="ADAL" clId="{9B2768D1-DFDD-45FF-849C-23AD8ECAB483}" dt="2024-05-07T20:46:01.120" v="2448"/>
          <ac:spMkLst>
            <pc:docMk/>
            <pc:sldMk cId="1450446987" sldId="264"/>
            <ac:spMk id="66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0:46:01.185" v="2608"/>
          <ac:spMkLst>
            <pc:docMk/>
            <pc:sldMk cId="1450446987" sldId="264"/>
            <ac:spMk id="68" creationId="{25C30ABD-48D8-8E57-0471-04DC072A4246}"/>
          </ac:spMkLst>
        </pc:spChg>
        <pc:spChg chg="del mod">
          <ac:chgData name="Joelle Brehm" userId="a518f54c-6985-42c0-8041-2bb16a414839" providerId="ADAL" clId="{9B2768D1-DFDD-45FF-849C-23AD8ECAB483}" dt="2024-05-07T20:47:27.659" v="5714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9B2768D1-DFDD-45FF-849C-23AD8ECAB483}" dt="2024-05-07T20:47:48.583" v="6903"/>
          <ac:spMkLst>
            <pc:docMk/>
            <pc:sldMk cId="1450446987" sldId="264"/>
            <ac:spMk id="70" creationId="{13EDC3FB-EAD9-A2B2-8DFB-9D4FBEC4B5A3}"/>
          </ac:spMkLst>
        </pc:spChg>
        <pc:spChg chg="mod">
          <ac:chgData name="Joelle Brehm" userId="a518f54c-6985-42c0-8041-2bb16a414839" providerId="ADAL" clId="{9B2768D1-DFDD-45FF-849C-23AD8ECAB483}" dt="2024-05-07T20:47:48.583" v="6905"/>
          <ac:spMkLst>
            <pc:docMk/>
            <pc:sldMk cId="1450446987" sldId="264"/>
            <ac:spMk id="71" creationId="{10A10125-A1F9-AD63-5CE4-891EE0CF5D36}"/>
          </ac:spMkLst>
        </pc:spChg>
        <pc:spChg chg="mod">
          <ac:chgData name="Joelle Brehm" userId="a518f54c-6985-42c0-8041-2bb16a414839" providerId="ADAL" clId="{9B2768D1-DFDD-45FF-849C-23AD8ECAB483}" dt="2024-05-07T20:47:48.583" v="6902"/>
          <ac:spMkLst>
            <pc:docMk/>
            <pc:sldMk cId="1450446987" sldId="264"/>
            <ac:spMk id="72" creationId="{083CFBB9-44A9-ECE4-4C8E-DC2ED54DB4C5}"/>
          </ac:spMkLst>
        </pc:spChg>
        <pc:spChg chg="mod">
          <ac:chgData name="Joelle Brehm" userId="a518f54c-6985-42c0-8041-2bb16a414839" providerId="ADAL" clId="{9B2768D1-DFDD-45FF-849C-23AD8ECAB483}" dt="2024-05-07T20:47:48.596" v="6918"/>
          <ac:spMkLst>
            <pc:docMk/>
            <pc:sldMk cId="1450446987" sldId="264"/>
            <ac:spMk id="73" creationId="{181377DE-B62A-6CF8-5F69-D447D7A4EA46}"/>
          </ac:spMkLst>
        </pc:spChg>
        <pc:spChg chg="mod">
          <ac:chgData name="Joelle Brehm" userId="a518f54c-6985-42c0-8041-2bb16a414839" providerId="ADAL" clId="{9B2768D1-DFDD-45FF-849C-23AD8ECAB483}" dt="2024-05-07T20:47:48.583" v="6906"/>
          <ac:spMkLst>
            <pc:docMk/>
            <pc:sldMk cId="1450446987" sldId="264"/>
            <ac:spMk id="75" creationId="{5A77E1D9-03F8-D6DC-BE8C-492B2DB70EB0}"/>
          </ac:spMkLst>
        </pc:spChg>
        <pc:spChg chg="mod">
          <ac:chgData name="Joelle Brehm" userId="a518f54c-6985-42c0-8041-2bb16a414839" providerId="ADAL" clId="{9B2768D1-DFDD-45FF-849C-23AD8ECAB483}" dt="2024-05-07T20:47:48.550" v="6800"/>
          <ac:spMkLst>
            <pc:docMk/>
            <pc:sldMk cId="1450446987" sldId="264"/>
            <ac:spMk id="76" creationId="{8B86A84A-17AF-C0BB-9688-007EFA1F104D}"/>
          </ac:spMkLst>
        </pc:spChg>
        <pc:spChg chg="add del mod modVis">
          <ac:chgData name="Joelle Brehm" userId="a518f54c-6985-42c0-8041-2bb16a414839" providerId="ADAL" clId="{9B2768D1-DFDD-45FF-849C-23AD8ECAB483}" dt="2024-05-07T20:46:04.694" v="2836"/>
          <ac:spMkLst>
            <pc:docMk/>
            <pc:sldMk cId="1450446987" sldId="264"/>
            <ac:spMk id="77" creationId="{4BFBD8BA-C936-A5D1-25D8-577B15AB9A96}"/>
          </ac:spMkLst>
        </pc:spChg>
        <pc:spChg chg="mod">
          <ac:chgData name="Joelle Brehm" userId="a518f54c-6985-42c0-8041-2bb16a414839" providerId="ADAL" clId="{9B2768D1-DFDD-45FF-849C-23AD8ECAB483}" dt="2024-05-07T20:47:48.596" v="6914"/>
          <ac:spMkLst>
            <pc:docMk/>
            <pc:sldMk cId="1450446987" sldId="264"/>
            <ac:spMk id="79" creationId="{23BEFDDE-D63B-813D-AA9B-DD3758088EEA}"/>
          </ac:spMkLst>
        </pc:spChg>
        <pc:spChg chg="del mod">
          <ac:chgData name="Joelle Brehm" userId="a518f54c-6985-42c0-8041-2bb16a414839" providerId="ADAL" clId="{9B2768D1-DFDD-45FF-849C-23AD8ECAB483}" dt="2024-05-07T20:47:27.657" v="5713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9B2768D1-DFDD-45FF-849C-23AD8ECAB483}" dt="2024-05-07T20:47:48.567" v="6825"/>
          <ac:spMkLst>
            <pc:docMk/>
            <pc:sldMk cId="1450446987" sldId="264"/>
            <ac:spMk id="81" creationId="{A6FF540B-4AA0-5FD5-6506-AFD24C2D1BBB}"/>
          </ac:spMkLst>
        </pc:spChg>
        <pc:spChg chg="mod">
          <ac:chgData name="Joelle Brehm" userId="a518f54c-6985-42c0-8041-2bb16a414839" providerId="ADAL" clId="{9B2768D1-DFDD-45FF-849C-23AD8ECAB483}" dt="2024-05-07T20:47:48.596" v="6913"/>
          <ac:spMkLst>
            <pc:docMk/>
            <pc:sldMk cId="1450446987" sldId="264"/>
            <ac:spMk id="83" creationId="{A21D7036-40FA-BB0C-4CA6-E61688467FC8}"/>
          </ac:spMkLst>
        </pc:spChg>
        <pc:spChg chg="add del mod modVis">
          <ac:chgData name="Joelle Brehm" userId="a518f54c-6985-42c0-8041-2bb16a414839" providerId="ADAL" clId="{9B2768D1-DFDD-45FF-849C-23AD8ECAB483}" dt="2024-05-07T20:46:06.036" v="3062"/>
          <ac:spMkLst>
            <pc:docMk/>
            <pc:sldMk cId="1450446987" sldId="264"/>
            <ac:spMk id="84" creationId="{8BBBF439-CE0F-8F44-E516-AAAAF9D9B35C}"/>
          </ac:spMkLst>
        </pc:spChg>
        <pc:spChg chg="mod">
          <ac:chgData name="Joelle Brehm" userId="a518f54c-6985-42c0-8041-2bb16a414839" providerId="ADAL" clId="{9B2768D1-DFDD-45FF-849C-23AD8ECAB483}" dt="2024-05-07T20:47:48.550" v="6790"/>
          <ac:spMkLst>
            <pc:docMk/>
            <pc:sldMk cId="1450446987" sldId="264"/>
            <ac:spMk id="85" creationId="{87244ECD-ECFD-D89D-761C-DA74EBCF3463}"/>
          </ac:spMkLst>
        </pc:spChg>
        <pc:spChg chg="del mod">
          <ac:chgData name="Joelle Brehm" userId="a518f54c-6985-42c0-8041-2bb16a414839" providerId="ADAL" clId="{9B2768D1-DFDD-45FF-849C-23AD8ECAB483}" dt="2024-05-07T20:47:48.470" v="6695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9B2768D1-DFDD-45FF-849C-23AD8ECAB483}" dt="2024-05-07T20:47:48.567" v="6854"/>
          <ac:spMkLst>
            <pc:docMk/>
            <pc:sldMk cId="1450446987" sldId="264"/>
            <ac:spMk id="87" creationId="{06946997-7AFB-6327-F61E-B25533F6C115}"/>
          </ac:spMkLst>
        </pc:spChg>
        <pc:spChg chg="mod">
          <ac:chgData name="Joelle Brehm" userId="a518f54c-6985-42c0-8041-2bb16a414839" providerId="ADAL" clId="{9B2768D1-DFDD-45FF-849C-23AD8ECAB483}" dt="2024-05-07T20:47:48.596" v="6916"/>
          <ac:spMkLst>
            <pc:docMk/>
            <pc:sldMk cId="1450446987" sldId="264"/>
            <ac:spMk id="88" creationId="{47D2C780-DDE5-CAE0-5CF8-3918C5739A3C}"/>
          </ac:spMkLst>
        </pc:spChg>
        <pc:spChg chg="del mod">
          <ac:chgData name="Joelle Brehm" userId="a518f54c-6985-42c0-8041-2bb16a414839" providerId="ADAL" clId="{9B2768D1-DFDD-45FF-849C-23AD8ECAB483}" dt="2024-05-07T20:46:19.797" v="3278"/>
          <ac:spMkLst>
            <pc:docMk/>
            <pc:sldMk cId="1450446987" sldId="264"/>
            <ac:spMk id="89" creationId="{7CAA3B95-4C78-4122-BECA-B5FB0F3F3764}"/>
          </ac:spMkLst>
        </pc:spChg>
        <pc:spChg chg="del mod">
          <ac:chgData name="Joelle Brehm" userId="a518f54c-6985-42c0-8041-2bb16a414839" providerId="ADAL" clId="{9B2768D1-DFDD-45FF-849C-23AD8ECAB483}" dt="2024-05-07T20:47:48.470" v="6694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9B2768D1-DFDD-45FF-849C-23AD8ECAB483}" dt="2024-05-07T20:47:48.583" v="6897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9B2768D1-DFDD-45FF-849C-23AD8ECAB483}" dt="2024-05-07T20:47:48.583" v="6904"/>
          <ac:spMkLst>
            <pc:docMk/>
            <pc:sldMk cId="1450446987" sldId="264"/>
            <ac:spMk id="92" creationId="{04EED9C4-BB27-D966-447B-295E7E5DB4D0}"/>
          </ac:spMkLst>
        </pc:spChg>
        <pc:spChg chg="mod">
          <ac:chgData name="Joelle Brehm" userId="a518f54c-6985-42c0-8041-2bb16a414839" providerId="ADAL" clId="{9B2768D1-DFDD-45FF-849C-23AD8ECAB483}" dt="2024-05-07T20:47:48.550" v="6791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9B2768D1-DFDD-45FF-849C-23AD8ECAB483}" dt="2024-05-07T20:47:48.566" v="6801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9B2768D1-DFDD-45FF-849C-23AD8ECAB483}" dt="2024-05-07T20:47:48.583" v="6872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9B2768D1-DFDD-45FF-849C-23AD8ECAB483}" dt="2024-05-07T20:47:48.583" v="6874"/>
          <ac:spMkLst>
            <pc:docMk/>
            <pc:sldMk cId="1450446987" sldId="264"/>
            <ac:spMk id="97" creationId="{64B2B8D7-E8A8-4757-99A4-69F1EAA48321}"/>
          </ac:spMkLst>
        </pc:spChg>
        <pc:spChg chg="mod">
          <ac:chgData name="Joelle Brehm" userId="a518f54c-6985-42c0-8041-2bb16a414839" providerId="ADAL" clId="{9B2768D1-DFDD-45FF-849C-23AD8ECAB483}" dt="2024-05-07T20:47:48.567" v="6821"/>
          <ac:spMkLst>
            <pc:docMk/>
            <pc:sldMk cId="1450446987" sldId="264"/>
            <ac:spMk id="98" creationId="{41685772-BE3E-26B1-D464-B2AD278CB65F}"/>
          </ac:spMkLst>
        </pc:spChg>
        <pc:spChg chg="mod">
          <ac:chgData name="Joelle Brehm" userId="a518f54c-6985-42c0-8041-2bb16a414839" providerId="ADAL" clId="{9B2768D1-DFDD-45FF-849C-23AD8ECAB483}" dt="2024-05-07T20:47:48.583" v="6908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9B2768D1-DFDD-45FF-849C-23AD8ECAB483}" dt="2024-05-07T20:46:07.503" v="3275"/>
          <ac:spMkLst>
            <pc:docMk/>
            <pc:sldMk cId="1450446987" sldId="264"/>
            <ac:spMk id="100" creationId="{CBF8C186-D9C9-4441-A8E0-ECF0262D14C7}"/>
          </ac:spMkLst>
        </pc:spChg>
        <pc:spChg chg="mod">
          <ac:chgData name="Joelle Brehm" userId="a518f54c-6985-42c0-8041-2bb16a414839" providerId="ADAL" clId="{9B2768D1-DFDD-45FF-849C-23AD8ECAB483}" dt="2024-05-07T20:47:48.567" v="6823"/>
          <ac:spMkLst>
            <pc:docMk/>
            <pc:sldMk cId="1450446987" sldId="264"/>
            <ac:spMk id="101" creationId="{EE29A4AC-9FCC-452F-30B4-8245793C249E}"/>
          </ac:spMkLst>
        </pc:spChg>
        <pc:spChg chg="mod">
          <ac:chgData name="Joelle Brehm" userId="a518f54c-6985-42c0-8041-2bb16a414839" providerId="ADAL" clId="{9B2768D1-DFDD-45FF-849C-23AD8ECAB483}" dt="2024-05-07T20:47:48.567" v="6820"/>
          <ac:spMkLst>
            <pc:docMk/>
            <pc:sldMk cId="1450446987" sldId="264"/>
            <ac:spMk id="102" creationId="{6333F09A-AE56-74E1-7B04-F4A5E3860BA0}"/>
          </ac:spMkLst>
        </pc:spChg>
        <pc:spChg chg="del mod">
          <ac:chgData name="Joelle Brehm" userId="a518f54c-6985-42c0-8041-2bb16a414839" providerId="ADAL" clId="{9B2768D1-DFDD-45FF-849C-23AD8ECAB483}" dt="2024-05-07T20:46:07.418" v="3116"/>
          <ac:spMkLst>
            <pc:docMk/>
            <pc:sldMk cId="1450446987" sldId="264"/>
            <ac:spMk id="10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0:47:48.583" v="6898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9B2768D1-DFDD-45FF-849C-23AD8ECAB483}" dt="2024-05-07T20:47:48.550" v="6784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9B2768D1-DFDD-45FF-849C-23AD8ECAB483}" dt="2024-05-07T20:47:48.567" v="6832"/>
          <ac:spMkLst>
            <pc:docMk/>
            <pc:sldMk cId="1450446987" sldId="264"/>
            <ac:spMk id="107" creationId="{5A262282-AA4F-2691-1334-7CF06DA0EFE3}"/>
          </ac:spMkLst>
        </pc:spChg>
        <pc:spChg chg="mod">
          <ac:chgData name="Joelle Brehm" userId="a518f54c-6985-42c0-8041-2bb16a414839" providerId="ADAL" clId="{9B2768D1-DFDD-45FF-849C-23AD8ECAB483}" dt="2024-05-07T20:47:48.567" v="6815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9B2768D1-DFDD-45FF-849C-23AD8ECAB483}" dt="2024-05-07T20:47:48.566" v="6802"/>
          <ac:spMkLst>
            <pc:docMk/>
            <pc:sldMk cId="1450446987" sldId="264"/>
            <ac:spMk id="110" creationId="{3E9DFF71-BC3D-F5AB-9F34-2E7EB64B1AD3}"/>
          </ac:spMkLst>
        </pc:spChg>
        <pc:spChg chg="mod">
          <ac:chgData name="Joelle Brehm" userId="a518f54c-6985-42c0-8041-2bb16a414839" providerId="ADAL" clId="{9B2768D1-DFDD-45FF-849C-23AD8ECAB483}" dt="2024-05-07T20:47:48.596" v="6917"/>
          <ac:spMkLst>
            <pc:docMk/>
            <pc:sldMk cId="1450446987" sldId="264"/>
            <ac:spMk id="111" creationId="{C28B988E-6795-274F-9B01-EC3956E8C7D3}"/>
          </ac:spMkLst>
        </pc:spChg>
        <pc:spChg chg="mod">
          <ac:chgData name="Joelle Brehm" userId="a518f54c-6985-42c0-8041-2bb16a414839" providerId="ADAL" clId="{9B2768D1-DFDD-45FF-849C-23AD8ECAB483}" dt="2024-05-07T20:47:48.583" v="6886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9B2768D1-DFDD-45FF-849C-23AD8ECAB483}" dt="2024-05-07T20:47:48.567" v="6826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9B2768D1-DFDD-45FF-849C-23AD8ECAB483}" dt="2024-05-07T20:47:48.567" v="6834"/>
          <ac:spMkLst>
            <pc:docMk/>
            <pc:sldMk cId="1450446987" sldId="264"/>
            <ac:spMk id="114" creationId="{3CBA50EC-8157-24B9-3AC1-20A64EE1A3BF}"/>
          </ac:spMkLst>
        </pc:spChg>
        <pc:spChg chg="mod">
          <ac:chgData name="Joelle Brehm" userId="a518f54c-6985-42c0-8041-2bb16a414839" providerId="ADAL" clId="{9B2768D1-DFDD-45FF-849C-23AD8ECAB483}" dt="2024-05-07T20:47:48.583" v="6890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9B2768D1-DFDD-45FF-849C-23AD8ECAB483}" dt="2024-05-07T20:47:48.596" v="6909"/>
          <ac:spMkLst>
            <pc:docMk/>
            <pc:sldMk cId="1450446987" sldId="264"/>
            <ac:spMk id="116" creationId="{E6B2D068-E691-A10D-15D8-F8578EFD4C29}"/>
          </ac:spMkLst>
        </pc:spChg>
        <pc:spChg chg="mod">
          <ac:chgData name="Joelle Brehm" userId="a518f54c-6985-42c0-8041-2bb16a414839" providerId="ADAL" clId="{9B2768D1-DFDD-45FF-849C-23AD8ECAB483}" dt="2024-05-07T20:47:48.583" v="6877"/>
          <ac:spMkLst>
            <pc:docMk/>
            <pc:sldMk cId="1450446987" sldId="264"/>
            <ac:spMk id="117" creationId="{16ED222C-BE37-1D08-BF7E-D131AE2BBE04}"/>
          </ac:spMkLst>
        </pc:spChg>
        <pc:spChg chg="mod">
          <ac:chgData name="Joelle Brehm" userId="a518f54c-6985-42c0-8041-2bb16a414839" providerId="ADAL" clId="{9B2768D1-DFDD-45FF-849C-23AD8ECAB483}" dt="2024-05-07T20:47:48.567" v="6831"/>
          <ac:spMkLst>
            <pc:docMk/>
            <pc:sldMk cId="1450446987" sldId="264"/>
            <ac:spMk id="118" creationId="{64C7D22E-FE71-8346-6A8B-BCCE734C030C}"/>
          </ac:spMkLst>
        </pc:spChg>
        <pc:spChg chg="mod">
          <ac:chgData name="Joelle Brehm" userId="a518f54c-6985-42c0-8041-2bb16a414839" providerId="ADAL" clId="{9B2768D1-DFDD-45FF-849C-23AD8ECAB483}" dt="2024-05-07T20:47:48.596" v="6915"/>
          <ac:spMkLst>
            <pc:docMk/>
            <pc:sldMk cId="1450446987" sldId="264"/>
            <ac:spMk id="119" creationId="{68A51B41-5F1C-51E6-B7D6-26BE9B80F9FE}"/>
          </ac:spMkLst>
        </pc:spChg>
        <pc:spChg chg="mod">
          <ac:chgData name="Joelle Brehm" userId="a518f54c-6985-42c0-8041-2bb16a414839" providerId="ADAL" clId="{9B2768D1-DFDD-45FF-849C-23AD8ECAB483}" dt="2024-05-07T20:47:48.567" v="6836"/>
          <ac:spMkLst>
            <pc:docMk/>
            <pc:sldMk cId="1450446987" sldId="264"/>
            <ac:spMk id="120" creationId="{CB151498-0B36-0FF7-49DB-790ACE461047}"/>
          </ac:spMkLst>
        </pc:spChg>
        <pc:spChg chg="mod">
          <ac:chgData name="Joelle Brehm" userId="a518f54c-6985-42c0-8041-2bb16a414839" providerId="ADAL" clId="{9B2768D1-DFDD-45FF-849C-23AD8ECAB483}" dt="2024-05-07T20:47:48.583" v="6879"/>
          <ac:spMkLst>
            <pc:docMk/>
            <pc:sldMk cId="1450446987" sldId="264"/>
            <ac:spMk id="121" creationId="{3B65F91C-54C4-0316-82DB-2CB3454E70EC}"/>
          </ac:spMkLst>
        </pc:spChg>
        <pc:spChg chg="mod">
          <ac:chgData name="Joelle Brehm" userId="a518f54c-6985-42c0-8041-2bb16a414839" providerId="ADAL" clId="{9B2768D1-DFDD-45FF-849C-23AD8ECAB483}" dt="2024-05-07T20:47:48.567" v="6822"/>
          <ac:spMkLst>
            <pc:docMk/>
            <pc:sldMk cId="1450446987" sldId="264"/>
            <ac:spMk id="122" creationId="{EE58AE63-B2BC-C11A-1802-02E107E19990}"/>
          </ac:spMkLst>
        </pc:spChg>
        <pc:spChg chg="add del mod modVis">
          <ac:chgData name="Joelle Brehm" userId="a518f54c-6985-42c0-8041-2bb16a414839" providerId="ADAL" clId="{9B2768D1-DFDD-45FF-849C-23AD8ECAB483}" dt="2024-05-07T20:46:25.549" v="3719"/>
          <ac:spMkLst>
            <pc:docMk/>
            <pc:sldMk cId="1450446987" sldId="264"/>
            <ac:spMk id="123" creationId="{38A19FE6-1091-5588-6D86-357E1C34DB91}"/>
          </ac:spMkLst>
        </pc:spChg>
        <pc:spChg chg="mod">
          <ac:chgData name="Joelle Brehm" userId="a518f54c-6985-42c0-8041-2bb16a414839" providerId="ADAL" clId="{9B2768D1-DFDD-45FF-849C-23AD8ECAB483}" dt="2024-05-07T20:47:48.567" v="6816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9B2768D1-DFDD-45FF-849C-23AD8ECAB483}" dt="2024-05-07T20:47:48.583" v="6899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9B2768D1-DFDD-45FF-849C-23AD8ECAB483}" dt="2024-05-07T20:47:48.550" v="6793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9B2768D1-DFDD-45FF-849C-23AD8ECAB483}" dt="2024-05-07T20:47:48.567" v="6827"/>
          <ac:spMkLst>
            <pc:docMk/>
            <pc:sldMk cId="1450446987" sldId="264"/>
            <ac:spMk id="127" creationId="{2CF9A986-1E95-AE1A-FD0F-F8AD045E4589}"/>
          </ac:spMkLst>
        </pc:spChg>
        <pc:spChg chg="mod">
          <ac:chgData name="Joelle Brehm" userId="a518f54c-6985-42c0-8041-2bb16a414839" providerId="ADAL" clId="{9B2768D1-DFDD-45FF-849C-23AD8ECAB483}" dt="2024-05-07T20:47:48.567" v="6824"/>
          <ac:spMkLst>
            <pc:docMk/>
            <pc:sldMk cId="1450446987" sldId="264"/>
            <ac:spMk id="128" creationId="{004E9F0D-3290-4792-0B4B-DA40262DC992}"/>
          </ac:spMkLst>
        </pc:spChg>
        <pc:spChg chg="mod">
          <ac:chgData name="Joelle Brehm" userId="a518f54c-6985-42c0-8041-2bb16a414839" providerId="ADAL" clId="{9B2768D1-DFDD-45FF-849C-23AD8ECAB483}" dt="2024-05-07T20:47:48.566" v="6804"/>
          <ac:spMkLst>
            <pc:docMk/>
            <pc:sldMk cId="1450446987" sldId="264"/>
            <ac:spMk id="130" creationId="{DB0A6969-9BE6-DD88-9511-7F8FD934DA11}"/>
          </ac:spMkLst>
        </pc:spChg>
        <pc:spChg chg="mod">
          <ac:chgData name="Joelle Brehm" userId="a518f54c-6985-42c0-8041-2bb16a414839" providerId="ADAL" clId="{9B2768D1-DFDD-45FF-849C-23AD8ECAB483}" dt="2024-05-07T20:47:48.567" v="6833"/>
          <ac:spMkLst>
            <pc:docMk/>
            <pc:sldMk cId="1450446987" sldId="264"/>
            <ac:spMk id="131" creationId="{1E95563A-161A-F388-D6A8-05A228809377}"/>
          </ac:spMkLst>
        </pc:spChg>
        <pc:spChg chg="mod">
          <ac:chgData name="Joelle Brehm" userId="a518f54c-6985-42c0-8041-2bb16a414839" providerId="ADAL" clId="{9B2768D1-DFDD-45FF-849C-23AD8ECAB483}" dt="2024-05-07T20:47:48.596" v="6910"/>
          <ac:spMkLst>
            <pc:docMk/>
            <pc:sldMk cId="1450446987" sldId="264"/>
            <ac:spMk id="132" creationId="{8E856E10-A2C3-3BD4-C02F-F3D2D343989C}"/>
          </ac:spMkLst>
        </pc:spChg>
        <pc:spChg chg="add mod replST">
          <ac:chgData name="Joelle Brehm" userId="a518f54c-6985-42c0-8041-2bb16a414839" providerId="ADAL" clId="{9B2768D1-DFDD-45FF-849C-23AD8ECAB483}" dt="2024-05-07T20:47:48.583" v="6885"/>
          <ac:spMkLst>
            <pc:docMk/>
            <pc:sldMk cId="1450446987" sldId="264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0:47:48.567" v="6844"/>
          <ac:spMkLst>
            <pc:docMk/>
            <pc:sldMk cId="1450446987" sldId="264"/>
            <ac:spMk id="134" creationId="{4B21D98E-CBDB-7AFB-94BD-6B7A23D60EC2}"/>
          </ac:spMkLst>
        </pc:spChg>
        <pc:spChg chg="mod">
          <ac:chgData name="Joelle Brehm" userId="a518f54c-6985-42c0-8041-2bb16a414839" providerId="ADAL" clId="{9B2768D1-DFDD-45FF-849C-23AD8ECAB483}" dt="2024-05-07T20:47:48.583" v="6891"/>
          <ac:spMkLst>
            <pc:docMk/>
            <pc:sldMk cId="1450446987" sldId="264"/>
            <ac:spMk id="135" creationId="{005E4CB4-2A31-DB1F-88CB-2FBBBD0C091B}"/>
          </ac:spMkLst>
        </pc:spChg>
        <pc:spChg chg="mod">
          <ac:chgData name="Joelle Brehm" userId="a518f54c-6985-42c0-8041-2bb16a414839" providerId="ADAL" clId="{9B2768D1-DFDD-45FF-849C-23AD8ECAB483}" dt="2024-05-07T20:47:48.583" v="6878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9B2768D1-DFDD-45FF-849C-23AD8ECAB483}" dt="2024-05-07T20:47:48.583" v="6901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9B2768D1-DFDD-45FF-849C-23AD8ECAB483}" dt="2024-05-07T20:47:48.567" v="6817"/>
          <ac:spMkLst>
            <pc:docMk/>
            <pc:sldMk cId="1450446987" sldId="264"/>
            <ac:spMk id="139" creationId="{90D6C27A-2B60-467B-C5C7-9CCE43964040}"/>
          </ac:spMkLst>
        </pc:spChg>
        <pc:spChg chg="mod">
          <ac:chgData name="Joelle Brehm" userId="a518f54c-6985-42c0-8041-2bb16a414839" providerId="ADAL" clId="{9B2768D1-DFDD-45FF-849C-23AD8ECAB483}" dt="2024-05-07T20:47:48.567" v="6835"/>
          <ac:spMkLst>
            <pc:docMk/>
            <pc:sldMk cId="1450446987" sldId="264"/>
            <ac:spMk id="140" creationId="{68675877-AA6B-0EB2-4A7A-588E2212467E}"/>
          </ac:spMkLst>
        </pc:spChg>
        <pc:spChg chg="mod">
          <ac:chgData name="Joelle Brehm" userId="a518f54c-6985-42c0-8041-2bb16a414839" providerId="ADAL" clId="{9B2768D1-DFDD-45FF-849C-23AD8ECAB483}" dt="2024-05-07T20:47:48.567" v="6855"/>
          <ac:spMkLst>
            <pc:docMk/>
            <pc:sldMk cId="1450446987" sldId="264"/>
            <ac:spMk id="141" creationId="{E36F4C8D-EC2C-AF10-792A-6324A776E04A}"/>
          </ac:spMkLst>
        </pc:spChg>
        <pc:spChg chg="add del mod modVis">
          <ac:chgData name="Joelle Brehm" userId="a518f54c-6985-42c0-8041-2bb16a414839" providerId="ADAL" clId="{9B2768D1-DFDD-45FF-849C-23AD8ECAB483}" dt="2024-05-07T20:46:27.321" v="3920"/>
          <ac:spMkLst>
            <pc:docMk/>
            <pc:sldMk cId="1450446987" sldId="264"/>
            <ac:spMk id="142" creationId="{B9AF2A22-B018-5070-8B26-F02B6B68E581}"/>
          </ac:spMkLst>
        </pc:spChg>
        <pc:spChg chg="mod">
          <ac:chgData name="Joelle Brehm" userId="a518f54c-6985-42c0-8041-2bb16a414839" providerId="ADAL" clId="{9B2768D1-DFDD-45FF-849C-23AD8ECAB483}" dt="2024-05-07T20:47:48.567" v="6828"/>
          <ac:spMkLst>
            <pc:docMk/>
            <pc:sldMk cId="1450446987" sldId="264"/>
            <ac:spMk id="143" creationId="{8B4F9978-6CBD-ADA8-09AB-786FD14471F8}"/>
          </ac:spMkLst>
        </pc:spChg>
        <pc:spChg chg="mod">
          <ac:chgData name="Joelle Brehm" userId="a518f54c-6985-42c0-8041-2bb16a414839" providerId="ADAL" clId="{9B2768D1-DFDD-45FF-849C-23AD8ECAB483}" dt="2024-05-07T20:47:48.583" v="6887"/>
          <ac:spMkLst>
            <pc:docMk/>
            <pc:sldMk cId="1450446987" sldId="264"/>
            <ac:spMk id="144" creationId="{5181FAC4-6DC3-041D-2CC1-374608CD8D5F}"/>
          </ac:spMkLst>
        </pc:spChg>
        <pc:spChg chg="mod">
          <ac:chgData name="Joelle Brehm" userId="a518f54c-6985-42c0-8041-2bb16a414839" providerId="ADAL" clId="{9B2768D1-DFDD-45FF-849C-23AD8ECAB483}" dt="2024-05-07T20:47:48.596" v="6912"/>
          <ac:spMkLst>
            <pc:docMk/>
            <pc:sldMk cId="1450446987" sldId="264"/>
            <ac:spMk id="146" creationId="{6414DE83-49A9-C649-08EC-1FB84B54E2EA}"/>
          </ac:spMkLst>
        </pc:spChg>
        <pc:spChg chg="add mod replST">
          <ac:chgData name="Joelle Brehm" userId="a518f54c-6985-42c0-8041-2bb16a414839" providerId="ADAL" clId="{9B2768D1-DFDD-45FF-849C-23AD8ECAB483}" dt="2024-05-07T20:47:48.583" v="6863"/>
          <ac:spMkLst>
            <pc:docMk/>
            <pc:sldMk cId="1450446987" sldId="264"/>
            <ac:spMk id="147" creationId="{8C0FF730-4E3E-41D5-C213-7111241771AA}"/>
          </ac:spMkLst>
        </pc:spChg>
        <pc:spChg chg="mod">
          <ac:chgData name="Joelle Brehm" userId="a518f54c-6985-42c0-8041-2bb16a414839" providerId="ADAL" clId="{9B2768D1-DFDD-45FF-849C-23AD8ECAB483}" dt="2024-05-07T20:47:48.550" v="6792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9B2768D1-DFDD-45FF-849C-23AD8ECAB483}" dt="2024-05-07T20:47:48.566" v="6803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9B2768D1-DFDD-45FF-849C-23AD8ECAB483}" dt="2024-05-07T20:46:43.173" v="4240"/>
          <ac:spMkLst>
            <pc:docMk/>
            <pc:sldMk cId="1450446987" sldId="264"/>
            <ac:spMk id="150" creationId="{06C6635C-8B7C-FB73-CBF4-A9F534D61A0F}"/>
          </ac:spMkLst>
        </pc:spChg>
        <pc:spChg chg="mod">
          <ac:chgData name="Joelle Brehm" userId="a518f54c-6985-42c0-8041-2bb16a414839" providerId="ADAL" clId="{9B2768D1-DFDD-45FF-849C-23AD8ECAB483}" dt="2024-05-07T20:47:48.583" v="6882"/>
          <ac:spMkLst>
            <pc:docMk/>
            <pc:sldMk cId="1450446987" sldId="264"/>
            <ac:spMk id="15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0:47:48.567" v="6819"/>
          <ac:spMkLst>
            <pc:docMk/>
            <pc:sldMk cId="1450446987" sldId="264"/>
            <ac:spMk id="154" creationId="{A61E4EE9-FC3E-9FF2-7995-0C75440B927B}"/>
          </ac:spMkLst>
        </pc:spChg>
        <pc:spChg chg="add mod replST">
          <ac:chgData name="Joelle Brehm" userId="a518f54c-6985-42c0-8041-2bb16a414839" providerId="ADAL" clId="{9B2768D1-DFDD-45FF-849C-23AD8ECAB483}" dt="2024-05-07T20:47:48.583" v="6864"/>
          <ac:spMkLst>
            <pc:docMk/>
            <pc:sldMk cId="1450446987" sldId="264"/>
            <ac:spMk id="156" creationId="{902C2402-C4BD-8EDF-25C8-90ADD0A03FD0}"/>
          </ac:spMkLst>
        </pc:spChg>
        <pc:spChg chg="mod">
          <ac:chgData name="Joelle Brehm" userId="a518f54c-6985-42c0-8041-2bb16a414839" providerId="ADAL" clId="{9B2768D1-DFDD-45FF-849C-23AD8ECAB483}" dt="2024-05-07T20:47:48.567" v="6818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9B2768D1-DFDD-45FF-849C-23AD8ECAB483}" dt="2024-05-07T20:47:48.567" v="6829"/>
          <ac:spMkLst>
            <pc:docMk/>
            <pc:sldMk cId="1450446987" sldId="264"/>
            <ac:spMk id="158" creationId="{5B6F19F9-65BC-D043-328A-0D4F88644681}"/>
          </ac:spMkLst>
        </pc:spChg>
        <pc:spChg chg="del mod">
          <ac:chgData name="Joelle Brehm" userId="a518f54c-6985-42c0-8041-2bb16a414839" providerId="ADAL" clId="{9B2768D1-DFDD-45FF-849C-23AD8ECAB483}" dt="2024-05-07T20:45:39.189" v="989"/>
          <ac:spMkLst>
            <pc:docMk/>
            <pc:sldMk cId="1450446987" sldId="264"/>
            <ac:spMk id="159" creationId="{35B271FB-A1D6-D982-7784-49F30BEC4F67}"/>
          </ac:spMkLst>
        </pc:spChg>
        <pc:spChg chg="del mod">
          <ac:chgData name="Joelle Brehm" userId="a518f54c-6985-42c0-8041-2bb16a414839" providerId="ADAL" clId="{9B2768D1-DFDD-45FF-849C-23AD8ECAB483}" dt="2024-05-07T20:46:19.797" v="3279"/>
          <ac:spMkLst>
            <pc:docMk/>
            <pc:sldMk cId="1450446987" sldId="264"/>
            <ac:spMk id="160" creationId="{07C3E5D2-7583-63D0-37B6-7B151A712896}"/>
          </ac:spMkLst>
        </pc:spChg>
        <pc:spChg chg="add del mod modVis">
          <ac:chgData name="Joelle Brehm" userId="a518f54c-6985-42c0-8041-2bb16a414839" providerId="ADAL" clId="{9B2768D1-DFDD-45FF-849C-23AD8ECAB483}" dt="2024-05-07T20:46:50.815" v="4695"/>
          <ac:spMkLst>
            <pc:docMk/>
            <pc:sldMk cId="1450446987" sldId="264"/>
            <ac:spMk id="161" creationId="{40493712-4A54-7963-9436-41660B634384}"/>
          </ac:spMkLst>
        </pc:spChg>
        <pc:spChg chg="mod">
          <ac:chgData name="Joelle Brehm" userId="a518f54c-6985-42c0-8041-2bb16a414839" providerId="ADAL" clId="{9B2768D1-DFDD-45FF-849C-23AD8ECAB483}" dt="2024-05-07T20:47:48.583" v="6892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9B2768D1-DFDD-45FF-849C-23AD8ECAB483}" dt="2024-05-07T20:47:48.567" v="6830"/>
          <ac:spMkLst>
            <pc:docMk/>
            <pc:sldMk cId="1450446987" sldId="264"/>
            <ac:spMk id="163" creationId="{B4BF5702-9B69-493D-938D-23FA87022A8B}"/>
          </ac:spMkLst>
        </pc:spChg>
        <pc:spChg chg="add mod replST">
          <ac:chgData name="Joelle Brehm" userId="a518f54c-6985-42c0-8041-2bb16a414839" providerId="ADAL" clId="{9B2768D1-DFDD-45FF-849C-23AD8ECAB483}" dt="2024-05-07T20:47:48.567" v="6811"/>
          <ac:spMkLst>
            <pc:docMk/>
            <pc:sldMk cId="1450446987" sldId="264"/>
            <ac:spMk id="165" creationId="{D3078392-342B-4A14-965B-E53779660EB4}"/>
          </ac:spMkLst>
        </pc:spChg>
        <pc:spChg chg="mod">
          <ac:chgData name="Joelle Brehm" userId="a518f54c-6985-42c0-8041-2bb16a414839" providerId="ADAL" clId="{9B2768D1-DFDD-45FF-849C-23AD8ECAB483}" dt="2024-05-07T20:47:48.583" v="6900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9B2768D1-DFDD-45FF-849C-23AD8ECAB483}" dt="2024-05-07T20:47:48.596" v="6911"/>
          <ac:spMkLst>
            <pc:docMk/>
            <pc:sldMk cId="1450446987" sldId="264"/>
            <ac:spMk id="167" creationId="{F4E87B54-979D-3FF4-CD65-15E354C7960B}"/>
          </ac:spMkLst>
        </pc:spChg>
        <pc:spChg chg="add del mod modVis">
          <ac:chgData name="Joelle Brehm" userId="a518f54c-6985-42c0-8041-2bb16a414839" providerId="ADAL" clId="{9B2768D1-DFDD-45FF-849C-23AD8ECAB483}" dt="2024-05-07T20:46:59.623" v="4975"/>
          <ac:spMkLst>
            <pc:docMk/>
            <pc:sldMk cId="1450446987" sldId="264"/>
            <ac:spMk id="168" creationId="{3289AB77-43C5-AC71-88CC-1E69BF6B6344}"/>
          </ac:spMkLst>
        </pc:spChg>
        <pc:spChg chg="add mod replST">
          <ac:chgData name="Joelle Brehm" userId="a518f54c-6985-42c0-8041-2bb16a414839" providerId="ADAL" clId="{9B2768D1-DFDD-45FF-849C-23AD8ECAB483}" dt="2024-05-07T20:47:48.567" v="6812"/>
          <ac:spMkLst>
            <pc:docMk/>
            <pc:sldMk cId="1450446987" sldId="264"/>
            <ac:spMk id="171" creationId="{02521747-4EA7-EBA7-60B9-46E342308390}"/>
          </ac:spMkLst>
        </pc:spChg>
        <pc:spChg chg="add del mod modVis">
          <ac:chgData name="Joelle Brehm" userId="a518f54c-6985-42c0-8041-2bb16a414839" providerId="ADAL" clId="{9B2768D1-DFDD-45FF-849C-23AD8ECAB483}" dt="2024-05-07T20:47:10.215" v="5430"/>
          <ac:spMkLst>
            <pc:docMk/>
            <pc:sldMk cId="1450446987" sldId="264"/>
            <ac:spMk id="172" creationId="{EE2E0D56-6BE9-1B70-4C81-8D31BB5238DD}"/>
          </ac:spMkLst>
        </pc:spChg>
        <pc:spChg chg="add mod replST">
          <ac:chgData name="Joelle Brehm" userId="a518f54c-6985-42c0-8041-2bb16a414839" providerId="ADAL" clId="{9B2768D1-DFDD-45FF-849C-23AD8ECAB483}" dt="2024-05-07T20:47:48.596" v="6919"/>
          <ac:spMkLst>
            <pc:docMk/>
            <pc:sldMk cId="1450446987" sldId="264"/>
            <ac:spMk id="174" creationId="{BE7D369D-FE1F-F329-EF37-274393F404C7}"/>
          </ac:spMkLst>
        </pc:spChg>
        <pc:spChg chg="add del mod modVis">
          <ac:chgData name="Joelle Brehm" userId="a518f54c-6985-42c0-8041-2bb16a414839" providerId="ADAL" clId="{9B2768D1-DFDD-45FF-849C-23AD8ECAB483}" dt="2024-05-07T20:47:24.484" v="5710"/>
          <ac:spMkLst>
            <pc:docMk/>
            <pc:sldMk cId="1450446987" sldId="264"/>
            <ac:spMk id="175" creationId="{364AC32B-FF77-A53E-8F5A-A79E7CE2D770}"/>
          </ac:spMkLst>
        </pc:spChg>
        <pc:spChg chg="add mod replST">
          <ac:chgData name="Joelle Brehm" userId="a518f54c-6985-42c0-8041-2bb16a414839" providerId="ADAL" clId="{9B2768D1-DFDD-45FF-849C-23AD8ECAB483}" dt="2024-05-07T20:47:48.596" v="6920"/>
          <ac:spMkLst>
            <pc:docMk/>
            <pc:sldMk cId="1450446987" sldId="264"/>
            <ac:spMk id="178" creationId="{3FCC73A5-96F5-4123-9A4F-494A345ED1CA}"/>
          </ac:spMkLst>
        </pc:spChg>
        <pc:spChg chg="add del mod modVis">
          <ac:chgData name="Joelle Brehm" userId="a518f54c-6985-42c0-8041-2bb16a414839" providerId="ADAL" clId="{9B2768D1-DFDD-45FF-849C-23AD8ECAB483}" dt="2024-05-07T20:47:32.649" v="6165"/>
          <ac:spMkLst>
            <pc:docMk/>
            <pc:sldMk cId="1450446987" sldId="264"/>
            <ac:spMk id="179" creationId="{5D45A1BB-4382-801A-031B-43D83A91CB6E}"/>
          </ac:spMkLst>
        </pc:spChg>
        <pc:spChg chg="add mod replST">
          <ac:chgData name="Joelle Brehm" userId="a518f54c-6985-42c0-8041-2bb16a414839" providerId="ADAL" clId="{9B2768D1-DFDD-45FF-849C-23AD8ECAB483}" dt="2024-05-07T20:47:48.567" v="6837"/>
          <ac:spMkLst>
            <pc:docMk/>
            <pc:sldMk cId="1450446987" sldId="264"/>
            <ac:spMk id="181" creationId="{3A6E87AF-E1F2-C08E-CB33-9D8ADE173A9B}"/>
          </ac:spMkLst>
        </pc:spChg>
        <pc:spChg chg="add mod replST">
          <ac:chgData name="Joelle Brehm" userId="a518f54c-6985-42c0-8041-2bb16a414839" providerId="ADAL" clId="{9B2768D1-DFDD-45FF-849C-23AD8ECAB483}" dt="2024-05-07T20:47:48.567" v="6838"/>
          <ac:spMkLst>
            <pc:docMk/>
            <pc:sldMk cId="1450446987" sldId="264"/>
            <ac:spMk id="182" creationId="{7A6F50F3-F84B-08E1-E393-88A2EBADD775}"/>
          </ac:spMkLst>
        </pc:spChg>
        <pc:spChg chg="add del mod modVis">
          <ac:chgData name="Joelle Brehm" userId="a518f54c-6985-42c0-8041-2bb16a414839" providerId="ADAL" clId="{9B2768D1-DFDD-45FF-849C-23AD8ECAB483}" dt="2024-05-07T20:47:43.542" v="6470"/>
          <ac:spMkLst>
            <pc:docMk/>
            <pc:sldMk cId="1450446987" sldId="264"/>
            <ac:spMk id="183" creationId="{948B91D0-811D-3FA8-6991-CADAB1AEAE5E}"/>
          </ac:spMkLst>
        </pc:spChg>
        <pc:spChg chg="add del mod modVis">
          <ac:chgData name="Joelle Brehm" userId="a518f54c-6985-42c0-8041-2bb16a414839" providerId="ADAL" clId="{9B2768D1-DFDD-45FF-849C-23AD8ECAB483}" dt="2024-05-07T20:47:46.715" v="6691"/>
          <ac:spMkLst>
            <pc:docMk/>
            <pc:sldMk cId="1450446987" sldId="264"/>
            <ac:spMk id="185" creationId="{49D65DBE-354C-6523-86AF-0AA240E7D47B}"/>
          </ac:spMkLst>
        </pc:spChg>
        <pc:spChg chg="mod ord">
          <ac:chgData name="Joelle Brehm" userId="a518f54c-6985-42c0-8041-2bb16a414839" providerId="ADAL" clId="{9B2768D1-DFDD-45FF-849C-23AD8ECAB483}" dt="2024-05-07T20:47:48.583" v="6894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9B2768D1-DFDD-45FF-849C-23AD8ECAB483}" dt="2024-05-07T20:47:48.596" v="6922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9B2768D1-DFDD-45FF-849C-23AD8ECAB483}" dt="2024-05-07T20:47:48.612" v="6926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5:42.840" v="1389"/>
          <ac:graphicFrameMkLst>
            <pc:docMk/>
            <pc:sldMk cId="1450446987" sldId="264"/>
            <ac:graphicFrameMk id="21" creationId="{DFB1F0A9-58B2-4396-A482-9643D070E39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5:49.626" v="1563"/>
          <ac:graphicFrameMkLst>
            <pc:docMk/>
            <pc:sldMk cId="1450446987" sldId="264"/>
            <ac:graphicFrameMk id="32" creationId="{9CB11D60-FE2D-AAB2-48E1-63B71131469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5:51.050" v="1755"/>
          <ac:graphicFrameMkLst>
            <pc:docMk/>
            <pc:sldMk cId="1450446987" sldId="264"/>
            <ac:graphicFrameMk id="35" creationId="{3B3AABBF-B0CC-1A4D-5D67-6837C6291F4F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0:46:43.097" v="4085"/>
          <ac:graphicFrameMkLst>
            <pc:docMk/>
            <pc:sldMk cId="1450446987" sldId="264"/>
            <ac:graphicFrameMk id="38" creationId="{623C81A7-778D-81E9-08FE-DF7A08E8597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5:56.974" v="1969"/>
          <ac:graphicFrameMkLst>
            <pc:docMk/>
            <pc:sldMk cId="1450446987" sldId="264"/>
            <ac:graphicFrameMk id="46" creationId="{11EBD153-9112-56E5-F062-4AFE59CAB8FB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0:46:59.546" v="4820"/>
          <ac:graphicFrameMkLst>
            <pc:docMk/>
            <pc:sldMk cId="1450446987" sldId="264"/>
            <ac:graphicFrameMk id="55" creationId="{94D26237-70C9-EE5A-4367-90170036BF1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5:59.475" v="2240"/>
          <ac:graphicFrameMkLst>
            <pc:docMk/>
            <pc:sldMk cId="1450446987" sldId="264"/>
            <ac:graphicFrameMk id="57" creationId="{33B0F9AB-A98E-1DBB-41BA-A51BF9BA507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01.120" v="2452"/>
          <ac:graphicFrameMkLst>
            <pc:docMk/>
            <pc:sldMk cId="1450446987" sldId="264"/>
            <ac:graphicFrameMk id="67" creationId="{62365B86-E3F3-05C8-C7DA-809E949075F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04.626" v="2680"/>
          <ac:graphicFrameMkLst>
            <pc:docMk/>
            <pc:sldMk cId="1450446987" sldId="264"/>
            <ac:graphicFrameMk id="74" creationId="{38A07B3F-6ECF-65F0-B35A-827752C87447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0:47:24.384" v="5555"/>
          <ac:graphicFrameMkLst>
            <pc:docMk/>
            <pc:sldMk cId="1450446987" sldId="264"/>
            <ac:graphicFrameMk id="78" creationId="{0CDAC30E-2169-3437-D7F0-1E593ACF0D5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05.946" v="2906"/>
          <ac:graphicFrameMkLst>
            <pc:docMk/>
            <pc:sldMk cId="1450446987" sldId="264"/>
            <ac:graphicFrameMk id="82" creationId="{1385E078-5EE3-1763-FDC2-5EDAF5A3B87D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07.420" v="3120"/>
          <ac:graphicFrameMkLst>
            <pc:docMk/>
            <pc:sldMk cId="1450446987" sldId="264"/>
            <ac:graphicFrameMk id="93" creationId="{E04DE6AB-9297-72D5-429F-60CCABDFBF6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19.835" v="3311"/>
          <ac:graphicFrameMkLst>
            <pc:docMk/>
            <pc:sldMk cId="1450446987" sldId="264"/>
            <ac:graphicFrameMk id="104" creationId="{5AEC23B5-9EA1-3CF2-5E5C-F4C6E12A10A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25.493" v="3565"/>
          <ac:graphicFrameMkLst>
            <pc:docMk/>
            <pc:sldMk cId="1450446987" sldId="264"/>
            <ac:graphicFrameMk id="108" creationId="{56B319F6-A5B1-52D2-8D2F-3E3273091DEB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0:47:43.469" v="6314"/>
          <ac:graphicFrameMkLst>
            <pc:docMk/>
            <pc:sldMk cId="1450446987" sldId="264"/>
            <ac:graphicFrameMk id="129" creationId="{B2344AE2-3D7A-9CF4-99CE-4200AEFC074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27.252" v="3766"/>
          <ac:graphicFrameMkLst>
            <pc:docMk/>
            <pc:sldMk cId="1450446987" sldId="264"/>
            <ac:graphicFrameMk id="137" creationId="{DB0463BA-CD8B-FB4D-29AB-B0100BD6302E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0:47:48.583" v="6876"/>
          <ac:graphicFrameMkLst>
            <pc:docMk/>
            <pc:sldMk cId="1450446987" sldId="264"/>
            <ac:graphicFrameMk id="145" creationId="{E9933C81-45F4-841D-3D21-FC1077F6A9B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45.380" v="4318"/>
          <ac:graphicFrameMkLst>
            <pc:docMk/>
            <pc:sldMk cId="1450446987" sldId="264"/>
            <ac:graphicFrameMk id="151" creationId="{1011FB6A-FD36-10AE-D076-DA693BE38C0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6:50.734" v="4541"/>
          <ac:graphicFrameMkLst>
            <pc:docMk/>
            <pc:sldMk cId="1450446987" sldId="264"/>
            <ac:graphicFrameMk id="153" creationId="{E4B12C4B-6379-10DF-9F18-E033ACB7CA75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0:45:39.365" v="1144"/>
          <ac:graphicFrameMkLst>
            <pc:docMk/>
            <pc:sldMk cId="1450446987" sldId="264"/>
            <ac:graphicFrameMk id="155" creationId="{4D015195-40DA-C778-74CD-44B34986665C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0:47:48.567" v="6840"/>
          <ac:graphicFrameMkLst>
            <pc:docMk/>
            <pc:sldMk cId="1450446987" sldId="264"/>
            <ac:graphicFrameMk id="164" creationId="{6628D721-0EDC-D26E-20E8-EB4E2E99CD2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7:01.776" v="5053"/>
          <ac:graphicFrameMkLst>
            <pc:docMk/>
            <pc:sldMk cId="1450446987" sldId="264"/>
            <ac:graphicFrameMk id="169" creationId="{FDADD13A-55A8-4111-034E-F0B561D2617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7:10.138" v="5276"/>
          <ac:graphicFrameMkLst>
            <pc:docMk/>
            <pc:sldMk cId="1450446987" sldId="264"/>
            <ac:graphicFrameMk id="170" creationId="{5BDE789E-7AC4-CA65-DA83-F3C4A0C5FD2F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0:47:48.550" v="6788"/>
          <ac:graphicFrameMkLst>
            <pc:docMk/>
            <pc:sldMk cId="1450446987" sldId="264"/>
            <ac:graphicFrameMk id="173" creationId="{346D626E-3996-2D3A-E0FE-3CBBC3DFB72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7:27.701" v="5788"/>
          <ac:graphicFrameMkLst>
            <pc:docMk/>
            <pc:sldMk cId="1450446987" sldId="264"/>
            <ac:graphicFrameMk id="176" creationId="{F09A26DF-9565-48EA-79CE-9F199EC9BCC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7:32.572" v="6011"/>
          <ac:graphicFrameMkLst>
            <pc:docMk/>
            <pc:sldMk cId="1450446987" sldId="264"/>
            <ac:graphicFrameMk id="177" creationId="{4E7E7810-C32F-2F6E-F595-81992BD7F9B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0:47:48.583" v="6896"/>
          <ac:graphicFrameMkLst>
            <pc:docMk/>
            <pc:sldMk cId="1450446987" sldId="264"/>
            <ac:graphicFrameMk id="180" creationId="{6E5B6ACB-65B2-7217-1E2A-2B6B717FD61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7:46.645" v="6535"/>
          <ac:graphicFrameMkLst>
            <pc:docMk/>
            <pc:sldMk cId="1450446987" sldId="264"/>
            <ac:graphicFrameMk id="184" creationId="{0C29DC18-AEB7-8C89-94E4-1B70A0AA5B6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7:48.517" v="6772"/>
          <ac:graphicFrameMkLst>
            <pc:docMk/>
            <pc:sldMk cId="1450446987" sldId="264"/>
            <ac:graphicFrameMk id="186" creationId="{01A5380F-C078-9330-1525-3B6203C9581D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0:47:48.567" v="6814"/>
          <ac:graphicFrameMkLst>
            <pc:docMk/>
            <pc:sldMk cId="1450446987" sldId="264"/>
            <ac:graphicFrameMk id="187" creationId="{F56DA7B4-07FF-66E6-3922-6B85A449D368}"/>
          </ac:graphicFrameMkLst>
        </pc:graphicFrameChg>
        <pc:picChg chg="mod ord">
          <ac:chgData name="Joelle Brehm" userId="a518f54c-6985-42c0-8041-2bb16a414839" providerId="ADAL" clId="{9B2768D1-DFDD-45FF-849C-23AD8ECAB483}" dt="2024-05-07T20:47:48.550" v="6786"/>
          <ac:picMkLst>
            <pc:docMk/>
            <pc:sldMk cId="1450446987" sldId="264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9B2768D1-DFDD-45FF-849C-23AD8ECAB483}" dt="2024-05-07T20:45:16.195" v="983" actId="478"/>
          <ac:picMkLst>
            <pc:docMk/>
            <pc:sldMk cId="1450446987" sldId="264"/>
            <ac:picMk id="9" creationId="{9412C57A-0EC9-8950-A05B-8760CF4825B8}"/>
          </ac:picMkLst>
        </pc:picChg>
        <pc:picChg chg="add mod ord">
          <ac:chgData name="Joelle Brehm" userId="a518f54c-6985-42c0-8041-2bb16a414839" providerId="ADAL" clId="{9B2768D1-DFDD-45FF-849C-23AD8ECAB483}" dt="2024-05-07T20:47:48.550" v="6780"/>
          <ac:picMkLst>
            <pc:docMk/>
            <pc:sldMk cId="1450446987" sldId="264"/>
            <ac:picMk id="10" creationId="{EF1B623F-1F0C-20F2-422E-1623C173AF08}"/>
          </ac:picMkLst>
        </pc:picChg>
      </pc:sldChg>
      <pc:sldChg chg="addSp delSp modSp mod">
        <pc:chgData name="Joelle Brehm" userId="a518f54c-6985-42c0-8041-2bb16a414839" providerId="ADAL" clId="{9B2768D1-DFDD-45FF-849C-23AD8ECAB483}" dt="2024-05-07T22:01:08.178" v="16984"/>
        <pc:sldMkLst>
          <pc:docMk/>
          <pc:sldMk cId="3436037945" sldId="265"/>
        </pc:sldMkLst>
        <pc:spChg chg="mod ord">
          <ac:chgData name="Joelle Brehm" userId="a518f54c-6985-42c0-8041-2bb16a414839" providerId="ADAL" clId="{9B2768D1-DFDD-45FF-849C-23AD8ECAB483}" dt="2024-05-07T22:01:08.163" v="16978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9B2768D1-DFDD-45FF-849C-23AD8ECAB483}" dt="2024-05-07T22:00:18.097" v="15509" actId="478"/>
          <ac:spMkLst>
            <pc:docMk/>
            <pc:sldMk cId="3436037945" sldId="265"/>
            <ac:spMk id="3" creationId="{A871B694-B536-14CB-1886-7622FBAF18C3}"/>
          </ac:spMkLst>
        </pc:spChg>
        <pc:spChg chg="add del mod modVis">
          <ac:chgData name="Joelle Brehm" userId="a518f54c-6985-42c0-8041-2bb16a414839" providerId="ADAL" clId="{9B2768D1-DFDD-45FF-849C-23AD8ECAB483}" dt="2024-05-07T22:00:28.541" v="15724"/>
          <ac:spMkLst>
            <pc:docMk/>
            <pc:sldMk cId="3436037945" sldId="265"/>
            <ac:spMk id="5" creationId="{37235D16-E576-B078-846F-2259EB3F107B}"/>
          </ac:spMkLst>
        </pc:spChg>
        <pc:spChg chg="mod ord">
          <ac:chgData name="Joelle Brehm" userId="a518f54c-6985-42c0-8041-2bb16a414839" providerId="ADAL" clId="{9B2768D1-DFDD-45FF-849C-23AD8ECAB483}" dt="2024-05-07T22:01:08.125" v="16913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7T22:01:08.141" v="16924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7T22:01:08.141" v="16920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7T22:01:08.141" v="16921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7T22:01:08.141" v="16918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7T22:01:08.141" v="16919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7T22:01:08.141" v="16922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7T22:01:08.141" v="16923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7T22:01:08.141" v="16925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7T22:01:08.141" v="16926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7T22:01:08.141" v="16927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7T22:01:08.141" v="16928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7T22:01:08.141" v="16929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7T22:01:08.141" v="16931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7T22:01:08.147" v="16932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7T22:01:08.147" v="16934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7T22:01:08.147" v="16933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7T22:01:08.148" v="16936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7T22:01:08.148" v="16937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7T22:01:08.147" v="16935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7T22:01:08.148" v="16939"/>
          <ac:spMkLst>
            <pc:docMk/>
            <pc:sldMk cId="3436037945" sldId="26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7T22:00:50.778" v="15978"/>
          <ac:spMkLst>
            <pc:docMk/>
            <pc:sldMk cId="3436037945" sldId="265"/>
            <ac:spMk id="32" creationId="{679A40AD-6D70-74DA-1C27-CADE2A4C1271}"/>
          </ac:spMkLst>
        </pc:spChg>
        <pc:spChg chg="mod">
          <ac:chgData name="Joelle Brehm" userId="a518f54c-6985-42c0-8041-2bb16a414839" providerId="ADAL" clId="{9B2768D1-DFDD-45FF-849C-23AD8ECAB483}" dt="2024-05-07T22:01:08.148" v="16952"/>
          <ac:spMkLst>
            <pc:docMk/>
            <pc:sldMk cId="3436037945" sldId="265"/>
            <ac:spMk id="34" creationId="{0D8F1153-C700-1624-1BA5-E3705911D87E}"/>
          </ac:spMkLst>
        </pc:spChg>
        <pc:spChg chg="add mod replST">
          <ac:chgData name="Joelle Brehm" userId="a518f54c-6985-42c0-8041-2bb16a414839" providerId="ADAL" clId="{9B2768D1-DFDD-45FF-849C-23AD8ECAB483}" dt="2024-05-07T22:01:08.148" v="16953"/>
          <ac:spMkLst>
            <pc:docMk/>
            <pc:sldMk cId="3436037945" sldId="265"/>
            <ac:spMk id="36" creationId="{333AFDD8-E0B1-BD9E-01EF-EFEE04334D1E}"/>
          </ac:spMkLst>
        </pc:spChg>
        <pc:spChg chg="add del mod modVis">
          <ac:chgData name="Joelle Brehm" userId="a518f54c-6985-42c0-8041-2bb16a414839" providerId="ADAL" clId="{9B2768D1-DFDD-45FF-849C-23AD8ECAB483}" dt="2024-05-07T22:00:59.224" v="16427"/>
          <ac:spMkLst>
            <pc:docMk/>
            <pc:sldMk cId="3436037945" sldId="265"/>
            <ac:spMk id="37" creationId="{381AE3FB-C21D-9DF0-C1D3-A6F5CC4C6D90}"/>
          </ac:spMkLst>
        </pc:spChg>
        <pc:spChg chg="add del mod ord replST">
          <ac:chgData name="Joelle Brehm" userId="a518f54c-6985-42c0-8041-2bb16a414839" providerId="ADAL" clId="{9B2768D1-DFDD-45FF-849C-23AD8ECAB483}" dt="2024-05-07T22:01:08.095" v="16894"/>
          <ac:spMkLst>
            <pc:docMk/>
            <pc:sldMk cId="3436037945" sldId="265"/>
            <ac:spMk id="38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2:01:01.681" v="16604"/>
          <ac:spMkLst>
            <pc:docMk/>
            <pc:sldMk cId="3436037945" sldId="265"/>
            <ac:spMk id="40" creationId="{6FDC6004-47E0-C3D8-D4E0-1663EE8C4C6B}"/>
          </ac:spMkLst>
        </pc:spChg>
        <pc:spChg chg="add del mod ord replST">
          <ac:chgData name="Joelle Brehm" userId="a518f54c-6985-42c0-8041-2bb16a414839" providerId="ADAL" clId="{9B2768D1-DFDD-45FF-849C-23AD8ECAB483}" dt="2024-05-07T22:01:08.095" v="16901"/>
          <ac:spMkLst>
            <pc:docMk/>
            <pc:sldMk cId="3436037945" sldId="265"/>
            <ac:spMk id="43" creationId="{A8157CEB-28F5-5400-EA4E-E67375EA50F9}"/>
          </ac:spMkLst>
        </pc:spChg>
        <pc:spChg chg="add del mod modVis">
          <ac:chgData name="Joelle Brehm" userId="a518f54c-6985-42c0-8041-2bb16a414839" providerId="ADAL" clId="{9B2768D1-DFDD-45FF-849C-23AD8ECAB483}" dt="2024-05-07T22:01:04.420" v="16798"/>
          <ac:spMkLst>
            <pc:docMk/>
            <pc:sldMk cId="3436037945" sldId="265"/>
            <ac:spMk id="44" creationId="{CDCD866A-5AE7-D3E8-BA1F-397161E2FF98}"/>
          </ac:spMkLst>
        </pc:spChg>
        <pc:spChg chg="add del mod modVis">
          <ac:chgData name="Joelle Brehm" userId="a518f54c-6985-42c0-8041-2bb16a414839" providerId="ADAL" clId="{9B2768D1-DFDD-45FF-849C-23AD8ECAB483}" dt="2024-05-07T22:01:08.163" v="16982"/>
          <ac:spMkLst>
            <pc:docMk/>
            <pc:sldMk cId="3436037945" sldId="265"/>
            <ac:spMk id="46" creationId="{0652ED47-3DDB-A105-ED37-4E29C571F41B}"/>
          </ac:spMkLst>
        </pc:spChg>
        <pc:spChg chg="mod ord">
          <ac:chgData name="Joelle Brehm" userId="a518f54c-6985-42c0-8041-2bb16a414839" providerId="ADAL" clId="{9B2768D1-DFDD-45FF-849C-23AD8ECAB483}" dt="2024-05-07T22:01:08.148" v="16955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7T22:01:08.148" v="16957"/>
          <ac:spMkLst>
            <pc:docMk/>
            <pc:sldMk cId="3436037945" sldId="265"/>
            <ac:spMk id="79" creationId="{F1476AC4-694B-4D83-BFD8-8DCAA4BB1923}"/>
          </ac:spMkLst>
        </pc:spChg>
        <pc:spChg chg="del mod">
          <ac:chgData name="Joelle Brehm" userId="a518f54c-6985-42c0-8041-2bb16a414839" providerId="ADAL" clId="{9B2768D1-DFDD-45FF-849C-23AD8ECAB483}" dt="2024-05-07T22:01:08.011" v="16801"/>
          <ac:spMkLst>
            <pc:docMk/>
            <pc:sldMk cId="3436037945" sldId="265"/>
            <ac:spMk id="9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2"/>
          <ac:spMkLst>
            <pc:docMk/>
            <pc:sldMk cId="3436037945" sldId="265"/>
            <ac:spMk id="9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3"/>
          <ac:spMkLst>
            <pc:docMk/>
            <pc:sldMk cId="3436037945" sldId="265"/>
            <ac:spMk id="9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4"/>
          <ac:spMkLst>
            <pc:docMk/>
            <pc:sldMk cId="3436037945" sldId="265"/>
            <ac:spMk id="9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5"/>
          <ac:spMkLst>
            <pc:docMk/>
            <pc:sldMk cId="3436037945" sldId="265"/>
            <ac:spMk id="9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6"/>
          <ac:spMkLst>
            <pc:docMk/>
            <pc:sldMk cId="3436037945" sldId="265"/>
            <ac:spMk id="9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7"/>
          <ac:spMkLst>
            <pc:docMk/>
            <pc:sldMk cId="3436037945" sldId="265"/>
            <ac:spMk id="9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8"/>
          <ac:spMkLst>
            <pc:docMk/>
            <pc:sldMk cId="3436037945" sldId="265"/>
            <ac:spMk id="9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49"/>
          <ac:spMkLst>
            <pc:docMk/>
            <pc:sldMk cId="3436037945" sldId="265"/>
            <ac:spMk id="98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50"/>
          <ac:spMkLst>
            <pc:docMk/>
            <pc:sldMk cId="3436037945" sldId="265"/>
            <ac:spMk id="99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7T22:01:08.148" v="16959"/>
          <ac:spMkLst>
            <pc:docMk/>
            <pc:sldMk cId="3436037945" sldId="265"/>
            <ac:spMk id="100" creationId="{8B5667AB-609C-4AEA-83B3-24E395C8F420}"/>
          </ac:spMkLst>
        </pc:spChg>
        <pc:spChg chg="mod">
          <ac:chgData name="Joelle Brehm" userId="a518f54c-6985-42c0-8041-2bb16a414839" providerId="ADAL" clId="{9B2768D1-DFDD-45FF-849C-23AD8ECAB483}" dt="2024-05-07T22:01:08.148" v="16951"/>
          <ac:spMkLst>
            <pc:docMk/>
            <pc:sldMk cId="3436037945" sldId="265"/>
            <ac:spMk id="101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7T22:01:08.148" v="16961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7T22:01:08.148" v="16963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7T22:01:08.148" v="16965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9B2768D1-DFDD-45FF-849C-23AD8ECAB483}" dt="2024-05-07T22:01:08.148" v="16976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9B2768D1-DFDD-45FF-849C-23AD8ECAB483}" dt="2024-05-07T22:01:08.148" v="16968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69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70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1:08.148" v="16971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7T22:01:08.148" v="16972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7T22:01:08.178" v="16984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01:08.141" v="16917"/>
          <ac:graphicFrameMkLst>
            <pc:docMk/>
            <pc:sldMk cId="3436037945" sldId="265"/>
            <ac:graphicFrameMk id="8" creationId="{44D3C9D0-494A-765F-185D-2F4AA6E8AC52}"/>
          </ac:graphicFrameMkLst>
        </pc:graphicFrameChg>
        <pc:graphicFrameChg chg="del">
          <ac:chgData name="Joelle Brehm" userId="a518f54c-6985-42c0-8041-2bb16a414839" providerId="ADAL" clId="{9B2768D1-DFDD-45FF-849C-23AD8ECAB483}" dt="2024-05-07T22:00:28.422" v="15641"/>
          <ac:graphicFrameMkLst>
            <pc:docMk/>
            <pc:sldMk cId="3436037945" sldId="265"/>
            <ac:graphicFrameMk id="10" creationId="{149A44AC-9B25-7C17-E71C-3BAB404696EE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2:00:50.698" v="15899"/>
          <ac:graphicFrameMkLst>
            <pc:docMk/>
            <pc:sldMk cId="3436037945" sldId="265"/>
            <ac:graphicFrameMk id="33" creationId="{ED156218-AA4D-BD3F-7A77-AD50059DF02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01:08.148" v="16967"/>
          <ac:graphicFrameMkLst>
            <pc:docMk/>
            <pc:sldMk cId="3436037945" sldId="265"/>
            <ac:graphicFrameMk id="35" creationId="{5A2F055B-ECD7-42D6-BFCD-6DBE1227095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01:01.631" v="16509"/>
          <ac:graphicFrameMkLst>
            <pc:docMk/>
            <pc:sldMk cId="3436037945" sldId="265"/>
            <ac:graphicFrameMk id="39" creationId="{C03490D5-4E9E-DA46-0BA4-0DC3CB2053BA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2:00:59.144" v="16332"/>
          <ac:graphicFrameMkLst>
            <pc:docMk/>
            <pc:sldMk cId="3436037945" sldId="265"/>
            <ac:graphicFrameMk id="41" creationId="{089478CF-2BB5-0D21-56CB-457BAAD07A5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01:04.352" v="16701"/>
          <ac:graphicFrameMkLst>
            <pc:docMk/>
            <pc:sldMk cId="3436037945" sldId="265"/>
            <ac:graphicFrameMk id="42" creationId="{4971ECAE-D7CF-CAFB-C137-10CE0EC9770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01:08.095" v="16903"/>
          <ac:graphicFrameMkLst>
            <pc:docMk/>
            <pc:sldMk cId="3436037945" sldId="265"/>
            <ac:graphicFrameMk id="45" creationId="{8C947F36-8646-C0AA-0CFB-E9479EC6F999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01:08.148" v="16941"/>
          <ac:graphicFrameMkLst>
            <pc:docMk/>
            <pc:sldMk cId="3436037945" sldId="265"/>
            <ac:graphicFrameMk id="47" creationId="{14B5F407-E312-EF3A-F591-74B699423D6D}"/>
          </ac:graphicFrameMkLst>
        </pc:graphicFrameChg>
        <pc:picChg chg="add mod ord">
          <ac:chgData name="Joelle Brehm" userId="a518f54c-6985-42c0-8041-2bb16a414839" providerId="ADAL" clId="{9B2768D1-DFDD-45FF-849C-23AD8ECAB483}" dt="2024-05-07T22:01:08.125" v="16911"/>
          <ac:picMkLst>
            <pc:docMk/>
            <pc:sldMk cId="3436037945" sldId="265"/>
            <ac:picMk id="9" creationId="{F2C01663-492A-3B2F-E107-98E609205EE7}"/>
          </ac:picMkLst>
        </pc:picChg>
        <pc:picChg chg="del mod ord">
          <ac:chgData name="Joelle Brehm" userId="a518f54c-6985-42c0-8041-2bb16a414839" providerId="ADAL" clId="{9B2768D1-DFDD-45FF-849C-23AD8ECAB483}" dt="2024-05-07T22:00:42.144" v="15810" actId="478"/>
          <ac:picMkLst>
            <pc:docMk/>
            <pc:sldMk cId="3436037945" sldId="265"/>
            <ac:picMk id="31" creationId="{1AE5981B-8A04-C4A1-A770-29D9BDC3D813}"/>
          </ac:picMkLst>
        </pc:picChg>
        <pc:picChg chg="mod ord">
          <ac:chgData name="Joelle Brehm" userId="a518f54c-6985-42c0-8041-2bb16a414839" providerId="ADAL" clId="{9B2768D1-DFDD-45FF-849C-23AD8ECAB483}" dt="2024-05-07T22:01:08.148" v="16974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7T22:01:08.140" v="16915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7T22:00:12.399" v="15508"/>
        <pc:sldMkLst>
          <pc:docMk/>
          <pc:sldMk cId="2057745716" sldId="266"/>
        </pc:sldMkLst>
        <pc:spChg chg="mod ord">
          <ac:chgData name="Joelle Brehm" userId="a518f54c-6985-42c0-8041-2bb16a414839" providerId="ADAL" clId="{9B2768D1-DFDD-45FF-849C-23AD8ECAB483}" dt="2024-05-07T22:00:12.382" v="15502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9B2768D1-DFDD-45FF-849C-23AD8ECAB483}" dt="2024-05-07T21:57:17.723" v="13285" actId="478"/>
          <ac:spMkLst>
            <pc:docMk/>
            <pc:sldMk cId="2057745716" sldId="266"/>
            <ac:spMk id="3" creationId="{7C6B3500-0BB5-044C-2E69-5E88F3E42DCB}"/>
          </ac:spMkLst>
        </pc:spChg>
        <pc:spChg chg="add del mod modVis">
          <ac:chgData name="Joelle Brehm" userId="a518f54c-6985-42c0-8041-2bb16a414839" providerId="ADAL" clId="{9B2768D1-DFDD-45FF-849C-23AD8ECAB483}" dt="2024-05-07T21:58:52.803" v="13773"/>
          <ac:spMkLst>
            <pc:docMk/>
            <pc:sldMk cId="2057745716" sldId="266"/>
            <ac:spMk id="5" creationId="{26F58DDD-400F-92FA-62C5-98959DBABB16}"/>
          </ac:spMkLst>
        </pc:spChg>
        <pc:spChg chg="add del mod modVis">
          <ac:chgData name="Joelle Brehm" userId="a518f54c-6985-42c0-8041-2bb16a414839" providerId="ADAL" clId="{9B2768D1-DFDD-45FF-849C-23AD8ECAB483}" dt="2024-05-07T21:57:23.463" v="13534"/>
          <ac:spMkLst>
            <pc:docMk/>
            <pc:sldMk cId="2057745716" sldId="266"/>
            <ac:spMk id="5" creationId="{5AAA9B93-AB33-18B1-0F56-134B2EFBC94B}"/>
          </ac:spMkLst>
        </pc:spChg>
        <pc:spChg chg="mod ord">
          <ac:chgData name="Joelle Brehm" userId="a518f54c-6985-42c0-8041-2bb16a414839" providerId="ADAL" clId="{9B2768D1-DFDD-45FF-849C-23AD8ECAB483}" dt="2024-05-07T22:00:12.365" v="15420"/>
          <ac:spMkLst>
            <pc:docMk/>
            <pc:sldMk cId="2057745716" sldId="26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9B2768D1-DFDD-45FF-849C-23AD8ECAB483}" dt="2024-05-07T21:59:09.670" v="13975"/>
          <ac:spMkLst>
            <pc:docMk/>
            <pc:sldMk cId="2057745716" sldId="266"/>
            <ac:spMk id="10" creationId="{A2B66A16-D0F3-2C86-479E-1A7FBEF9B35B}"/>
          </ac:spMkLst>
        </pc:spChg>
        <pc:spChg chg="mod">
          <ac:chgData name="Joelle Brehm" userId="a518f54c-6985-42c0-8041-2bb16a414839" providerId="ADAL" clId="{9B2768D1-DFDD-45FF-849C-23AD8ECAB483}" dt="2024-05-07T22:00:12.365" v="15431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7T22:00:12.365" v="15427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7T22:00:12.365" v="15428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7T22:00:12.365" v="15425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7T22:00:12.365" v="15426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7T22:00:12.365" v="15429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7T22:00:12.365" v="15430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7T22:00:12.365" v="15432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7T22:00:12.365" v="15433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7T22:00:12.365" v="15434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7T22:00:12.365" v="15435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7T22:00:12.365" v="15436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7T22:00:12.365" v="15438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7T22:00:12.365" v="15439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7T22:00:12.365" v="15441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7T22:00:12.365" v="15440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7T22:00:12.365" v="15443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7T22:00:12.365" v="15444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7T22:00:12.365" v="15442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7T22:00:12.365" v="15446"/>
          <ac:spMkLst>
            <pc:docMk/>
            <pc:sldMk cId="2057745716" sldId="266"/>
            <ac:spMk id="30" creationId="{121A2A89-FB4E-4B9A-840D-28523B0B457F}"/>
          </ac:spMkLst>
        </pc:spChg>
        <pc:spChg chg="del mod">
          <ac:chgData name="Joelle Brehm" userId="a518f54c-6985-42c0-8041-2bb16a414839" providerId="ADAL" clId="{9B2768D1-DFDD-45FF-849C-23AD8ECAB483}" dt="2024-05-07T22:00:06.421" v="14930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9B2768D1-DFDD-45FF-849C-23AD8ECAB483}" dt="2024-05-07T22:00:12.382" v="15465"/>
          <ac:spMkLst>
            <pc:docMk/>
            <pc:sldMk cId="2057745716" sldId="266"/>
            <ac:spMk id="33" creationId="{4776A783-F061-E03D-5F78-B2DE3144370E}"/>
          </ac:spMkLst>
        </pc:spChg>
        <pc:spChg chg="add mod replST">
          <ac:chgData name="Joelle Brehm" userId="a518f54c-6985-42c0-8041-2bb16a414839" providerId="ADAL" clId="{9B2768D1-DFDD-45FF-849C-23AD8ECAB483}" dt="2024-05-07T22:00:12.382" v="15476"/>
          <ac:spMkLst>
            <pc:docMk/>
            <pc:sldMk cId="2057745716" sldId="266"/>
            <ac:spMk id="34" creationId="{EB7A9B08-9CC4-7D90-684D-A15198618679}"/>
          </ac:spMkLst>
        </pc:spChg>
        <pc:spChg chg="mod">
          <ac:chgData name="Joelle Brehm" userId="a518f54c-6985-42c0-8041-2bb16a414839" providerId="ADAL" clId="{9B2768D1-DFDD-45FF-849C-23AD8ECAB483}" dt="2024-05-07T22:00:12.382" v="15467"/>
          <ac:spMkLst>
            <pc:docMk/>
            <pc:sldMk cId="2057745716" sldId="266"/>
            <ac:spMk id="35" creationId="{07FC4FF1-C9FC-C6C2-5A5D-6EECA837BD15}"/>
          </ac:spMkLst>
        </pc:spChg>
        <pc:spChg chg="mod">
          <ac:chgData name="Joelle Brehm" userId="a518f54c-6985-42c0-8041-2bb16a414839" providerId="ADAL" clId="{9B2768D1-DFDD-45FF-849C-23AD8ECAB483}" dt="2024-05-07T22:00:12.382" v="15469"/>
          <ac:spMkLst>
            <pc:docMk/>
            <pc:sldMk cId="2057745716" sldId="266"/>
            <ac:spMk id="36" creationId="{3764C828-0438-D875-2C45-33FA7010F8CA}"/>
          </ac:spMkLst>
        </pc:spChg>
        <pc:spChg chg="mod">
          <ac:chgData name="Joelle Brehm" userId="a518f54c-6985-42c0-8041-2bb16a414839" providerId="ADAL" clId="{9B2768D1-DFDD-45FF-849C-23AD8ECAB483}" dt="2024-05-07T22:00:12.382" v="15468"/>
          <ac:spMkLst>
            <pc:docMk/>
            <pc:sldMk cId="2057745716" sldId="266"/>
            <ac:spMk id="37" creationId="{33181A84-3557-D464-C31E-C60C3CBB82A3}"/>
          </ac:spMkLst>
        </pc:spChg>
        <pc:spChg chg="mod">
          <ac:chgData name="Joelle Brehm" userId="a518f54c-6985-42c0-8041-2bb16a414839" providerId="ADAL" clId="{9B2768D1-DFDD-45FF-849C-23AD8ECAB483}" dt="2024-05-07T22:00:12.382" v="15471"/>
          <ac:spMkLst>
            <pc:docMk/>
            <pc:sldMk cId="2057745716" sldId="266"/>
            <ac:spMk id="39" creationId="{D8831937-ECCE-17CE-638D-71442AEB8CE1}"/>
          </ac:spMkLst>
        </pc:spChg>
        <pc:spChg chg="add mod ord replST">
          <ac:chgData name="Joelle Brehm" userId="a518f54c-6985-42c0-8041-2bb16a414839" providerId="ADAL" clId="{9B2768D1-DFDD-45FF-849C-23AD8ECAB483}" dt="2024-05-07T22:00:12.382" v="15477"/>
          <ac:spMkLst>
            <pc:docMk/>
            <pc:sldMk cId="2057745716" sldId="266"/>
            <ac:spMk id="40" creationId="{B63DF34A-371F-B967-599A-EF5B6C687D09}"/>
          </ac:spMkLst>
        </pc:spChg>
        <pc:spChg chg="mod">
          <ac:chgData name="Joelle Brehm" userId="a518f54c-6985-42c0-8041-2bb16a414839" providerId="ADAL" clId="{9B2768D1-DFDD-45FF-849C-23AD8ECAB483}" dt="2024-05-07T22:00:12.382" v="15470"/>
          <ac:spMkLst>
            <pc:docMk/>
            <pc:sldMk cId="2057745716" sldId="266"/>
            <ac:spMk id="41" creationId="{29AEB0C0-1606-DAD4-E036-1191325B42B8}"/>
          </ac:spMkLst>
        </pc:spChg>
        <pc:spChg chg="add del mod modVis">
          <ac:chgData name="Joelle Brehm" userId="a518f54c-6985-42c0-8041-2bb16a414839" providerId="ADAL" clId="{9B2768D1-DFDD-45FF-849C-23AD8ECAB483}" dt="2024-05-07T21:59:47.380" v="14349"/>
          <ac:spMkLst>
            <pc:docMk/>
            <pc:sldMk cId="2057745716" sldId="266"/>
            <ac:spMk id="42" creationId="{577A043B-51DF-B485-87A7-630CD9F607B8}"/>
          </ac:spMkLst>
        </pc:spChg>
        <pc:spChg chg="mod">
          <ac:chgData name="Joelle Brehm" userId="a518f54c-6985-42c0-8041-2bb16a414839" providerId="ADAL" clId="{9B2768D1-DFDD-45FF-849C-23AD8ECAB483}" dt="2024-05-07T22:00:12.382" v="15475"/>
          <ac:spMkLst>
            <pc:docMk/>
            <pc:sldMk cId="2057745716" sldId="266"/>
            <ac:spMk id="43" creationId="{AB0D7F40-1892-EEC1-1C0A-D5919B7B2012}"/>
          </ac:spMkLst>
        </pc:spChg>
        <pc:spChg chg="mod">
          <ac:chgData name="Joelle Brehm" userId="a518f54c-6985-42c0-8041-2bb16a414839" providerId="ADAL" clId="{9B2768D1-DFDD-45FF-849C-23AD8ECAB483}" dt="2024-05-07T22:00:12.382" v="15473"/>
          <ac:spMkLst>
            <pc:docMk/>
            <pc:sldMk cId="2057745716" sldId="266"/>
            <ac:spMk id="45" creationId="{B82AA6F2-A080-E1BB-74E5-DD473360855A}"/>
          </ac:spMkLst>
        </pc:spChg>
        <pc:spChg chg="mod">
          <ac:chgData name="Joelle Brehm" userId="a518f54c-6985-42c0-8041-2bb16a414839" providerId="ADAL" clId="{9B2768D1-DFDD-45FF-849C-23AD8ECAB483}" dt="2024-05-07T22:00:12.382" v="15466"/>
          <ac:spMkLst>
            <pc:docMk/>
            <pc:sldMk cId="2057745716" sldId="266"/>
            <ac:spMk id="46" creationId="{F71F0A63-DF39-49D4-2B0A-063A8976E855}"/>
          </ac:spMkLst>
        </pc:spChg>
        <pc:spChg chg="add del mod modVis">
          <ac:chgData name="Joelle Brehm" userId="a518f54c-6985-42c0-8041-2bb16a414839" providerId="ADAL" clId="{9B2768D1-DFDD-45FF-849C-23AD8ECAB483}" dt="2024-05-07T21:59:49.008" v="14543"/>
          <ac:spMkLst>
            <pc:docMk/>
            <pc:sldMk cId="2057745716" sldId="266"/>
            <ac:spMk id="47" creationId="{702B3811-B8E9-C323-B2D0-13A91596B5A0}"/>
          </ac:spMkLst>
        </pc:spChg>
        <pc:spChg chg="mod">
          <ac:chgData name="Joelle Brehm" userId="a518f54c-6985-42c0-8041-2bb16a414839" providerId="ADAL" clId="{9B2768D1-DFDD-45FF-849C-23AD8ECAB483}" dt="2024-05-07T22:00:12.382" v="15464"/>
          <ac:spMkLst>
            <pc:docMk/>
            <pc:sldMk cId="2057745716" sldId="266"/>
            <ac:spMk id="48" creationId="{83D70FB8-70C1-9516-ECF9-CBF5EA76AE37}"/>
          </ac:spMkLst>
        </pc:spChg>
        <pc:spChg chg="del mod">
          <ac:chgData name="Joelle Brehm" userId="a518f54c-6985-42c0-8041-2bb16a414839" providerId="ADAL" clId="{9B2768D1-DFDD-45FF-849C-23AD8ECAB483}" dt="2024-05-07T22:00:06.412" v="14929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9B2768D1-DFDD-45FF-849C-23AD8ECAB483}" dt="2024-05-07T22:00:12.365" v="15455"/>
          <ac:spMkLst>
            <pc:docMk/>
            <pc:sldMk cId="2057745716" sldId="266"/>
            <ac:spMk id="50" creationId="{4FCAC78F-B3E8-9365-B004-1D6F847392EE}"/>
          </ac:spMkLst>
        </pc:spChg>
        <pc:spChg chg="mod ord">
          <ac:chgData name="Joelle Brehm" userId="a518f54c-6985-42c0-8041-2bb16a414839" providerId="ADAL" clId="{9B2768D1-DFDD-45FF-849C-23AD8ECAB483}" dt="2024-05-07T22:00:12.365" v="15454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9B2768D1-DFDD-45FF-849C-23AD8ECAB483}" dt="2024-05-07T22:00:12.382" v="15461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9B2768D1-DFDD-45FF-849C-23AD8ECAB483}" dt="2024-05-07T22:00:12.382" v="15460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9B2768D1-DFDD-45FF-849C-23AD8ECAB483}" dt="2024-05-07T22:00:12.381" v="15457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9B2768D1-DFDD-45FF-849C-23AD8ECAB483}" dt="2024-05-07T22:00:12.365" v="15456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9B2768D1-DFDD-45FF-849C-23AD8ECAB483}" dt="2024-05-07T22:00:12.382" v="15459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9B2768D1-DFDD-45FF-849C-23AD8ECAB483}" dt="2024-05-07T22:00:12.381" v="15458"/>
          <ac:spMkLst>
            <pc:docMk/>
            <pc:sldMk cId="2057745716" sldId="266"/>
            <ac:spMk id="57" creationId="{5B53372F-C271-7F94-7100-D104F06C3037}"/>
          </ac:spMkLst>
        </pc:spChg>
        <pc:spChg chg="mod">
          <ac:chgData name="Joelle Brehm" userId="a518f54c-6985-42c0-8041-2bb16a414839" providerId="ADAL" clId="{9B2768D1-DFDD-45FF-849C-23AD8ECAB483}" dt="2024-05-07T22:00:12.382" v="15463"/>
          <ac:spMkLst>
            <pc:docMk/>
            <pc:sldMk cId="2057745716" sldId="266"/>
            <ac:spMk id="58" creationId="{DAA22F52-9C0E-72DF-927C-E34B49E164A2}"/>
          </ac:spMkLst>
        </pc:spChg>
        <pc:spChg chg="mod">
          <ac:chgData name="Joelle Brehm" userId="a518f54c-6985-42c0-8041-2bb16a414839" providerId="ADAL" clId="{9B2768D1-DFDD-45FF-849C-23AD8ECAB483}" dt="2024-05-07T22:00:12.382" v="15472"/>
          <ac:spMkLst>
            <pc:docMk/>
            <pc:sldMk cId="2057745716" sldId="266"/>
            <ac:spMk id="59" creationId="{37F90B60-CDE7-7CB7-7193-5A82F5ACF164}"/>
          </ac:spMkLst>
        </pc:spChg>
        <pc:spChg chg="mod">
          <ac:chgData name="Joelle Brehm" userId="a518f54c-6985-42c0-8041-2bb16a414839" providerId="ADAL" clId="{9B2768D1-DFDD-45FF-849C-23AD8ECAB483}" dt="2024-05-07T22:00:12.382" v="15462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9B2768D1-DFDD-45FF-849C-23AD8ECAB483}" dt="2024-05-07T21:59:51.744" v="14737"/>
          <ac:spMkLst>
            <pc:docMk/>
            <pc:sldMk cId="2057745716" sldId="266"/>
            <ac:spMk id="62" creationId="{CFD2613A-EC05-266F-EE0D-3C12D29A99DB}"/>
          </ac:spMkLst>
        </pc:spChg>
        <pc:spChg chg="mod">
          <ac:chgData name="Joelle Brehm" userId="a518f54c-6985-42c0-8041-2bb16a414839" providerId="ADAL" clId="{9B2768D1-DFDD-45FF-849C-23AD8ECAB483}" dt="2024-05-07T22:00:12.382" v="15474"/>
          <ac:spMkLst>
            <pc:docMk/>
            <pc:sldMk cId="2057745716" sldId="266"/>
            <ac:spMk id="64" creationId="{943CE596-0F60-CC8E-8158-20D65B25C030}"/>
          </ac:spMkLst>
        </pc:spChg>
        <pc:spChg chg="add del mod modVis">
          <ac:chgData name="Joelle Brehm" userId="a518f54c-6985-42c0-8041-2bb16a414839" providerId="ADAL" clId="{9B2768D1-DFDD-45FF-849C-23AD8ECAB483}" dt="2024-05-07T22:00:02.199" v="14926"/>
          <ac:spMkLst>
            <pc:docMk/>
            <pc:sldMk cId="2057745716" sldId="266"/>
            <ac:spMk id="65" creationId="{90D096EE-8580-33DB-C485-4E315776B27E}"/>
          </ac:spMkLst>
        </pc:spChg>
        <pc:spChg chg="add del mod modVis">
          <ac:chgData name="Joelle Brehm" userId="a518f54c-6985-42c0-8041-2bb16a414839" providerId="ADAL" clId="{9B2768D1-DFDD-45FF-849C-23AD8ECAB483}" dt="2024-05-07T22:00:06.729" v="15161"/>
          <ac:spMkLst>
            <pc:docMk/>
            <pc:sldMk cId="2057745716" sldId="266"/>
            <ac:spMk id="67" creationId="{7983769F-9498-5997-948F-E686D34990EB}"/>
          </ac:spMkLst>
        </pc:spChg>
        <pc:spChg chg="add del mod modVis">
          <ac:chgData name="Joelle Brehm" userId="a518f54c-6985-42c0-8041-2bb16a414839" providerId="ADAL" clId="{9B2768D1-DFDD-45FF-849C-23AD8ECAB483}" dt="2024-05-07T22:00:09.829" v="15334"/>
          <ac:spMkLst>
            <pc:docMk/>
            <pc:sldMk cId="2057745716" sldId="266"/>
            <ac:spMk id="70" creationId="{DE723AB7-4519-FC90-BD57-3AB7D818FC8D}"/>
          </ac:spMkLst>
        </pc:spChg>
        <pc:spChg chg="add del mod modVis">
          <ac:chgData name="Joelle Brehm" userId="a518f54c-6985-42c0-8041-2bb16a414839" providerId="ADAL" clId="{9B2768D1-DFDD-45FF-849C-23AD8ECAB483}" dt="2024-05-07T22:00:12.382" v="15506"/>
          <ac:spMkLst>
            <pc:docMk/>
            <pc:sldMk cId="2057745716" sldId="266"/>
            <ac:spMk id="72" creationId="{4FC7EF0B-707F-5B38-0302-6DF77F776175}"/>
          </ac:spMkLst>
        </pc:spChg>
        <pc:spChg chg="mod ord">
          <ac:chgData name="Joelle Brehm" userId="a518f54c-6985-42c0-8041-2bb16a414839" providerId="ADAL" clId="{9B2768D1-DFDD-45FF-849C-23AD8ECAB483}" dt="2024-05-07T22:00:12.382" v="15479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7T22:00:12.382" v="15481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7T22:00:12.365" v="15453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7T22:00:12.382" v="15483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7T22:00:12.382" v="15485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7T22:00:12.382" v="15487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7T22:00:12.382" v="15489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7T22:00:12.365" v="15450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0:12.365" v="15451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0:12.365" v="15452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0:12.365" v="15449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0:12.382" v="15492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0:12.382" v="15493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0:12.382" v="15494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00:12.382" v="15495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7T22:00:12.382" v="15496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7T22:00:12.399" v="15508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00:12.365" v="15424"/>
          <ac:graphicFrameMkLst>
            <pc:docMk/>
            <pc:sldMk cId="2057745716" sldId="266"/>
            <ac:graphicFrameMk id="8" creationId="{120E2019-1E8E-FB76-C741-9D1A3E89DE23}"/>
          </ac:graphicFrameMkLst>
        </pc:graphicFrameChg>
        <pc:graphicFrameChg chg="del">
          <ac:chgData name="Joelle Brehm" userId="a518f54c-6985-42c0-8041-2bb16a414839" providerId="ADAL" clId="{9B2768D1-DFDD-45FF-849C-23AD8ECAB483}" dt="2024-05-07T21:57:23.395" v="13432"/>
          <ac:graphicFrameMkLst>
            <pc:docMk/>
            <pc:sldMk cId="2057745716" sldId="266"/>
            <ac:graphicFrameMk id="10" creationId="{587BAF17-347B-1377-08BD-C07F621749D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00:12.382" v="15491"/>
          <ac:graphicFrameMkLst>
            <pc:docMk/>
            <pc:sldMk cId="2057745716" sldId="266"/>
            <ac:graphicFrameMk id="31" creationId="{84CC5B66-66C8-1DD9-6B4D-B9D6D272E0B7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1:59:09.586" v="13879"/>
          <ac:graphicFrameMkLst>
            <pc:docMk/>
            <pc:sldMk cId="2057745716" sldId="266"/>
            <ac:graphicFrameMk id="38" creationId="{98A94A83-6F7A-0A60-DB24-0F3037FF800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1:59:48.910" v="14444"/>
          <ac:graphicFrameMkLst>
            <pc:docMk/>
            <pc:sldMk cId="2057745716" sldId="266"/>
            <ac:graphicFrameMk id="44" creationId="{4B3C233D-7F58-CA72-A8DC-5326C72710A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1:59:51.682" v="14638"/>
          <ac:graphicFrameMkLst>
            <pc:docMk/>
            <pc:sldMk cId="2057745716" sldId="266"/>
            <ac:graphicFrameMk id="60" creationId="{01FDC07D-44DE-9441-3525-89753B3E5BAD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00:02.057" v="14827"/>
          <ac:graphicFrameMkLst>
            <pc:docMk/>
            <pc:sldMk cId="2057745716" sldId="266"/>
            <ac:graphicFrameMk id="63" creationId="{C6DFC87E-39D7-8F90-D873-101D0D42205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00:06.600" v="15063"/>
          <ac:graphicFrameMkLst>
            <pc:docMk/>
            <pc:sldMk cId="2057745716" sldId="266"/>
            <ac:graphicFrameMk id="66" creationId="{4B4322F3-D560-1372-05B1-5D1470D4CCDA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1:59:47.328" v="14250"/>
          <ac:graphicFrameMkLst>
            <pc:docMk/>
            <pc:sldMk cId="2057745716" sldId="266"/>
            <ac:graphicFrameMk id="68" creationId="{0BC6C05F-DEEE-43AD-71CC-50A2E37A4AC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00:09.764" v="15237"/>
          <ac:graphicFrameMkLst>
            <pc:docMk/>
            <pc:sldMk cId="2057745716" sldId="266"/>
            <ac:graphicFrameMk id="69" creationId="{717C1B22-3D59-8C48-FE4A-2CCAD8D6E5A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00:12.349" v="15410"/>
          <ac:graphicFrameMkLst>
            <pc:docMk/>
            <pc:sldMk cId="2057745716" sldId="266"/>
            <ac:graphicFrameMk id="71" creationId="{2CFE3CCD-4755-7414-96E6-B2D35D90CDAF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00:12.365" v="15448"/>
          <ac:graphicFrameMkLst>
            <pc:docMk/>
            <pc:sldMk cId="2057745716" sldId="266"/>
            <ac:graphicFrameMk id="73" creationId="{5863D75C-F118-F11A-FB9F-A3E37518E853}"/>
          </ac:graphicFrameMkLst>
        </pc:graphicFrameChg>
        <pc:picChg chg="add mod ord">
          <ac:chgData name="Joelle Brehm" userId="a518f54c-6985-42c0-8041-2bb16a414839" providerId="ADAL" clId="{9B2768D1-DFDD-45FF-849C-23AD8ECAB483}" dt="2024-05-07T22:00:12.365" v="15418"/>
          <ac:picMkLst>
            <pc:docMk/>
            <pc:sldMk cId="2057745716" sldId="266"/>
            <ac:picMk id="3" creationId="{9F845931-0537-998A-7C96-C30AEDC15CA3}"/>
          </ac:picMkLst>
        </pc:picChg>
        <pc:picChg chg="add del mod ord">
          <ac:chgData name="Joelle Brehm" userId="a518f54c-6985-42c0-8041-2bb16a414839" providerId="ADAL" clId="{9B2768D1-DFDD-45FF-849C-23AD8ECAB483}" dt="2024-05-07T21:58:54.003" v="13776" actId="478"/>
          <ac:picMkLst>
            <pc:docMk/>
            <pc:sldMk cId="2057745716" sldId="266"/>
            <ac:picMk id="9" creationId="{086D54E9-09FE-B037-3FF7-E381DFED1DDE}"/>
          </ac:picMkLst>
        </pc:picChg>
        <pc:picChg chg="del mod ord">
          <ac:chgData name="Joelle Brehm" userId="a518f54c-6985-42c0-8041-2bb16a414839" providerId="ADAL" clId="{9B2768D1-DFDD-45FF-849C-23AD8ECAB483}" dt="2024-05-07T21:57:42.581" v="13642" actId="478"/>
          <ac:picMkLst>
            <pc:docMk/>
            <pc:sldMk cId="2057745716" sldId="266"/>
            <ac:picMk id="31" creationId="{15A46F71-DEF7-F5BF-6DA8-5BB5CE888590}"/>
          </ac:picMkLst>
        </pc:picChg>
        <pc:picChg chg="mod ord">
          <ac:chgData name="Joelle Brehm" userId="a518f54c-6985-42c0-8041-2bb16a414839" providerId="ADAL" clId="{9B2768D1-DFDD-45FF-849C-23AD8ECAB483}" dt="2024-05-07T22:00:12.382" v="15500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9B2768D1-DFDD-45FF-849C-23AD8ECAB483}" dt="2024-05-07T22:00:12.382" v="15498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7T22:00:12.365" v="15422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7T22:15:01.916" v="18546"/>
        <pc:sldMkLst>
          <pc:docMk/>
          <pc:sldMk cId="3795966898" sldId="267"/>
        </pc:sldMkLst>
        <pc:spChg chg="mod ord">
          <ac:chgData name="Joelle Brehm" userId="a518f54c-6985-42c0-8041-2bb16a414839" providerId="ADAL" clId="{9B2768D1-DFDD-45FF-849C-23AD8ECAB483}" dt="2024-05-07T22:15:01.892" v="18540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9B2768D1-DFDD-45FF-849C-23AD8ECAB483}" dt="2024-05-07T22:13:19.920" v="16985" actId="478"/>
          <ac:spMkLst>
            <pc:docMk/>
            <pc:sldMk cId="3795966898" sldId="267"/>
            <ac:spMk id="3" creationId="{EC3AE03C-750B-94B6-F5E8-447CBA0342DF}"/>
          </ac:spMkLst>
        </pc:spChg>
        <pc:spChg chg="add del mod modVis">
          <ac:chgData name="Joelle Brehm" userId="a518f54c-6985-42c0-8041-2bb16a414839" providerId="ADAL" clId="{9B2768D1-DFDD-45FF-849C-23AD8ECAB483}" dt="2024-05-07T22:13:26.356" v="17202"/>
          <ac:spMkLst>
            <pc:docMk/>
            <pc:sldMk cId="3795966898" sldId="267"/>
            <ac:spMk id="5" creationId="{B2986C23-9B22-532A-5C08-B4883AB24794}"/>
          </ac:spMkLst>
        </pc:spChg>
        <pc:spChg chg="mod ord">
          <ac:chgData name="Joelle Brehm" userId="a518f54c-6985-42c0-8041-2bb16a414839" providerId="ADAL" clId="{9B2768D1-DFDD-45FF-849C-23AD8ECAB483}" dt="2024-05-07T22:15:01.870" v="18475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7T22:15:01.886" v="18486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7T22:15:01.886" v="18482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7T22:15:01.886" v="18483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7T22:15:01.885" v="18480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7T22:15:01.885" v="18481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7T22:15:01.886" v="18484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7T22:15:01.886" v="18485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7T22:15:01.886" v="18487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7T22:15:01.886" v="18488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7T22:15:01.886" v="18489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7T22:15:01.886" v="18490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7T22:15:01.886" v="18491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7T22:15:01.886" v="18493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7T22:15:01.886" v="18494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7T22:15:01.886" v="18496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7T22:15:01.886" v="18495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7T22:15:01.886" v="18498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7T22:15:01.892" v="18499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7T22:15:01.886" v="18497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7T22:15:01.892" v="18501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7T22:15:01.892" v="18506"/>
          <ac:spMkLst>
            <pc:docMk/>
            <pc:sldMk cId="3795966898" sldId="267"/>
            <ac:spMk id="32" creationId="{D88A5B48-AEEB-61CD-49C8-685CA2FA5FCC}"/>
          </ac:spMkLst>
        </pc:spChg>
        <pc:spChg chg="add del mod modVis">
          <ac:chgData name="Joelle Brehm" userId="a518f54c-6985-42c0-8041-2bb16a414839" providerId="ADAL" clId="{9B2768D1-DFDD-45FF-849C-23AD8ECAB483}" dt="2024-05-07T22:13:54.812" v="17490"/>
          <ac:spMkLst>
            <pc:docMk/>
            <pc:sldMk cId="3795966898" sldId="267"/>
            <ac:spMk id="34" creationId="{062FE07D-BB1A-9941-8C13-4A4F3EBC61C3}"/>
          </ac:spMkLst>
        </pc:spChg>
        <pc:spChg chg="mod">
          <ac:chgData name="Joelle Brehm" userId="a518f54c-6985-42c0-8041-2bb16a414839" providerId="ADAL" clId="{9B2768D1-DFDD-45FF-849C-23AD8ECAB483}" dt="2024-05-07T22:15:01.892" v="18513"/>
          <ac:spMkLst>
            <pc:docMk/>
            <pc:sldMk cId="3795966898" sldId="267"/>
            <ac:spMk id="35" creationId="{DD4816DC-5869-08C3-CF58-585CD7C59822}"/>
          </ac:spMkLst>
        </pc:spChg>
        <pc:spChg chg="mod">
          <ac:chgData name="Joelle Brehm" userId="a518f54c-6985-42c0-8041-2bb16a414839" providerId="ADAL" clId="{9B2768D1-DFDD-45FF-849C-23AD8ECAB483}" dt="2024-05-07T22:15:01.892" v="18509"/>
          <ac:spMkLst>
            <pc:docMk/>
            <pc:sldMk cId="3795966898" sldId="267"/>
            <ac:spMk id="37" creationId="{0A296482-73A5-3697-F8D4-5A660F4A5947}"/>
          </ac:spMkLst>
        </pc:spChg>
        <pc:spChg chg="del mod">
          <ac:chgData name="Joelle Brehm" userId="a518f54c-6985-42c0-8041-2bb16a414839" providerId="ADAL" clId="{9B2768D1-DFDD-45FF-849C-23AD8ECAB483}" dt="2024-05-07T22:14:18.369" v="18214"/>
          <ac:spMkLst>
            <pc:docMk/>
            <pc:sldMk cId="3795966898" sldId="267"/>
            <ac:spMk id="38" creationId="{7C95A005-5EF0-2DC0-E7B2-E097E65FBD41}"/>
          </ac:spMkLst>
        </pc:spChg>
        <pc:spChg chg="add mod replST">
          <ac:chgData name="Joelle Brehm" userId="a518f54c-6985-42c0-8041-2bb16a414839" providerId="ADAL" clId="{9B2768D1-DFDD-45FF-849C-23AD8ECAB483}" dt="2024-05-07T22:15:01.892" v="18514"/>
          <ac:spMkLst>
            <pc:docMk/>
            <pc:sldMk cId="3795966898" sldId="267"/>
            <ac:spMk id="39" creationId="{7CE496BA-A45E-B8D3-08C6-5EBF4CD878F5}"/>
          </ac:spMkLst>
        </pc:spChg>
        <pc:spChg chg="mod">
          <ac:chgData name="Joelle Brehm" userId="a518f54c-6985-42c0-8041-2bb16a414839" providerId="ADAL" clId="{9B2768D1-DFDD-45FF-849C-23AD8ECAB483}" dt="2024-05-07T22:15:01.892" v="18504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9B2768D1-DFDD-45FF-849C-23AD8ECAB483}" dt="2024-05-07T22:15:01.892" v="18512"/>
          <ac:spMkLst>
            <pc:docMk/>
            <pc:sldMk cId="3795966898" sldId="267"/>
            <ac:spMk id="41" creationId="{1544008B-7BC7-360D-B647-986A196ADF59}"/>
          </ac:spMkLst>
        </pc:spChg>
        <pc:spChg chg="del mod">
          <ac:chgData name="Joelle Brehm" userId="a518f54c-6985-42c0-8041-2bb16a414839" providerId="ADAL" clId="{9B2768D1-DFDD-45FF-849C-23AD8ECAB483}" dt="2024-05-07T22:14:18.369" v="18215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9B2768D1-DFDD-45FF-849C-23AD8ECAB483}" dt="2024-05-07T22:15:01.892" v="18507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9B2768D1-DFDD-45FF-849C-23AD8ECAB483}" dt="2024-05-07T22:15:01.892" v="18505"/>
          <ac:spMkLst>
            <pc:docMk/>
            <pc:sldMk cId="3795966898" sldId="267"/>
            <ac:spMk id="44" creationId="{40B65240-400F-5791-7F3E-FCB0C3838579}"/>
          </ac:spMkLst>
        </pc:spChg>
        <pc:spChg chg="mod">
          <ac:chgData name="Joelle Brehm" userId="a518f54c-6985-42c0-8041-2bb16a414839" providerId="ADAL" clId="{9B2768D1-DFDD-45FF-849C-23AD8ECAB483}" dt="2024-05-07T22:15:01.892" v="18510"/>
          <ac:spMkLst>
            <pc:docMk/>
            <pc:sldMk cId="3795966898" sldId="267"/>
            <ac:spMk id="45" creationId="{5ACDDB66-5F72-9CF8-8B82-2B020F8894AD}"/>
          </ac:spMkLst>
        </pc:spChg>
        <pc:spChg chg="mod">
          <ac:chgData name="Joelle Brehm" userId="a518f54c-6985-42c0-8041-2bb16a414839" providerId="ADAL" clId="{9B2768D1-DFDD-45FF-849C-23AD8ECAB483}" dt="2024-05-07T22:15:01.892" v="18508"/>
          <ac:spMkLst>
            <pc:docMk/>
            <pc:sldMk cId="3795966898" sldId="267"/>
            <ac:spMk id="46" creationId="{2B2E11F0-202F-7C08-CDCD-D9021CA2670F}"/>
          </ac:spMkLst>
        </pc:spChg>
        <pc:spChg chg="mod">
          <ac:chgData name="Joelle Brehm" userId="a518f54c-6985-42c0-8041-2bb16a414839" providerId="ADAL" clId="{9B2768D1-DFDD-45FF-849C-23AD8ECAB483}" dt="2024-05-07T22:15:01.892" v="18511"/>
          <ac:spMkLst>
            <pc:docMk/>
            <pc:sldMk cId="3795966898" sldId="267"/>
            <ac:spMk id="47" creationId="{3DBF8D64-4F6D-0CD0-9A0D-73552A46C028}"/>
          </ac:spMkLst>
        </pc:spChg>
        <pc:spChg chg="mod">
          <ac:chgData name="Joelle Brehm" userId="a518f54c-6985-42c0-8041-2bb16a414839" providerId="ADAL" clId="{9B2768D1-DFDD-45FF-849C-23AD8ECAB483}" dt="2024-05-07T22:15:01.892" v="18532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9B2768D1-DFDD-45FF-849C-23AD8ECAB483}" dt="2024-05-07T22:14:05.018" v="17891"/>
          <ac:spMkLst>
            <pc:docMk/>
            <pc:sldMk cId="3795966898" sldId="267"/>
            <ac:spMk id="49" creationId="{465B8F0B-32B3-51B0-42CA-ACBF90F78579}"/>
          </ac:spMkLst>
        </pc:spChg>
        <pc:spChg chg="add mod replST">
          <ac:chgData name="Joelle Brehm" userId="a518f54c-6985-42c0-8041-2bb16a414839" providerId="ADAL" clId="{9B2768D1-DFDD-45FF-849C-23AD8ECAB483}" dt="2024-05-07T22:15:01.892" v="18515"/>
          <ac:spMkLst>
            <pc:docMk/>
            <pc:sldMk cId="3795966898" sldId="267"/>
            <ac:spMk id="51" creationId="{7DDD2388-36E8-471D-CEE6-ED9D98DD115C}"/>
          </ac:spMkLst>
        </pc:spChg>
        <pc:spChg chg="add del mod modVis">
          <ac:chgData name="Joelle Brehm" userId="a518f54c-6985-42c0-8041-2bb16a414839" providerId="ADAL" clId="{9B2768D1-DFDD-45FF-849C-23AD8ECAB483}" dt="2024-05-07T22:14:08.534" v="18069"/>
          <ac:spMkLst>
            <pc:docMk/>
            <pc:sldMk cId="3795966898" sldId="267"/>
            <ac:spMk id="52" creationId="{C93E7876-BE6D-CAB6-DFF8-FD1A67F9D177}"/>
          </ac:spMkLst>
        </pc:spChg>
        <pc:spChg chg="add del mod modVis">
          <ac:chgData name="Joelle Brehm" userId="a518f54c-6985-42c0-8041-2bb16a414839" providerId="ADAL" clId="{9B2768D1-DFDD-45FF-849C-23AD8ECAB483}" dt="2024-05-07T22:14:10.404" v="18211"/>
          <ac:spMkLst>
            <pc:docMk/>
            <pc:sldMk cId="3795966898" sldId="267"/>
            <ac:spMk id="55" creationId="{924CD551-A1E2-B73F-4693-00E4DF580C7B}"/>
          </ac:spMkLst>
        </pc:spChg>
        <pc:spChg chg="add del mod modVis">
          <ac:chgData name="Joelle Brehm" userId="a518f54c-6985-42c0-8041-2bb16a414839" providerId="ADAL" clId="{9B2768D1-DFDD-45FF-849C-23AD8ECAB483}" dt="2024-05-07T22:14:18.490" v="18406"/>
          <ac:spMkLst>
            <pc:docMk/>
            <pc:sldMk cId="3795966898" sldId="267"/>
            <ac:spMk id="57" creationId="{200A81F8-C56D-6DF9-680D-4D5975DBC2DA}"/>
          </ac:spMkLst>
        </pc:spChg>
        <pc:spChg chg="add del mod modVis">
          <ac:chgData name="Joelle Brehm" userId="a518f54c-6985-42c0-8041-2bb16a414839" providerId="ADAL" clId="{9B2768D1-DFDD-45FF-849C-23AD8ECAB483}" dt="2024-05-07T22:15:01.892" v="18544"/>
          <ac:spMkLst>
            <pc:docMk/>
            <pc:sldMk cId="3795966898" sldId="267"/>
            <ac:spMk id="59" creationId="{5D2B5D6E-AA33-932E-AC98-3AD36B007200}"/>
          </ac:spMkLst>
        </pc:spChg>
        <pc:spChg chg="mod ord">
          <ac:chgData name="Joelle Brehm" userId="a518f54c-6985-42c0-8041-2bb16a414839" providerId="ADAL" clId="{9B2768D1-DFDD-45FF-849C-23AD8ECAB483}" dt="2024-05-07T22:15:01.892" v="18517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7T22:15:01.892" v="18519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7T22:15:01.892" v="18521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7T22:15:01.892" v="18538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9B2768D1-DFDD-45FF-849C-23AD8ECAB483}" dt="2024-05-07T22:15:01.892" v="18523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7T22:15:01.892" v="18525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7T22:15:01.892" v="18527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7T22:15:01.892" v="18530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15:01.892" v="18531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15:01.892" v="18533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7T22:15:01.892" v="18534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7T22:15:01.916" v="18546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15:01.885" v="18479"/>
          <ac:graphicFrameMkLst>
            <pc:docMk/>
            <pc:sldMk cId="3795966898" sldId="267"/>
            <ac:graphicFrameMk id="8" creationId="{DA95E4F2-C287-91B0-096E-E3054BD2EAE5}"/>
          </ac:graphicFrameMkLst>
        </pc:graphicFrameChg>
        <pc:graphicFrameChg chg="del">
          <ac:chgData name="Joelle Brehm" userId="a518f54c-6985-42c0-8041-2bb16a414839" providerId="ADAL" clId="{9B2768D1-DFDD-45FF-849C-23AD8ECAB483}" dt="2024-05-07T22:13:26.292" v="17119"/>
          <ac:graphicFrameMkLst>
            <pc:docMk/>
            <pc:sldMk cId="3795966898" sldId="267"/>
            <ac:graphicFrameMk id="10" creationId="{389BD272-258F-7A1F-E162-4E89E12257CE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2:13:54.740" v="17411"/>
          <ac:graphicFrameMkLst>
            <pc:docMk/>
            <pc:sldMk cId="3795966898" sldId="267"/>
            <ac:graphicFrameMk id="33" creationId="{3355EF6E-E8FF-780C-5D84-6A9AD5091CE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15:01.892" v="18529"/>
          <ac:graphicFrameMkLst>
            <pc:docMk/>
            <pc:sldMk cId="3795966898" sldId="267"/>
            <ac:graphicFrameMk id="36" creationId="{9FAB046D-8D66-7DBD-F677-62D15CC6F92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14:08.480" v="17977"/>
          <ac:graphicFrameMkLst>
            <pc:docMk/>
            <pc:sldMk cId="3795966898" sldId="267"/>
            <ac:graphicFrameMk id="50" creationId="{6B643E8E-466A-4591-B133-1D321C765522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2:14:04.962" v="17805"/>
          <ac:graphicFrameMkLst>
            <pc:docMk/>
            <pc:sldMk cId="3795966898" sldId="267"/>
            <ac:graphicFrameMk id="53" creationId="{605C09F3-15D1-D4C3-83EA-B70D88AEB76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14:10.362" v="18130"/>
          <ac:graphicFrameMkLst>
            <pc:docMk/>
            <pc:sldMk cId="3795966898" sldId="267"/>
            <ac:graphicFrameMk id="54" creationId="{E0D9D7DE-0355-0CA4-3799-BAED25BCC2FD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14:18.438" v="18327"/>
          <ac:graphicFrameMkLst>
            <pc:docMk/>
            <pc:sldMk cId="3795966898" sldId="267"/>
            <ac:graphicFrameMk id="56" creationId="{80D4E5FB-950A-616F-DDB4-2450556C2B3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15:01.848" v="18465"/>
          <ac:graphicFrameMkLst>
            <pc:docMk/>
            <pc:sldMk cId="3795966898" sldId="267"/>
            <ac:graphicFrameMk id="58" creationId="{FD646342-DCFD-017D-42B8-6235C4CE917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15:01.892" v="18503"/>
          <ac:graphicFrameMkLst>
            <pc:docMk/>
            <pc:sldMk cId="3795966898" sldId="267"/>
            <ac:graphicFrameMk id="60" creationId="{CD5A65CE-F6F8-6CBE-A546-DD755345418D}"/>
          </ac:graphicFrameMkLst>
        </pc:graphicFrameChg>
        <pc:picChg chg="add mod ord">
          <ac:chgData name="Joelle Brehm" userId="a518f54c-6985-42c0-8041-2bb16a414839" providerId="ADAL" clId="{9B2768D1-DFDD-45FF-849C-23AD8ECAB483}" dt="2024-05-07T22:15:01.870" v="18473"/>
          <ac:picMkLst>
            <pc:docMk/>
            <pc:sldMk cId="3795966898" sldId="267"/>
            <ac:picMk id="9" creationId="{825B7560-9FA3-18EE-D905-AFE0B2ED7CE6}"/>
          </ac:picMkLst>
        </pc:picChg>
        <pc:picChg chg="del mod ord">
          <ac:chgData name="Joelle Brehm" userId="a518f54c-6985-42c0-8041-2bb16a414839" providerId="ADAL" clId="{9B2768D1-DFDD-45FF-849C-23AD8ECAB483}" dt="2024-05-07T22:13:46.646" v="17285" actId="478"/>
          <ac:picMkLst>
            <pc:docMk/>
            <pc:sldMk cId="3795966898" sldId="267"/>
            <ac:picMk id="31" creationId="{B618A910-1590-81A8-9B91-8DEDEBFCBC27}"/>
          </ac:picMkLst>
        </pc:picChg>
        <pc:picChg chg="mod ord">
          <ac:chgData name="Joelle Brehm" userId="a518f54c-6985-42c0-8041-2bb16a414839" providerId="ADAL" clId="{9B2768D1-DFDD-45FF-849C-23AD8ECAB483}" dt="2024-05-07T22:15:01.892" v="18536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7T22:15:01.870" v="18477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7T22:16:35.198" v="20005"/>
        <pc:sldMkLst>
          <pc:docMk/>
          <pc:sldMk cId="622078465" sldId="269"/>
        </pc:sldMkLst>
        <pc:spChg chg="add del mod">
          <ac:chgData name="Joelle Brehm" userId="a518f54c-6985-42c0-8041-2bb16a414839" providerId="ADAL" clId="{9B2768D1-DFDD-45FF-849C-23AD8ECAB483}" dt="2024-05-07T22:15:08.108" v="18547" actId="478"/>
          <ac:spMkLst>
            <pc:docMk/>
            <pc:sldMk cId="622078465" sldId="269"/>
            <ac:spMk id="2" creationId="{4CF20300-3AE5-7CE0-1C62-B03BF236C5FC}"/>
          </ac:spMkLst>
        </pc:spChg>
        <pc:spChg chg="mod ord">
          <ac:chgData name="Joelle Brehm" userId="a518f54c-6985-42c0-8041-2bb16a414839" providerId="ADAL" clId="{9B2768D1-DFDD-45FF-849C-23AD8ECAB483}" dt="2024-05-07T22:16:35.166" v="19999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9B2768D1-DFDD-45FF-849C-23AD8ECAB483}" dt="2024-05-07T22:15:31.687" v="18762"/>
          <ac:spMkLst>
            <pc:docMk/>
            <pc:sldMk cId="622078465" sldId="269"/>
            <ac:spMk id="5" creationId="{6528613D-5BCD-A99A-B350-A92B51300E0F}"/>
          </ac:spMkLst>
        </pc:spChg>
        <pc:spChg chg="mod ord">
          <ac:chgData name="Joelle Brehm" userId="a518f54c-6985-42c0-8041-2bb16a414839" providerId="ADAL" clId="{9B2768D1-DFDD-45FF-849C-23AD8ECAB483}" dt="2024-05-07T22:16:35.133" v="19934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7T22:16:35.149" v="19964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9B2768D1-DFDD-45FF-849C-23AD8ECAB483}" dt="2024-05-07T22:16:35.133" v="19945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7T22:16:35.133" v="19941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7T22:16:35.133" v="19942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7T22:16:35.133" v="19939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7T22:16:35.133" v="19940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7T22:16:35.133" v="19943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7T22:16:35.133" v="19944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7T22:16:35.149" v="19946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7T22:16:35.149" v="19947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7T22:16:35.149" v="19948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7T22:16:35.149" v="19949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7T22:16:35.149" v="19950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7T22:16:35.149" v="19952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7T22:16:35.149" v="19953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7T22:16:35.149" v="19955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7T22:16:35.149" v="19954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7T22:16:35.149" v="19957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7T22:16:35.149" v="19958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7T22:16:35.149" v="19956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7T22:16:35.149" v="19960"/>
          <ac:spMkLst>
            <pc:docMk/>
            <pc:sldMk cId="622078465" sldId="269"/>
            <ac:spMk id="30" creationId="{121A2A89-FB4E-4B9A-840D-28523B0B457F}"/>
          </ac:spMkLst>
        </pc:spChg>
        <pc:spChg chg="del mod">
          <ac:chgData name="Joelle Brehm" userId="a518f54c-6985-42c0-8041-2bb16a414839" providerId="ADAL" clId="{9B2768D1-DFDD-45FF-849C-23AD8ECAB483}" dt="2024-05-07T22:16:34.991" v="19825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9B2768D1-DFDD-45FF-849C-23AD8ECAB483}" dt="2024-05-07T22:16:35.149" v="19963"/>
          <ac:spMkLst>
            <pc:docMk/>
            <pc:sldMk cId="622078465" sldId="269"/>
            <ac:spMk id="33" creationId="{9A566DA3-8FEF-C899-7B5C-813112FBA28E}"/>
          </ac:spMkLst>
        </pc:spChg>
        <pc:spChg chg="add del mod modVis">
          <ac:chgData name="Joelle Brehm" userId="a518f54c-6985-42c0-8041-2bb16a414839" providerId="ADAL" clId="{9B2768D1-DFDD-45FF-849C-23AD8ECAB483}" dt="2024-05-07T22:16:20.657" v="19057"/>
          <ac:spMkLst>
            <pc:docMk/>
            <pc:sldMk cId="622078465" sldId="269"/>
            <ac:spMk id="34" creationId="{2ED69963-6DF3-60AF-4BA7-C5A0BF881210}"/>
          </ac:spMkLst>
        </pc:spChg>
        <pc:spChg chg="mod">
          <ac:chgData name="Joelle Brehm" userId="a518f54c-6985-42c0-8041-2bb16a414839" providerId="ADAL" clId="{9B2768D1-DFDD-45FF-849C-23AD8ECAB483}" dt="2024-05-07T22:16:35.149" v="19972"/>
          <ac:spMkLst>
            <pc:docMk/>
            <pc:sldMk cId="622078465" sldId="269"/>
            <ac:spMk id="35" creationId="{54F7F950-39C9-051A-4566-D6003E30B6F3}"/>
          </ac:spMkLst>
        </pc:spChg>
        <pc:spChg chg="mod">
          <ac:chgData name="Joelle Brehm" userId="a518f54c-6985-42c0-8041-2bb16a414839" providerId="ADAL" clId="{9B2768D1-DFDD-45FF-849C-23AD8ECAB483}" dt="2024-05-07T22:16:35.149" v="19968"/>
          <ac:spMkLst>
            <pc:docMk/>
            <pc:sldMk cId="622078465" sldId="269"/>
            <ac:spMk id="36" creationId="{68733CF5-8A2C-4045-0CB9-423CA4B0F6E1}"/>
          </ac:spMkLst>
        </pc:spChg>
        <pc:spChg chg="mod">
          <ac:chgData name="Joelle Brehm" userId="a518f54c-6985-42c0-8041-2bb16a414839" providerId="ADAL" clId="{9B2768D1-DFDD-45FF-849C-23AD8ECAB483}" dt="2024-05-07T22:16:35.149" v="19965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9B2768D1-DFDD-45FF-849C-23AD8ECAB483}" dt="2024-05-07T22:16:35.149" v="19966"/>
          <ac:spMkLst>
            <pc:docMk/>
            <pc:sldMk cId="622078465" sldId="269"/>
            <ac:spMk id="38" creationId="{81A34C8B-3AB7-1E3C-EABE-00492913B3D2}"/>
          </ac:spMkLst>
        </pc:spChg>
        <pc:spChg chg="mod">
          <ac:chgData name="Joelle Brehm" userId="a518f54c-6985-42c0-8041-2bb16a414839" providerId="ADAL" clId="{9B2768D1-DFDD-45FF-849C-23AD8ECAB483}" dt="2024-05-07T22:16:35.149" v="19967"/>
          <ac:spMkLst>
            <pc:docMk/>
            <pc:sldMk cId="622078465" sldId="269"/>
            <ac:spMk id="40" creationId="{88D90EFE-E362-B516-8CB5-42E8A0F19B96}"/>
          </ac:spMkLst>
        </pc:spChg>
        <pc:spChg chg="mod">
          <ac:chgData name="Joelle Brehm" userId="a518f54c-6985-42c0-8041-2bb16a414839" providerId="ADAL" clId="{9B2768D1-DFDD-45FF-849C-23AD8ECAB483}" dt="2024-05-07T22:16:35.149" v="19973"/>
          <ac:spMkLst>
            <pc:docMk/>
            <pc:sldMk cId="622078465" sldId="269"/>
            <ac:spMk id="41" creationId="{A6DD1E2D-9B30-A874-738F-04389CA07150}"/>
          </ac:spMkLst>
        </pc:spChg>
        <pc:spChg chg="mod">
          <ac:chgData name="Joelle Brehm" userId="a518f54c-6985-42c0-8041-2bb16a414839" providerId="ADAL" clId="{9B2768D1-DFDD-45FF-849C-23AD8ECAB483}" dt="2024-05-07T22:16:35.149" v="19969"/>
          <ac:spMkLst>
            <pc:docMk/>
            <pc:sldMk cId="622078465" sldId="269"/>
            <ac:spMk id="42" creationId="{D1BED0AC-AAFB-7B18-5C9F-F7242C07E3F7}"/>
          </ac:spMkLst>
        </pc:spChg>
        <pc:spChg chg="mod">
          <ac:chgData name="Joelle Brehm" userId="a518f54c-6985-42c0-8041-2bb16a414839" providerId="ADAL" clId="{9B2768D1-DFDD-45FF-849C-23AD8ECAB483}" dt="2024-05-07T22:16:35.149" v="19970"/>
          <ac:spMkLst>
            <pc:docMk/>
            <pc:sldMk cId="622078465" sldId="269"/>
            <ac:spMk id="44" creationId="{7CF7601D-52B5-FA09-CF16-65EB783A2223}"/>
          </ac:spMkLst>
        </pc:spChg>
        <pc:spChg chg="mod">
          <ac:chgData name="Joelle Brehm" userId="a518f54c-6985-42c0-8041-2bb16a414839" providerId="ADAL" clId="{9B2768D1-DFDD-45FF-849C-23AD8ECAB483}" dt="2024-05-07T22:16:35.149" v="19971"/>
          <ac:spMkLst>
            <pc:docMk/>
            <pc:sldMk cId="622078465" sldId="269"/>
            <ac:spMk id="45" creationId="{EB662A17-D4B7-1A35-9E98-701F790A1C6F}"/>
          </ac:spMkLst>
        </pc:spChg>
        <pc:spChg chg="add mod replST">
          <ac:chgData name="Joelle Brehm" userId="a518f54c-6985-42c0-8041-2bb16a414839" providerId="ADAL" clId="{9B2768D1-DFDD-45FF-849C-23AD8ECAB483}" dt="2024-05-07T22:16:35.149" v="19974"/>
          <ac:spMkLst>
            <pc:docMk/>
            <pc:sldMk cId="622078465" sldId="269"/>
            <ac:spMk id="46" creationId="{C3E4558A-7445-66D2-E341-DFAA993A8284}"/>
          </ac:spMkLst>
        </pc:spChg>
        <pc:spChg chg="add del mod modVis">
          <ac:chgData name="Joelle Brehm" userId="a518f54c-6985-42c0-8041-2bb16a414839" providerId="ADAL" clId="{9B2768D1-DFDD-45FF-849C-23AD8ECAB483}" dt="2024-05-07T22:16:27.043" v="19428"/>
          <ac:spMkLst>
            <pc:docMk/>
            <pc:sldMk cId="622078465" sldId="269"/>
            <ac:spMk id="47" creationId="{E04F0515-761A-49D5-B83D-64D59BF46AFA}"/>
          </ac:spMkLst>
        </pc:spChg>
        <pc:spChg chg="add del mod modVis">
          <ac:chgData name="Joelle Brehm" userId="a518f54c-6985-42c0-8041-2bb16a414839" providerId="ADAL" clId="{9B2768D1-DFDD-45FF-849C-23AD8ECAB483}" dt="2024-05-07T22:16:29.734" v="19602"/>
          <ac:spMkLst>
            <pc:docMk/>
            <pc:sldMk cId="622078465" sldId="269"/>
            <ac:spMk id="49" creationId="{0ADA95B9-4018-11B2-88AC-3883C245E931}"/>
          </ac:spMkLst>
        </pc:spChg>
        <pc:spChg chg="mod">
          <ac:chgData name="Joelle Brehm" userId="a518f54c-6985-42c0-8041-2bb16a414839" providerId="ADAL" clId="{9B2768D1-DFDD-45FF-849C-23AD8ECAB483}" dt="2024-05-07T22:16:35.166" v="19993"/>
          <ac:spMkLst>
            <pc:docMk/>
            <pc:sldMk cId="622078465" sldId="269"/>
            <ac:spMk id="50" creationId="{69BAD6A3-FF64-4C04-1D02-164463F908A1}"/>
          </ac:spMkLst>
        </pc:spChg>
        <pc:spChg chg="add del mod modVis">
          <ac:chgData name="Joelle Brehm" userId="a518f54c-6985-42c0-8041-2bb16a414839" providerId="ADAL" clId="{9B2768D1-DFDD-45FF-849C-23AD8ECAB483}" dt="2024-05-07T22:16:31.943" v="19822"/>
          <ac:spMkLst>
            <pc:docMk/>
            <pc:sldMk cId="622078465" sldId="269"/>
            <ac:spMk id="53" creationId="{579AB1F0-81A5-B453-660C-ED9D845CD0AF}"/>
          </ac:spMkLst>
        </pc:spChg>
        <pc:spChg chg="add del mod ord replST">
          <ac:chgData name="Joelle Brehm" userId="a518f54c-6985-42c0-8041-2bb16a414839" providerId="ADAL" clId="{9B2768D1-DFDD-45FF-849C-23AD8ECAB483}" dt="2024-05-07T22:16:35.082" v="19917"/>
          <ac:spMkLst>
            <pc:docMk/>
            <pc:sldMk cId="622078465" sldId="269"/>
            <ac:spMk id="55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2:16:35.166" v="20003"/>
          <ac:spMkLst>
            <pc:docMk/>
            <pc:sldMk cId="622078465" sldId="269"/>
            <ac:spMk id="57" creationId="{07FAA5DE-A171-BC9C-ADFB-C788AEF2F1FB}"/>
          </ac:spMkLst>
        </pc:spChg>
        <pc:spChg chg="mod ord">
          <ac:chgData name="Joelle Brehm" userId="a518f54c-6985-42c0-8041-2bb16a414839" providerId="ADAL" clId="{9B2768D1-DFDD-45FF-849C-23AD8ECAB483}" dt="2024-05-07T22:16:35.166" v="19997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9B2768D1-DFDD-45FF-849C-23AD8ECAB483}" dt="2024-05-07T22:16:35.165" v="19976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7T22:16:35.166" v="19978"/>
          <ac:spMkLst>
            <pc:docMk/>
            <pc:sldMk cId="622078465" sldId="269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7T22:16:35.166" v="19980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7T22:16:35.166" v="19982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7T22:16:35.166" v="19984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7T22:16:35.166" v="19986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7T22:16:35.166" v="19989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16:35.166" v="19990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7T22:16:35.166" v="19991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7T22:16:35.166" v="19992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7T22:16:35.198" v="20005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16:35.133" v="19938"/>
          <ac:graphicFrameMkLst>
            <pc:docMk/>
            <pc:sldMk cId="622078465" sldId="269"/>
            <ac:graphicFrameMk id="8" creationId="{997CFE6C-C789-E0C5-CE0D-C8D54343EA29}"/>
          </ac:graphicFrameMkLst>
        </pc:graphicFrameChg>
        <pc:graphicFrameChg chg="del">
          <ac:chgData name="Joelle Brehm" userId="a518f54c-6985-42c0-8041-2bb16a414839" providerId="ADAL" clId="{9B2768D1-DFDD-45FF-849C-23AD8ECAB483}" dt="2024-05-07T22:15:31.624" v="18679"/>
          <ac:graphicFrameMkLst>
            <pc:docMk/>
            <pc:sldMk cId="622078465" sldId="269"/>
            <ac:graphicFrameMk id="31" creationId="{BF14FDBC-02C6-7A3D-3FD1-D0CE48C1C643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16:35.166" v="19988"/>
          <ac:graphicFrameMkLst>
            <pc:docMk/>
            <pc:sldMk cId="622078465" sldId="269"/>
            <ac:graphicFrameMk id="43" creationId="{DE736F6E-9A5B-E1E1-751A-D1CCD603C62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16:29.655" v="19509"/>
          <ac:graphicFrameMkLst>
            <pc:docMk/>
            <pc:sldMk cId="622078465" sldId="269"/>
            <ac:graphicFrameMk id="48" creationId="{A2958ED5-866C-D564-4BC0-721BBBF66AA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16:31.849" v="19727"/>
          <ac:graphicFrameMkLst>
            <pc:docMk/>
            <pc:sldMk cId="622078465" sldId="269"/>
            <ac:graphicFrameMk id="51" creationId="{E474A4B4-2043-320E-C836-AEDF92D94F00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2:16:26.959" v="19340"/>
          <ac:graphicFrameMkLst>
            <pc:docMk/>
            <pc:sldMk cId="622078465" sldId="269"/>
            <ac:graphicFrameMk id="52" creationId="{BB43313D-1237-65F1-578E-97D4F93BA44B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2:16:20.586" v="18978"/>
          <ac:graphicFrameMkLst>
            <pc:docMk/>
            <pc:sldMk cId="622078465" sldId="269"/>
            <ac:graphicFrameMk id="54" creationId="{D692E3EB-9A95-DB4A-4911-F90B3FE4B53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2:16:35.082" v="19924"/>
          <ac:graphicFrameMkLst>
            <pc:docMk/>
            <pc:sldMk cId="622078465" sldId="269"/>
            <ac:graphicFrameMk id="56" creationId="{A2D38195-756F-8770-516B-2B957E655774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7T22:16:35.149" v="19962"/>
          <ac:graphicFrameMkLst>
            <pc:docMk/>
            <pc:sldMk cId="622078465" sldId="269"/>
            <ac:graphicFrameMk id="59" creationId="{4E6D33EC-6734-0015-D3C7-0929FF79B661}"/>
          </ac:graphicFrameMkLst>
        </pc:graphicFrameChg>
        <pc:picChg chg="add mod ord">
          <ac:chgData name="Joelle Brehm" userId="a518f54c-6985-42c0-8041-2bb16a414839" providerId="ADAL" clId="{9B2768D1-DFDD-45FF-849C-23AD8ECAB483}" dt="2024-05-07T22:16:35.133" v="19932"/>
          <ac:picMkLst>
            <pc:docMk/>
            <pc:sldMk cId="622078465" sldId="269"/>
            <ac:picMk id="9" creationId="{934F1E94-B08A-704A-BD3E-E45CA397A805}"/>
          </ac:picMkLst>
        </pc:picChg>
        <pc:picChg chg="del mod ord">
          <ac:chgData name="Joelle Brehm" userId="a518f54c-6985-42c0-8041-2bb16a414839" providerId="ADAL" clId="{9B2768D1-DFDD-45FF-849C-23AD8ECAB483}" dt="2024-05-07T22:16:08.192" v="18852" actId="478"/>
          <ac:picMkLst>
            <pc:docMk/>
            <pc:sldMk cId="622078465" sldId="269"/>
            <ac:picMk id="39" creationId="{7F3B722D-F2FF-77B9-B97C-B82E7666AB7D}"/>
          </ac:picMkLst>
        </pc:picChg>
        <pc:picChg chg="mod ord">
          <ac:chgData name="Joelle Brehm" userId="a518f54c-6985-42c0-8041-2bb16a414839" providerId="ADAL" clId="{9B2768D1-DFDD-45FF-849C-23AD8ECAB483}" dt="2024-05-07T22:16:35.166" v="19995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7T22:16:35.133" v="19936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24:55.684" v="39873"/>
        <pc:sldMkLst>
          <pc:docMk/>
          <pc:sldMk cId="1002023985" sldId="270"/>
        </pc:sldMkLst>
        <pc:spChg chg="mod ord">
          <ac:chgData name="Joelle Brehm" userId="a518f54c-6985-42c0-8041-2bb16a414839" providerId="ADAL" clId="{9B2768D1-DFDD-45FF-849C-23AD8ECAB483}" dt="2024-05-08T16:24:55.668" v="39867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9B2768D1-DFDD-45FF-849C-23AD8ECAB483}" dt="2024-05-08T16:23:38.485" v="38110" actId="478"/>
          <ac:spMkLst>
            <pc:docMk/>
            <pc:sldMk cId="1002023985" sldId="270"/>
            <ac:spMk id="3" creationId="{9D5312DC-6101-EBC7-20B9-84F2494964FF}"/>
          </ac:spMkLst>
        </pc:spChg>
        <pc:spChg chg="add del mod modVis">
          <ac:chgData name="Joelle Brehm" userId="a518f54c-6985-42c0-8041-2bb16a414839" providerId="ADAL" clId="{9B2768D1-DFDD-45FF-849C-23AD8ECAB483}" dt="2024-05-08T16:23:46.310" v="38349"/>
          <ac:spMkLst>
            <pc:docMk/>
            <pc:sldMk cId="1002023985" sldId="270"/>
            <ac:spMk id="5" creationId="{7FEB0B06-9F61-7A3D-05C2-FE9F90137F71}"/>
          </ac:spMkLst>
        </pc:spChg>
        <pc:spChg chg="mod ord">
          <ac:chgData name="Joelle Brehm" userId="a518f54c-6985-42c0-8041-2bb16a414839" providerId="ADAL" clId="{9B2768D1-DFDD-45FF-849C-23AD8ECAB483}" dt="2024-05-08T16:24:55.643" v="39779"/>
          <ac:spMkLst>
            <pc:docMk/>
            <pc:sldMk cId="1002023985" sldId="27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9B2768D1-DFDD-45FF-849C-23AD8ECAB483}" dt="2024-05-08T16:24:16.137" v="38658"/>
          <ac:spMkLst>
            <pc:docMk/>
            <pc:sldMk cId="1002023985" sldId="270"/>
            <ac:spMk id="10" creationId="{9A0BE287-324F-2F8E-A6D4-B57644701B4E}"/>
          </ac:spMkLst>
        </pc:spChg>
        <pc:spChg chg="mod">
          <ac:chgData name="Joelle Brehm" userId="a518f54c-6985-42c0-8041-2bb16a414839" providerId="ADAL" clId="{9B2768D1-DFDD-45FF-849C-23AD8ECAB483}" dt="2024-05-08T16:24:55.647" v="39790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24:55.646" v="39786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24:55.647" v="39787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24:55.645" v="39784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24:55.646" v="39785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24:55.647" v="39788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24:55.647" v="39789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24:55.648" v="39791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24:55.648" v="39792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24:55.648" v="39793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24:55.648" v="39794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24:55.649" v="39795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24:55.649" v="39797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24:55.650" v="39800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24:55.650" v="39802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24:55.650" v="39801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24:55.652" v="39805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24:55.653" v="39806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24:55.652" v="39804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24:55.653" v="39808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24:55.661" v="39837"/>
          <ac:spMkLst>
            <pc:docMk/>
            <pc:sldMk cId="1002023985" sldId="270"/>
            <ac:spMk id="31" creationId="{6BA9EDD4-290C-F877-1100-52D636DA2E72}"/>
          </ac:spMkLst>
        </pc:spChg>
        <pc:spChg chg="mod">
          <ac:chgData name="Joelle Brehm" userId="a518f54c-6985-42c0-8041-2bb16a414839" providerId="ADAL" clId="{9B2768D1-DFDD-45FF-849C-23AD8ECAB483}" dt="2024-05-08T16:24:55.659" v="39829"/>
          <ac:spMkLst>
            <pc:docMk/>
            <pc:sldMk cId="1002023985" sldId="270"/>
            <ac:spMk id="32" creationId="{08AA1604-C221-6E9B-740F-41449B8DB0E9}"/>
          </ac:spMkLst>
        </pc:spChg>
        <pc:spChg chg="add mod replST">
          <ac:chgData name="Joelle Brehm" userId="a518f54c-6985-42c0-8041-2bb16a414839" providerId="ADAL" clId="{9B2768D1-DFDD-45FF-849C-23AD8ECAB483}" dt="2024-05-08T16:24:55.662" v="39840"/>
          <ac:spMkLst>
            <pc:docMk/>
            <pc:sldMk cId="1002023985" sldId="270"/>
            <ac:spMk id="34" creationId="{1D9000AA-6359-3C65-1B48-6691AD0D73CD}"/>
          </ac:spMkLst>
        </pc:spChg>
        <pc:spChg chg="mod">
          <ac:chgData name="Joelle Brehm" userId="a518f54c-6985-42c0-8041-2bb16a414839" providerId="ADAL" clId="{9B2768D1-DFDD-45FF-849C-23AD8ECAB483}" dt="2024-05-08T16:24:55.660" v="39836"/>
          <ac:spMkLst>
            <pc:docMk/>
            <pc:sldMk cId="1002023985" sldId="270"/>
            <ac:spMk id="35" creationId="{07B07046-5F63-C964-71CA-C1091F9220BF}"/>
          </ac:spMkLst>
        </pc:spChg>
        <pc:spChg chg="add del mod modVis">
          <ac:chgData name="Joelle Brehm" userId="a518f54c-6985-42c0-8041-2bb16a414839" providerId="ADAL" clId="{9B2768D1-DFDD-45FF-849C-23AD8ECAB483}" dt="2024-05-08T16:24:24.341" v="39020"/>
          <ac:spMkLst>
            <pc:docMk/>
            <pc:sldMk cId="1002023985" sldId="270"/>
            <ac:spMk id="36" creationId="{6DAD3EF4-7C6C-1CA4-D467-744894C5A644}"/>
          </ac:spMkLst>
        </pc:spChg>
        <pc:spChg chg="mod ord">
          <ac:chgData name="Joelle Brehm" userId="a518f54c-6985-42c0-8041-2bb16a414839" providerId="ADAL" clId="{9B2768D1-DFDD-45FF-849C-23AD8ECAB483}" dt="2024-05-08T16:24:55.650" v="39799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9B2768D1-DFDD-45FF-849C-23AD8ECAB483}" dt="2024-05-08T16:24:55.660" v="39835"/>
          <ac:spMkLst>
            <pc:docMk/>
            <pc:sldMk cId="1002023985" sldId="270"/>
            <ac:spMk id="38" creationId="{BB0D67DD-2C63-A046-707C-1F332B15DC1E}"/>
          </ac:spMkLst>
        </pc:spChg>
        <pc:spChg chg="mod">
          <ac:chgData name="Joelle Brehm" userId="a518f54c-6985-42c0-8041-2bb16a414839" providerId="ADAL" clId="{9B2768D1-DFDD-45FF-849C-23AD8ECAB483}" dt="2024-05-08T16:24:55.660" v="39834"/>
          <ac:spMkLst>
            <pc:docMk/>
            <pc:sldMk cId="1002023985" sldId="270"/>
            <ac:spMk id="39" creationId="{8E63D2DC-8A78-99F3-5681-8D0584E6C5DD}"/>
          </ac:spMkLst>
        </pc:spChg>
        <pc:spChg chg="mod">
          <ac:chgData name="Joelle Brehm" userId="a518f54c-6985-42c0-8041-2bb16a414839" providerId="ADAL" clId="{9B2768D1-DFDD-45FF-849C-23AD8ECAB483}" dt="2024-05-08T16:24:55.661" v="39839"/>
          <ac:spMkLst>
            <pc:docMk/>
            <pc:sldMk cId="1002023985" sldId="270"/>
            <ac:spMk id="44" creationId="{19294354-B8E6-952B-93F0-08CF74B5AE59}"/>
          </ac:spMkLst>
        </pc:spChg>
        <pc:spChg chg="add del mod modVis">
          <ac:chgData name="Joelle Brehm" userId="a518f54c-6985-42c0-8041-2bb16a414839" providerId="ADAL" clId="{9B2768D1-DFDD-45FF-849C-23AD8ECAB483}" dt="2024-05-08T16:24:25.939" v="39222"/>
          <ac:spMkLst>
            <pc:docMk/>
            <pc:sldMk cId="1002023985" sldId="270"/>
            <ac:spMk id="45" creationId="{B701F5B7-D96E-A607-CE3D-F73CAD28A2CD}"/>
          </ac:spMkLst>
        </pc:spChg>
        <pc:spChg chg="mod">
          <ac:chgData name="Joelle Brehm" userId="a518f54c-6985-42c0-8041-2bb16a414839" providerId="ADAL" clId="{9B2768D1-DFDD-45FF-849C-23AD8ECAB483}" dt="2024-05-08T16:24:55.657" v="39822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9B2768D1-DFDD-45FF-849C-23AD8ECAB483}" dt="2024-05-08T16:24:55.657" v="39824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9B2768D1-DFDD-45FF-849C-23AD8ECAB483}" dt="2024-05-08T16:24:55.656" v="39821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9B2768D1-DFDD-45FF-849C-23AD8ECAB483}" dt="2024-05-08T16:24:55.657" v="39823"/>
          <ac:spMkLst>
            <pc:docMk/>
            <pc:sldMk cId="1002023985" sldId="270"/>
            <ac:spMk id="49" creationId="{AFA856A8-AC0D-8180-7227-C9FAF251C3DF}"/>
          </ac:spMkLst>
        </pc:spChg>
        <pc:spChg chg="del mod">
          <ac:chgData name="Joelle Brehm" userId="a518f54c-6985-42c0-8041-2bb16a414839" providerId="ADAL" clId="{9B2768D1-DFDD-45FF-849C-23AD8ECAB483}" dt="2024-05-08T16:24:31.786" v="39445"/>
          <ac:spMkLst>
            <pc:docMk/>
            <pc:sldMk cId="1002023985" sldId="270"/>
            <ac:spMk id="50" creationId="{3E1A03AC-31E8-687C-FBE0-7C7D66E5248D}"/>
          </ac:spMkLst>
        </pc:spChg>
        <pc:spChg chg="del mod">
          <ac:chgData name="Joelle Brehm" userId="a518f54c-6985-42c0-8041-2bb16a414839" providerId="ADAL" clId="{9B2768D1-DFDD-45FF-849C-23AD8ECAB483}" dt="2024-05-08T16:24:31.784" v="39444"/>
          <ac:spMkLst>
            <pc:docMk/>
            <pc:sldMk cId="1002023985" sldId="270"/>
            <ac:spMk id="52" creationId="{CDAA8CD8-B796-5FFD-8D34-2773F7AB7F1D}"/>
          </ac:spMkLst>
        </pc:spChg>
        <pc:spChg chg="mod">
          <ac:chgData name="Joelle Brehm" userId="a518f54c-6985-42c0-8041-2bb16a414839" providerId="ADAL" clId="{9B2768D1-DFDD-45FF-849C-23AD8ECAB483}" dt="2024-05-08T16:24:55.661" v="39838"/>
          <ac:spMkLst>
            <pc:docMk/>
            <pc:sldMk cId="1002023985" sldId="270"/>
            <ac:spMk id="53" creationId="{1BCBF079-994B-4676-4133-C0D4744DBC65}"/>
          </ac:spMkLst>
        </pc:spChg>
        <pc:spChg chg="mod">
          <ac:chgData name="Joelle Brehm" userId="a518f54c-6985-42c0-8041-2bb16a414839" providerId="ADAL" clId="{9B2768D1-DFDD-45FF-849C-23AD8ECAB483}" dt="2024-05-08T16:24:55.658" v="39827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9B2768D1-DFDD-45FF-849C-23AD8ECAB483}" dt="2024-05-08T16:24:55.658" v="39826"/>
          <ac:spMkLst>
            <pc:docMk/>
            <pc:sldMk cId="1002023985" sldId="270"/>
            <ac:spMk id="55" creationId="{E5519A9A-9BE6-DCEA-87DD-CC3F6748DE83}"/>
          </ac:spMkLst>
        </pc:spChg>
        <pc:spChg chg="add mod replST">
          <ac:chgData name="Joelle Brehm" userId="a518f54c-6985-42c0-8041-2bb16a414839" providerId="ADAL" clId="{9B2768D1-DFDD-45FF-849C-23AD8ECAB483}" dt="2024-05-08T16:24:55.662" v="39841"/>
          <ac:spMkLst>
            <pc:docMk/>
            <pc:sldMk cId="1002023985" sldId="270"/>
            <ac:spMk id="56" creationId="{D1145B72-7564-6785-D1E7-A4B8C42A6B9D}"/>
          </ac:spMkLst>
        </pc:spChg>
        <pc:spChg chg="mod">
          <ac:chgData name="Joelle Brehm" userId="a518f54c-6985-42c0-8041-2bb16a414839" providerId="ADAL" clId="{9B2768D1-DFDD-45FF-849C-23AD8ECAB483}" dt="2024-05-08T16:24:55.656" v="39820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9B2768D1-DFDD-45FF-849C-23AD8ECAB483}" dt="2024-05-08T16:24:55.656" v="39819"/>
          <ac:spMkLst>
            <pc:docMk/>
            <pc:sldMk cId="1002023985" sldId="270"/>
            <ac:spMk id="59" creationId="{15DED5C0-8834-6FCE-242E-76495D4381EE}"/>
          </ac:spMkLst>
        </pc:spChg>
        <pc:spChg chg="mod">
          <ac:chgData name="Joelle Brehm" userId="a518f54c-6985-42c0-8041-2bb16a414839" providerId="ADAL" clId="{9B2768D1-DFDD-45FF-849C-23AD8ECAB483}" dt="2024-05-08T16:24:55.657" v="39825"/>
          <ac:spMkLst>
            <pc:docMk/>
            <pc:sldMk cId="1002023985" sldId="270"/>
            <ac:spMk id="60" creationId="{0C74CE89-8513-C13D-30DC-F81C311B717E}"/>
          </ac:spMkLst>
        </pc:spChg>
        <pc:spChg chg="add del mod modVis">
          <ac:chgData name="Joelle Brehm" userId="a518f54c-6985-42c0-8041-2bb16a414839" providerId="ADAL" clId="{9B2768D1-DFDD-45FF-849C-23AD8ECAB483}" dt="2024-05-08T16:24:30.601" v="39441"/>
          <ac:spMkLst>
            <pc:docMk/>
            <pc:sldMk cId="1002023985" sldId="270"/>
            <ac:spMk id="61" creationId="{7AEADAF3-E957-986E-5486-412E4F97EB2B}"/>
          </ac:spMkLst>
        </pc:spChg>
        <pc:spChg chg="mod">
          <ac:chgData name="Joelle Brehm" userId="a518f54c-6985-42c0-8041-2bb16a414839" providerId="ADAL" clId="{9B2768D1-DFDD-45FF-849C-23AD8ECAB483}" dt="2024-05-08T16:24:55.656" v="39818"/>
          <ac:spMkLst>
            <pc:docMk/>
            <pc:sldMk cId="1002023985" sldId="270"/>
            <ac:spMk id="6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62" v="39842"/>
          <ac:spMkLst>
            <pc:docMk/>
            <pc:sldMk cId="1002023985" sldId="270"/>
            <ac:spMk id="64" creationId="{41EAF63A-0EB0-1655-3104-FBA53C392892}"/>
          </ac:spMkLst>
        </pc:spChg>
        <pc:spChg chg="add del mod modVis">
          <ac:chgData name="Joelle Brehm" userId="a518f54c-6985-42c0-8041-2bb16a414839" providerId="ADAL" clId="{9B2768D1-DFDD-45FF-849C-23AD8ECAB483}" dt="2024-05-08T16:24:31.986" v="39688"/>
          <ac:spMkLst>
            <pc:docMk/>
            <pc:sldMk cId="1002023985" sldId="270"/>
            <ac:spMk id="65" creationId="{4EC018E7-E459-04EC-EDBC-33E655A91F55}"/>
          </ac:spMkLst>
        </pc:spChg>
        <pc:spChg chg="add del mod modVis">
          <ac:chgData name="Joelle Brehm" userId="a518f54c-6985-42c0-8041-2bb16a414839" providerId="ADAL" clId="{9B2768D1-DFDD-45FF-849C-23AD8ECAB483}" dt="2024-05-08T16:24:55.669" v="39871"/>
          <ac:spMkLst>
            <pc:docMk/>
            <pc:sldMk cId="1002023985" sldId="270"/>
            <ac:spMk id="67" creationId="{FF4BFA0C-A6EC-BAFA-9CE0-3A52C9ED3A1B}"/>
          </ac:spMkLst>
        </pc:spChg>
        <pc:spChg chg="mod">
          <ac:chgData name="Joelle Brehm" userId="a518f54c-6985-42c0-8041-2bb16a414839" providerId="ADAL" clId="{9B2768D1-DFDD-45FF-849C-23AD8ECAB483}" dt="2024-05-08T16:24:55.654" v="39811"/>
          <ac:spMkLst>
            <pc:docMk/>
            <pc:sldMk cId="1002023985" sldId="270"/>
            <ac:spMk id="68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54" v="39812"/>
          <ac:spMkLst>
            <pc:docMk/>
            <pc:sldMk cId="1002023985" sldId="270"/>
            <ac:spMk id="6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54" v="39813"/>
          <ac:spMkLst>
            <pc:docMk/>
            <pc:sldMk cId="1002023985" sldId="270"/>
            <ac:spMk id="7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55" v="39814"/>
          <ac:spMkLst>
            <pc:docMk/>
            <pc:sldMk cId="1002023985" sldId="270"/>
            <ac:spMk id="7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55" v="39816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55" v="39817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52" v="39803"/>
          <ac:spMkLst>
            <pc:docMk/>
            <pc:sldMk cId="1002023985" sldId="270"/>
            <ac:spMk id="74" creationId="{1E5392BC-349C-45B4-8F81-52F83DA74F43}"/>
          </ac:spMkLst>
        </pc:spChg>
        <pc:spChg chg="mod ord">
          <ac:chgData name="Joelle Brehm" userId="a518f54c-6985-42c0-8041-2bb16a414839" providerId="ADAL" clId="{9B2768D1-DFDD-45FF-849C-23AD8ECAB483}" dt="2024-05-08T16:24:55.663" v="39844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24:55.663" v="39846"/>
          <ac:spMkLst>
            <pc:docMk/>
            <pc:sldMk cId="1002023985" sldId="270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24:55.659" v="39831"/>
          <ac:spMkLst>
            <pc:docMk/>
            <pc:sldMk cId="1002023985" sldId="270"/>
            <ac:spMk id="93" creationId="{B1BBD422-A0F8-8CC0-B23C-8A9CB3A1C6D6}"/>
          </ac:spMkLst>
        </pc:spChg>
        <pc:spChg chg="mod">
          <ac:chgData name="Joelle Brehm" userId="a518f54c-6985-42c0-8041-2bb16a414839" providerId="ADAL" clId="{9B2768D1-DFDD-45FF-849C-23AD8ECAB483}" dt="2024-05-08T16:24:55.660" v="39833"/>
          <ac:spMkLst>
            <pc:docMk/>
            <pc:sldMk cId="1002023985" sldId="270"/>
            <ac:spMk id="94" creationId="{51EBDFDB-5209-9250-277A-278A1E76D5CD}"/>
          </ac:spMkLst>
        </pc:spChg>
        <pc:spChg chg="mod">
          <ac:chgData name="Joelle Brehm" userId="a518f54c-6985-42c0-8041-2bb16a414839" providerId="ADAL" clId="{9B2768D1-DFDD-45FF-849C-23AD8ECAB483}" dt="2024-05-08T16:24:55.659" v="39832"/>
          <ac:spMkLst>
            <pc:docMk/>
            <pc:sldMk cId="1002023985" sldId="270"/>
            <ac:spMk id="97" creationId="{C2B1B1FC-2665-491D-9D8C-8903880B36C8}"/>
          </ac:spMkLst>
        </pc:spChg>
        <pc:spChg chg="mod ord">
          <ac:chgData name="Joelle Brehm" userId="a518f54c-6985-42c0-8041-2bb16a414839" providerId="ADAL" clId="{9B2768D1-DFDD-45FF-849C-23AD8ECAB483}" dt="2024-05-08T16:24:55.664" v="39848"/>
          <ac:spMkLst>
            <pc:docMk/>
            <pc:sldMk cId="1002023985" sldId="270"/>
            <ac:spMk id="100" creationId="{8B5667AB-609C-4AEA-83B3-24E395C8F420}"/>
          </ac:spMkLst>
        </pc:spChg>
        <pc:spChg chg="mod">
          <ac:chgData name="Joelle Brehm" userId="a518f54c-6985-42c0-8041-2bb16a414839" providerId="ADAL" clId="{9B2768D1-DFDD-45FF-849C-23AD8ECAB483}" dt="2024-05-08T16:24:55.659" v="39830"/>
          <ac:spMkLst>
            <pc:docMk/>
            <pc:sldMk cId="1002023985" sldId="270"/>
            <ac:spMk id="103" creationId="{7690AA4A-71C2-2257-266C-E805FC265889}"/>
          </ac:spMkLst>
        </pc:spChg>
        <pc:spChg chg="mod ord">
          <ac:chgData name="Joelle Brehm" userId="a518f54c-6985-42c0-8041-2bb16a414839" providerId="ADAL" clId="{9B2768D1-DFDD-45FF-849C-23AD8ECAB483}" dt="2024-05-08T16:24:55.664" v="39850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24:55.664" v="39852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24:55.664" v="39854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24:55.658" v="39828"/>
          <ac:spMkLst>
            <pc:docMk/>
            <pc:sldMk cId="1002023985" sldId="270"/>
            <ac:spMk id="111" creationId="{DD839E76-A267-BB7D-5F18-E1B3B8823A3B}"/>
          </ac:spMkLst>
        </pc:spChg>
        <pc:spChg chg="mod">
          <ac:chgData name="Joelle Brehm" userId="a518f54c-6985-42c0-8041-2bb16a414839" providerId="ADAL" clId="{9B2768D1-DFDD-45FF-849C-23AD8ECAB483}" dt="2024-05-08T16:24:55.665" v="39857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65" v="39858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66" v="39859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4:55.666" v="39860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24:55.666" v="39861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9B2768D1-DFDD-45FF-849C-23AD8ECAB483}" dt="2024-05-08T16:24:55.655" v="39815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9B2768D1-DFDD-45FF-849C-23AD8ECAB483}" dt="2024-05-08T16:24:55.684" v="39873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4:55.645" v="39783"/>
          <ac:graphicFrameMkLst>
            <pc:docMk/>
            <pc:sldMk cId="1002023985" sldId="270"/>
            <ac:graphicFrameMk id="8" creationId="{2FE729A1-1EF6-B1EF-1891-9097D5E34BE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4:55.665" v="39856"/>
          <ac:graphicFrameMkLst>
            <pc:docMk/>
            <pc:sldMk cId="1002023985" sldId="270"/>
            <ac:graphicFrameMk id="33" creationId="{FDA14890-790A-4469-7D41-906EE88F1107}"/>
          </ac:graphicFrameMkLst>
        </pc:graphicFrameChg>
        <pc:graphicFrameChg chg="del">
          <ac:chgData name="Joelle Brehm" userId="a518f54c-6985-42c0-8041-2bb16a414839" providerId="ADAL" clId="{9B2768D1-DFDD-45FF-849C-23AD8ECAB483}" dt="2024-05-08T16:23:46.250" v="38241"/>
          <ac:graphicFrameMkLst>
            <pc:docMk/>
            <pc:sldMk cId="1002023985" sldId="270"/>
            <ac:graphicFrameMk id="40" creationId="{9804168A-E4B1-A287-19E4-8815EAC5EF8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4:25.849" v="39119"/>
          <ac:graphicFrameMkLst>
            <pc:docMk/>
            <pc:sldMk cId="1002023985" sldId="270"/>
            <ac:graphicFrameMk id="42" creationId="{3BD6AC4B-29B9-2479-CFB1-1397FE6580CF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4:16.073" v="38556"/>
          <ac:graphicFrameMkLst>
            <pc:docMk/>
            <pc:sldMk cId="1002023985" sldId="270"/>
            <ac:graphicFrameMk id="43" creationId="{C0A98379-91EA-E729-5AE5-9FA164CDAA8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4:30.545" v="39337"/>
          <ac:graphicFrameMkLst>
            <pc:docMk/>
            <pc:sldMk cId="1002023985" sldId="270"/>
            <ac:graphicFrameMk id="51" creationId="{F3B876B2-B470-D6FD-D370-E5D5D0B77B9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4:31.919" v="39586"/>
          <ac:graphicFrameMkLst>
            <pc:docMk/>
            <pc:sldMk cId="1002023985" sldId="270"/>
            <ac:graphicFrameMk id="63" creationId="{4E7D7CF7-200C-D2D2-A299-5A443862538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4:55.619" v="39769"/>
          <ac:graphicFrameMkLst>
            <pc:docMk/>
            <pc:sldMk cId="1002023985" sldId="270"/>
            <ac:graphicFrameMk id="66" creationId="{F07BC88B-1759-DE3F-3C4D-605E113461D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4:55.654" v="39810"/>
          <ac:graphicFrameMkLst>
            <pc:docMk/>
            <pc:sldMk cId="1002023985" sldId="270"/>
            <ac:graphicFrameMk id="75" creationId="{0E839742-F3DD-EED5-B38A-60C4254160CA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4:24.246" v="38917"/>
          <ac:graphicFrameMkLst>
            <pc:docMk/>
            <pc:sldMk cId="1002023985" sldId="270"/>
            <ac:graphicFrameMk id="80" creationId="{A4FB93C2-AC76-974F-A09A-1E3D9C383EC9}"/>
          </ac:graphicFrameMkLst>
        </pc:graphicFrameChg>
        <pc:picChg chg="add mod ord">
          <ac:chgData name="Joelle Brehm" userId="a518f54c-6985-42c0-8041-2bb16a414839" providerId="ADAL" clId="{9B2768D1-DFDD-45FF-849C-23AD8ECAB483}" dt="2024-05-08T16:24:55.643" v="39777"/>
          <ac:picMkLst>
            <pc:docMk/>
            <pc:sldMk cId="1002023985" sldId="270"/>
            <ac:picMk id="9" creationId="{742DBA09-EA9C-A342-7ECD-257CABE68278}"/>
          </ac:picMkLst>
        </pc:picChg>
        <pc:picChg chg="del mod ord">
          <ac:chgData name="Joelle Brehm" userId="a518f54c-6985-42c0-8041-2bb16a414839" providerId="ADAL" clId="{9B2768D1-DFDD-45FF-849C-23AD8ECAB483}" dt="2024-05-08T16:24:02.560" v="38466" actId="478"/>
          <ac:picMkLst>
            <pc:docMk/>
            <pc:sldMk cId="1002023985" sldId="270"/>
            <ac:picMk id="41" creationId="{1A25BD86-48C3-FF54-B876-584E7C9B4E06}"/>
          </ac:picMkLst>
        </pc:picChg>
        <pc:picChg chg="mod ord">
          <ac:chgData name="Joelle Brehm" userId="a518f54c-6985-42c0-8041-2bb16a414839" providerId="ADAL" clId="{9B2768D1-DFDD-45FF-849C-23AD8ECAB483}" dt="2024-05-08T16:24:55.667" v="39865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9B2768D1-DFDD-45FF-849C-23AD8ECAB483}" dt="2024-05-08T16:24:55.667" v="39863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24:55.644" v="39781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53:43.316" v="63454" actId="478"/>
        <pc:sldMkLst>
          <pc:docMk/>
          <pc:sldMk cId="2815334483" sldId="271"/>
        </pc:sldMkLst>
        <pc:spChg chg="add del mod">
          <ac:chgData name="Joelle Brehm" userId="a518f54c-6985-42c0-8041-2bb16a414839" providerId="ADAL" clId="{9B2768D1-DFDD-45FF-849C-23AD8ECAB483}" dt="2024-05-07T22:17:26.941" v="20006" actId="478"/>
          <ac:spMkLst>
            <pc:docMk/>
            <pc:sldMk cId="2815334483" sldId="271"/>
            <ac:spMk id="2" creationId="{2A4B3228-A119-5D1F-CBF2-DDD57065EAE9}"/>
          </ac:spMkLst>
        </pc:spChg>
        <pc:spChg chg="add del mod modVis">
          <ac:chgData name="Joelle Brehm" userId="a518f54c-6985-42c0-8041-2bb16a414839" providerId="ADAL" clId="{9B2768D1-DFDD-45FF-849C-23AD8ECAB483}" dt="2024-05-08T16:05:22.442" v="20267"/>
          <ac:spMkLst>
            <pc:docMk/>
            <pc:sldMk cId="2815334483" sldId="271"/>
            <ac:spMk id="2" creationId="{90C9F025-110C-37B3-06B6-1A24AFABCFAD}"/>
          </ac:spMkLst>
        </pc:spChg>
        <pc:spChg chg="mod ord">
          <ac:chgData name="Joelle Brehm" userId="a518f54c-6985-42c0-8041-2bb16a414839" providerId="ADAL" clId="{9B2768D1-DFDD-45FF-849C-23AD8ECAB483}" dt="2024-05-08T16:53:42.066" v="63449"/>
          <ac:spMkLst>
            <pc:docMk/>
            <pc:sldMk cId="2815334483" sldId="271"/>
            <ac:spMk id="3" creationId="{393FCF28-B518-473D-82EF-3DE322BE0405}"/>
          </ac:spMkLst>
        </pc:spChg>
        <pc:spChg chg="add del mod ord">
          <ac:chgData name="Joelle Brehm" userId="a518f54c-6985-42c0-8041-2bb16a414839" providerId="ADAL" clId="{9B2768D1-DFDD-45FF-849C-23AD8ECAB483}" dt="2024-05-08T16:53:31.727" v="63371" actId="478"/>
          <ac:spMkLst>
            <pc:docMk/>
            <pc:sldMk cId="2815334483" sldId="271"/>
            <ac:spMk id="5" creationId="{09BBAD75-6D4D-F263-3B2E-CF5523D8EC78}"/>
          </ac:spMkLst>
        </pc:spChg>
        <pc:spChg chg="add del mod modVis">
          <ac:chgData name="Joelle Brehm" userId="a518f54c-6985-42c0-8041-2bb16a414839" providerId="ADAL" clId="{9B2768D1-DFDD-45FF-849C-23AD8ECAB483}" dt="2024-05-07T22:17:32.465" v="20221"/>
          <ac:spMkLst>
            <pc:docMk/>
            <pc:sldMk cId="2815334483" sldId="271"/>
            <ac:spMk id="5" creationId="{8A1CF322-D327-6972-B32D-3187F723855F}"/>
          </ac:spMkLst>
        </pc:spChg>
        <pc:spChg chg="mod ord">
          <ac:chgData name="Joelle Brehm" userId="a518f54c-6985-42c0-8041-2bb16a414839" providerId="ADAL" clId="{9B2768D1-DFDD-45FF-849C-23AD8ECAB483}" dt="2024-05-08T16:53:42.051" v="63385"/>
          <ac:spMkLst>
            <pc:docMk/>
            <pc:sldMk cId="2815334483" sldId="271"/>
            <ac:spMk id="6" creationId="{B47CE71D-7819-4857-B121-737A3BD39B4D}"/>
          </ac:spMkLst>
        </pc:spChg>
        <pc:spChg chg="add mod replST">
          <ac:chgData name="Joelle Brehm" userId="a518f54c-6985-42c0-8041-2bb16a414839" providerId="ADAL" clId="{9B2768D1-DFDD-45FF-849C-23AD8ECAB483}" dt="2024-05-08T16:53:42.065" v="63443"/>
          <ac:spMkLst>
            <pc:docMk/>
            <pc:sldMk cId="2815334483" sldId="271"/>
            <ac:spMk id="9" creationId="{B111D92C-0425-73F1-901E-16604A9B6493}"/>
          </ac:spMkLst>
        </pc:spChg>
        <pc:spChg chg="add del mod modVis">
          <ac:chgData name="Joelle Brehm" userId="a518f54c-6985-42c0-8041-2bb16a414839" providerId="ADAL" clId="{9B2768D1-DFDD-45FF-849C-23AD8ECAB483}" dt="2024-05-08T16:06:00.353" v="20490"/>
          <ac:spMkLst>
            <pc:docMk/>
            <pc:sldMk cId="2815334483" sldId="271"/>
            <ac:spMk id="10" creationId="{5BAE6406-9600-1E74-91EA-857DB3F6D186}"/>
          </ac:spMkLst>
        </pc:spChg>
        <pc:spChg chg="mod">
          <ac:chgData name="Joelle Brehm" userId="a518f54c-6985-42c0-8041-2bb16a414839" providerId="ADAL" clId="{9B2768D1-DFDD-45FF-849C-23AD8ECAB483}" dt="2024-05-08T16:53:42.053" v="63396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53:42.052" v="63392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53:42.053" v="63393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53:42.052" v="63390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53:42.052" v="63391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53:42.053" v="63394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53:42.053" v="63395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53:42.054" v="63397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53:42.054" v="63398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53:42.054" v="63399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53:42.055" v="63400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53:42.055" v="63401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53:42.055" v="63403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53:42.056" v="63404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53:42.056" v="63406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53:42.056" v="63405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53:42.057" v="63408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53:42.057" v="63409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53:42.056" v="63407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53:42.057" v="63411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53:42.058" v="63414"/>
          <ac:spMkLst>
            <pc:docMk/>
            <pc:sldMk cId="2815334483" sldId="271"/>
            <ac:spMk id="32" creationId="{8777249A-D943-16C1-E900-269856ADE995}"/>
          </ac:spMkLst>
        </pc:spChg>
        <pc:spChg chg="mod">
          <ac:chgData name="Joelle Brehm" userId="a518f54c-6985-42c0-8041-2bb16a414839" providerId="ADAL" clId="{9B2768D1-DFDD-45FF-849C-23AD8ECAB483}" dt="2024-05-08T16:53:42.059" v="63420"/>
          <ac:spMkLst>
            <pc:docMk/>
            <pc:sldMk cId="2815334483" sldId="271"/>
            <ac:spMk id="34" creationId="{A8CE6006-892B-02A7-FD6F-1A7CFF52A860}"/>
          </ac:spMkLst>
        </pc:spChg>
        <pc:spChg chg="mod">
          <ac:chgData name="Joelle Brehm" userId="a518f54c-6985-42c0-8041-2bb16a414839" providerId="ADAL" clId="{9B2768D1-DFDD-45FF-849C-23AD8ECAB483}" dt="2024-05-08T16:53:42.064" v="63441"/>
          <ac:spMkLst>
            <pc:docMk/>
            <pc:sldMk cId="2815334483" sldId="271"/>
            <ac:spMk id="35" creationId="{45572655-755F-8D0B-3A48-D4124A0ED0D7}"/>
          </ac:spMkLst>
        </pc:spChg>
        <pc:spChg chg="mod">
          <ac:chgData name="Joelle Brehm" userId="a518f54c-6985-42c0-8041-2bb16a414839" providerId="ADAL" clId="{9B2768D1-DFDD-45FF-849C-23AD8ECAB483}" dt="2024-05-08T16:53:42.060" v="63424"/>
          <ac:spMkLst>
            <pc:docMk/>
            <pc:sldMk cId="2815334483" sldId="271"/>
            <ac:spMk id="37" creationId="{8D98996E-A89F-BC66-EE73-927CDF34A688}"/>
          </ac:spMkLst>
        </pc:spChg>
        <pc:spChg chg="mod">
          <ac:chgData name="Joelle Brehm" userId="a518f54c-6985-42c0-8041-2bb16a414839" providerId="ADAL" clId="{9B2768D1-DFDD-45FF-849C-23AD8ECAB483}" dt="2024-05-08T16:53:42.065" v="63442"/>
          <ac:spMkLst>
            <pc:docMk/>
            <pc:sldMk cId="2815334483" sldId="271"/>
            <ac:spMk id="38" creationId="{93F58660-4061-9E2B-E06A-098BB1CF0FFF}"/>
          </ac:spMkLst>
        </pc:spChg>
        <pc:spChg chg="mod">
          <ac:chgData name="Joelle Brehm" userId="a518f54c-6985-42c0-8041-2bb16a414839" providerId="ADAL" clId="{9B2768D1-DFDD-45FF-849C-23AD8ECAB483}" dt="2024-05-08T16:53:42.059" v="63419"/>
          <ac:spMkLst>
            <pc:docMk/>
            <pc:sldMk cId="2815334483" sldId="271"/>
            <ac:spMk id="39" creationId="{3FE8D96F-1EA9-E112-7607-E4758CD02F39}"/>
          </ac:spMkLst>
        </pc:spChg>
        <pc:spChg chg="mod">
          <ac:chgData name="Joelle Brehm" userId="a518f54c-6985-42c0-8041-2bb16a414839" providerId="ADAL" clId="{9B2768D1-DFDD-45FF-849C-23AD8ECAB483}" dt="2024-05-08T16:53:42.058" v="63415"/>
          <ac:spMkLst>
            <pc:docMk/>
            <pc:sldMk cId="2815334483" sldId="271"/>
            <ac:spMk id="41" creationId="{DC6516B3-9BBF-0226-04DF-1347B6AC9AB0}"/>
          </ac:spMkLst>
        </pc:spChg>
        <pc:spChg chg="add del mod modVis">
          <ac:chgData name="Joelle Brehm" userId="a518f54c-6985-42c0-8041-2bb16a414839" providerId="ADAL" clId="{9B2768D1-DFDD-45FF-849C-23AD8ECAB483}" dt="2024-05-08T16:06:09.163" v="20799"/>
          <ac:spMkLst>
            <pc:docMk/>
            <pc:sldMk cId="2815334483" sldId="271"/>
            <ac:spMk id="42" creationId="{9CD7EA67-56A0-8AEA-C823-BDFB7303B6A0}"/>
          </ac:spMkLst>
        </pc:spChg>
        <pc:spChg chg="mod">
          <ac:chgData name="Joelle Brehm" userId="a518f54c-6985-42c0-8041-2bb16a414839" providerId="ADAL" clId="{9B2768D1-DFDD-45FF-849C-23AD8ECAB483}" dt="2024-05-08T16:53:42.058" v="63416"/>
          <ac:spMkLst>
            <pc:docMk/>
            <pc:sldMk cId="2815334483" sldId="271"/>
            <ac:spMk id="44" creationId="{2A226A46-FF6E-9786-3934-AE547CB60305}"/>
          </ac:spMkLst>
        </pc:spChg>
        <pc:spChg chg="add del mod modVis">
          <ac:chgData name="Joelle Brehm" userId="a518f54c-6985-42c0-8041-2bb16a414839" providerId="ADAL" clId="{9B2768D1-DFDD-45FF-849C-23AD8ECAB483}" dt="2024-05-08T16:06:12.228" v="21151"/>
          <ac:spMkLst>
            <pc:docMk/>
            <pc:sldMk cId="2815334483" sldId="271"/>
            <ac:spMk id="45" creationId="{8D95638D-AFB1-4746-AB94-000E2BCC1EF9}"/>
          </ac:spMkLst>
        </pc:spChg>
        <pc:spChg chg="mod">
          <ac:chgData name="Joelle Brehm" userId="a518f54c-6985-42c0-8041-2bb16a414839" providerId="ADAL" clId="{9B2768D1-DFDD-45FF-849C-23AD8ECAB483}" dt="2024-05-08T16:53:42.059" v="63417"/>
          <ac:spMkLst>
            <pc:docMk/>
            <pc:sldMk cId="2815334483" sldId="271"/>
            <ac:spMk id="46" creationId="{930ECC5A-4534-E4CB-B946-9975134BC620}"/>
          </ac:spMkLst>
        </pc:spChg>
        <pc:spChg chg="del mod">
          <ac:chgData name="Joelle Brehm" userId="a518f54c-6985-42c0-8041-2bb16a414839" providerId="ADAL" clId="{9B2768D1-DFDD-45FF-849C-23AD8ECAB483}" dt="2024-05-08T16:06:28.495" v="21538"/>
          <ac:spMkLst>
            <pc:docMk/>
            <pc:sldMk cId="2815334483" sldId="271"/>
            <ac:spMk id="48" creationId="{E51CFCE3-4E32-6059-9327-A1EFC827F040}"/>
          </ac:spMkLst>
        </pc:spChg>
        <pc:spChg chg="add mod replST">
          <ac:chgData name="Joelle Brehm" userId="a518f54c-6985-42c0-8041-2bb16a414839" providerId="ADAL" clId="{9B2768D1-DFDD-45FF-849C-23AD8ECAB483}" dt="2024-05-08T16:53:42.061" v="63425"/>
          <ac:spMkLst>
            <pc:docMk/>
            <pc:sldMk cId="2815334483" sldId="271"/>
            <ac:spMk id="49" creationId="{13BEC41C-4BAE-6DF5-9008-F5383DD86E8F}"/>
          </ac:spMkLst>
        </pc:spChg>
        <pc:spChg chg="mod">
          <ac:chgData name="Joelle Brehm" userId="a518f54c-6985-42c0-8041-2bb16a414839" providerId="ADAL" clId="{9B2768D1-DFDD-45FF-849C-23AD8ECAB483}" dt="2024-05-08T16:53:42.060" v="63423"/>
          <ac:spMkLst>
            <pc:docMk/>
            <pc:sldMk cId="2815334483" sldId="271"/>
            <ac:spMk id="50" creationId="{E10416A4-9A93-21B9-0943-EFAE6FB90E68}"/>
          </ac:spMkLst>
        </pc:spChg>
        <pc:spChg chg="mod">
          <ac:chgData name="Joelle Brehm" userId="a518f54c-6985-42c0-8041-2bb16a414839" providerId="ADAL" clId="{9B2768D1-DFDD-45FF-849C-23AD8ECAB483}" dt="2024-05-08T16:53:42.060" v="63421"/>
          <ac:spMkLst>
            <pc:docMk/>
            <pc:sldMk cId="2815334483" sldId="271"/>
            <ac:spMk id="51" creationId="{D8AE21DE-2650-D35B-B0CE-FC60DFB87981}"/>
          </ac:spMkLst>
        </pc:spChg>
        <pc:spChg chg="mod">
          <ac:chgData name="Joelle Brehm" userId="a518f54c-6985-42c0-8041-2bb16a414839" providerId="ADAL" clId="{9B2768D1-DFDD-45FF-849C-23AD8ECAB483}" dt="2024-05-08T16:53:42.060" v="63422"/>
          <ac:spMkLst>
            <pc:docMk/>
            <pc:sldMk cId="2815334483" sldId="271"/>
            <ac:spMk id="52" creationId="{53628FE2-0A0B-9EF5-96A1-DA716D6AD9E6}"/>
          </ac:spMkLst>
        </pc:spChg>
        <pc:spChg chg="add del mod modVis">
          <ac:chgData name="Joelle Brehm" userId="a518f54c-6985-42c0-8041-2bb16a414839" providerId="ADAL" clId="{9B2768D1-DFDD-45FF-849C-23AD8ECAB483}" dt="2024-05-08T16:06:21.379" v="21367"/>
          <ac:spMkLst>
            <pc:docMk/>
            <pc:sldMk cId="2815334483" sldId="271"/>
            <ac:spMk id="53" creationId="{49EB21A3-1D07-B38D-B974-C6C7389C9090}"/>
          </ac:spMkLst>
        </pc:spChg>
        <pc:spChg chg="mod">
          <ac:chgData name="Joelle Brehm" userId="a518f54c-6985-42c0-8041-2bb16a414839" providerId="ADAL" clId="{9B2768D1-DFDD-45FF-849C-23AD8ECAB483}" dt="2024-05-08T16:53:42.059" v="63418"/>
          <ac:spMkLst>
            <pc:docMk/>
            <pc:sldMk cId="2815334483" sldId="271"/>
            <ac:spMk id="54" creationId="{040A7AC0-BA49-481C-2E93-53505ECC740A}"/>
          </ac:spMkLst>
        </pc:spChg>
        <pc:spChg chg="add del mod modVis">
          <ac:chgData name="Joelle Brehm" userId="a518f54c-6985-42c0-8041-2bb16a414839" providerId="ADAL" clId="{9B2768D1-DFDD-45FF-849C-23AD8ECAB483}" dt="2024-05-08T16:06:25.542" v="21535"/>
          <ac:spMkLst>
            <pc:docMk/>
            <pc:sldMk cId="2815334483" sldId="271"/>
            <ac:spMk id="57" creationId="{41496A7E-2E41-4ACB-606E-CBA427BE9539}"/>
          </ac:spMkLst>
        </pc:spChg>
        <pc:spChg chg="mod ord">
          <ac:chgData name="Joelle Brehm" userId="a518f54c-6985-42c0-8041-2bb16a414839" providerId="ADAL" clId="{9B2768D1-DFDD-45FF-849C-23AD8ECAB483}" dt="2024-05-08T16:53:42.066" v="63447"/>
          <ac:spMkLst>
            <pc:docMk/>
            <pc:sldMk cId="2815334483" sldId="271"/>
            <ac:spMk id="58" creationId="{13D3C19C-081E-48C7-8BE2-5EF3E8A1DEEB}"/>
          </ac:spMkLst>
        </pc:spChg>
        <pc:spChg chg="add del mod modVis">
          <ac:chgData name="Joelle Brehm" userId="a518f54c-6985-42c0-8041-2bb16a414839" providerId="ADAL" clId="{9B2768D1-DFDD-45FF-849C-23AD8ECAB483}" dt="2024-05-08T16:06:28.613" v="21712"/>
          <ac:spMkLst>
            <pc:docMk/>
            <pc:sldMk cId="2815334483" sldId="271"/>
            <ac:spMk id="60" creationId="{C361D418-B3CF-5074-ED81-0CB231619C35}"/>
          </ac:spMkLst>
        </pc:spChg>
        <pc:spChg chg="add del mod modVis">
          <ac:chgData name="Joelle Brehm" userId="a518f54c-6985-42c0-8041-2bb16a414839" providerId="ADAL" clId="{9B2768D1-DFDD-45FF-849C-23AD8ECAB483}" dt="2024-05-08T16:30:02.084" v="47636"/>
          <ac:spMkLst>
            <pc:docMk/>
            <pc:sldMk cId="2815334483" sldId="271"/>
            <ac:spMk id="62" creationId="{1BB029D9-5B54-86E9-5F57-3E16371726E0}"/>
          </ac:spMkLst>
        </pc:spChg>
        <pc:spChg chg="add del mod modVis">
          <ac:chgData name="Joelle Brehm" userId="a518f54c-6985-42c0-8041-2bb16a414839" providerId="ADAL" clId="{9B2768D1-DFDD-45FF-849C-23AD8ECAB483}" dt="2024-05-08T16:30:04.138" v="47802"/>
          <ac:spMkLst>
            <pc:docMk/>
            <pc:sldMk cId="2815334483" sldId="271"/>
            <ac:spMk id="64" creationId="{2A6B9A8F-FCF8-4E9B-E0E2-DC7AE520742B}"/>
          </ac:spMkLst>
        </pc:spChg>
        <pc:spChg chg="mod ord">
          <ac:chgData name="Joelle Brehm" userId="a518f54c-6985-42c0-8041-2bb16a414839" providerId="ADAL" clId="{9B2768D1-DFDD-45FF-849C-23AD8ECAB483}" dt="2024-05-08T16:53:42.061" v="63427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53:42.062" v="63429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53:42.062" v="63431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53:42.063" v="63433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53:42.063" v="63435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53:42.064" v="63437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53:42.064" v="63440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53:42.077" v="63453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3:42.052" v="63389"/>
          <ac:graphicFrameMkLst>
            <pc:docMk/>
            <pc:sldMk cId="2815334483" sldId="271"/>
            <ac:graphicFrameMk id="8" creationId="{48DAEC48-3925-D7DB-BAF5-E3E61C85A2D9}"/>
          </ac:graphicFrameMkLst>
        </pc:graphicFrameChg>
        <pc:graphicFrameChg chg="del">
          <ac:chgData name="Joelle Brehm" userId="a518f54c-6985-42c0-8041-2bb16a414839" providerId="ADAL" clId="{9B2768D1-DFDD-45FF-849C-23AD8ECAB483}" dt="2024-05-07T22:17:32.361" v="20138"/>
          <ac:graphicFrameMkLst>
            <pc:docMk/>
            <pc:sldMk cId="2815334483" sldId="271"/>
            <ac:graphicFrameMk id="10" creationId="{CEB47C85-54C5-4D69-F0FC-C5D3E892EBB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6:09.115" v="20719"/>
          <ac:graphicFrameMkLst>
            <pc:docMk/>
            <pc:sldMk cId="2815334483" sldId="271"/>
            <ac:graphicFrameMk id="33" creationId="{7C8E253C-23DA-E758-5CA6-36EBC9E51154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06:00.289" v="20410"/>
          <ac:graphicFrameMkLst>
            <pc:docMk/>
            <pc:sldMk cId="2815334483" sldId="271"/>
            <ac:graphicFrameMk id="36" creationId="{357F0E79-FDD9-B9EB-7F92-5390059E473D}"/>
          </ac:graphicFrameMkLst>
        </pc:graphicFrameChg>
        <pc:graphicFrameChg chg="add mod ord replST delST">
          <ac:chgData name="Joelle Brehm" userId="a518f54c-6985-42c0-8041-2bb16a414839" providerId="ADAL" clId="{9B2768D1-DFDD-45FF-849C-23AD8ECAB483}" dt="2024-05-08T16:06:04.280" v="20623"/>
          <ac:graphicFrameMkLst>
            <pc:docMk/>
            <pc:sldMk cId="2815334483" sldId="271"/>
            <ac:graphicFrameMk id="40" creationId="{527E6E04-4FA1-37A4-76AD-723C07B23B33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3:42.064" v="63439"/>
          <ac:graphicFrameMkLst>
            <pc:docMk/>
            <pc:sldMk cId="2815334483" sldId="271"/>
            <ac:graphicFrameMk id="43" creationId="{A7570CF0-B599-BF6C-6564-16C1E8E244E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6:21.326" v="21280"/>
          <ac:graphicFrameMkLst>
            <pc:docMk/>
            <pc:sldMk cId="2815334483" sldId="271"/>
            <ac:graphicFrameMk id="47" creationId="{39231CC0-3619-D066-A1E8-8AAD0955B74A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06:12.184" v="21065"/>
          <ac:graphicFrameMkLst>
            <pc:docMk/>
            <pc:sldMk cId="2815334483" sldId="271"/>
            <ac:graphicFrameMk id="55" creationId="{7D06F76C-F732-9C10-AE9F-826372B9755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6:25.472" v="21443"/>
          <ac:graphicFrameMkLst>
            <pc:docMk/>
            <pc:sldMk cId="2815334483" sldId="271"/>
            <ac:graphicFrameMk id="56" creationId="{F44D80AB-CC26-7498-65F6-C03D7B63E39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6:28.566" v="21632"/>
          <ac:graphicFrameMkLst>
            <pc:docMk/>
            <pc:sldMk cId="2815334483" sldId="271"/>
            <ac:graphicFrameMk id="59" creationId="{16D41153-F29E-E734-FEC2-EB4998AF7B5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01.925" v="47545"/>
          <ac:graphicFrameMkLst>
            <pc:docMk/>
            <pc:sldMk cId="2815334483" sldId="271"/>
            <ac:graphicFrameMk id="61" creationId="{6B390B97-1AAB-8CF7-A806-AEE6DECE36D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04.063" v="47711"/>
          <ac:graphicFrameMkLst>
            <pc:docMk/>
            <pc:sldMk cId="2815334483" sldId="271"/>
            <ac:graphicFrameMk id="63" creationId="{70DF912D-4497-5FE3-928C-D499BD975D3D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3:42.058" v="63413"/>
          <ac:graphicFrameMkLst>
            <pc:docMk/>
            <pc:sldMk cId="2815334483" sldId="271"/>
            <ac:graphicFrameMk id="65" creationId="{4C1D2B92-61F5-0CE8-EB0D-CD02DAD4CBC1}"/>
          </ac:graphicFrameMkLst>
        </pc:graphicFrameChg>
        <pc:picChg chg="del mod ord">
          <ac:chgData name="Joelle Brehm" userId="a518f54c-6985-42c0-8041-2bb16a414839" providerId="ADAL" clId="{9B2768D1-DFDD-45FF-849C-23AD8ECAB483}" dt="2024-05-08T16:53:43.316" v="63454" actId="478"/>
          <ac:picMkLst>
            <pc:docMk/>
            <pc:sldMk cId="2815334483" sldId="271"/>
            <ac:picMk id="31" creationId="{9C4DCF98-85EB-F89A-637C-BEAB795A0251}"/>
          </ac:picMkLst>
        </pc:picChg>
        <pc:picChg chg="add mod ord">
          <ac:chgData name="Joelle Brehm" userId="a518f54c-6985-42c0-8041-2bb16a414839" providerId="ADAL" clId="{9B2768D1-DFDD-45FF-849C-23AD8ECAB483}" dt="2024-05-08T16:53:42.049" v="63381"/>
          <ac:picMkLst>
            <pc:docMk/>
            <pc:sldMk cId="2815334483" sldId="271"/>
            <ac:picMk id="66" creationId="{1EA6A3D5-068A-5949-8F55-7519C7382AE0}"/>
          </ac:picMkLst>
        </pc:picChg>
        <pc:picChg chg="mod ord">
          <ac:chgData name="Joelle Brehm" userId="a518f54c-6985-42c0-8041-2bb16a414839" providerId="ADAL" clId="{9B2768D1-DFDD-45FF-849C-23AD8ECAB483}" dt="2024-05-08T16:53:42.065" v="63445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53:42.052" v="63387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0:13.567" v="48138"/>
        <pc:sldMkLst>
          <pc:docMk/>
          <pc:sldMk cId="1407012127" sldId="272"/>
        </pc:sldMkLst>
        <pc:spChg chg="mod ord">
          <ac:chgData name="Joelle Brehm" userId="a518f54c-6985-42c0-8041-2bb16a414839" providerId="ADAL" clId="{9B2768D1-DFDD-45FF-849C-23AD8ECAB483}" dt="2024-05-08T16:30:13.545" v="48132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9B2768D1-DFDD-45FF-849C-23AD8ECAB483}" dt="2024-05-08T16:06:54.139" v="21715" actId="478"/>
          <ac:spMkLst>
            <pc:docMk/>
            <pc:sldMk cId="1407012127" sldId="272"/>
            <ac:spMk id="3" creationId="{E92704ED-A400-1E5C-52C9-D56AE1EC9E40}"/>
          </ac:spMkLst>
        </pc:spChg>
        <pc:spChg chg="add del mod modVis">
          <ac:chgData name="Joelle Brehm" userId="a518f54c-6985-42c0-8041-2bb16a414839" providerId="ADAL" clId="{9B2768D1-DFDD-45FF-849C-23AD8ECAB483}" dt="2024-05-08T16:07:00.543" v="21930"/>
          <ac:spMkLst>
            <pc:docMk/>
            <pc:sldMk cId="1407012127" sldId="272"/>
            <ac:spMk id="5" creationId="{CF856AE3-AB58-230A-2A9A-94C7452DB420}"/>
          </ac:spMkLst>
        </pc:spChg>
        <pc:spChg chg="mod ord">
          <ac:chgData name="Joelle Brehm" userId="a518f54c-6985-42c0-8041-2bb16a414839" providerId="ADAL" clId="{9B2768D1-DFDD-45FF-849C-23AD8ECAB483}" dt="2024-05-08T16:30:13.514" v="48067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0:13.514" v="48078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0:13.514" v="48074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0:13.514" v="48075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0:13.514" v="48072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0:13.514" v="48073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0:13.514" v="48076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0:13.514" v="48077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0:13.514" v="48079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0:13.529" v="48080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0:13.529" v="48081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0:13.529" v="48082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0:13.529" v="48083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0:13.529" v="48085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0:13.529" v="48086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0:13.529" v="48088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0:13.529" v="48087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0:13.529" v="48090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0:13.529" v="48091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0:13.529" v="48089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0:13.529" v="48093"/>
          <ac:spMkLst>
            <pc:docMk/>
            <pc:sldMk cId="1407012127" sldId="272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07:27.179" v="22224"/>
          <ac:spMkLst>
            <pc:docMk/>
            <pc:sldMk cId="1407012127" sldId="272"/>
            <ac:spMk id="31" creationId="{623CF975-988E-7EC1-F81D-A0A57C002AAC}"/>
          </ac:spMkLst>
        </pc:spChg>
        <pc:spChg chg="add mod replST">
          <ac:chgData name="Joelle Brehm" userId="a518f54c-6985-42c0-8041-2bb16a414839" providerId="ADAL" clId="{9B2768D1-DFDD-45FF-849C-23AD8ECAB483}" dt="2024-05-08T16:30:13.529" v="48107"/>
          <ac:spMkLst>
            <pc:docMk/>
            <pc:sldMk cId="1407012127" sldId="272"/>
            <ac:spMk id="34" creationId="{5E2B285F-B039-5933-8E78-97387AF6A10B}"/>
          </ac:spMkLst>
        </pc:spChg>
        <pc:spChg chg="add del mod modVis">
          <ac:chgData name="Joelle Brehm" userId="a518f54c-6985-42c0-8041-2bb16a414839" providerId="ADAL" clId="{9B2768D1-DFDD-45FF-849C-23AD8ECAB483}" dt="2024-05-08T16:07:35.449" v="22663"/>
          <ac:spMkLst>
            <pc:docMk/>
            <pc:sldMk cId="1407012127" sldId="272"/>
            <ac:spMk id="35" creationId="{442900AC-3608-B9DB-1FFC-5FD451C9BE65}"/>
          </ac:spMkLst>
        </pc:spChg>
        <pc:spChg chg="add del mod ord replST">
          <ac:chgData name="Joelle Brehm" userId="a518f54c-6985-42c0-8041-2bb16a414839" providerId="ADAL" clId="{9B2768D1-DFDD-45FF-849C-23AD8ECAB483}" dt="2024-05-08T16:07:39.549" v="22949"/>
          <ac:spMkLst>
            <pc:docMk/>
            <pc:sldMk cId="1407012127" sldId="272"/>
            <ac:spMk id="36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07:36.539" v="22884"/>
          <ac:spMkLst>
            <pc:docMk/>
            <pc:sldMk cId="1407012127" sldId="272"/>
            <ac:spMk id="39" creationId="{63A8DF6C-341D-3467-BDA2-B92D390595B2}"/>
          </ac:spMkLst>
        </pc:spChg>
        <pc:spChg chg="add del mod ord replST">
          <ac:chgData name="Joelle Brehm" userId="a518f54c-6985-42c0-8041-2bb16a414839" providerId="ADAL" clId="{9B2768D1-DFDD-45FF-849C-23AD8ECAB483}" dt="2024-05-08T16:07:42.337" v="23120"/>
          <ac:spMkLst>
            <pc:docMk/>
            <pc:sldMk cId="1407012127" sldId="272"/>
            <ac:spMk id="40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07:39.632" v="23066"/>
          <ac:spMkLst>
            <pc:docMk/>
            <pc:sldMk cId="1407012127" sldId="272"/>
            <ac:spMk id="42" creationId="{9CA1B74F-1D87-38C1-DF9B-A9D8D7E4CAB2}"/>
          </ac:spMkLst>
        </pc:spChg>
        <pc:spChg chg="add del mod modVis">
          <ac:chgData name="Joelle Brehm" userId="a518f54c-6985-42c0-8041-2bb16a414839" providerId="ADAL" clId="{9B2768D1-DFDD-45FF-849C-23AD8ECAB483}" dt="2024-05-08T16:07:42.388" v="23201"/>
          <ac:spMkLst>
            <pc:docMk/>
            <pc:sldMk cId="1407012127" sldId="272"/>
            <ac:spMk id="44" creationId="{D8321AF5-0A1D-96BA-8394-B2295D58AF14}"/>
          </ac:spMkLst>
        </pc:spChg>
        <pc:spChg chg="add del mod modVis">
          <ac:chgData name="Joelle Brehm" userId="a518f54c-6985-42c0-8041-2bb16a414839" providerId="ADAL" clId="{9B2768D1-DFDD-45FF-849C-23AD8ECAB483}" dt="2024-05-08T16:30:11.405" v="47969"/>
          <ac:spMkLst>
            <pc:docMk/>
            <pc:sldMk cId="1407012127" sldId="272"/>
            <ac:spMk id="46" creationId="{CFB1BFC1-D61B-B95B-6197-2542FE039D74}"/>
          </ac:spMkLst>
        </pc:spChg>
        <pc:spChg chg="add del mod modVis">
          <ac:chgData name="Joelle Brehm" userId="a518f54c-6985-42c0-8041-2bb16a414839" providerId="ADAL" clId="{9B2768D1-DFDD-45FF-849C-23AD8ECAB483}" dt="2024-05-08T16:30:13.545" v="48136"/>
          <ac:spMkLst>
            <pc:docMk/>
            <pc:sldMk cId="1407012127" sldId="272"/>
            <ac:spMk id="48" creationId="{83E2E751-6BBE-2A77-4A63-81246DF09BDA}"/>
          </ac:spMkLst>
        </pc:spChg>
        <pc:spChg chg="del mod">
          <ac:chgData name="Joelle Brehm" userId="a518f54c-6985-42c0-8041-2bb16a414839" providerId="ADAL" clId="{9B2768D1-DFDD-45FF-849C-23AD8ECAB483}" dt="2024-05-08T16:07:39.470" v="22887"/>
          <ac:spMkLst>
            <pc:docMk/>
            <pc:sldMk cId="1407012127" sldId="272"/>
            <ac:spMk id="71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30:13.545" v="48130"/>
          <ac:spMkLst>
            <pc:docMk/>
            <pc:sldMk cId="1407012127" sldId="272"/>
            <ac:spMk id="72" creationId="{E9A305E6-E2FF-42BD-A4C9-5026A51C421A}"/>
          </ac:spMkLst>
        </pc:spChg>
        <pc:spChg chg="mod">
          <ac:chgData name="Joelle Brehm" userId="a518f54c-6985-42c0-8041-2bb16a414839" providerId="ADAL" clId="{9B2768D1-DFDD-45FF-849C-23AD8ECAB483}" dt="2024-05-08T16:30:13.529" v="48096"/>
          <ac:spMkLst>
            <pc:docMk/>
            <pc:sldMk cId="1407012127" sldId="272"/>
            <ac:spMk id="7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097"/>
          <ac:spMkLst>
            <pc:docMk/>
            <pc:sldMk cId="1407012127" sldId="272"/>
            <ac:spMk id="7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098"/>
          <ac:spMkLst>
            <pc:docMk/>
            <pc:sldMk cId="1407012127" sldId="272"/>
            <ac:spMk id="7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099"/>
          <ac:spMkLst>
            <pc:docMk/>
            <pc:sldMk cId="1407012127" sldId="272"/>
            <ac:spMk id="7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100"/>
          <ac:spMkLst>
            <pc:docMk/>
            <pc:sldMk cId="1407012127" sldId="272"/>
            <ac:spMk id="7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30:13.529" v="48109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0:13.529" v="48111"/>
          <ac:spMkLst>
            <pc:docMk/>
            <pc:sldMk cId="1407012127" sldId="272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30:13.529" v="48101"/>
          <ac:spMkLst>
            <pc:docMk/>
            <pc:sldMk cId="1407012127" sldId="272"/>
            <ac:spMk id="8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102"/>
          <ac:spMkLst>
            <pc:docMk/>
            <pc:sldMk cId="1407012127" sldId="272"/>
            <ac:spMk id="8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103"/>
          <ac:spMkLst>
            <pc:docMk/>
            <pc:sldMk cId="1407012127" sldId="272"/>
            <ac:spMk id="8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104"/>
          <ac:spMkLst>
            <pc:docMk/>
            <pc:sldMk cId="1407012127" sldId="272"/>
            <ac:spMk id="8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105"/>
          <ac:spMkLst>
            <pc:docMk/>
            <pc:sldMk cId="1407012127" sldId="272"/>
            <ac:spMk id="8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29" v="48106"/>
          <ac:spMkLst>
            <pc:docMk/>
            <pc:sldMk cId="1407012127" sldId="272"/>
            <ac:spMk id="85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30:13.529" v="48113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0:13.529" v="48115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0:13.529" v="48117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0:13.529" v="48119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0:13.544" v="48122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45" v="48123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45" v="48124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13.545" v="48125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30:13.545" v="48126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30:13.567" v="48138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13.514" v="48071"/>
          <ac:graphicFrameMkLst>
            <pc:docMk/>
            <pc:sldMk cId="1407012127" sldId="272"/>
            <ac:graphicFrameMk id="8" creationId="{5F948DC0-EFBC-6BF9-ACED-3570EF98C5C6}"/>
          </ac:graphicFrameMkLst>
        </pc:graphicFrameChg>
        <pc:graphicFrameChg chg="del">
          <ac:chgData name="Joelle Brehm" userId="a518f54c-6985-42c0-8041-2bb16a414839" providerId="ADAL" clId="{9B2768D1-DFDD-45FF-849C-23AD8ECAB483}" dt="2024-05-08T16:07:00.488" v="21847"/>
          <ac:graphicFrameMkLst>
            <pc:docMk/>
            <pc:sldMk cId="1407012127" sldId="272"/>
            <ac:graphicFrameMk id="9" creationId="{A7EB7A9A-BB6F-C0A9-2498-048B7281D80E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13.529" v="48121"/>
          <ac:graphicFrameMkLst>
            <pc:docMk/>
            <pc:sldMk cId="1407012127" sldId="272"/>
            <ac:graphicFrameMk id="33" creationId="{C8EAC1F6-0498-6AE1-C864-23AD5614972D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07:27.127" v="22145"/>
          <ac:graphicFrameMkLst>
            <pc:docMk/>
            <pc:sldMk cId="1407012127" sldId="272"/>
            <ac:graphicFrameMk id="37" creationId="{C7E1CBF6-021D-D95E-452D-8559B453EF7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7:36.446" v="22787"/>
          <ac:graphicFrameMkLst>
            <pc:docMk/>
            <pc:sldMk cId="1407012127" sldId="272"/>
            <ac:graphicFrameMk id="38" creationId="{A17FCFE3-A78C-EDE2-C347-03591AD2C86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7:39.566" v="22985"/>
          <ac:graphicFrameMkLst>
            <pc:docMk/>
            <pc:sldMk cId="1407012127" sldId="272"/>
            <ac:graphicFrameMk id="41" creationId="{69304495-44B9-B758-7DF2-85C68D8C491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7:42.338" v="23122"/>
          <ac:graphicFrameMkLst>
            <pc:docMk/>
            <pc:sldMk cId="1407012127" sldId="272"/>
            <ac:graphicFrameMk id="43" creationId="{873B02DA-DDF1-9DB4-74C1-CF0493EEF26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11.341" v="47877"/>
          <ac:graphicFrameMkLst>
            <pc:docMk/>
            <pc:sldMk cId="1407012127" sldId="272"/>
            <ac:graphicFrameMk id="45" creationId="{CD6A4AE1-73B4-FB70-9DA1-FCD53E627D8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13.453" v="48044"/>
          <ac:graphicFrameMkLst>
            <pc:docMk/>
            <pc:sldMk cId="1407012127" sldId="272"/>
            <ac:graphicFrameMk id="47" creationId="{4B42DF85-2FFE-7E7C-79A1-B54EC1935149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13.529" v="48095"/>
          <ac:graphicFrameMkLst>
            <pc:docMk/>
            <pc:sldMk cId="1407012127" sldId="272"/>
            <ac:graphicFrameMk id="49" creationId="{58AAA57E-0E36-C3A5-AF9D-85A9B0F124C2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07:35.356" v="22573"/>
          <ac:graphicFrameMkLst>
            <pc:docMk/>
            <pc:sldMk cId="1407012127" sldId="272"/>
            <ac:graphicFrameMk id="86" creationId="{82B14461-3F13-7950-BB87-5E380B97F9A6}"/>
          </ac:graphicFrameMkLst>
        </pc:graphicFrameChg>
        <pc:picChg chg="add mod ord">
          <ac:chgData name="Joelle Brehm" userId="a518f54c-6985-42c0-8041-2bb16a414839" providerId="ADAL" clId="{9B2768D1-DFDD-45FF-849C-23AD8ECAB483}" dt="2024-05-08T16:30:13.514" v="48065"/>
          <ac:picMkLst>
            <pc:docMk/>
            <pc:sldMk cId="1407012127" sldId="272"/>
            <ac:picMk id="10" creationId="{F4A839B4-64AD-17D9-038D-5C7CD3CE4EE8}"/>
          </ac:picMkLst>
        </pc:picChg>
        <pc:picChg chg="del mod ord">
          <ac:chgData name="Joelle Brehm" userId="a518f54c-6985-42c0-8041-2bb16a414839" providerId="ADAL" clId="{9B2768D1-DFDD-45FF-849C-23AD8ECAB483}" dt="2024-05-08T16:07:16.198" v="22014" actId="478"/>
          <ac:picMkLst>
            <pc:docMk/>
            <pc:sldMk cId="1407012127" sldId="272"/>
            <ac:picMk id="32" creationId="{41EF5945-50B4-AFEF-E72D-9D19833102AB}"/>
          </ac:picMkLst>
        </pc:picChg>
        <pc:picChg chg="mod ord">
          <ac:chgData name="Joelle Brehm" userId="a518f54c-6985-42c0-8041-2bb16a414839" providerId="ADAL" clId="{9B2768D1-DFDD-45FF-849C-23AD8ECAB483}" dt="2024-05-08T16:30:13.545" v="48128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0:13.514" v="48069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0:23.873" v="48464"/>
        <pc:sldMkLst>
          <pc:docMk/>
          <pc:sldMk cId="4005475890" sldId="273"/>
        </pc:sldMkLst>
        <pc:spChg chg="mod ord">
          <ac:chgData name="Joelle Brehm" userId="a518f54c-6985-42c0-8041-2bb16a414839" providerId="ADAL" clId="{9B2768D1-DFDD-45FF-849C-23AD8ECAB483}" dt="2024-05-08T16:30:23.841" v="48458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9B2768D1-DFDD-45FF-849C-23AD8ECAB483}" dt="2024-05-08T16:08:50.201" v="23204" actId="478"/>
          <ac:spMkLst>
            <pc:docMk/>
            <pc:sldMk cId="4005475890" sldId="273"/>
            <ac:spMk id="3" creationId="{6A80FF62-4A5C-A1E5-747E-A814721C8999}"/>
          </ac:spMkLst>
        </pc:spChg>
        <pc:spChg chg="add del mod modVis">
          <ac:chgData name="Joelle Brehm" userId="a518f54c-6985-42c0-8041-2bb16a414839" providerId="ADAL" clId="{9B2768D1-DFDD-45FF-849C-23AD8ECAB483}" dt="2024-05-08T16:08:55.926" v="23421"/>
          <ac:spMkLst>
            <pc:docMk/>
            <pc:sldMk cId="4005475890" sldId="273"/>
            <ac:spMk id="5" creationId="{22E6B241-78F6-2DAB-25A3-8D023ABC01AD}"/>
          </ac:spMkLst>
        </pc:spChg>
        <pc:spChg chg="mod ord">
          <ac:chgData name="Joelle Brehm" userId="a518f54c-6985-42c0-8041-2bb16a414839" providerId="ADAL" clId="{9B2768D1-DFDD-45FF-849C-23AD8ECAB483}" dt="2024-05-08T16:30:23.807" v="48393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0:23.835" v="48427"/>
          <ac:spMkLst>
            <pc:docMk/>
            <pc:sldMk cId="4005475890" sldId="273"/>
            <ac:spMk id="10" creationId="{F4526B17-4D9D-5E61-CE0E-B2D48C5D6FAD}"/>
          </ac:spMkLst>
        </pc:spChg>
        <pc:spChg chg="mod">
          <ac:chgData name="Joelle Brehm" userId="a518f54c-6985-42c0-8041-2bb16a414839" providerId="ADAL" clId="{9B2768D1-DFDD-45FF-849C-23AD8ECAB483}" dt="2024-05-08T16:30:23.819" v="48404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0:23.811" v="48400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0:23.811" v="48401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0:23.811" v="48398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0:23.811" v="48399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0:23.811" v="48402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0:23.811" v="48403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0:23.819" v="48405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0:23.819" v="48406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0:23.819" v="48407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0:23.819" v="48408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0:23.819" v="48409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0:23.819" v="48411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0:23.819" v="48412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0:23.819" v="48414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0:23.819" v="48413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0:23.819" v="48416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0:23.819" v="48417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0:23.819" v="48415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0:23.835" v="48419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30:23.835" v="48422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9B2768D1-DFDD-45FF-849C-23AD8ECAB483}" dt="2024-05-08T16:30:23.835" v="48423"/>
          <ac:spMkLst>
            <pc:docMk/>
            <pc:sldMk cId="4005475890" sldId="273"/>
            <ac:spMk id="33" creationId="{DD197FE7-3589-FD89-6611-B0D101E5EA5C}"/>
          </ac:spMkLst>
        </pc:spChg>
        <pc:spChg chg="add del mod modVis">
          <ac:chgData name="Joelle Brehm" userId="a518f54c-6985-42c0-8041-2bb16a414839" providerId="ADAL" clId="{9B2768D1-DFDD-45FF-849C-23AD8ECAB483}" dt="2024-05-08T16:09:35.421" v="23714"/>
          <ac:spMkLst>
            <pc:docMk/>
            <pc:sldMk cId="4005475890" sldId="273"/>
            <ac:spMk id="34" creationId="{6E940F02-1D65-71E2-CC62-E1828D7E7AC5}"/>
          </ac:spMkLst>
        </pc:spChg>
        <pc:spChg chg="del mod">
          <ac:chgData name="Joelle Brehm" userId="a518f54c-6985-42c0-8041-2bb16a414839" providerId="ADAL" clId="{9B2768D1-DFDD-45FF-849C-23AD8ECAB483}" dt="2024-05-08T16:09:59.720" v="24467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9B2768D1-DFDD-45FF-849C-23AD8ECAB483}" dt="2024-05-08T16:30:23.835" v="48424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9B2768D1-DFDD-45FF-849C-23AD8ECAB483}" dt="2024-05-08T16:30:23.835" v="48425"/>
          <ac:spMkLst>
            <pc:docMk/>
            <pc:sldMk cId="4005475890" sldId="273"/>
            <ac:spMk id="38" creationId="{8B5BCAB4-60F8-4FD5-A40F-97245FABCE9A}"/>
          </ac:spMkLst>
        </pc:spChg>
        <pc:spChg chg="mod">
          <ac:chgData name="Joelle Brehm" userId="a518f54c-6985-42c0-8041-2bb16a414839" providerId="ADAL" clId="{9B2768D1-DFDD-45FF-849C-23AD8ECAB483}" dt="2024-05-08T16:30:23.835" v="48430"/>
          <ac:spMkLst>
            <pc:docMk/>
            <pc:sldMk cId="4005475890" sldId="273"/>
            <ac:spMk id="39" creationId="{6EB370A9-5BCE-98AF-C8A7-2C1083EB4B47}"/>
          </ac:spMkLst>
        </pc:spChg>
        <pc:spChg chg="mod">
          <ac:chgData name="Joelle Brehm" userId="a518f54c-6985-42c0-8041-2bb16a414839" providerId="ADAL" clId="{9B2768D1-DFDD-45FF-849C-23AD8ECAB483}" dt="2024-05-08T16:30:23.835" v="48426"/>
          <ac:spMkLst>
            <pc:docMk/>
            <pc:sldMk cId="4005475890" sldId="273"/>
            <ac:spMk id="40" creationId="{6DF186F3-D7BB-E35B-BC5F-B5541CDFEBC5}"/>
          </ac:spMkLst>
        </pc:spChg>
        <pc:spChg chg="add del mod replST">
          <ac:chgData name="Joelle Brehm" userId="a518f54c-6985-42c0-8041-2bb16a414839" providerId="ADAL" clId="{9B2768D1-DFDD-45FF-849C-23AD8ECAB483}" dt="2024-05-08T16:09:36.024" v="23726"/>
          <ac:spMkLst>
            <pc:docMk/>
            <pc:sldMk cId="4005475890" sldId="273"/>
            <ac:spMk id="4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23.835" v="48428"/>
          <ac:spMkLst>
            <pc:docMk/>
            <pc:sldMk cId="4005475890" sldId="273"/>
            <ac:spMk id="42" creationId="{7FC47C4A-8CF4-7E0B-5C11-19422C1D0358}"/>
          </ac:spMkLst>
        </pc:spChg>
        <pc:spChg chg="mod">
          <ac:chgData name="Joelle Brehm" userId="a518f54c-6985-42c0-8041-2bb16a414839" providerId="ADAL" clId="{9B2768D1-DFDD-45FF-849C-23AD8ECAB483}" dt="2024-05-08T16:30:23.835" v="48429"/>
          <ac:spMkLst>
            <pc:docMk/>
            <pc:sldMk cId="4005475890" sldId="273"/>
            <ac:spMk id="44" creationId="{F5DD50D0-308B-02DF-A219-2C10A5776DF3}"/>
          </ac:spMkLst>
        </pc:spChg>
        <pc:spChg chg="mod">
          <ac:chgData name="Joelle Brehm" userId="a518f54c-6985-42c0-8041-2bb16a414839" providerId="ADAL" clId="{9B2768D1-DFDD-45FF-849C-23AD8ECAB483}" dt="2024-05-08T16:30:23.841" v="48431"/>
          <ac:spMkLst>
            <pc:docMk/>
            <pc:sldMk cId="4005475890" sldId="273"/>
            <ac:spMk id="45" creationId="{6D111BDF-CA0B-7DF2-86F8-105CCD7F741C}"/>
          </ac:spMkLst>
        </pc:spChg>
        <pc:spChg chg="mod">
          <ac:chgData name="Joelle Brehm" userId="a518f54c-6985-42c0-8041-2bb16a414839" providerId="ADAL" clId="{9B2768D1-DFDD-45FF-849C-23AD8ECAB483}" dt="2024-05-08T16:30:23.841" v="48432"/>
          <ac:spMkLst>
            <pc:docMk/>
            <pc:sldMk cId="4005475890" sldId="273"/>
            <ac:spMk id="48" creationId="{E278405F-6139-E877-8C6E-29ED14D5D0A8}"/>
          </ac:spMkLst>
        </pc:spChg>
        <pc:spChg chg="add del mod modVis">
          <ac:chgData name="Joelle Brehm" userId="a518f54c-6985-42c0-8041-2bb16a414839" providerId="ADAL" clId="{9B2768D1-DFDD-45FF-849C-23AD8ECAB483}" dt="2024-05-08T16:09:42.255" v="24004"/>
          <ac:spMkLst>
            <pc:docMk/>
            <pc:sldMk cId="4005475890" sldId="273"/>
            <ac:spMk id="49" creationId="{9F72903C-6720-5D16-6F23-3AAF5E81A5C5}"/>
          </ac:spMkLst>
        </pc:spChg>
        <pc:spChg chg="add mod replST">
          <ac:chgData name="Joelle Brehm" userId="a518f54c-6985-42c0-8041-2bb16a414839" providerId="ADAL" clId="{9B2768D1-DFDD-45FF-849C-23AD8ECAB483}" dt="2024-05-08T16:30:23.841" v="48433"/>
          <ac:spMkLst>
            <pc:docMk/>
            <pc:sldMk cId="4005475890" sldId="273"/>
            <ac:spMk id="51" creationId="{7722A205-4CB6-0F41-037B-FEA378BF62B0}"/>
          </ac:spMkLst>
        </pc:spChg>
        <pc:spChg chg="add del mod modVis">
          <ac:chgData name="Joelle Brehm" userId="a518f54c-6985-42c0-8041-2bb16a414839" providerId="ADAL" clId="{9B2768D1-DFDD-45FF-849C-23AD8ECAB483}" dt="2024-05-08T16:09:53.909" v="24328"/>
          <ac:spMkLst>
            <pc:docMk/>
            <pc:sldMk cId="4005475890" sldId="273"/>
            <ac:spMk id="52" creationId="{F1598A4C-5650-E02E-A952-5E0AE9C0ADDA}"/>
          </ac:spMkLst>
        </pc:spChg>
        <pc:spChg chg="add del mod modVis">
          <ac:chgData name="Joelle Brehm" userId="a518f54c-6985-42c0-8041-2bb16a414839" providerId="ADAL" clId="{9B2768D1-DFDD-45FF-849C-23AD8ECAB483}" dt="2024-05-08T16:09:56.315" v="24464"/>
          <ac:spMkLst>
            <pc:docMk/>
            <pc:sldMk cId="4005475890" sldId="273"/>
            <ac:spMk id="54" creationId="{51769858-89C3-46DD-EBCA-47FECD8B4319}"/>
          </ac:spMkLst>
        </pc:spChg>
        <pc:spChg chg="add del mod modVis">
          <ac:chgData name="Joelle Brehm" userId="a518f54c-6985-42c0-8041-2bb16a414839" providerId="ADAL" clId="{9B2768D1-DFDD-45FF-849C-23AD8ECAB483}" dt="2024-05-08T16:10:00.120" v="24717"/>
          <ac:spMkLst>
            <pc:docMk/>
            <pc:sldMk cId="4005475890" sldId="273"/>
            <ac:spMk id="56" creationId="{FE897BD3-52A2-84AC-E5AE-8C7C915971FC}"/>
          </ac:spMkLst>
        </pc:spChg>
        <pc:spChg chg="add del mod ord replST">
          <ac:chgData name="Joelle Brehm" userId="a518f54c-6985-42c0-8041-2bb16a414839" providerId="ADAL" clId="{9B2768D1-DFDD-45FF-849C-23AD8ECAB483}" dt="2024-05-08T16:10:51.538" v="25119"/>
          <ac:spMkLst>
            <pc:docMk/>
            <pc:sldMk cId="4005475890" sldId="273"/>
            <ac:spMk id="5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30:23.841" v="48456"/>
          <ac:spMkLst>
            <pc:docMk/>
            <pc:sldMk cId="4005475890" sldId="273"/>
            <ac:spMk id="58" creationId="{FEC487CB-3123-46A1-8350-8669839FA870}"/>
          </ac:spMkLst>
        </pc:spChg>
        <pc:spChg chg="add del mod modVis">
          <ac:chgData name="Joelle Brehm" userId="a518f54c-6985-42c0-8041-2bb16a414839" providerId="ADAL" clId="{9B2768D1-DFDD-45FF-849C-23AD8ECAB483}" dt="2024-05-08T16:10:41.785" v="24931"/>
          <ac:spMkLst>
            <pc:docMk/>
            <pc:sldMk cId="4005475890" sldId="273"/>
            <ac:spMk id="61" creationId="{D8C73CAB-E898-1948-76C5-CBA513E90BA4}"/>
          </ac:spMkLst>
        </pc:spChg>
        <pc:spChg chg="add del mod ord replST">
          <ac:chgData name="Joelle Brehm" userId="a518f54c-6985-42c0-8041-2bb16a414839" providerId="ADAL" clId="{9B2768D1-DFDD-45FF-849C-23AD8ECAB483}" dt="2024-05-08T16:10:49.275" v="24984"/>
          <ac:spMkLst>
            <pc:docMk/>
            <pc:sldMk cId="4005475890" sldId="273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10:49.323" v="25067"/>
          <ac:spMkLst>
            <pc:docMk/>
            <pc:sldMk cId="4005475890" sldId="273"/>
            <ac:spMk id="64" creationId="{51183387-4EA4-C8A5-D9FB-2F2CA0B3DB20}"/>
          </ac:spMkLst>
        </pc:spChg>
        <pc:spChg chg="add del mod modVis">
          <ac:chgData name="Joelle Brehm" userId="a518f54c-6985-42c0-8041-2bb16a414839" providerId="ADAL" clId="{9B2768D1-DFDD-45FF-849C-23AD8ECAB483}" dt="2024-05-08T16:10:51.614" v="25200"/>
          <ac:spMkLst>
            <pc:docMk/>
            <pc:sldMk cId="4005475890" sldId="273"/>
            <ac:spMk id="66" creationId="{D557D2E7-14DB-3153-C522-88BCD436E27B}"/>
          </ac:spMkLst>
        </pc:spChg>
        <pc:spChg chg="add del mod modVis">
          <ac:chgData name="Joelle Brehm" userId="a518f54c-6985-42c0-8041-2bb16a414839" providerId="ADAL" clId="{9B2768D1-DFDD-45FF-849C-23AD8ECAB483}" dt="2024-05-08T16:30:21.542" v="48299"/>
          <ac:spMkLst>
            <pc:docMk/>
            <pc:sldMk cId="4005475890" sldId="273"/>
            <ac:spMk id="68" creationId="{26272096-20F6-7C59-1DB8-674FA168944A}"/>
          </ac:spMkLst>
        </pc:spChg>
        <pc:spChg chg="add del mod modVis">
          <ac:chgData name="Joelle Brehm" userId="a518f54c-6985-42c0-8041-2bb16a414839" providerId="ADAL" clId="{9B2768D1-DFDD-45FF-849C-23AD8ECAB483}" dt="2024-05-08T16:30:23.841" v="48462"/>
          <ac:spMkLst>
            <pc:docMk/>
            <pc:sldMk cId="4005475890" sldId="273"/>
            <ac:spMk id="70" creationId="{ED71652A-89FF-41B4-8A58-54D8E36A3ADD}"/>
          </ac:spMkLst>
        </pc:spChg>
        <pc:spChg chg="mod ord">
          <ac:chgData name="Joelle Brehm" userId="a518f54c-6985-42c0-8041-2bb16a414839" providerId="ADAL" clId="{9B2768D1-DFDD-45FF-849C-23AD8ECAB483}" dt="2024-05-08T16:30:23.841" v="48435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0:23.841" v="48437"/>
          <ac:spMkLst>
            <pc:docMk/>
            <pc:sldMk cId="4005475890" sldId="273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30:23.841" v="48439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0:23.841" v="48441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0:23.841" v="48443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0:23.841" v="48445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0:23.841" v="48448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23.841" v="48449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23.841" v="48450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23.841" v="48451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30:23.841" v="48452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30:23.873" v="48464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23.811" v="48397"/>
          <ac:graphicFrameMkLst>
            <pc:docMk/>
            <pc:sldMk cId="4005475890" sldId="273"/>
            <ac:graphicFrameMk id="8" creationId="{539F9ADC-17BD-BC7F-B2AD-CE2D34C54608}"/>
          </ac:graphicFrameMkLst>
        </pc:graphicFrameChg>
        <pc:graphicFrameChg chg="del">
          <ac:chgData name="Joelle Brehm" userId="a518f54c-6985-42c0-8041-2bb16a414839" providerId="ADAL" clId="{9B2768D1-DFDD-45FF-849C-23AD8ECAB483}" dt="2024-05-08T16:08:55.833" v="23338"/>
          <ac:graphicFrameMkLst>
            <pc:docMk/>
            <pc:sldMk cId="4005475890" sldId="273"/>
            <ac:graphicFrameMk id="31" creationId="{3EA3AC1D-E9E2-AB60-89F8-B1D318E77CC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9:36.031" v="23728"/>
          <ac:graphicFrameMkLst>
            <pc:docMk/>
            <pc:sldMk cId="4005475890" sldId="273"/>
            <ac:graphicFrameMk id="43" creationId="{A902EE4F-ADA7-D017-C3D8-B40135DDBD4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9:42.139" v="23925"/>
          <ac:graphicFrameMkLst>
            <pc:docMk/>
            <pc:sldMk cId="4005475890" sldId="273"/>
            <ac:graphicFrameMk id="46" creationId="{56C463EF-C89C-9134-BEF0-3EA235ABE5E4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09:35.380" v="23634"/>
          <ac:graphicFrameMkLst>
            <pc:docMk/>
            <pc:sldMk cId="4005475890" sldId="273"/>
            <ac:graphicFrameMk id="47" creationId="{34D621AD-B40A-4273-D9F7-3C34F5E0751F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23.841" v="48447"/>
          <ac:graphicFrameMkLst>
            <pc:docMk/>
            <pc:sldMk cId="4005475890" sldId="273"/>
            <ac:graphicFrameMk id="50" creationId="{588312D9-0F84-BADE-8AAE-ACE1EB0587F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09:56.211" v="24384"/>
          <ac:graphicFrameMkLst>
            <pc:docMk/>
            <pc:sldMk cId="4005475890" sldId="273"/>
            <ac:graphicFrameMk id="53" creationId="{B15094F1-CD16-328B-9A01-4B36A507E15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0:00.019" v="24625"/>
          <ac:graphicFrameMkLst>
            <pc:docMk/>
            <pc:sldMk cId="4005475890" sldId="273"/>
            <ac:graphicFrameMk id="55" creationId="{1F7CA292-CBBD-4ECE-7825-CB0EA0B4F0B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0:41.675" v="24837"/>
          <ac:graphicFrameMkLst>
            <pc:docMk/>
            <pc:sldMk cId="4005475890" sldId="273"/>
            <ac:graphicFrameMk id="59" creationId="{5A58540B-088E-2D82-2DE8-A21A9E494DB9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09:53.763" v="24240"/>
          <ac:graphicFrameMkLst>
            <pc:docMk/>
            <pc:sldMk cId="4005475890" sldId="273"/>
            <ac:graphicFrameMk id="60" creationId="{D9FA19B9-D6C7-3A11-4ABF-1050AC89B89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0:49.277" v="24986"/>
          <ac:graphicFrameMkLst>
            <pc:docMk/>
            <pc:sldMk cId="4005475890" sldId="273"/>
            <ac:graphicFrameMk id="63" creationId="{8C264CDD-FD1F-E629-ECBD-DAC1323C06A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0:51.540" v="25121"/>
          <ac:graphicFrameMkLst>
            <pc:docMk/>
            <pc:sldMk cId="4005475890" sldId="273"/>
            <ac:graphicFrameMk id="65" creationId="{A1556805-B83E-1D26-10E3-31D54A9C33B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21.468" v="48209"/>
          <ac:graphicFrameMkLst>
            <pc:docMk/>
            <pc:sldMk cId="4005475890" sldId="273"/>
            <ac:graphicFrameMk id="67" creationId="{42479386-6AB2-0F17-36E2-2DD0974CF40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23.735" v="48372"/>
          <ac:graphicFrameMkLst>
            <pc:docMk/>
            <pc:sldMk cId="4005475890" sldId="273"/>
            <ac:graphicFrameMk id="69" creationId="{E0C8AD9B-DA5D-05C4-0D69-8DBE5E45EE8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23.835" v="48421"/>
          <ac:graphicFrameMkLst>
            <pc:docMk/>
            <pc:sldMk cId="4005475890" sldId="273"/>
            <ac:graphicFrameMk id="71" creationId="{ECA0B5E5-ED8F-6B13-2054-34BE35794B7A}"/>
          </ac:graphicFrameMkLst>
        </pc:graphicFrameChg>
        <pc:picChg chg="add mod ord">
          <ac:chgData name="Joelle Brehm" userId="a518f54c-6985-42c0-8041-2bb16a414839" providerId="ADAL" clId="{9B2768D1-DFDD-45FF-849C-23AD8ECAB483}" dt="2024-05-08T16:30:23.791" v="48391"/>
          <ac:picMkLst>
            <pc:docMk/>
            <pc:sldMk cId="4005475890" sldId="273"/>
            <ac:picMk id="9" creationId="{06F45C12-334D-BE95-3E2E-B38DB5ACA1BC}"/>
          </ac:picMkLst>
        </pc:picChg>
        <pc:picChg chg="del mod ord">
          <ac:chgData name="Joelle Brehm" userId="a518f54c-6985-42c0-8041-2bb16a414839" providerId="ADAL" clId="{9B2768D1-DFDD-45FF-849C-23AD8ECAB483}" dt="2024-05-08T16:09:21.118" v="23520" actId="478"/>
          <ac:picMkLst>
            <pc:docMk/>
            <pc:sldMk cId="4005475890" sldId="273"/>
            <ac:picMk id="35" creationId="{E84A8E08-EC13-8A4D-DA52-723C486C1430}"/>
          </ac:picMkLst>
        </pc:picChg>
        <pc:picChg chg="mod ord">
          <ac:chgData name="Joelle Brehm" userId="a518f54c-6985-42c0-8041-2bb16a414839" providerId="ADAL" clId="{9B2768D1-DFDD-45FF-849C-23AD8ECAB483}" dt="2024-05-08T16:30:23.841" v="48454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0:23.807" v="48395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0:33.095" v="48794"/>
        <pc:sldMkLst>
          <pc:docMk/>
          <pc:sldMk cId="3374649050" sldId="274"/>
        </pc:sldMkLst>
        <pc:spChg chg="mod ord">
          <ac:chgData name="Joelle Brehm" userId="a518f54c-6985-42c0-8041-2bb16a414839" providerId="ADAL" clId="{9B2768D1-DFDD-45FF-849C-23AD8ECAB483}" dt="2024-05-08T16:30:33.081" v="48788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9B2768D1-DFDD-45FF-849C-23AD8ECAB483}" dt="2024-05-08T16:11:12.730" v="25203" actId="478"/>
          <ac:spMkLst>
            <pc:docMk/>
            <pc:sldMk cId="3374649050" sldId="274"/>
            <ac:spMk id="3" creationId="{577F71DD-3433-6BD3-8316-1F263CADA54E}"/>
          </ac:spMkLst>
        </pc:spChg>
        <pc:spChg chg="add del mod modVis">
          <ac:chgData name="Joelle Brehm" userId="a518f54c-6985-42c0-8041-2bb16a414839" providerId="ADAL" clId="{9B2768D1-DFDD-45FF-849C-23AD8ECAB483}" dt="2024-05-08T16:11:24.825" v="25402"/>
          <ac:spMkLst>
            <pc:docMk/>
            <pc:sldMk cId="3374649050" sldId="274"/>
            <ac:spMk id="5" creationId="{255E0924-AC02-262B-7731-64B0370ECC41}"/>
          </ac:spMkLst>
        </pc:spChg>
        <pc:spChg chg="mod ord">
          <ac:chgData name="Joelle Brehm" userId="a518f54c-6985-42c0-8041-2bb16a414839" providerId="ADAL" clId="{9B2768D1-DFDD-45FF-849C-23AD8ECAB483}" dt="2024-05-08T16:30:33.048" v="48723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0:33.064" v="48781"/>
          <ac:spMkLst>
            <pc:docMk/>
            <pc:sldMk cId="3374649050" sldId="274"/>
            <ac:spMk id="10" creationId="{F8CD0E45-E5DD-C5F8-57FC-2BF4B99AC187}"/>
          </ac:spMkLst>
        </pc:spChg>
        <pc:spChg chg="mod">
          <ac:chgData name="Joelle Brehm" userId="a518f54c-6985-42c0-8041-2bb16a414839" providerId="ADAL" clId="{9B2768D1-DFDD-45FF-849C-23AD8ECAB483}" dt="2024-05-08T16:30:33.064" v="48734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0:33.064" v="48730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0:33.064" v="48731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0:33.064" v="48728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0:33.064" v="48729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0:33.064" v="48732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0:33.064" v="48733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0:33.064" v="48735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0:33.064" v="48736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0:33.064" v="48737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0:33.064" v="48738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0:33.064" v="48739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0:33.064" v="48741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0:33.064" v="48742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0:33.064" v="48744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0:33.064" v="48743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0:33.064" v="48746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0:33.064" v="48747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0:33.064" v="48745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0:33.064" v="48749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30:33.064" v="48782"/>
          <ac:spMkLst>
            <pc:docMk/>
            <pc:sldMk cId="3374649050" sldId="274"/>
            <ac:spMk id="31" creationId="{82DC7CFE-E7CF-73AE-1B49-1886C3F2126F}"/>
          </ac:spMkLst>
        </pc:spChg>
        <pc:spChg chg="mod">
          <ac:chgData name="Joelle Brehm" userId="a518f54c-6985-42c0-8041-2bb16a414839" providerId="ADAL" clId="{9B2768D1-DFDD-45FF-849C-23AD8ECAB483}" dt="2024-05-08T16:30:33.064" v="48753"/>
          <ac:spMkLst>
            <pc:docMk/>
            <pc:sldMk cId="3374649050" sldId="274"/>
            <ac:spMk id="32" creationId="{5324707A-1B1B-6212-8309-A11137DFC2A2}"/>
          </ac:spMkLst>
        </pc:spChg>
        <pc:spChg chg="add del mod modVis">
          <ac:chgData name="Joelle Brehm" userId="a518f54c-6985-42c0-8041-2bb16a414839" providerId="ADAL" clId="{9B2768D1-DFDD-45FF-849C-23AD8ECAB483}" dt="2024-05-08T16:11:54.631" v="25707"/>
          <ac:spMkLst>
            <pc:docMk/>
            <pc:sldMk cId="3374649050" sldId="274"/>
            <ac:spMk id="33" creationId="{BAA124CB-2B44-07EC-4273-1C6CC8D383EF}"/>
          </ac:spMkLst>
        </pc:spChg>
        <pc:spChg chg="mod">
          <ac:chgData name="Joelle Brehm" userId="a518f54c-6985-42c0-8041-2bb16a414839" providerId="ADAL" clId="{9B2768D1-DFDD-45FF-849C-23AD8ECAB483}" dt="2024-05-08T16:30:33.064" v="48752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9B2768D1-DFDD-45FF-849C-23AD8ECAB483}" dt="2024-05-08T16:30:33.064" v="48754"/>
          <ac:spMkLst>
            <pc:docMk/>
            <pc:sldMk cId="3374649050" sldId="274"/>
            <ac:spMk id="36" creationId="{88575725-6998-54DE-FE5F-DCCF247F6A3F}"/>
          </ac:spMkLst>
        </pc:spChg>
        <pc:spChg chg="del mod">
          <ac:chgData name="Joelle Brehm" userId="a518f54c-6985-42c0-8041-2bb16a414839" providerId="ADAL" clId="{9B2768D1-DFDD-45FF-849C-23AD8ECAB483}" dt="2024-05-08T16:12:12.303" v="26400"/>
          <ac:spMkLst>
            <pc:docMk/>
            <pc:sldMk cId="3374649050" sldId="274"/>
            <ac:spMk id="38" creationId="{1995B1DD-126C-92BA-1668-3B87C2F5B1E5}"/>
          </ac:spMkLst>
        </pc:spChg>
        <pc:spChg chg="mod">
          <ac:chgData name="Joelle Brehm" userId="a518f54c-6985-42c0-8041-2bb16a414839" providerId="ADAL" clId="{9B2768D1-DFDD-45FF-849C-23AD8ECAB483}" dt="2024-05-08T16:30:33.064" v="48758"/>
          <ac:spMkLst>
            <pc:docMk/>
            <pc:sldMk cId="3374649050" sldId="274"/>
            <ac:spMk id="39" creationId="{89E6B1B8-FAF0-A6A0-1BC8-497F71E112CB}"/>
          </ac:spMkLst>
        </pc:spChg>
        <pc:spChg chg="mod">
          <ac:chgData name="Joelle Brehm" userId="a518f54c-6985-42c0-8041-2bb16a414839" providerId="ADAL" clId="{9B2768D1-DFDD-45FF-849C-23AD8ECAB483}" dt="2024-05-08T16:30:33.064" v="48755"/>
          <ac:spMkLst>
            <pc:docMk/>
            <pc:sldMk cId="3374649050" sldId="274"/>
            <ac:spMk id="40" creationId="{8BA31CDF-8D43-74CD-D3E4-26F103CC0D3B}"/>
          </ac:spMkLst>
        </pc:spChg>
        <pc:spChg chg="mod">
          <ac:chgData name="Joelle Brehm" userId="a518f54c-6985-42c0-8041-2bb16a414839" providerId="ADAL" clId="{9B2768D1-DFDD-45FF-849C-23AD8ECAB483}" dt="2024-05-08T16:30:33.064" v="48756"/>
          <ac:spMkLst>
            <pc:docMk/>
            <pc:sldMk cId="3374649050" sldId="274"/>
            <ac:spMk id="41" creationId="{B7AB9DCF-AEC0-1EB4-2709-C783258EE0AF}"/>
          </ac:spMkLst>
        </pc:spChg>
        <pc:spChg chg="mod">
          <ac:chgData name="Joelle Brehm" userId="a518f54c-6985-42c0-8041-2bb16a414839" providerId="ADAL" clId="{9B2768D1-DFDD-45FF-849C-23AD8ECAB483}" dt="2024-05-08T16:30:33.064" v="48757"/>
          <ac:spMkLst>
            <pc:docMk/>
            <pc:sldMk cId="3374649050" sldId="274"/>
            <ac:spMk id="42" creationId="{41583D19-C077-7FD0-6F5A-DBE565BC62CF}"/>
          </ac:spMkLst>
        </pc:spChg>
        <pc:spChg chg="mod">
          <ac:chgData name="Joelle Brehm" userId="a518f54c-6985-42c0-8041-2bb16a414839" providerId="ADAL" clId="{9B2768D1-DFDD-45FF-849C-23AD8ECAB483}" dt="2024-05-08T16:30:33.064" v="48778"/>
          <ac:spMkLst>
            <pc:docMk/>
            <pc:sldMk cId="3374649050" sldId="274"/>
            <ac:spMk id="43" creationId="{71A50278-0560-C951-1F18-CA11BF2F6494}"/>
          </ac:spMkLst>
        </pc:spChg>
        <pc:spChg chg="add mod replST">
          <ac:chgData name="Joelle Brehm" userId="a518f54c-6985-42c0-8041-2bb16a414839" providerId="ADAL" clId="{9B2768D1-DFDD-45FF-849C-23AD8ECAB483}" dt="2024-05-08T16:30:33.064" v="48763"/>
          <ac:spMkLst>
            <pc:docMk/>
            <pc:sldMk cId="3374649050" sldId="274"/>
            <ac:spMk id="44" creationId="{C932BBF5-0216-1A30-6C8C-78F09D706AC5}"/>
          </ac:spMkLst>
        </pc:spChg>
        <pc:spChg chg="mod">
          <ac:chgData name="Joelle Brehm" userId="a518f54c-6985-42c0-8041-2bb16a414839" providerId="ADAL" clId="{9B2768D1-DFDD-45FF-849C-23AD8ECAB483}" dt="2024-05-08T16:30:33.064" v="48759"/>
          <ac:spMkLst>
            <pc:docMk/>
            <pc:sldMk cId="3374649050" sldId="274"/>
            <ac:spMk id="45" creationId="{020AC365-4654-40E5-2FE6-86C3FC6C4C65}"/>
          </ac:spMkLst>
        </pc:spChg>
        <pc:spChg chg="add del mod modVis">
          <ac:chgData name="Joelle Brehm" userId="a518f54c-6985-42c0-8041-2bb16a414839" providerId="ADAL" clId="{9B2768D1-DFDD-45FF-849C-23AD8ECAB483}" dt="2024-05-08T16:12:08.870" v="26224"/>
          <ac:spMkLst>
            <pc:docMk/>
            <pc:sldMk cId="3374649050" sldId="274"/>
            <ac:spMk id="46" creationId="{C905B169-A65A-4A1A-DFF8-0BC4C4FBA8E2}"/>
          </ac:spMkLst>
        </pc:spChg>
        <pc:spChg chg="add del mod ord replST">
          <ac:chgData name="Joelle Brehm" userId="a518f54c-6985-42c0-8041-2bb16a414839" providerId="ADAL" clId="{9B2768D1-DFDD-45FF-849C-23AD8ECAB483}" dt="2024-05-08T16:12:12.429" v="26478"/>
          <ac:spMkLst>
            <pc:docMk/>
            <pc:sldMk cId="3374649050" sldId="274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12:10.482" v="26397"/>
          <ac:spMkLst>
            <pc:docMk/>
            <pc:sldMk cId="3374649050" sldId="274"/>
            <ac:spMk id="49" creationId="{FE6B4BBF-6179-B4C7-43D7-59502E1B47CB}"/>
          </ac:spMkLst>
        </pc:spChg>
        <pc:spChg chg="mod">
          <ac:chgData name="Joelle Brehm" userId="a518f54c-6985-42c0-8041-2bb16a414839" providerId="ADAL" clId="{9B2768D1-DFDD-45FF-849C-23AD8ECAB483}" dt="2024-05-08T16:30:33.064" v="48760"/>
          <ac:spMkLst>
            <pc:docMk/>
            <pc:sldMk cId="3374649050" sldId="274"/>
            <ac:spMk id="50" creationId="{2926314F-BD6E-0404-97CF-8949EB65A226}"/>
          </ac:spMkLst>
        </pc:spChg>
        <pc:spChg chg="mod">
          <ac:chgData name="Joelle Brehm" userId="a518f54c-6985-42c0-8041-2bb16a414839" providerId="ADAL" clId="{9B2768D1-DFDD-45FF-849C-23AD8ECAB483}" dt="2024-05-08T16:30:33.064" v="48761"/>
          <ac:spMkLst>
            <pc:docMk/>
            <pc:sldMk cId="3374649050" sldId="274"/>
            <ac:spMk id="52" creationId="{0964E864-42A7-5B2E-517E-B29526537FEF}"/>
          </ac:spMkLst>
        </pc:spChg>
        <pc:spChg chg="add del mod modVis">
          <ac:chgData name="Joelle Brehm" userId="a518f54c-6985-42c0-8041-2bb16a414839" providerId="ADAL" clId="{9B2768D1-DFDD-45FF-849C-23AD8ECAB483}" dt="2024-05-08T16:12:12.536" v="26581"/>
          <ac:spMkLst>
            <pc:docMk/>
            <pc:sldMk cId="3374649050" sldId="274"/>
            <ac:spMk id="53" creationId="{C00FB64D-94C3-6C96-BA24-4EF3A5434CB2}"/>
          </ac:spMkLst>
        </pc:spChg>
        <pc:spChg chg="add del mod modVis">
          <ac:chgData name="Joelle Brehm" userId="a518f54c-6985-42c0-8041-2bb16a414839" providerId="ADAL" clId="{9B2768D1-DFDD-45FF-849C-23AD8ECAB483}" dt="2024-05-08T16:30:31.335" v="48627"/>
          <ac:spMkLst>
            <pc:docMk/>
            <pc:sldMk cId="3374649050" sldId="274"/>
            <ac:spMk id="55" creationId="{44EFDB0D-6747-6305-F591-E1A925F6C000}"/>
          </ac:spMkLst>
        </pc:spChg>
        <pc:spChg chg="add del mod modVis">
          <ac:chgData name="Joelle Brehm" userId="a518f54c-6985-42c0-8041-2bb16a414839" providerId="ADAL" clId="{9B2768D1-DFDD-45FF-849C-23AD8ECAB483}" dt="2024-05-08T16:30:33.081" v="48792"/>
          <ac:spMkLst>
            <pc:docMk/>
            <pc:sldMk cId="3374649050" sldId="274"/>
            <ac:spMk id="57" creationId="{DC29C176-5BB8-492C-CF70-DCFB4164EB23}"/>
          </ac:spMkLst>
        </pc:spChg>
        <pc:spChg chg="mod ord">
          <ac:chgData name="Joelle Brehm" userId="a518f54c-6985-42c0-8041-2bb16a414839" providerId="ADAL" clId="{9B2768D1-DFDD-45FF-849C-23AD8ECAB483}" dt="2024-05-08T16:30:33.081" v="48786"/>
          <ac:spMkLst>
            <pc:docMk/>
            <pc:sldMk cId="3374649050" sldId="274"/>
            <ac:spMk id="58" creationId="{5BBF118A-F952-4AA1-8B74-92A00B5F6171}"/>
          </ac:spMkLst>
        </pc:spChg>
        <pc:spChg chg="mod">
          <ac:chgData name="Joelle Brehm" userId="a518f54c-6985-42c0-8041-2bb16a414839" providerId="ADAL" clId="{9B2768D1-DFDD-45FF-849C-23AD8ECAB483}" dt="2024-05-08T16:30:33.064" v="48762"/>
          <ac:spMkLst>
            <pc:docMk/>
            <pc:sldMk cId="3374649050" sldId="274"/>
            <ac:spMk id="70" creationId="{2F747F5B-C2C0-BC75-F359-E89E0DB136CF}"/>
          </ac:spMkLst>
        </pc:spChg>
        <pc:spChg chg="mod ord">
          <ac:chgData name="Joelle Brehm" userId="a518f54c-6985-42c0-8041-2bb16a414839" providerId="ADAL" clId="{9B2768D1-DFDD-45FF-849C-23AD8ECAB483}" dt="2024-05-08T16:30:33.064" v="48765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0:33.064" v="48767"/>
          <ac:spMkLst>
            <pc:docMk/>
            <pc:sldMk cId="3374649050" sldId="274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30:33.064" v="48769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0:33.064" v="48771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0:33.064" v="48773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0:33.064" v="48775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0:33.064" v="48779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33.064" v="48780"/>
          <ac:spMkLst>
            <pc:docMk/>
            <pc:sldMk cId="3374649050" sldId="274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9B2768D1-DFDD-45FF-849C-23AD8ECAB483}" dt="2024-05-08T16:30:33.095" v="48794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33.048" v="48727"/>
          <ac:graphicFrameMkLst>
            <pc:docMk/>
            <pc:sldMk cId="3374649050" sldId="274"/>
            <ac:graphicFrameMk id="8" creationId="{FA78E281-8970-3207-3CF4-92333E0D93D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1:56.920" v="25729"/>
          <ac:graphicFrameMkLst>
            <pc:docMk/>
            <pc:sldMk cId="3374649050" sldId="274"/>
            <ac:graphicFrameMk id="34" creationId="{9F453154-7730-B8B8-4123-8A9E2603ECC0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33.064" v="48777"/>
          <ac:graphicFrameMkLst>
            <pc:docMk/>
            <pc:sldMk cId="3374649050" sldId="274"/>
            <ac:graphicFrameMk id="37" creationId="{E58B2078-6093-BAF4-E778-6F7803C3355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2:10.397" v="26304"/>
          <ac:graphicFrameMkLst>
            <pc:docMk/>
            <pc:sldMk cId="3374649050" sldId="274"/>
            <ac:graphicFrameMk id="48" creationId="{7226E7A7-0839-5A98-A107-D5BD72C34C8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2:12.446" v="26502"/>
          <ac:graphicFrameMkLst>
            <pc:docMk/>
            <pc:sldMk cId="3374649050" sldId="274"/>
            <ac:graphicFrameMk id="51" creationId="{030C7935-CFEF-792C-364E-15D1748773F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31.273" v="48537"/>
          <ac:graphicFrameMkLst>
            <pc:docMk/>
            <pc:sldMk cId="3374649050" sldId="274"/>
            <ac:graphicFrameMk id="54" creationId="{983E67A0-B1BB-899D-1710-251318E1BED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33.013" v="48702"/>
          <ac:graphicFrameMkLst>
            <pc:docMk/>
            <pc:sldMk cId="3374649050" sldId="274"/>
            <ac:graphicFrameMk id="56" creationId="{52417D50-2107-7BB6-5617-0E300CEAE11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33.064" v="48751"/>
          <ac:graphicFrameMkLst>
            <pc:docMk/>
            <pc:sldMk cId="3374649050" sldId="274"/>
            <ac:graphicFrameMk id="59" creationId="{264F3146-5E2F-5DEA-33A3-28F71C27367A}"/>
          </ac:graphicFrameMkLst>
        </pc:graphicFrameChg>
        <pc:graphicFrameChg chg="del">
          <ac:chgData name="Joelle Brehm" userId="a518f54c-6985-42c0-8041-2bb16a414839" providerId="ADAL" clId="{9B2768D1-DFDD-45FF-849C-23AD8ECAB483}" dt="2024-05-08T16:11:24.695" v="25314"/>
          <ac:graphicFrameMkLst>
            <pc:docMk/>
            <pc:sldMk cId="3374649050" sldId="274"/>
            <ac:graphicFrameMk id="65" creationId="{ADDA709F-5C47-8EE1-048A-5BC008BFD21E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1:54.509" v="25628"/>
          <ac:graphicFrameMkLst>
            <pc:docMk/>
            <pc:sldMk cId="3374649050" sldId="274"/>
            <ac:graphicFrameMk id="69" creationId="{843B6A36-ABB7-9E12-5F5A-0FF042DA3DFE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2:08.748" v="26138"/>
          <ac:graphicFrameMkLst>
            <pc:docMk/>
            <pc:sldMk cId="3374649050" sldId="274"/>
            <ac:graphicFrameMk id="84" creationId="{9FF60B6E-EB41-8453-E3E1-0125393F32A8}"/>
          </ac:graphicFrameMkLst>
        </pc:graphicFrameChg>
        <pc:picChg chg="add mod ord">
          <ac:chgData name="Joelle Brehm" userId="a518f54c-6985-42c0-8041-2bb16a414839" providerId="ADAL" clId="{9B2768D1-DFDD-45FF-849C-23AD8ECAB483}" dt="2024-05-08T16:30:33.048" v="48721"/>
          <ac:picMkLst>
            <pc:docMk/>
            <pc:sldMk cId="3374649050" sldId="274"/>
            <ac:picMk id="9" creationId="{9F379BAD-4F37-1C80-B98F-C9D90F4B6112}"/>
          </ac:picMkLst>
        </pc:picChg>
        <pc:picChg chg="del mod ord">
          <ac:chgData name="Joelle Brehm" userId="a518f54c-6985-42c0-8041-2bb16a414839" providerId="ADAL" clId="{9B2768D1-DFDD-45FF-849C-23AD8ECAB483}" dt="2024-05-08T16:11:44.702" v="25499" actId="478"/>
          <ac:picMkLst>
            <pc:docMk/>
            <pc:sldMk cId="3374649050" sldId="274"/>
            <ac:picMk id="66" creationId="{37BA6F56-D863-DE9D-FD70-1C85C019CDFE}"/>
          </ac:picMkLst>
        </pc:picChg>
        <pc:picChg chg="mod ord">
          <ac:chgData name="Joelle Brehm" userId="a518f54c-6985-42c0-8041-2bb16a414839" providerId="ADAL" clId="{9B2768D1-DFDD-45FF-849C-23AD8ECAB483}" dt="2024-05-08T16:30:33.081" v="48784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0:33.048" v="48725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0:43.741" v="49136"/>
        <pc:sldMkLst>
          <pc:docMk/>
          <pc:sldMk cId="592117244" sldId="275"/>
        </pc:sldMkLst>
        <pc:spChg chg="add del mod">
          <ac:chgData name="Joelle Brehm" userId="a518f54c-6985-42c0-8041-2bb16a414839" providerId="ADAL" clId="{9B2768D1-DFDD-45FF-849C-23AD8ECAB483}" dt="2024-05-08T16:13:03.768" v="26584" actId="478"/>
          <ac:spMkLst>
            <pc:docMk/>
            <pc:sldMk cId="592117244" sldId="275"/>
            <ac:spMk id="2" creationId="{EC8646A8-E5E8-6D0B-52AE-959CEC4EE26E}"/>
          </ac:spMkLst>
        </pc:spChg>
        <pc:spChg chg="mod ord">
          <ac:chgData name="Joelle Brehm" userId="a518f54c-6985-42c0-8041-2bb16a414839" providerId="ADAL" clId="{9B2768D1-DFDD-45FF-849C-23AD8ECAB483}" dt="2024-05-08T16:30:43.710" v="49130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9B2768D1-DFDD-45FF-849C-23AD8ECAB483}" dt="2024-05-08T16:13:12.656" v="26797"/>
          <ac:spMkLst>
            <pc:docMk/>
            <pc:sldMk cId="592117244" sldId="275"/>
            <ac:spMk id="5" creationId="{627F8AB1-DA08-B45E-0C9A-E5BC535A5D61}"/>
          </ac:spMkLst>
        </pc:spChg>
        <pc:spChg chg="mod ord">
          <ac:chgData name="Joelle Brehm" userId="a518f54c-6985-42c0-8041-2bb16a414839" providerId="ADAL" clId="{9B2768D1-DFDD-45FF-849C-23AD8ECAB483}" dt="2024-05-08T16:30:43.694" v="49065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0:43.694" v="49076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0:43.694" v="49072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0:43.694" v="49073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0:43.694" v="49070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0:43.694" v="49071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0:43.694" v="49074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0:43.694" v="49075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0:43.694" v="49077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0:43.694" v="49078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0:43.694" v="49079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0:43.694" v="49080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0:43.694" v="49081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0:43.694" v="49083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0:43.694" v="49084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0:43.694" v="49086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0:43.694" v="49085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0:43.694" v="49088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0:43.694" v="49089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0:43.694" v="49087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0:43.710" v="49091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30:43.710" v="49094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9B2768D1-DFDD-45FF-849C-23AD8ECAB483}" dt="2024-05-08T16:30:43.710" v="49095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9B2768D1-DFDD-45FF-849C-23AD8ECAB483}" dt="2024-05-08T16:30:43.710" v="49097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9B2768D1-DFDD-45FF-849C-23AD8ECAB483}" dt="2024-05-08T16:30:43.710" v="49096"/>
          <ac:spMkLst>
            <pc:docMk/>
            <pc:sldMk cId="592117244" sldId="275"/>
            <ac:spMk id="35" creationId="{8A659545-7F46-0F9C-1180-4340FFF52971}"/>
          </ac:spMkLst>
        </pc:spChg>
        <pc:spChg chg="mod">
          <ac:chgData name="Joelle Brehm" userId="a518f54c-6985-42c0-8041-2bb16a414839" providerId="ADAL" clId="{9B2768D1-DFDD-45FF-849C-23AD8ECAB483}" dt="2024-05-08T16:30:43.710" v="49099"/>
          <ac:spMkLst>
            <pc:docMk/>
            <pc:sldMk cId="592117244" sldId="275"/>
            <ac:spMk id="36" creationId="{C43BE2CA-3914-FB60-BCFB-2D4A26000593}"/>
          </ac:spMkLst>
        </pc:spChg>
        <pc:spChg chg="del mod">
          <ac:chgData name="Joelle Brehm" userId="a518f54c-6985-42c0-8041-2bb16a414839" providerId="ADAL" clId="{9B2768D1-DFDD-45FF-849C-23AD8ECAB483}" dt="2024-05-08T16:13:52.504" v="27974"/>
          <ac:spMkLst>
            <pc:docMk/>
            <pc:sldMk cId="592117244" sldId="275"/>
            <ac:spMk id="37" creationId="{90FA8FF8-BF43-F8ED-7D69-4D34F348E5E1}"/>
          </ac:spMkLst>
        </pc:spChg>
        <pc:spChg chg="add del mod modVis">
          <ac:chgData name="Joelle Brehm" userId="a518f54c-6985-42c0-8041-2bb16a414839" providerId="ADAL" clId="{9B2768D1-DFDD-45FF-849C-23AD8ECAB483}" dt="2024-05-08T16:13:39.804" v="27095"/>
          <ac:spMkLst>
            <pc:docMk/>
            <pc:sldMk cId="592117244" sldId="275"/>
            <ac:spMk id="38" creationId="{7690CDF2-0A1A-6C28-6DC9-91B3A096F337}"/>
          </ac:spMkLst>
        </pc:spChg>
        <pc:spChg chg="mod">
          <ac:chgData name="Joelle Brehm" userId="a518f54c-6985-42c0-8041-2bb16a414839" providerId="ADAL" clId="{9B2768D1-DFDD-45FF-849C-23AD8ECAB483}" dt="2024-05-08T16:30:43.710" v="49098"/>
          <ac:spMkLst>
            <pc:docMk/>
            <pc:sldMk cId="592117244" sldId="275"/>
            <ac:spMk id="40" creationId="{EA684AFB-C218-2E57-6C22-6AF81611FBE3}"/>
          </ac:spMkLst>
        </pc:spChg>
        <pc:spChg chg="add mod replST">
          <ac:chgData name="Joelle Brehm" userId="a518f54c-6985-42c0-8041-2bb16a414839" providerId="ADAL" clId="{9B2768D1-DFDD-45FF-849C-23AD8ECAB483}" dt="2024-05-08T16:30:43.710" v="49105"/>
          <ac:spMkLst>
            <pc:docMk/>
            <pc:sldMk cId="592117244" sldId="275"/>
            <ac:spMk id="41" creationId="{C9468ADE-D5C9-9FFF-F5AC-7B835304F427}"/>
          </ac:spMkLst>
        </pc:spChg>
        <pc:spChg chg="mod">
          <ac:chgData name="Joelle Brehm" userId="a518f54c-6985-42c0-8041-2bb16a414839" providerId="ADAL" clId="{9B2768D1-DFDD-45FF-849C-23AD8ECAB483}" dt="2024-05-08T16:30:43.710" v="49100"/>
          <ac:spMkLst>
            <pc:docMk/>
            <pc:sldMk cId="592117244" sldId="275"/>
            <ac:spMk id="42" creationId="{7AECD966-6D66-1191-E056-C35E4AC93D68}"/>
          </ac:spMkLst>
        </pc:spChg>
        <pc:spChg chg="add del mod modVis">
          <ac:chgData name="Joelle Brehm" userId="a518f54c-6985-42c0-8041-2bb16a414839" providerId="ADAL" clId="{9B2768D1-DFDD-45FF-849C-23AD8ECAB483}" dt="2024-05-08T16:13:46.362" v="27607"/>
          <ac:spMkLst>
            <pc:docMk/>
            <pc:sldMk cId="592117244" sldId="275"/>
            <ac:spMk id="43" creationId="{66C560B5-CBEC-2B3C-F383-1B048F6F2A41}"/>
          </ac:spMkLst>
        </pc:spChg>
        <pc:spChg chg="mod">
          <ac:chgData name="Joelle Brehm" userId="a518f54c-6985-42c0-8041-2bb16a414839" providerId="ADAL" clId="{9B2768D1-DFDD-45FF-849C-23AD8ECAB483}" dt="2024-05-08T16:30:43.710" v="49101"/>
          <ac:spMkLst>
            <pc:docMk/>
            <pc:sldMk cId="592117244" sldId="275"/>
            <ac:spMk id="44" creationId="{221444E3-A480-FC28-9EFB-C89326EEDBF7}"/>
          </ac:spMkLst>
        </pc:spChg>
        <pc:spChg chg="mod">
          <ac:chgData name="Joelle Brehm" userId="a518f54c-6985-42c0-8041-2bb16a414839" providerId="ADAL" clId="{9B2768D1-DFDD-45FF-849C-23AD8ECAB483}" dt="2024-05-08T16:30:43.710" v="49102"/>
          <ac:spMkLst>
            <pc:docMk/>
            <pc:sldMk cId="592117244" sldId="275"/>
            <ac:spMk id="45" creationId="{53113F2F-9D53-0198-9768-061422461E94}"/>
          </ac:spMkLst>
        </pc:spChg>
        <pc:spChg chg="mod">
          <ac:chgData name="Joelle Brehm" userId="a518f54c-6985-42c0-8041-2bb16a414839" providerId="ADAL" clId="{9B2768D1-DFDD-45FF-849C-23AD8ECAB483}" dt="2024-05-08T16:30:43.710" v="49103"/>
          <ac:spMkLst>
            <pc:docMk/>
            <pc:sldMk cId="592117244" sldId="275"/>
            <ac:spMk id="46" creationId="{500D504E-CB81-2A27-BBB9-BC905D388C32}"/>
          </ac:spMkLst>
        </pc:spChg>
        <pc:spChg chg="add del mod ord replST">
          <ac:chgData name="Joelle Brehm" userId="a518f54c-6985-42c0-8041-2bb16a414839" providerId="ADAL" clId="{9B2768D1-DFDD-45FF-849C-23AD8ECAB483}" dt="2024-05-08T16:13:56.904" v="28236"/>
          <ac:spMkLst>
            <pc:docMk/>
            <pc:sldMk cId="592117244" sldId="275"/>
            <ac:spMk id="4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43.710" v="49104"/>
          <ac:spMkLst>
            <pc:docMk/>
            <pc:sldMk cId="592117244" sldId="275"/>
            <ac:spMk id="49" creationId="{1A736730-DA9B-7D05-EABA-25110602FD1D}"/>
          </ac:spMkLst>
        </pc:spChg>
        <pc:spChg chg="add del mod ord replST">
          <ac:chgData name="Joelle Brehm" userId="a518f54c-6985-42c0-8041-2bb16a414839" providerId="ADAL" clId="{9B2768D1-DFDD-45FF-849C-23AD8ECAB483}" dt="2024-05-08T16:13:58.853" v="28385"/>
          <ac:spMkLst>
            <pc:docMk/>
            <pc:sldMk cId="592117244" sldId="275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13:46.770" v="27789"/>
          <ac:spMkLst>
            <pc:docMk/>
            <pc:sldMk cId="592117244" sldId="275"/>
            <ac:spMk id="52" creationId="{75987D31-AA9F-D787-589B-DABD30AB8A93}"/>
          </ac:spMkLst>
        </pc:spChg>
        <pc:spChg chg="add del mod modVis">
          <ac:chgData name="Joelle Brehm" userId="a518f54c-6985-42c0-8041-2bb16a414839" providerId="ADAL" clId="{9B2768D1-DFDD-45FF-849C-23AD8ECAB483}" dt="2024-05-08T16:13:49.553" v="27971"/>
          <ac:spMkLst>
            <pc:docMk/>
            <pc:sldMk cId="592117244" sldId="275"/>
            <ac:spMk id="54" creationId="{C39FC9E6-1BFC-4829-44EF-F27A5F933EDA}"/>
          </ac:spMkLst>
        </pc:spChg>
        <pc:spChg chg="add del mod modVis">
          <ac:chgData name="Joelle Brehm" userId="a518f54c-6985-42c0-8041-2bb16a414839" providerId="ADAL" clId="{9B2768D1-DFDD-45FF-849C-23AD8ECAB483}" dt="2024-05-08T16:13:52.668" v="28161"/>
          <ac:spMkLst>
            <pc:docMk/>
            <pc:sldMk cId="592117244" sldId="275"/>
            <ac:spMk id="56" creationId="{5D11F089-206F-ED31-202A-5823059A0D5A}"/>
          </ac:spMkLst>
        </pc:spChg>
        <pc:spChg chg="mod ord">
          <ac:chgData name="Joelle Brehm" userId="a518f54c-6985-42c0-8041-2bb16a414839" providerId="ADAL" clId="{9B2768D1-DFDD-45FF-849C-23AD8ECAB483}" dt="2024-05-08T16:30:43.710" v="49128"/>
          <ac:spMkLst>
            <pc:docMk/>
            <pc:sldMk cId="592117244" sldId="275"/>
            <ac:spMk id="58" creationId="{E203E344-295B-447B-A55D-50D302A82D3F}"/>
          </ac:spMkLst>
        </pc:spChg>
        <pc:spChg chg="add del mod modVis">
          <ac:chgData name="Joelle Brehm" userId="a518f54c-6985-42c0-8041-2bb16a414839" providerId="ADAL" clId="{9B2768D1-DFDD-45FF-849C-23AD8ECAB483}" dt="2024-05-08T16:13:56.974" v="28327"/>
          <ac:spMkLst>
            <pc:docMk/>
            <pc:sldMk cId="592117244" sldId="275"/>
            <ac:spMk id="59" creationId="{1949DEBC-1B0F-D887-DDFE-3D850D5AE20D}"/>
          </ac:spMkLst>
        </pc:spChg>
        <pc:spChg chg="add del mod modVis">
          <ac:chgData name="Joelle Brehm" userId="a518f54c-6985-42c0-8041-2bb16a414839" providerId="ADAL" clId="{9B2768D1-DFDD-45FF-849C-23AD8ECAB483}" dt="2024-05-08T16:13:58.946" v="28466"/>
          <ac:spMkLst>
            <pc:docMk/>
            <pc:sldMk cId="592117244" sldId="275"/>
            <ac:spMk id="62" creationId="{14C8E330-9455-A41E-A47F-C60D537BE4D8}"/>
          </ac:spMkLst>
        </pc:spChg>
        <pc:spChg chg="add del mod modVis">
          <ac:chgData name="Joelle Brehm" userId="a518f54c-6985-42c0-8041-2bb16a414839" providerId="ADAL" clId="{9B2768D1-DFDD-45FF-849C-23AD8ECAB483}" dt="2024-05-08T16:30:42.221" v="48963"/>
          <ac:spMkLst>
            <pc:docMk/>
            <pc:sldMk cId="592117244" sldId="275"/>
            <ac:spMk id="64" creationId="{F5335533-7D17-8170-1F33-66EAD4382E4D}"/>
          </ac:spMkLst>
        </pc:spChg>
        <pc:spChg chg="add del mod modVis">
          <ac:chgData name="Joelle Brehm" userId="a518f54c-6985-42c0-8041-2bb16a414839" providerId="ADAL" clId="{9B2768D1-DFDD-45FF-849C-23AD8ECAB483}" dt="2024-05-08T16:30:43.726" v="49134"/>
          <ac:spMkLst>
            <pc:docMk/>
            <pc:sldMk cId="592117244" sldId="275"/>
            <ac:spMk id="66" creationId="{61E86ADB-4AD8-3B0C-6DB4-1B61E378D346}"/>
          </ac:spMkLst>
        </pc:spChg>
        <pc:spChg chg="mod ord">
          <ac:chgData name="Joelle Brehm" userId="a518f54c-6985-42c0-8041-2bb16a414839" providerId="ADAL" clId="{9B2768D1-DFDD-45FF-849C-23AD8ECAB483}" dt="2024-05-08T16:30:43.710" v="49107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0:43.710" v="49109"/>
          <ac:spMkLst>
            <pc:docMk/>
            <pc:sldMk cId="592117244" sldId="275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30:43.710" v="49111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0:43.710" v="49113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0:43.710" v="49115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0:43.710" v="49117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0:43.710" v="49120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43.710" v="49121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43.710" v="49122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0:43.710" v="49123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30:43.710" v="49124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30:43.741" v="49136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43.694" v="49069"/>
          <ac:graphicFrameMkLst>
            <pc:docMk/>
            <pc:sldMk cId="592117244" sldId="275"/>
            <ac:graphicFrameMk id="8" creationId="{6063B653-F0B5-5DFA-9733-A76EB38F099F}"/>
          </ac:graphicFrameMkLst>
        </pc:graphicFrameChg>
        <pc:graphicFrameChg chg="del">
          <ac:chgData name="Joelle Brehm" userId="a518f54c-6985-42c0-8041-2bb16a414839" providerId="ADAL" clId="{9B2768D1-DFDD-45FF-849C-23AD8ECAB483}" dt="2024-05-08T16:13:12.535" v="26714"/>
          <ac:graphicFrameMkLst>
            <pc:docMk/>
            <pc:sldMk cId="592117244" sldId="275"/>
            <ac:graphicFrameMk id="10" creationId="{2850CF27-A151-1052-3738-51D977F89380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43.710" v="49119"/>
          <ac:graphicFrameMkLst>
            <pc:docMk/>
            <pc:sldMk cId="592117244" sldId="275"/>
            <ac:graphicFrameMk id="39" creationId="{E06E6A0C-FC23-5797-C854-245292DC6049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3:39.722" v="27016"/>
          <ac:graphicFrameMkLst>
            <pc:docMk/>
            <pc:sldMk cId="592117244" sldId="275"/>
            <ac:graphicFrameMk id="48" creationId="{040B0657-4109-5E05-471A-069D741E957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3:46.682" v="27692"/>
          <ac:graphicFrameMkLst>
            <pc:docMk/>
            <pc:sldMk cId="592117244" sldId="275"/>
            <ac:graphicFrameMk id="51" creationId="{987DD011-2B13-A282-28B9-FDB861EC8AA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3:49.478" v="27874"/>
          <ac:graphicFrameMkLst>
            <pc:docMk/>
            <pc:sldMk cId="592117244" sldId="275"/>
            <ac:graphicFrameMk id="53" creationId="{D6912E1F-2806-2177-2935-8C41918F0DB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3:52.608" v="28078"/>
          <ac:graphicFrameMkLst>
            <pc:docMk/>
            <pc:sldMk cId="592117244" sldId="275"/>
            <ac:graphicFrameMk id="55" creationId="{6EF7F4A1-1D15-4C4B-126B-AEC9486608D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3:56.912" v="28246"/>
          <ac:graphicFrameMkLst>
            <pc:docMk/>
            <pc:sldMk cId="592117244" sldId="275"/>
            <ac:graphicFrameMk id="57" creationId="{359260D3-BB68-373F-1D84-FD3C62AA0849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3:46.259" v="27515"/>
          <ac:graphicFrameMkLst>
            <pc:docMk/>
            <pc:sldMk cId="592117244" sldId="275"/>
            <ac:graphicFrameMk id="60" creationId="{3AD1328C-E6A2-E4FE-7DF7-A38EE24CDB7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3:58.855" v="28387"/>
          <ac:graphicFrameMkLst>
            <pc:docMk/>
            <pc:sldMk cId="592117244" sldId="275"/>
            <ac:graphicFrameMk id="61" creationId="{C753C01E-9593-6667-6158-9B101A6C282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42.121" v="48871"/>
          <ac:graphicFrameMkLst>
            <pc:docMk/>
            <pc:sldMk cId="592117244" sldId="275"/>
            <ac:graphicFrameMk id="63" creationId="{2E714E4D-DD52-BF46-E52F-459F92C7E54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0:43.629" v="49042"/>
          <ac:graphicFrameMkLst>
            <pc:docMk/>
            <pc:sldMk cId="592117244" sldId="275"/>
            <ac:graphicFrameMk id="65" creationId="{7D483430-8D5C-0FC7-C776-F90467405974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0:43.710" v="49093"/>
          <ac:graphicFrameMkLst>
            <pc:docMk/>
            <pc:sldMk cId="592117244" sldId="275"/>
            <ac:graphicFrameMk id="67" creationId="{28331A7F-9594-50B5-6AA7-40617944AD17}"/>
          </ac:graphicFrameMkLst>
        </pc:graphicFrameChg>
        <pc:picChg chg="add mod ord">
          <ac:chgData name="Joelle Brehm" userId="a518f54c-6985-42c0-8041-2bb16a414839" providerId="ADAL" clId="{9B2768D1-DFDD-45FF-849C-23AD8ECAB483}" dt="2024-05-08T16:30:43.694" v="49063"/>
          <ac:picMkLst>
            <pc:docMk/>
            <pc:sldMk cId="592117244" sldId="275"/>
            <ac:picMk id="9" creationId="{5D2A650D-802A-2581-C83D-565F2484CD7F}"/>
          </ac:picMkLst>
        </pc:picChg>
        <pc:picChg chg="del mod ord">
          <ac:chgData name="Joelle Brehm" userId="a518f54c-6985-42c0-8041-2bb16a414839" providerId="ADAL" clId="{9B2768D1-DFDD-45FF-849C-23AD8ECAB483}" dt="2024-05-08T16:13:31.679" v="26885" actId="478"/>
          <ac:picMkLst>
            <pc:docMk/>
            <pc:sldMk cId="592117244" sldId="275"/>
            <ac:picMk id="31" creationId="{07ACC6AF-D379-8C58-CCA9-2F7AF9E3E0D2}"/>
          </ac:picMkLst>
        </pc:picChg>
        <pc:picChg chg="mod ord">
          <ac:chgData name="Joelle Brehm" userId="a518f54c-6985-42c0-8041-2bb16a414839" providerId="ADAL" clId="{9B2768D1-DFDD-45FF-849C-23AD8ECAB483}" dt="2024-05-08T16:30:43.710" v="49126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0:43.694" v="49067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55:04.426" v="63537" actId="478"/>
        <pc:sldMkLst>
          <pc:docMk/>
          <pc:sldMk cId="3358644479" sldId="276"/>
        </pc:sldMkLst>
        <pc:spChg chg="mod ord">
          <ac:chgData name="Joelle Brehm" userId="a518f54c-6985-42c0-8041-2bb16a414839" providerId="ADAL" clId="{9B2768D1-DFDD-45FF-849C-23AD8ECAB483}" dt="2024-05-08T16:55:02.334" v="63532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9B2768D1-DFDD-45FF-849C-23AD8ECAB483}" dt="2024-05-08T16:14:14.429" v="28469" actId="478"/>
          <ac:spMkLst>
            <pc:docMk/>
            <pc:sldMk cId="3358644479" sldId="276"/>
            <ac:spMk id="3" creationId="{6188D4BB-B977-5E6E-5A0F-0840ACCE0A7B}"/>
          </ac:spMkLst>
        </pc:spChg>
        <pc:spChg chg="add del mod modVis">
          <ac:chgData name="Joelle Brehm" userId="a518f54c-6985-42c0-8041-2bb16a414839" providerId="ADAL" clId="{9B2768D1-DFDD-45FF-849C-23AD8ECAB483}" dt="2024-05-08T16:14:28.906" v="28668"/>
          <ac:spMkLst>
            <pc:docMk/>
            <pc:sldMk cId="3358644479" sldId="276"/>
            <ac:spMk id="5" creationId="{4F2C3A4B-CA9E-A18E-F5D7-24467C112E6D}"/>
          </ac:spMkLst>
        </pc:spChg>
        <pc:spChg chg="mod ord">
          <ac:chgData name="Joelle Brehm" userId="a518f54c-6985-42c0-8041-2bb16a414839" providerId="ADAL" clId="{9B2768D1-DFDD-45FF-849C-23AD8ECAB483}" dt="2024-05-08T16:55:02.300" v="63467"/>
          <ac:spMkLst>
            <pc:docMk/>
            <pc:sldMk cId="3358644479" sldId="276"/>
            <ac:spMk id="6" creationId="{B47CE71D-7819-4857-B121-737A3BD39B4D}"/>
          </ac:spMkLst>
        </pc:spChg>
        <pc:spChg chg="del mod">
          <ac:chgData name="Joelle Brehm" userId="a518f54c-6985-42c0-8041-2bb16a414839" providerId="ADAL" clId="{9B2768D1-DFDD-45FF-849C-23AD8ECAB483}" dt="2024-05-08T16:15:31.723" v="29764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9B2768D1-DFDD-45FF-849C-23AD8ECAB483}" dt="2024-05-08T16:55:02.306" v="63478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55:02.304" v="63474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55:02.304" v="63475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55:02.303" v="63472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55:02.303" v="63473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55:02.305" v="63476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55:02.305" v="63477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55:02.306" v="63479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55:02.307" v="63480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55:02.308" v="63481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55:02.308" v="63482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55:02.309" v="63483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55:02.310" v="63485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55:02.310" v="63486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55:02.312" v="63488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55:02.311" v="63487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55:02.312" v="63490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55:02.313" v="63491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55:02.312" v="63489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55:02.314" v="63493"/>
          <ac:spMkLst>
            <pc:docMk/>
            <pc:sldMk cId="3358644479" sldId="276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15:01.151" v="28967"/>
          <ac:spMkLst>
            <pc:docMk/>
            <pc:sldMk cId="3358644479" sldId="276"/>
            <ac:spMk id="31" creationId="{A0C50556-F395-04E6-A4EA-FF3A45F5408C}"/>
          </ac:spMkLst>
        </pc:spChg>
        <pc:spChg chg="mod">
          <ac:chgData name="Joelle Brehm" userId="a518f54c-6985-42c0-8041-2bb16a414839" providerId="ADAL" clId="{9B2768D1-DFDD-45FF-849C-23AD8ECAB483}" dt="2024-05-08T16:55:02.320" v="63505"/>
          <ac:spMkLst>
            <pc:docMk/>
            <pc:sldMk cId="3358644479" sldId="276"/>
            <ac:spMk id="33" creationId="{1735947B-D840-E65A-104B-866876956309}"/>
          </ac:spMkLst>
        </pc:spChg>
        <pc:spChg chg="mod">
          <ac:chgData name="Joelle Brehm" userId="a518f54c-6985-42c0-8041-2bb16a414839" providerId="ADAL" clId="{9B2768D1-DFDD-45FF-849C-23AD8ECAB483}" dt="2024-05-08T16:55:02.328" v="63522"/>
          <ac:spMkLst>
            <pc:docMk/>
            <pc:sldMk cId="3358644479" sldId="276"/>
            <ac:spMk id="35" creationId="{64BA7946-6B0A-1174-4B4A-1D021C1E91C7}"/>
          </ac:spMkLst>
        </pc:spChg>
        <pc:spChg chg="mod">
          <ac:chgData name="Joelle Brehm" userId="a518f54c-6985-42c0-8041-2bb16a414839" providerId="ADAL" clId="{9B2768D1-DFDD-45FF-849C-23AD8ECAB483}" dt="2024-05-08T16:55:02.318" v="63501"/>
          <ac:spMkLst>
            <pc:docMk/>
            <pc:sldMk cId="3358644479" sldId="276"/>
            <ac:spMk id="36" creationId="{4467CB91-DB37-223E-6BCD-75143BB1B4BC}"/>
          </ac:spMkLst>
        </pc:spChg>
        <pc:spChg chg="mod">
          <ac:chgData name="Joelle Brehm" userId="a518f54c-6985-42c0-8041-2bb16a414839" providerId="ADAL" clId="{9B2768D1-DFDD-45FF-849C-23AD8ECAB483}" dt="2024-05-08T16:55:02.329" v="63523"/>
          <ac:spMkLst>
            <pc:docMk/>
            <pc:sldMk cId="3358644479" sldId="276"/>
            <ac:spMk id="37" creationId="{D376440F-466E-B382-F0AA-F1974C9B9A32}"/>
          </ac:spMkLst>
        </pc:spChg>
        <pc:spChg chg="mod">
          <ac:chgData name="Joelle Brehm" userId="a518f54c-6985-42c0-8041-2bb16a414839" providerId="ADAL" clId="{9B2768D1-DFDD-45FF-849C-23AD8ECAB483}" dt="2024-05-08T16:55:02.330" v="63526"/>
          <ac:spMkLst>
            <pc:docMk/>
            <pc:sldMk cId="3358644479" sldId="276"/>
            <ac:spMk id="39" creationId="{4FEE52F1-F036-DD7D-A4F7-332F7492BB1A}"/>
          </ac:spMkLst>
        </pc:spChg>
        <pc:spChg chg="add del mod ord">
          <ac:chgData name="Joelle Brehm" userId="a518f54c-6985-42c0-8041-2bb16a414839" providerId="ADAL" clId="{9B2768D1-DFDD-45FF-849C-23AD8ECAB483}" dt="2024-05-08T16:54:50.736" v="63456" actId="478"/>
          <ac:spMkLst>
            <pc:docMk/>
            <pc:sldMk cId="3358644479" sldId="276"/>
            <ac:spMk id="40" creationId="{42792472-EEC1-DF5B-8D50-46BA2FF7E648}"/>
          </ac:spMkLst>
        </pc:spChg>
        <pc:spChg chg="mod">
          <ac:chgData name="Joelle Brehm" userId="a518f54c-6985-42c0-8041-2bb16a414839" providerId="ADAL" clId="{9B2768D1-DFDD-45FF-849C-23AD8ECAB483}" dt="2024-05-08T16:55:02.316" v="63498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9B2768D1-DFDD-45FF-849C-23AD8ECAB483}" dt="2024-05-08T16:55:02.315" v="63496"/>
          <ac:spMkLst>
            <pc:docMk/>
            <pc:sldMk cId="3358644479" sldId="276"/>
            <ac:spMk id="42" creationId="{14A59D3D-0E04-F038-E831-1425EC648002}"/>
          </ac:spMkLst>
        </pc:spChg>
        <pc:spChg chg="add mod replST">
          <ac:chgData name="Joelle Brehm" userId="a518f54c-6985-42c0-8041-2bb16a414839" providerId="ADAL" clId="{9B2768D1-DFDD-45FF-849C-23AD8ECAB483}" dt="2024-05-08T16:55:02.322" v="63507"/>
          <ac:spMkLst>
            <pc:docMk/>
            <pc:sldMk cId="3358644479" sldId="276"/>
            <ac:spMk id="43" creationId="{3C17827E-3FA1-1B50-A82B-613D894C3DE4}"/>
          </ac:spMkLst>
        </pc:spChg>
        <pc:spChg chg="add del mod modVis">
          <ac:chgData name="Joelle Brehm" userId="a518f54c-6985-42c0-8041-2bb16a414839" providerId="ADAL" clId="{9B2768D1-DFDD-45FF-849C-23AD8ECAB483}" dt="2024-05-08T16:15:25.844" v="29419"/>
          <ac:spMkLst>
            <pc:docMk/>
            <pc:sldMk cId="3358644479" sldId="276"/>
            <ac:spMk id="44" creationId="{379F2F4E-D906-8003-3930-F2FA07B39A40}"/>
          </ac:spMkLst>
        </pc:spChg>
        <pc:spChg chg="mod">
          <ac:chgData name="Joelle Brehm" userId="a518f54c-6985-42c0-8041-2bb16a414839" providerId="ADAL" clId="{9B2768D1-DFDD-45FF-849C-23AD8ECAB483}" dt="2024-05-08T16:55:02.317" v="63499"/>
          <ac:spMkLst>
            <pc:docMk/>
            <pc:sldMk cId="3358644479" sldId="276"/>
            <ac:spMk id="45" creationId="{E2BF77D0-7FDB-BE38-6486-446042D2E6CA}"/>
          </ac:spMkLst>
        </pc:spChg>
        <pc:spChg chg="mod">
          <ac:chgData name="Joelle Brehm" userId="a518f54c-6985-42c0-8041-2bb16a414839" providerId="ADAL" clId="{9B2768D1-DFDD-45FF-849C-23AD8ECAB483}" dt="2024-05-08T16:55:02.320" v="63504"/>
          <ac:spMkLst>
            <pc:docMk/>
            <pc:sldMk cId="3358644479" sldId="276"/>
            <ac:spMk id="46" creationId="{60941C7A-4FE6-6D9F-9D91-5722837A43E7}"/>
          </ac:spMkLst>
        </pc:spChg>
        <pc:spChg chg="mod">
          <ac:chgData name="Joelle Brehm" userId="a518f54c-6985-42c0-8041-2bb16a414839" providerId="ADAL" clId="{9B2768D1-DFDD-45FF-849C-23AD8ECAB483}" dt="2024-05-08T16:55:02.319" v="63503"/>
          <ac:spMkLst>
            <pc:docMk/>
            <pc:sldMk cId="3358644479" sldId="276"/>
            <ac:spMk id="48" creationId="{C2906F56-C60C-2BB1-3607-9FB82AD9A981}"/>
          </ac:spMkLst>
        </pc:spChg>
        <pc:spChg chg="mod">
          <ac:chgData name="Joelle Brehm" userId="a518f54c-6985-42c0-8041-2bb16a414839" providerId="ADAL" clId="{9B2768D1-DFDD-45FF-849C-23AD8ECAB483}" dt="2024-05-08T16:55:02.316" v="63497"/>
          <ac:spMkLst>
            <pc:docMk/>
            <pc:sldMk cId="3358644479" sldId="276"/>
            <ac:spMk id="49" creationId="{D4F90E1C-EAB9-BF7D-5820-940E92571336}"/>
          </ac:spMkLst>
        </pc:spChg>
        <pc:spChg chg="mod">
          <ac:chgData name="Joelle Brehm" userId="a518f54c-6985-42c0-8041-2bb16a414839" providerId="ADAL" clId="{9B2768D1-DFDD-45FF-849C-23AD8ECAB483}" dt="2024-05-08T16:55:02.317" v="63500"/>
          <ac:spMkLst>
            <pc:docMk/>
            <pc:sldMk cId="3358644479" sldId="276"/>
            <ac:spMk id="50" creationId="{EBF57C44-6BCA-2A9E-015B-FE2A2654B397}"/>
          </ac:spMkLst>
        </pc:spChg>
        <pc:spChg chg="mod">
          <ac:chgData name="Joelle Brehm" userId="a518f54c-6985-42c0-8041-2bb16a414839" providerId="ADAL" clId="{9B2768D1-DFDD-45FF-849C-23AD8ECAB483}" dt="2024-05-08T16:55:02.321" v="63506"/>
          <ac:spMkLst>
            <pc:docMk/>
            <pc:sldMk cId="3358644479" sldId="276"/>
            <ac:spMk id="51" creationId="{F2780FEF-F06D-6B95-5ED3-50FB0558DD6D}"/>
          </ac:spMkLst>
        </pc:spChg>
        <pc:spChg chg="add del mod ord replST">
          <ac:chgData name="Joelle Brehm" userId="a518f54c-6985-42c0-8041-2bb16a414839" providerId="ADAL" clId="{9B2768D1-DFDD-45FF-849C-23AD8ECAB483}" dt="2024-05-08T16:15:31.808" v="29821"/>
          <ac:spMkLst>
            <pc:docMk/>
            <pc:sldMk cId="3358644479" sldId="276"/>
            <ac:spMk id="5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55:02.319" v="63502"/>
          <ac:spMkLst>
            <pc:docMk/>
            <pc:sldMk cId="3358644479" sldId="276"/>
            <ac:spMk id="53" creationId="{319F4068-5046-76B4-073D-72CEC16CD1EA}"/>
          </ac:spMkLst>
        </pc:spChg>
        <pc:spChg chg="add del mod modVis">
          <ac:chgData name="Joelle Brehm" userId="a518f54c-6985-42c0-8041-2bb16a414839" providerId="ADAL" clId="{9B2768D1-DFDD-45FF-849C-23AD8ECAB483}" dt="2024-05-08T16:15:27.887" v="29591"/>
          <ac:spMkLst>
            <pc:docMk/>
            <pc:sldMk cId="3358644479" sldId="276"/>
            <ac:spMk id="55" creationId="{171A87C1-8134-D267-244F-A67916DB5695}"/>
          </ac:spMkLst>
        </pc:spChg>
        <pc:spChg chg="add del mod modVis">
          <ac:chgData name="Joelle Brehm" userId="a518f54c-6985-42c0-8041-2bb16a414839" providerId="ADAL" clId="{9B2768D1-DFDD-45FF-849C-23AD8ECAB483}" dt="2024-05-08T16:15:29.536" v="29761"/>
          <ac:spMkLst>
            <pc:docMk/>
            <pc:sldMk cId="3358644479" sldId="276"/>
            <ac:spMk id="57" creationId="{772AF613-1A61-2438-9308-5D0334C6EA8E}"/>
          </ac:spMkLst>
        </pc:spChg>
        <pc:spChg chg="mod ord">
          <ac:chgData name="Joelle Brehm" userId="a518f54c-6985-42c0-8041-2bb16a414839" providerId="ADAL" clId="{9B2768D1-DFDD-45FF-849C-23AD8ECAB483}" dt="2024-05-08T16:55:02.332" v="63530"/>
          <ac:spMkLst>
            <pc:docMk/>
            <pc:sldMk cId="3358644479" sldId="276"/>
            <ac:spMk id="58" creationId="{0CB06D1E-8664-4C1B-9ACF-854D6C46B776}"/>
          </ac:spMkLst>
        </pc:spChg>
        <pc:spChg chg="add del mod modVis">
          <ac:chgData name="Joelle Brehm" userId="a518f54c-6985-42c0-8041-2bb16a414839" providerId="ADAL" clId="{9B2768D1-DFDD-45FF-849C-23AD8ECAB483}" dt="2024-05-08T16:15:31.902" v="29942"/>
          <ac:spMkLst>
            <pc:docMk/>
            <pc:sldMk cId="3358644479" sldId="276"/>
            <ac:spMk id="60" creationId="{C4C30E3D-F05A-24E7-5C7C-92BEFDFB4A68}"/>
          </ac:spMkLst>
        </pc:spChg>
        <pc:spChg chg="mod ord">
          <ac:chgData name="Joelle Brehm" userId="a518f54c-6985-42c0-8041-2bb16a414839" providerId="ADAL" clId="{9B2768D1-DFDD-45FF-849C-23AD8ECAB483}" dt="2024-05-08T16:55:02.322" v="63509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55:02.323" v="63511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55:02.324" v="63513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55:02.324" v="63515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55:02.326" v="63517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55:02.327" v="63519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55:02.329" v="63524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55:02.330" v="63525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9B2768D1-DFDD-45FF-849C-23AD8ECAB483}" dt="2024-05-08T16:55:02.356" v="63536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5:02.302" v="63471"/>
          <ac:graphicFrameMkLst>
            <pc:docMk/>
            <pc:sldMk cId="3358644479" sldId="276"/>
            <ac:graphicFrameMk id="8" creationId="{B2253C20-D66E-6050-8FBB-0A504864C677}"/>
          </ac:graphicFrameMkLst>
        </pc:graphicFrameChg>
        <pc:graphicFrameChg chg="del">
          <ac:chgData name="Joelle Brehm" userId="a518f54c-6985-42c0-8041-2bb16a414839" providerId="ADAL" clId="{9B2768D1-DFDD-45FF-849C-23AD8ECAB483}" dt="2024-05-08T16:14:28.789" v="28580"/>
          <ac:graphicFrameMkLst>
            <pc:docMk/>
            <pc:sldMk cId="3358644479" sldId="276"/>
            <ac:graphicFrameMk id="32" creationId="{71DFE74A-BCC2-3C58-A83F-873F03B7C41F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5:02.327" v="63521"/>
          <ac:graphicFrameMkLst>
            <pc:docMk/>
            <pc:sldMk cId="3358644479" sldId="276"/>
            <ac:graphicFrameMk id="38" creationId="{5CE11083-83E6-4E46-717C-0E192098AD2F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5:01.081" v="28888"/>
          <ac:graphicFrameMkLst>
            <pc:docMk/>
            <pc:sldMk cId="3358644479" sldId="276"/>
            <ac:graphicFrameMk id="47" creationId="{276D6971-FA8F-9393-3562-257417C116E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5:27.775" v="29496"/>
          <ac:graphicFrameMkLst>
            <pc:docMk/>
            <pc:sldMk cId="3358644479" sldId="276"/>
            <ac:graphicFrameMk id="54" creationId="{6E890A62-94C9-2E6E-48A4-77919861D85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5:29.464" v="29666"/>
          <ac:graphicFrameMkLst>
            <pc:docMk/>
            <pc:sldMk cId="3358644479" sldId="276"/>
            <ac:graphicFrameMk id="56" creationId="{274D78A6-217F-731C-2E4C-DC5C22E4A34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5:31.830" v="29861"/>
          <ac:graphicFrameMkLst>
            <pc:docMk/>
            <pc:sldMk cId="3358644479" sldId="276"/>
            <ac:graphicFrameMk id="59" creationId="{85BE0C77-8D41-13B5-49FF-45872864339D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5:25.750" v="29333"/>
          <ac:graphicFrameMkLst>
            <pc:docMk/>
            <pc:sldMk cId="3358644479" sldId="276"/>
            <ac:graphicFrameMk id="61" creationId="{92BAE051-36CA-D845-7724-890D7837134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5:02.315" v="63495"/>
          <ac:graphicFrameMkLst>
            <pc:docMk/>
            <pc:sldMk cId="3358644479" sldId="276"/>
            <ac:graphicFrameMk id="62" creationId="{6B82BC7E-814A-E031-3143-36F5E7192728}"/>
          </ac:graphicFrameMkLst>
        </pc:graphicFrameChg>
        <pc:picChg chg="add del mod ord">
          <ac:chgData name="Joelle Brehm" userId="a518f54c-6985-42c0-8041-2bb16a414839" providerId="ADAL" clId="{9B2768D1-DFDD-45FF-849C-23AD8ECAB483}" dt="2024-05-08T16:55:04.426" v="63537" actId="478"/>
          <ac:picMkLst>
            <pc:docMk/>
            <pc:sldMk cId="3358644479" sldId="276"/>
            <ac:picMk id="9" creationId="{652F6219-1AE4-13BF-87DE-D59E90D7BAED}"/>
          </ac:picMkLst>
        </pc:picChg>
        <pc:picChg chg="del mod ord">
          <ac:chgData name="Joelle Brehm" userId="a518f54c-6985-42c0-8041-2bb16a414839" providerId="ADAL" clId="{9B2768D1-DFDD-45FF-849C-23AD8ECAB483}" dt="2024-05-08T16:14:47.829" v="28764" actId="478"/>
          <ac:picMkLst>
            <pc:docMk/>
            <pc:sldMk cId="3358644479" sldId="276"/>
            <ac:picMk id="34" creationId="{FF12CF86-2467-2F00-B024-53E4DEFEECEF}"/>
          </ac:picMkLst>
        </pc:picChg>
        <pc:picChg chg="add mod ord">
          <ac:chgData name="Joelle Brehm" userId="a518f54c-6985-42c0-8041-2bb16a414839" providerId="ADAL" clId="{9B2768D1-DFDD-45FF-849C-23AD8ECAB483}" dt="2024-05-08T16:55:02.297" v="63463"/>
          <ac:picMkLst>
            <pc:docMk/>
            <pc:sldMk cId="3358644479" sldId="276"/>
            <ac:picMk id="63" creationId="{A42DC2D0-C5CE-85C2-E58F-FE0277D07F35}"/>
          </ac:picMkLst>
        </pc:picChg>
        <pc:picChg chg="mod ord">
          <ac:chgData name="Joelle Brehm" userId="a518f54c-6985-42c0-8041-2bb16a414839" providerId="ADAL" clId="{9B2768D1-DFDD-45FF-849C-23AD8ECAB483}" dt="2024-05-08T16:55:02.331" v="63528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55:02.301" v="63469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16:34.513" v="31834"/>
        <pc:sldMkLst>
          <pc:docMk/>
          <pc:sldMk cId="1336352168" sldId="277"/>
        </pc:sldMkLst>
        <pc:spChg chg="mod ord">
          <ac:chgData name="Joelle Brehm" userId="a518f54c-6985-42c0-8041-2bb16a414839" providerId="ADAL" clId="{9B2768D1-DFDD-45FF-849C-23AD8ECAB483}" dt="2024-05-08T16:16:34.492" v="31828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9B2768D1-DFDD-45FF-849C-23AD8ECAB483}" dt="2024-05-08T16:15:48.560" v="29945" actId="478"/>
          <ac:spMkLst>
            <pc:docMk/>
            <pc:sldMk cId="1336352168" sldId="277"/>
            <ac:spMk id="5" creationId="{E7D0F64C-53AD-F891-FFB2-4B1621624248}"/>
          </ac:spMkLst>
        </pc:spChg>
        <pc:spChg chg="mod ord">
          <ac:chgData name="Joelle Brehm" userId="a518f54c-6985-42c0-8041-2bb16a414839" providerId="ADAL" clId="{9B2768D1-DFDD-45FF-849C-23AD8ECAB483}" dt="2024-05-08T16:16:34.473" v="31763"/>
          <ac:spMkLst>
            <pc:docMk/>
            <pc:sldMk cId="1336352168" sldId="277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9B2768D1-DFDD-45FF-849C-23AD8ECAB483}" dt="2024-05-08T16:15:52.440" v="30168"/>
          <ac:spMkLst>
            <pc:docMk/>
            <pc:sldMk cId="1336352168" sldId="277"/>
            <ac:spMk id="9" creationId="{8BB73976-7C30-4DAE-0D18-2827C228B239}"/>
          </ac:spMkLst>
        </pc:spChg>
        <pc:spChg chg="mod">
          <ac:chgData name="Joelle Brehm" userId="a518f54c-6985-42c0-8041-2bb16a414839" providerId="ADAL" clId="{9B2768D1-DFDD-45FF-849C-23AD8ECAB483}" dt="2024-05-08T16:16:34.477" v="31774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16:34.475" v="31770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16:34.475" v="31771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16:34.474" v="31768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16:34.475" v="31769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16:34.475" v="31772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16:34.477" v="31773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16:34.477" v="31775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16:34.478" v="31776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16:34.478" v="31777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16:34.478" v="31778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16:34.479" v="31779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16:34.479" v="31781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16:34.479" v="31782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16:34.480" v="31784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16:34.480" v="31783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16:34.481" v="31786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16:34.481" v="31787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16:34.481" v="31785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16:34.482" v="31789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16:34.484" v="31797"/>
          <ac:spMkLst>
            <pc:docMk/>
            <pc:sldMk cId="1336352168" sldId="277"/>
            <ac:spMk id="32" creationId="{74CF8B3F-36F6-9332-CFE2-CF317BED3193}"/>
          </ac:spMkLst>
        </pc:spChg>
        <pc:spChg chg="mod">
          <ac:chgData name="Joelle Brehm" userId="a518f54c-6985-42c0-8041-2bb16a414839" providerId="ADAL" clId="{9B2768D1-DFDD-45FF-849C-23AD8ECAB483}" dt="2024-05-08T16:16:34.486" v="31802"/>
          <ac:spMkLst>
            <pc:docMk/>
            <pc:sldMk cId="1336352168" sldId="277"/>
            <ac:spMk id="33" creationId="{86B54686-1D6F-6ED8-BFC2-81A5FF4023B0}"/>
          </ac:spMkLst>
        </pc:spChg>
        <pc:spChg chg="add del mod modVis">
          <ac:chgData name="Joelle Brehm" userId="a518f54c-6985-42c0-8041-2bb16a414839" providerId="ADAL" clId="{9B2768D1-DFDD-45FF-849C-23AD8ECAB483}" dt="2024-05-08T16:16:13.809" v="30459"/>
          <ac:spMkLst>
            <pc:docMk/>
            <pc:sldMk cId="1336352168" sldId="277"/>
            <ac:spMk id="35" creationId="{11562BE7-1352-A4BF-62E0-111955A5DAE7}"/>
          </ac:spMkLst>
        </pc:spChg>
        <pc:spChg chg="mod">
          <ac:chgData name="Joelle Brehm" userId="a518f54c-6985-42c0-8041-2bb16a414839" providerId="ADAL" clId="{9B2768D1-DFDD-45FF-849C-23AD8ECAB483}" dt="2024-05-08T16:16:34.485" v="31800"/>
          <ac:spMkLst>
            <pc:docMk/>
            <pc:sldMk cId="1336352168" sldId="277"/>
            <ac:spMk id="36" creationId="{868EF4EC-6C6C-5D6C-CE37-AA48A78690B5}"/>
          </ac:spMkLst>
        </pc:spChg>
        <pc:spChg chg="mod">
          <ac:chgData name="Joelle Brehm" userId="a518f54c-6985-42c0-8041-2bb16a414839" providerId="ADAL" clId="{9B2768D1-DFDD-45FF-849C-23AD8ECAB483}" dt="2024-05-08T16:16:34.485" v="31801"/>
          <ac:spMkLst>
            <pc:docMk/>
            <pc:sldMk cId="1336352168" sldId="277"/>
            <ac:spMk id="37" creationId="{486C8B9B-03DE-4315-FFE4-733A525C403C}"/>
          </ac:spMkLst>
        </pc:spChg>
        <pc:spChg chg="del mod">
          <ac:chgData name="Joelle Brehm" userId="a518f54c-6985-42c0-8041-2bb16a414839" providerId="ADAL" clId="{9B2768D1-DFDD-45FF-849C-23AD8ECAB483}" dt="2024-05-08T16:16:28.014" v="31294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9B2768D1-DFDD-45FF-849C-23AD8ECAB483}" dt="2024-05-08T16:16:34.482" v="31792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9B2768D1-DFDD-45FF-849C-23AD8ECAB483}" dt="2024-05-08T16:16:34.483" v="31794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9B2768D1-DFDD-45FF-849C-23AD8ECAB483}" dt="2024-05-08T16:16:34.483" v="31795"/>
          <ac:spMkLst>
            <pc:docMk/>
            <pc:sldMk cId="1336352168" sldId="277"/>
            <ac:spMk id="42" creationId="{04656030-ED65-550D-E841-3EC7F85E35CF}"/>
          </ac:spMkLst>
        </pc:spChg>
        <pc:spChg chg="add mod replST">
          <ac:chgData name="Joelle Brehm" userId="a518f54c-6985-42c0-8041-2bb16a414839" providerId="ADAL" clId="{9B2768D1-DFDD-45FF-849C-23AD8ECAB483}" dt="2024-05-08T16:16:34.486" v="31803"/>
          <ac:spMkLst>
            <pc:docMk/>
            <pc:sldMk cId="1336352168" sldId="277"/>
            <ac:spMk id="43" creationId="{2C6D7C50-B487-AA61-0212-DF4C7AB44BCF}"/>
          </ac:spMkLst>
        </pc:spChg>
        <pc:spChg chg="mod">
          <ac:chgData name="Joelle Brehm" userId="a518f54c-6985-42c0-8041-2bb16a414839" providerId="ADAL" clId="{9B2768D1-DFDD-45FF-849C-23AD8ECAB483}" dt="2024-05-08T16:16:34.483" v="31793"/>
          <ac:spMkLst>
            <pc:docMk/>
            <pc:sldMk cId="1336352168" sldId="277"/>
            <ac:spMk id="44" creationId="{948C7430-EE17-A200-FEA6-849EEC95829A}"/>
          </ac:spMkLst>
        </pc:spChg>
        <pc:spChg chg="mod">
          <ac:chgData name="Joelle Brehm" userId="a518f54c-6985-42c0-8041-2bb16a414839" providerId="ADAL" clId="{9B2768D1-DFDD-45FF-849C-23AD8ECAB483}" dt="2024-05-08T16:16:34.484" v="31798"/>
          <ac:spMkLst>
            <pc:docMk/>
            <pc:sldMk cId="1336352168" sldId="277"/>
            <ac:spMk id="45" creationId="{D04E5C9A-B84D-E68D-0174-8A803F9459C0}"/>
          </ac:spMkLst>
        </pc:spChg>
        <pc:spChg chg="mod">
          <ac:chgData name="Joelle Brehm" userId="a518f54c-6985-42c0-8041-2bb16a414839" providerId="ADAL" clId="{9B2768D1-DFDD-45FF-849C-23AD8ECAB483}" dt="2024-05-08T16:16:34.484" v="31796"/>
          <ac:spMkLst>
            <pc:docMk/>
            <pc:sldMk cId="1336352168" sldId="277"/>
            <ac:spMk id="46" creationId="{F7A7DC41-8925-BEE0-D237-2FE7B5C8A67F}"/>
          </ac:spMkLst>
        </pc:spChg>
        <pc:spChg chg="mod">
          <ac:chgData name="Joelle Brehm" userId="a518f54c-6985-42c0-8041-2bb16a414839" providerId="ADAL" clId="{9B2768D1-DFDD-45FF-849C-23AD8ECAB483}" dt="2024-05-08T16:16:34.485" v="31799"/>
          <ac:spMkLst>
            <pc:docMk/>
            <pc:sldMk cId="1336352168" sldId="277"/>
            <ac:spMk id="47" creationId="{AE18A661-20DA-E8A0-77A0-CA2C637605AF}"/>
          </ac:spMkLst>
        </pc:spChg>
        <pc:spChg chg="add del mod modVis">
          <ac:chgData name="Joelle Brehm" userId="a518f54c-6985-42c0-8041-2bb16a414839" providerId="ADAL" clId="{9B2768D1-DFDD-45FF-849C-23AD8ECAB483}" dt="2024-05-08T16:16:20.836" v="30943"/>
          <ac:spMkLst>
            <pc:docMk/>
            <pc:sldMk cId="1336352168" sldId="277"/>
            <ac:spMk id="48" creationId="{FCFB3C99-2BC0-2D0B-273A-78347D38EA09}"/>
          </ac:spMkLst>
        </pc:spChg>
        <pc:spChg chg="add del mod ord replST">
          <ac:chgData name="Joelle Brehm" userId="a518f54c-6985-42c0-8041-2bb16a414839" providerId="ADAL" clId="{9B2768D1-DFDD-45FF-849C-23AD8ECAB483}" dt="2024-05-08T16:16:28.373" v="31425"/>
          <ac:spMkLst>
            <pc:docMk/>
            <pc:sldMk cId="1336352168" sldId="277"/>
            <ac:spMk id="49" creationId="{7CAA3B95-4C78-4122-BECA-B5FB0F3F3764}"/>
          </ac:spMkLst>
        </pc:spChg>
        <pc:spChg chg="add del mod ord replST">
          <ac:chgData name="Joelle Brehm" userId="a518f54c-6985-42c0-8041-2bb16a414839" providerId="ADAL" clId="{9B2768D1-DFDD-45FF-849C-23AD8ECAB483}" dt="2024-05-08T16:16:34.441" v="31751"/>
          <ac:spMkLst>
            <pc:docMk/>
            <pc:sldMk cId="1336352168" sldId="277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16:23.555" v="31118"/>
          <ac:spMkLst>
            <pc:docMk/>
            <pc:sldMk cId="1336352168" sldId="277"/>
            <ac:spMk id="52" creationId="{CA1356C2-E0E4-A983-38B0-5CF7D1BE5625}"/>
          </ac:spMkLst>
        </pc:spChg>
        <pc:spChg chg="add del mod modVis">
          <ac:chgData name="Joelle Brehm" userId="a518f54c-6985-42c0-8041-2bb16a414839" providerId="ADAL" clId="{9B2768D1-DFDD-45FF-849C-23AD8ECAB483}" dt="2024-05-08T16:16:25.034" v="31291"/>
          <ac:spMkLst>
            <pc:docMk/>
            <pc:sldMk cId="1336352168" sldId="277"/>
            <ac:spMk id="54" creationId="{E64095C2-16BC-53F3-EEDF-20D16C19BF1A}"/>
          </ac:spMkLst>
        </pc:spChg>
        <pc:spChg chg="add del mod modVis">
          <ac:chgData name="Joelle Brehm" userId="a518f54c-6985-42c0-8041-2bb16a414839" providerId="ADAL" clId="{9B2768D1-DFDD-45FF-849C-23AD8ECAB483}" dt="2024-05-08T16:16:28.547" v="31555"/>
          <ac:spMkLst>
            <pc:docMk/>
            <pc:sldMk cId="1336352168" sldId="277"/>
            <ac:spMk id="57" creationId="{76E8E62A-8F93-8440-2936-918646303A15}"/>
          </ac:spMkLst>
        </pc:spChg>
        <pc:spChg chg="mod ord">
          <ac:chgData name="Joelle Brehm" userId="a518f54c-6985-42c0-8041-2bb16a414839" providerId="ADAL" clId="{9B2768D1-DFDD-45FF-849C-23AD8ECAB483}" dt="2024-05-08T16:16:34.492" v="31826"/>
          <ac:spMkLst>
            <pc:docMk/>
            <pc:sldMk cId="1336352168" sldId="277"/>
            <ac:spMk id="58" creationId="{3378A65B-8FF4-4781-8563-6C0C79CE7E62}"/>
          </ac:spMkLst>
        </pc:spChg>
        <pc:spChg chg="add del mod ord replST">
          <ac:chgData name="Joelle Brehm" userId="a518f54c-6985-42c0-8041-2bb16a414839" providerId="ADAL" clId="{9B2768D1-DFDD-45FF-849C-23AD8ECAB483}" dt="2024-05-08T16:16:32.016" v="31612"/>
          <ac:spMkLst>
            <pc:docMk/>
            <pc:sldMk cId="1336352168" sldId="277"/>
            <ac:spMk id="59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16:32.058" v="31695"/>
          <ac:spMkLst>
            <pc:docMk/>
            <pc:sldMk cId="1336352168" sldId="277"/>
            <ac:spMk id="61" creationId="{A1D331FF-3A54-9251-3479-D2CC59E9EC22}"/>
          </ac:spMkLst>
        </pc:spChg>
        <pc:spChg chg="add del mod modVis">
          <ac:chgData name="Joelle Brehm" userId="a518f54c-6985-42c0-8041-2bb16a414839" providerId="ADAL" clId="{9B2768D1-DFDD-45FF-849C-23AD8ECAB483}" dt="2024-05-08T16:16:34.494" v="31832"/>
          <ac:spMkLst>
            <pc:docMk/>
            <pc:sldMk cId="1336352168" sldId="277"/>
            <ac:spMk id="63" creationId="{1302A31D-9107-A258-7E34-D3545DC87533}"/>
          </ac:spMkLst>
        </pc:spChg>
        <pc:spChg chg="mod ord">
          <ac:chgData name="Joelle Brehm" userId="a518f54c-6985-42c0-8041-2bb16a414839" providerId="ADAL" clId="{9B2768D1-DFDD-45FF-849C-23AD8ECAB483}" dt="2024-05-08T16:16:34.486" v="31805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16:34.487" v="31807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16:34.487" v="31809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16:34.488" v="31811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16:34.488" v="31813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16:34.489" v="31815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16:34.489" v="31818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16:34.490" v="31819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16:34.490" v="31820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16:34.490" v="31821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16:34.491" v="31822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16:34.513" v="31834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B2768D1-DFDD-45FF-849C-23AD8ECAB483}" dt="2024-05-08T16:15:52.333" v="30087"/>
          <ac:graphicFrameMkLst>
            <pc:docMk/>
            <pc:sldMk cId="1336352168" sldId="277"/>
            <ac:graphicFrameMk id="8" creationId="{A07860F7-5604-DC8E-25EB-C19B9F1208F7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6:13.740" v="30380"/>
          <ac:graphicFrameMkLst>
            <pc:docMk/>
            <pc:sldMk cId="1336352168" sldId="277"/>
            <ac:graphicFrameMk id="10" creationId="{001D37F5-DBF7-B851-FC96-C13BAF31992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16:34.474" v="31767"/>
          <ac:graphicFrameMkLst>
            <pc:docMk/>
            <pc:sldMk cId="1336352168" sldId="277"/>
            <ac:graphicFrameMk id="31" creationId="{7E30A675-3454-5A15-01DD-D622CED1272A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16:34.489" v="31817"/>
          <ac:graphicFrameMkLst>
            <pc:docMk/>
            <pc:sldMk cId="1336352168" sldId="277"/>
            <ac:graphicFrameMk id="38" creationId="{7B91CB18-8C8B-ACEE-85C5-9E4EC552C8A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6:23.443" v="31023"/>
          <ac:graphicFrameMkLst>
            <pc:docMk/>
            <pc:sldMk cId="1336352168" sldId="277"/>
            <ac:graphicFrameMk id="51" creationId="{04C54CF9-D3C1-447E-3196-10C99BDF66E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6:24.944" v="31196"/>
          <ac:graphicFrameMkLst>
            <pc:docMk/>
            <pc:sldMk cId="1336352168" sldId="277"/>
            <ac:graphicFrameMk id="53" creationId="{BA577125-8D11-CC80-C5DC-92F383BA0C78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6:20.719" v="30853"/>
          <ac:graphicFrameMkLst>
            <pc:docMk/>
            <pc:sldMk cId="1336352168" sldId="277"/>
            <ac:graphicFrameMk id="55" creationId="{F6FBF6C8-E5F6-9EFC-36AA-99DBEB794C5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6:28.413" v="31461"/>
          <ac:graphicFrameMkLst>
            <pc:docMk/>
            <pc:sldMk cId="1336352168" sldId="277"/>
            <ac:graphicFrameMk id="56" creationId="{5ADD84D7-207C-CFF9-1F86-829E586BCC1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6:32.018" v="31614"/>
          <ac:graphicFrameMkLst>
            <pc:docMk/>
            <pc:sldMk cId="1336352168" sldId="277"/>
            <ac:graphicFrameMk id="60" creationId="{2C90867A-242F-70CB-5074-65441AE5C94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6:34.442" v="31753"/>
          <ac:graphicFrameMkLst>
            <pc:docMk/>
            <pc:sldMk cId="1336352168" sldId="277"/>
            <ac:graphicFrameMk id="62" creationId="{7CF91BE2-CA41-A30A-24CB-0C4895EF035B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16:34.482" v="31791"/>
          <ac:graphicFrameMkLst>
            <pc:docMk/>
            <pc:sldMk cId="1336352168" sldId="277"/>
            <ac:graphicFrameMk id="64" creationId="{9419E75D-35B3-22B3-4A49-0CC94FA1D005}"/>
          </ac:graphicFrameMkLst>
        </pc:graphicFrameChg>
        <pc:picChg chg="del mod ord">
          <ac:chgData name="Joelle Brehm" userId="a518f54c-6985-42c0-8041-2bb16a414839" providerId="ADAL" clId="{9B2768D1-DFDD-45FF-849C-23AD8ECAB483}" dt="2024-05-08T16:16:04.690" v="30251" actId="478"/>
          <ac:picMkLst>
            <pc:docMk/>
            <pc:sldMk cId="1336352168" sldId="277"/>
            <ac:picMk id="3" creationId="{DAE43EAF-428A-41B4-7B23-AA337D945E9A}"/>
          </ac:picMkLst>
        </pc:picChg>
        <pc:picChg chg="add mod ord">
          <ac:chgData name="Joelle Brehm" userId="a518f54c-6985-42c0-8041-2bb16a414839" providerId="ADAL" clId="{9B2768D1-DFDD-45FF-849C-23AD8ECAB483}" dt="2024-05-08T16:16:34.473" v="31761"/>
          <ac:picMkLst>
            <pc:docMk/>
            <pc:sldMk cId="1336352168" sldId="277"/>
            <ac:picMk id="34" creationId="{41941D5B-5B8F-581C-6BEF-295848DA5E85}"/>
          </ac:picMkLst>
        </pc:picChg>
        <pc:picChg chg="mod ord">
          <ac:chgData name="Joelle Brehm" userId="a518f54c-6985-42c0-8041-2bb16a414839" providerId="ADAL" clId="{9B2768D1-DFDD-45FF-849C-23AD8ECAB483}" dt="2024-05-08T16:16:34.491" v="31824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16:34.473" v="31765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55:37.155" v="63619" actId="478"/>
        <pc:sldMkLst>
          <pc:docMk/>
          <pc:sldMk cId="1379386497" sldId="278"/>
        </pc:sldMkLst>
        <pc:spChg chg="mod ord">
          <ac:chgData name="Joelle Brehm" userId="a518f54c-6985-42c0-8041-2bb16a414839" providerId="ADAL" clId="{9B2768D1-DFDD-45FF-849C-23AD8ECAB483}" dt="2024-05-08T16:55:35.766" v="63614"/>
          <ac:spMkLst>
            <pc:docMk/>
            <pc:sldMk cId="1379386497" sldId="278"/>
            <ac:spMk id="2" creationId="{F45C2660-F634-4943-BD78-279946171050}"/>
          </ac:spMkLst>
        </pc:spChg>
        <pc:spChg chg="add del mod ord">
          <ac:chgData name="Joelle Brehm" userId="a518f54c-6985-42c0-8041-2bb16a414839" providerId="ADAL" clId="{9B2768D1-DFDD-45FF-849C-23AD8ECAB483}" dt="2024-05-08T16:55:11.403" v="63538" actId="478"/>
          <ac:spMkLst>
            <pc:docMk/>
            <pc:sldMk cId="1379386497" sldId="278"/>
            <ac:spMk id="3" creationId="{01C1F0E8-B071-1121-D464-852CDC83F092}"/>
          </ac:spMkLst>
        </pc:spChg>
        <pc:spChg chg="add del mod modVis">
          <ac:chgData name="Joelle Brehm" userId="a518f54c-6985-42c0-8041-2bb16a414839" providerId="ADAL" clId="{9B2768D1-DFDD-45FF-849C-23AD8ECAB483}" dt="2024-05-08T16:17:09.258" v="32047"/>
          <ac:spMkLst>
            <pc:docMk/>
            <pc:sldMk cId="1379386497" sldId="278"/>
            <ac:spMk id="5" creationId="{E071DB9F-32EA-DA37-DB9E-92971918636B}"/>
          </ac:spMkLst>
        </pc:spChg>
        <pc:spChg chg="mod ord">
          <ac:chgData name="Joelle Brehm" userId="a518f54c-6985-42c0-8041-2bb16a414839" providerId="ADAL" clId="{9B2768D1-DFDD-45FF-849C-23AD8ECAB483}" dt="2024-05-08T16:55:35.751" v="63549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55:35.754" v="63560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55:35.753" v="63556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55:35.753" v="63557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55:35.753" v="63554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55:35.753" v="63555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55:35.754" v="63558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55:35.754" v="63559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55:35.754" v="63561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55:35.754" v="63562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55:35.755" v="63563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55:35.755" v="63564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55:35.755" v="63565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55:35.756" v="63567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55:35.756" v="63568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55:35.756" v="63570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55:35.756" v="63569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55:35.757" v="63572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55:35.757" v="63573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55:35.757" v="63571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55:35.758" v="63575"/>
          <ac:spMkLst>
            <pc:docMk/>
            <pc:sldMk cId="1379386497" sldId="27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17:17.619" v="32275"/>
          <ac:spMkLst>
            <pc:docMk/>
            <pc:sldMk cId="1379386497" sldId="278"/>
            <ac:spMk id="31" creationId="{76C2EFD2-1EE5-2ED3-558F-9F62EA5E7EDF}"/>
          </ac:spMkLst>
        </pc:spChg>
        <pc:spChg chg="mod">
          <ac:chgData name="Joelle Brehm" userId="a518f54c-6985-42c0-8041-2bb16a414839" providerId="ADAL" clId="{9B2768D1-DFDD-45FF-849C-23AD8ECAB483}" dt="2024-05-08T16:55:35.760" v="63583"/>
          <ac:spMkLst>
            <pc:docMk/>
            <pc:sldMk cId="1379386497" sldId="278"/>
            <ac:spMk id="33" creationId="{D9441170-0215-A7D1-2B94-1AA18159DA2E}"/>
          </ac:spMkLst>
        </pc:spChg>
        <pc:spChg chg="mod">
          <ac:chgData name="Joelle Brehm" userId="a518f54c-6985-42c0-8041-2bb16a414839" providerId="ADAL" clId="{9B2768D1-DFDD-45FF-849C-23AD8ECAB483}" dt="2024-05-08T16:55:35.761" v="63586"/>
          <ac:spMkLst>
            <pc:docMk/>
            <pc:sldMk cId="1379386497" sldId="278"/>
            <ac:spMk id="34" creationId="{EA2B09D6-B9E2-E57B-C9D8-F46E7FE20D58}"/>
          </ac:spMkLst>
        </pc:spChg>
        <pc:spChg chg="add del mod modVis">
          <ac:chgData name="Joelle Brehm" userId="a518f54c-6985-42c0-8041-2bb16a414839" providerId="ADAL" clId="{9B2768D1-DFDD-45FF-849C-23AD8ECAB483}" dt="2024-05-08T16:17:22.730" v="32501"/>
          <ac:spMkLst>
            <pc:docMk/>
            <pc:sldMk cId="1379386497" sldId="278"/>
            <ac:spMk id="35" creationId="{C5B26662-2582-61C4-78FB-968CD2B094B0}"/>
          </ac:spMkLst>
        </pc:spChg>
        <pc:spChg chg="mod">
          <ac:chgData name="Joelle Brehm" userId="a518f54c-6985-42c0-8041-2bb16a414839" providerId="ADAL" clId="{9B2768D1-DFDD-45FF-849C-23AD8ECAB483}" dt="2024-05-08T16:55:35.764" v="63606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9B2768D1-DFDD-45FF-849C-23AD8ECAB483}" dt="2024-05-08T16:55:35.765" v="63608"/>
          <ac:spMkLst>
            <pc:docMk/>
            <pc:sldMk cId="1379386497" sldId="278"/>
            <ac:spMk id="39" creationId="{BC5B7AD7-98AB-AC45-8C89-733A6DC5051A}"/>
          </ac:spMkLst>
        </pc:spChg>
        <pc:spChg chg="add mod replST">
          <ac:chgData name="Joelle Brehm" userId="a518f54c-6985-42c0-8041-2bb16a414839" providerId="ADAL" clId="{9B2768D1-DFDD-45FF-849C-23AD8ECAB483}" dt="2024-05-08T16:55:35.761" v="63589"/>
          <ac:spMkLst>
            <pc:docMk/>
            <pc:sldMk cId="1379386497" sldId="278"/>
            <ac:spMk id="40" creationId="{A11BE7AB-ABC4-5E95-6F46-7BC4CD55E5E3}"/>
          </ac:spMkLst>
        </pc:spChg>
        <pc:spChg chg="mod">
          <ac:chgData name="Joelle Brehm" userId="a518f54c-6985-42c0-8041-2bb16a414839" providerId="ADAL" clId="{9B2768D1-DFDD-45FF-849C-23AD8ECAB483}" dt="2024-05-08T16:55:35.759" v="63581"/>
          <ac:spMkLst>
            <pc:docMk/>
            <pc:sldMk cId="1379386497" sldId="278"/>
            <ac:spMk id="41" creationId="{2CE2D9E3-933C-589B-9FDF-AD85A36D3F72}"/>
          </ac:spMkLst>
        </pc:spChg>
        <pc:spChg chg="mod">
          <ac:chgData name="Joelle Brehm" userId="a518f54c-6985-42c0-8041-2bb16a414839" providerId="ADAL" clId="{9B2768D1-DFDD-45FF-849C-23AD8ECAB483}" dt="2024-05-08T16:55:35.760" v="63584"/>
          <ac:spMkLst>
            <pc:docMk/>
            <pc:sldMk cId="1379386497" sldId="278"/>
            <ac:spMk id="42" creationId="{0660EA24-A2FF-39AF-6D53-5A6B463F1F4A}"/>
          </ac:spMkLst>
        </pc:spChg>
        <pc:spChg chg="mod">
          <ac:chgData name="Joelle Brehm" userId="a518f54c-6985-42c0-8041-2bb16a414839" providerId="ADAL" clId="{9B2768D1-DFDD-45FF-849C-23AD8ECAB483}" dt="2024-05-08T16:55:35.758" v="63579"/>
          <ac:spMkLst>
            <pc:docMk/>
            <pc:sldMk cId="1379386497" sldId="278"/>
            <ac:spMk id="43" creationId="{9BFE083A-DE75-2F86-ECDB-6ADE652E9C65}"/>
          </ac:spMkLst>
        </pc:spChg>
        <pc:spChg chg="del mod">
          <ac:chgData name="Joelle Brehm" userId="a518f54c-6985-42c0-8041-2bb16a414839" providerId="ADAL" clId="{9B2768D1-DFDD-45FF-849C-23AD8ECAB483}" dt="2024-05-08T16:17:43.895" v="33526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9B2768D1-DFDD-45FF-849C-23AD8ECAB483}" dt="2024-05-08T16:55:35.759" v="63582"/>
          <ac:spMkLst>
            <pc:docMk/>
            <pc:sldMk cId="1379386497" sldId="278"/>
            <ac:spMk id="45" creationId="{905B75A0-9675-8F59-A2F9-EC525ACC9D40}"/>
          </ac:spMkLst>
        </pc:spChg>
        <pc:spChg chg="add del mod modVis">
          <ac:chgData name="Joelle Brehm" userId="a518f54c-6985-42c0-8041-2bb16a414839" providerId="ADAL" clId="{9B2768D1-DFDD-45FF-849C-23AD8ECAB483}" dt="2024-05-08T16:17:32.419" v="33009"/>
          <ac:spMkLst>
            <pc:docMk/>
            <pc:sldMk cId="1379386497" sldId="278"/>
            <ac:spMk id="46" creationId="{E2CE3F46-B3A3-9C96-F56C-1FB3A8584467}"/>
          </ac:spMkLst>
        </pc:spChg>
        <pc:spChg chg="mod">
          <ac:chgData name="Joelle Brehm" userId="a518f54c-6985-42c0-8041-2bb16a414839" providerId="ADAL" clId="{9B2768D1-DFDD-45FF-849C-23AD8ECAB483}" dt="2024-05-08T16:55:35.759" v="63580"/>
          <ac:spMkLst>
            <pc:docMk/>
            <pc:sldMk cId="1379386497" sldId="278"/>
            <ac:spMk id="47" creationId="{6057FFE7-9F54-EBDD-8215-FE17C631267E}"/>
          </ac:spMkLst>
        </pc:spChg>
        <pc:spChg chg="add del mod ord replST">
          <ac:chgData name="Joelle Brehm" userId="a518f54c-6985-42c0-8041-2bb16a414839" providerId="ADAL" clId="{9B2768D1-DFDD-45FF-849C-23AD8ECAB483}" dt="2024-05-08T16:17:48.233" v="33758"/>
          <ac:spMkLst>
            <pc:docMk/>
            <pc:sldMk cId="1379386497" sldId="278"/>
            <ac:spMk id="4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55:35.761" v="63587"/>
          <ac:spMkLst>
            <pc:docMk/>
            <pc:sldMk cId="1379386497" sldId="278"/>
            <ac:spMk id="50" creationId="{2F9838F6-DFD8-CCFE-5224-76EEBBD31C18}"/>
          </ac:spMkLst>
        </pc:spChg>
        <pc:spChg chg="mod">
          <ac:chgData name="Joelle Brehm" userId="a518f54c-6985-42c0-8041-2bb16a414839" providerId="ADAL" clId="{9B2768D1-DFDD-45FF-849C-23AD8ECAB483}" dt="2024-05-08T16:55:35.761" v="63588"/>
          <ac:spMkLst>
            <pc:docMk/>
            <pc:sldMk cId="1379386497" sldId="278"/>
            <ac:spMk id="51" creationId="{23535B3B-E79F-0E25-8796-C4FD41FB3DBF}"/>
          </ac:spMkLst>
        </pc:spChg>
        <pc:spChg chg="mod">
          <ac:chgData name="Joelle Brehm" userId="a518f54c-6985-42c0-8041-2bb16a414839" providerId="ADAL" clId="{9B2768D1-DFDD-45FF-849C-23AD8ECAB483}" dt="2024-05-08T16:55:35.760" v="63585"/>
          <ac:spMkLst>
            <pc:docMk/>
            <pc:sldMk cId="1379386497" sldId="278"/>
            <ac:spMk id="52" creationId="{5F99AA82-A56C-0B31-0714-9B89A2D90005}"/>
          </ac:spMkLst>
        </pc:spChg>
        <pc:spChg chg="add del mod modVis">
          <ac:chgData name="Joelle Brehm" userId="a518f54c-6985-42c0-8041-2bb16a414839" providerId="ADAL" clId="{9B2768D1-DFDD-45FF-849C-23AD8ECAB483}" dt="2024-05-08T16:17:34.787" v="33182"/>
          <ac:spMkLst>
            <pc:docMk/>
            <pc:sldMk cId="1379386497" sldId="278"/>
            <ac:spMk id="54" creationId="{E64EB0F6-2487-F705-C43A-2BC2CD2222FB}"/>
          </ac:spMkLst>
        </pc:spChg>
        <pc:spChg chg="add del mod modVis">
          <ac:chgData name="Joelle Brehm" userId="a518f54c-6985-42c0-8041-2bb16a414839" providerId="ADAL" clId="{9B2768D1-DFDD-45FF-849C-23AD8ECAB483}" dt="2024-05-08T16:17:39.040" v="33355"/>
          <ac:spMkLst>
            <pc:docMk/>
            <pc:sldMk cId="1379386497" sldId="278"/>
            <ac:spMk id="56" creationId="{C195480C-0D9D-CBA4-6821-F395980B7955}"/>
          </ac:spMkLst>
        </pc:spChg>
        <pc:spChg chg="mod ord">
          <ac:chgData name="Joelle Brehm" userId="a518f54c-6985-42c0-8041-2bb16a414839" providerId="ADAL" clId="{9B2768D1-DFDD-45FF-849C-23AD8ECAB483}" dt="2024-05-08T16:55:35.766" v="63612"/>
          <ac:spMkLst>
            <pc:docMk/>
            <pc:sldMk cId="1379386497" sldId="278"/>
            <ac:spMk id="58" creationId="{78B81F80-FD88-43AD-B1EA-9D49D321CFA2}"/>
          </ac:spMkLst>
        </pc:spChg>
        <pc:spChg chg="add del mod modVis">
          <ac:chgData name="Joelle Brehm" userId="a518f54c-6985-42c0-8041-2bb16a414839" providerId="ADAL" clId="{9B2768D1-DFDD-45FF-849C-23AD8ECAB483}" dt="2024-05-08T16:17:41.303" v="33523"/>
          <ac:spMkLst>
            <pc:docMk/>
            <pc:sldMk cId="1379386497" sldId="278"/>
            <ac:spMk id="59" creationId="{B005DAB5-12D1-D905-A837-3E4A14C6D538}"/>
          </ac:spMkLst>
        </pc:spChg>
        <pc:spChg chg="mod">
          <ac:chgData name="Joelle Brehm" userId="a518f54c-6985-42c0-8041-2bb16a414839" providerId="ADAL" clId="{9B2768D1-DFDD-45FF-849C-23AD8ECAB483}" dt="2024-05-08T16:55:35.758" v="63578"/>
          <ac:spMkLst>
            <pc:docMk/>
            <pc:sldMk cId="1379386497" sldId="278"/>
            <ac:spMk id="60" creationId="{2B15A064-F539-2DBC-4751-EC9AD27E414F}"/>
          </ac:spMkLst>
        </pc:spChg>
        <pc:spChg chg="add del mod modVis">
          <ac:chgData name="Joelle Brehm" userId="a518f54c-6985-42c0-8041-2bb16a414839" providerId="ADAL" clId="{9B2768D1-DFDD-45FF-849C-23AD8ECAB483}" dt="2024-05-08T16:17:44.120" v="33704"/>
          <ac:spMkLst>
            <pc:docMk/>
            <pc:sldMk cId="1379386497" sldId="278"/>
            <ac:spMk id="62" creationId="{166B39D8-2420-C6F3-81D8-2FEDA9939FC8}"/>
          </ac:spMkLst>
        </pc:spChg>
        <pc:spChg chg="add del mod modVis">
          <ac:chgData name="Joelle Brehm" userId="a518f54c-6985-42c0-8041-2bb16a414839" providerId="ADAL" clId="{9B2768D1-DFDD-45FF-849C-23AD8ECAB483}" dt="2024-05-08T16:17:48.287" v="33841"/>
          <ac:spMkLst>
            <pc:docMk/>
            <pc:sldMk cId="1379386497" sldId="278"/>
            <ac:spMk id="64" creationId="{41F132F4-6137-95CB-DA0F-EEC98AB7950D}"/>
          </ac:spMkLst>
        </pc:spChg>
        <pc:spChg chg="add del mod modVis">
          <ac:chgData name="Joelle Brehm" userId="a518f54c-6985-42c0-8041-2bb16a414839" providerId="ADAL" clId="{9B2768D1-DFDD-45FF-849C-23AD8ECAB483}" dt="2024-05-08T16:17:51.646" v="34051"/>
          <ac:spMkLst>
            <pc:docMk/>
            <pc:sldMk cId="1379386497" sldId="278"/>
            <ac:spMk id="66" creationId="{3953F1D8-A1F8-9111-01CD-8845006EB5CE}"/>
          </ac:spMkLst>
        </pc:spChg>
        <pc:spChg chg="add del mod replST">
          <ac:chgData name="Joelle Brehm" userId="a518f54c-6985-42c0-8041-2bb16a414839" providerId="ADAL" clId="{9B2768D1-DFDD-45FF-849C-23AD8ECAB483}" dt="2024-05-08T16:17:53.531" v="34104"/>
          <ac:spMkLst>
            <pc:docMk/>
            <pc:sldMk cId="1379386497" sldId="278"/>
            <ac:spMk id="68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17:53.579" v="34187"/>
          <ac:spMkLst>
            <pc:docMk/>
            <pc:sldMk cId="1379386497" sldId="278"/>
            <ac:spMk id="70" creationId="{01A8A0FE-3F37-B700-40FC-DEB8D672C2EA}"/>
          </ac:spMkLst>
        </pc:spChg>
        <pc:spChg chg="add del mod modVis">
          <ac:chgData name="Joelle Brehm" userId="a518f54c-6985-42c0-8041-2bb16a414839" providerId="ADAL" clId="{9B2768D1-DFDD-45FF-849C-23AD8ECAB483}" dt="2024-05-08T16:17:53.964" v="34321"/>
          <ac:spMkLst>
            <pc:docMk/>
            <pc:sldMk cId="1379386497" sldId="278"/>
            <ac:spMk id="72" creationId="{DA774031-336B-13BA-0604-62521CB18291}"/>
          </ac:spMkLst>
        </pc:spChg>
        <pc:spChg chg="mod ord">
          <ac:chgData name="Joelle Brehm" userId="a518f54c-6985-42c0-8041-2bb16a414839" providerId="ADAL" clId="{9B2768D1-DFDD-45FF-849C-23AD8ECAB483}" dt="2024-05-08T16:55:35.762" v="63591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55:35.762" v="63593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55:35.762" v="63595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55:35.762" v="63597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55:35.763" v="63599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55:35.763" v="63601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55:35.764" v="63604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55:35.764" v="63605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55:35.765" v="63607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9B2768D1-DFDD-45FF-849C-23AD8ECAB483}" dt="2024-05-08T16:55:35.777" v="63618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B2768D1-DFDD-45FF-849C-23AD8ECAB483}" dt="2024-05-08T16:17:09.133" v="31960"/>
          <ac:graphicFrameMkLst>
            <pc:docMk/>
            <pc:sldMk cId="1379386497" sldId="278"/>
            <ac:graphicFrameMk id="8" creationId="{EE092C46-E5B0-3BAA-CBB0-378B970885C5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5:35.752" v="63553"/>
          <ac:graphicFrameMkLst>
            <pc:docMk/>
            <pc:sldMk cId="1379386497" sldId="278"/>
            <ac:graphicFrameMk id="10" creationId="{B2EEDB69-A0B7-9D9B-7BAF-8F855EFFE80D}"/>
          </ac:graphicFrameMkLst>
        </pc:graphicFrameChg>
        <pc:graphicFrameChg chg="add mod ord replST delST">
          <ac:chgData name="Joelle Brehm" userId="a518f54c-6985-42c0-8041-2bb16a414839" providerId="ADAL" clId="{9B2768D1-DFDD-45FF-849C-23AD8ECAB483}" dt="2024-05-08T16:17:17.619" v="32275"/>
          <ac:graphicFrameMkLst>
            <pc:docMk/>
            <pc:sldMk cId="1379386497" sldId="278"/>
            <ac:graphicFrameMk id="32" creationId="{27A0369E-68C6-1DF6-4FFC-A96C15351D6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25.013" v="32523"/>
          <ac:graphicFrameMkLst>
            <pc:docMk/>
            <pc:sldMk cId="1379386497" sldId="278"/>
            <ac:graphicFrameMk id="36" creationId="{AD633E9C-6311-8A41-ABF9-843F14FC4C04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5:35.764" v="63603"/>
          <ac:graphicFrameMkLst>
            <pc:docMk/>
            <pc:sldMk cId="1379386497" sldId="278"/>
            <ac:graphicFrameMk id="37" creationId="{1C16856D-B08F-4789-4715-F1C0C2A661BC}"/>
          </ac:graphicFrameMkLst>
        </pc:graphicFrameChg>
        <pc:graphicFrameChg chg="add del mod ord">
          <ac:chgData name="Joelle Brehm" userId="a518f54c-6985-42c0-8041-2bb16a414839" providerId="ADAL" clId="{9B2768D1-DFDD-45FF-849C-23AD8ECAB483}" dt="2024-05-08T16:17:22.602" v="32420"/>
          <ac:graphicFrameMkLst>
            <pc:docMk/>
            <pc:sldMk cId="1379386497" sldId="278"/>
            <ac:graphicFrameMk id="48" creationId="{B48338A0-65C4-05FC-7C60-DE515703A8C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34.713" v="33089"/>
          <ac:graphicFrameMkLst>
            <pc:docMk/>
            <pc:sldMk cId="1379386497" sldId="278"/>
            <ac:graphicFrameMk id="53" creationId="{470D7566-BC4B-7D05-4215-72518CE8B00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38.978" v="33262"/>
          <ac:graphicFrameMkLst>
            <pc:docMk/>
            <pc:sldMk cId="1379386497" sldId="278"/>
            <ac:graphicFrameMk id="55" creationId="{68DA4A44-2E87-6EC9-33B1-48A5DDEBF0A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41.210" v="33430"/>
          <ac:graphicFrameMkLst>
            <pc:docMk/>
            <pc:sldMk cId="1379386497" sldId="278"/>
            <ac:graphicFrameMk id="57" creationId="{6B733665-F627-BAD8-0D8C-47F94568654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44.027" v="33621"/>
          <ac:graphicFrameMkLst>
            <pc:docMk/>
            <pc:sldMk cId="1379386497" sldId="278"/>
            <ac:graphicFrameMk id="61" creationId="{8694CB2C-8D24-C391-AB3C-DD26742B98DD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48.234" v="33760"/>
          <ac:graphicFrameMkLst>
            <pc:docMk/>
            <pc:sldMk cId="1379386497" sldId="278"/>
            <ac:graphicFrameMk id="63" creationId="{1308A3F5-257E-EE21-753F-24FD88641E6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51.562" v="33960"/>
          <ac:graphicFrameMkLst>
            <pc:docMk/>
            <pc:sldMk cId="1379386497" sldId="278"/>
            <ac:graphicFrameMk id="65" creationId="{03B4DA8E-5CCA-0416-A611-77BE3E671A4A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7:32.372" v="32921"/>
          <ac:graphicFrameMkLst>
            <pc:docMk/>
            <pc:sldMk cId="1379386497" sldId="278"/>
            <ac:graphicFrameMk id="67" creationId="{DF576658-137F-F7A9-2A99-0E86C7D124A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53.533" v="34106"/>
          <ac:graphicFrameMkLst>
            <pc:docMk/>
            <pc:sldMk cId="1379386497" sldId="278"/>
            <ac:graphicFrameMk id="69" creationId="{12C8245E-F5ED-06C7-75C3-97B1F29CBB1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7:53.924" v="34240"/>
          <ac:graphicFrameMkLst>
            <pc:docMk/>
            <pc:sldMk cId="1379386497" sldId="278"/>
            <ac:graphicFrameMk id="71" creationId="{03374536-27FE-9360-078A-3BB66DEBCAD5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5:35.758" v="63577"/>
          <ac:graphicFrameMkLst>
            <pc:docMk/>
            <pc:sldMk cId="1379386497" sldId="278"/>
            <ac:graphicFrameMk id="73" creationId="{0F23A639-E16A-FB92-1A6C-57F0DD9D1B3A}"/>
          </ac:graphicFrameMkLst>
        </pc:graphicFrameChg>
        <pc:picChg chg="del mod ord">
          <ac:chgData name="Joelle Brehm" userId="a518f54c-6985-42c0-8041-2bb16a414839" providerId="ADAL" clId="{9B2768D1-DFDD-45FF-849C-23AD8ECAB483}" dt="2024-05-08T16:55:37.155" v="63619" actId="478"/>
          <ac:picMkLst>
            <pc:docMk/>
            <pc:sldMk cId="1379386497" sldId="278"/>
            <ac:picMk id="9" creationId="{080C4662-CE4B-46D4-BAFA-DAECA47E060B}"/>
          </ac:picMkLst>
        </pc:picChg>
        <pc:picChg chg="add mod ord">
          <ac:chgData name="Joelle Brehm" userId="a518f54c-6985-42c0-8041-2bb16a414839" providerId="ADAL" clId="{9B2768D1-DFDD-45FF-849C-23AD8ECAB483}" dt="2024-05-08T16:55:35.750" v="63545"/>
          <ac:picMkLst>
            <pc:docMk/>
            <pc:sldMk cId="1379386497" sldId="278"/>
            <ac:picMk id="74" creationId="{8DF1A79F-DC24-907A-91B5-E12AD12D8627}"/>
          </ac:picMkLst>
        </pc:picChg>
        <pc:picChg chg="mod ord">
          <ac:chgData name="Joelle Brehm" userId="a518f54c-6985-42c0-8041-2bb16a414839" providerId="ADAL" clId="{9B2768D1-DFDD-45FF-849C-23AD8ECAB483}" dt="2024-05-08T16:55:35.765" v="63610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55:35.751" v="63551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19:08.050" v="35924"/>
        <pc:sldMkLst>
          <pc:docMk/>
          <pc:sldMk cId="1917659360" sldId="279"/>
        </pc:sldMkLst>
        <pc:spChg chg="add del mod">
          <ac:chgData name="Joelle Brehm" userId="a518f54c-6985-42c0-8041-2bb16a414839" providerId="ADAL" clId="{9B2768D1-DFDD-45FF-849C-23AD8ECAB483}" dt="2024-05-08T16:18:10.400" v="34324" actId="478"/>
          <ac:spMkLst>
            <pc:docMk/>
            <pc:sldMk cId="1917659360" sldId="279"/>
            <ac:spMk id="2" creationId="{2DD0B3A9-8533-C6F9-F643-0CC487CBA7E2}"/>
          </ac:spMkLst>
        </pc:spChg>
        <pc:spChg chg="mod ord">
          <ac:chgData name="Joelle Brehm" userId="a518f54c-6985-42c0-8041-2bb16a414839" providerId="ADAL" clId="{9B2768D1-DFDD-45FF-849C-23AD8ECAB483}" dt="2024-05-08T16:19:08.035" v="35918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9B2768D1-DFDD-45FF-849C-23AD8ECAB483}" dt="2024-05-08T16:18:13.790" v="34537"/>
          <ac:spMkLst>
            <pc:docMk/>
            <pc:sldMk cId="1917659360" sldId="279"/>
            <ac:spMk id="5" creationId="{59D1E41E-F431-4567-3465-6D8827657EF2}"/>
          </ac:spMkLst>
        </pc:spChg>
        <pc:spChg chg="mod ord">
          <ac:chgData name="Joelle Brehm" userId="a518f54c-6985-42c0-8041-2bb16a414839" providerId="ADAL" clId="{9B2768D1-DFDD-45FF-849C-23AD8ECAB483}" dt="2024-05-08T16:19:08.017" v="35853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19:08.019" v="35864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19:08.018" v="35860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19:08.018" v="35861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19:08.018" v="35858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19:08.018" v="35859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19:08.019" v="35862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19:08.019" v="35863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19:08.019" v="35865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19:08.020" v="35866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19:08.020" v="35867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19:08.020" v="35868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19:08.021" v="35869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19:08.021" v="35871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19:08.022" v="35872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19:08.022" v="35874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19:08.022" v="35873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19:08.023" v="35876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19:08.023" v="35877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19:08.022" v="35875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19:08.024" v="35879"/>
          <ac:spMkLst>
            <pc:docMk/>
            <pc:sldMk cId="1917659360" sldId="279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18:51.272" v="34813"/>
          <ac:spMkLst>
            <pc:docMk/>
            <pc:sldMk cId="1917659360" sldId="279"/>
            <ac:spMk id="32" creationId="{7D7756BB-BADF-C500-B3AB-49D03B32256B}"/>
          </ac:spMkLst>
        </pc:spChg>
        <pc:spChg chg="mod">
          <ac:chgData name="Joelle Brehm" userId="a518f54c-6985-42c0-8041-2bb16a414839" providerId="ADAL" clId="{9B2768D1-DFDD-45FF-849C-23AD8ECAB483}" dt="2024-05-08T16:19:08.027" v="35887"/>
          <ac:spMkLst>
            <pc:docMk/>
            <pc:sldMk cId="1917659360" sldId="279"/>
            <ac:spMk id="33" creationId="{5E0420EB-DE56-49B0-A849-5880286E1551}"/>
          </ac:spMkLst>
        </pc:spChg>
        <pc:spChg chg="mod">
          <ac:chgData name="Joelle Brehm" userId="a518f54c-6985-42c0-8041-2bb16a414839" providerId="ADAL" clId="{9B2768D1-DFDD-45FF-849C-23AD8ECAB483}" dt="2024-05-08T16:19:08.029" v="35892"/>
          <ac:spMkLst>
            <pc:docMk/>
            <pc:sldMk cId="1917659360" sldId="279"/>
            <ac:spMk id="36" creationId="{8103A5F0-95D9-711D-A304-DD7A19A26538}"/>
          </ac:spMkLst>
        </pc:spChg>
        <pc:spChg chg="mod">
          <ac:chgData name="Joelle Brehm" userId="a518f54c-6985-42c0-8041-2bb16a414839" providerId="ADAL" clId="{9B2768D1-DFDD-45FF-849C-23AD8ECAB483}" dt="2024-05-08T16:19:08.028" v="35890"/>
          <ac:spMkLst>
            <pc:docMk/>
            <pc:sldMk cId="1917659360" sldId="279"/>
            <ac:spMk id="37" creationId="{96F8B877-95CC-EC95-D7ED-C1509F06C966}"/>
          </ac:spMkLst>
        </pc:spChg>
        <pc:spChg chg="del mod">
          <ac:chgData name="Joelle Brehm" userId="a518f54c-6985-42c0-8041-2bb16a414839" providerId="ADAL" clId="{9B2768D1-DFDD-45FF-849C-23AD8ECAB483}" dt="2024-05-08T16:19:04.096" v="35607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9B2768D1-DFDD-45FF-849C-23AD8ECAB483}" dt="2024-05-08T16:19:08.028" v="35888"/>
          <ac:spMkLst>
            <pc:docMk/>
            <pc:sldMk cId="1917659360" sldId="279"/>
            <ac:spMk id="39" creationId="{D6233669-6C61-F88A-CA74-14C4A4F6BEAC}"/>
          </ac:spMkLst>
        </pc:spChg>
        <pc:spChg chg="add mod replST">
          <ac:chgData name="Joelle Brehm" userId="a518f54c-6985-42c0-8041-2bb16a414839" providerId="ADAL" clId="{9B2768D1-DFDD-45FF-849C-23AD8ECAB483}" dt="2024-05-08T16:19:08.029" v="35893"/>
          <ac:spMkLst>
            <pc:docMk/>
            <pc:sldMk cId="1917659360" sldId="279"/>
            <ac:spMk id="40" creationId="{24066E1B-5A22-0213-0750-152AF696DE5C}"/>
          </ac:spMkLst>
        </pc:spChg>
        <pc:spChg chg="mod">
          <ac:chgData name="Joelle Brehm" userId="a518f54c-6985-42c0-8041-2bb16a414839" providerId="ADAL" clId="{9B2768D1-DFDD-45FF-849C-23AD8ECAB483}" dt="2024-05-08T16:19:08.027" v="35886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9B2768D1-DFDD-45FF-849C-23AD8ECAB483}" dt="2024-05-08T16:19:08.026" v="35884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9B2768D1-DFDD-45FF-849C-23AD8ECAB483}" dt="2024-05-08T16:19:08.026" v="35885"/>
          <ac:spMkLst>
            <pc:docMk/>
            <pc:sldMk cId="1917659360" sldId="279"/>
            <ac:spMk id="43" creationId="{BBDFBA71-A567-2AC1-EC82-8D2F9B910F5F}"/>
          </ac:spMkLst>
        </pc:spChg>
        <pc:spChg chg="mod">
          <ac:chgData name="Joelle Brehm" userId="a518f54c-6985-42c0-8041-2bb16a414839" providerId="ADAL" clId="{9B2768D1-DFDD-45FF-849C-23AD8ECAB483}" dt="2024-05-08T16:19:08.028" v="35891"/>
          <ac:spMkLst>
            <pc:docMk/>
            <pc:sldMk cId="1917659360" sldId="279"/>
            <ac:spMk id="44" creationId="{D9982BA9-8ABD-F151-A1B4-F84D132FC1D8}"/>
          </ac:spMkLst>
        </pc:spChg>
        <pc:spChg chg="add del mod modVis">
          <ac:chgData name="Joelle Brehm" userId="a518f54c-6985-42c0-8041-2bb16a414839" providerId="ADAL" clId="{9B2768D1-DFDD-45FF-849C-23AD8ECAB483}" dt="2024-05-08T16:18:58.403" v="35262"/>
          <ac:spMkLst>
            <pc:docMk/>
            <pc:sldMk cId="1917659360" sldId="279"/>
            <ac:spMk id="45" creationId="{15C08127-10B7-A25D-FF1D-E5C5D5BE5170}"/>
          </ac:spMkLst>
        </pc:spChg>
        <pc:spChg chg="mod">
          <ac:chgData name="Joelle Brehm" userId="a518f54c-6985-42c0-8041-2bb16a414839" providerId="ADAL" clId="{9B2768D1-DFDD-45FF-849C-23AD8ECAB483}" dt="2024-05-08T16:19:08.025" v="35882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9B2768D1-DFDD-45FF-849C-23AD8ECAB483}" dt="2024-05-08T16:19:08.026" v="35883"/>
          <ac:spMkLst>
            <pc:docMk/>
            <pc:sldMk cId="1917659360" sldId="279"/>
            <ac:spMk id="47" creationId="{698A62C7-0861-3196-719C-E48F5560BE43}"/>
          </ac:spMkLst>
        </pc:spChg>
        <pc:spChg chg="add del mod ord replST">
          <ac:chgData name="Joelle Brehm" userId="a518f54c-6985-42c0-8041-2bb16a414839" providerId="ADAL" clId="{9B2768D1-DFDD-45FF-849C-23AD8ECAB483}" dt="2024-05-08T16:19:07.994" v="35841"/>
          <ac:spMkLst>
            <pc:docMk/>
            <pc:sldMk cId="1917659360" sldId="279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18:59.353" v="35434"/>
          <ac:spMkLst>
            <pc:docMk/>
            <pc:sldMk cId="1917659360" sldId="279"/>
            <ac:spMk id="50" creationId="{1CD1EFB6-4EFB-9FD2-1A0C-43377F42EF41}"/>
          </ac:spMkLst>
        </pc:spChg>
        <pc:spChg chg="mod">
          <ac:chgData name="Joelle Brehm" userId="a518f54c-6985-42c0-8041-2bb16a414839" providerId="ADAL" clId="{9B2768D1-DFDD-45FF-849C-23AD8ECAB483}" dt="2024-05-08T16:19:08.028" v="35889"/>
          <ac:spMkLst>
            <pc:docMk/>
            <pc:sldMk cId="1917659360" sldId="279"/>
            <ac:spMk id="51" creationId="{11756A47-3371-3050-1674-DA5C63D5DA78}"/>
          </ac:spMkLst>
        </pc:spChg>
        <pc:spChg chg="add del mod modVis">
          <ac:chgData name="Joelle Brehm" userId="a518f54c-6985-42c0-8041-2bb16a414839" providerId="ADAL" clId="{9B2768D1-DFDD-45FF-849C-23AD8ECAB483}" dt="2024-05-08T16:19:01.050" v="35604"/>
          <ac:spMkLst>
            <pc:docMk/>
            <pc:sldMk cId="1917659360" sldId="279"/>
            <ac:spMk id="53" creationId="{C5953614-5EA7-F17D-C1C5-FDAC0B895452}"/>
          </ac:spMkLst>
        </pc:spChg>
        <pc:spChg chg="add del mod modVis">
          <ac:chgData name="Joelle Brehm" userId="a518f54c-6985-42c0-8041-2bb16a414839" providerId="ADAL" clId="{9B2768D1-DFDD-45FF-849C-23AD8ECAB483}" dt="2024-05-08T16:19:04.348" v="35785"/>
          <ac:spMkLst>
            <pc:docMk/>
            <pc:sldMk cId="1917659360" sldId="279"/>
            <ac:spMk id="55" creationId="{590776B4-0923-FD0E-3E8C-B9A123C45910}"/>
          </ac:spMkLst>
        </pc:spChg>
        <pc:spChg chg="add del mod modVis">
          <ac:chgData name="Joelle Brehm" userId="a518f54c-6985-42c0-8041-2bb16a414839" providerId="ADAL" clId="{9B2768D1-DFDD-45FF-849C-23AD8ECAB483}" dt="2024-05-08T16:19:08.036" v="35922"/>
          <ac:spMkLst>
            <pc:docMk/>
            <pc:sldMk cId="1917659360" sldId="279"/>
            <ac:spMk id="57" creationId="{C7FC3B49-116A-6FF7-0F88-7BFB87A158A9}"/>
          </ac:spMkLst>
        </pc:spChg>
        <pc:spChg chg="mod ord">
          <ac:chgData name="Joelle Brehm" userId="a518f54c-6985-42c0-8041-2bb16a414839" providerId="ADAL" clId="{9B2768D1-DFDD-45FF-849C-23AD8ECAB483}" dt="2024-05-08T16:19:08.035" v="35916"/>
          <ac:spMkLst>
            <pc:docMk/>
            <pc:sldMk cId="1917659360" sldId="279"/>
            <ac:spMk id="58" creationId="{C2B29D16-5A5D-43B3-B972-0B57287E081A}"/>
          </ac:spMkLst>
        </pc:spChg>
        <pc:spChg chg="mod ord">
          <ac:chgData name="Joelle Brehm" userId="a518f54c-6985-42c0-8041-2bb16a414839" providerId="ADAL" clId="{9B2768D1-DFDD-45FF-849C-23AD8ECAB483}" dt="2024-05-08T16:19:08.030" v="35895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19:08.030" v="35897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19:08.030" v="35899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19:08.031" v="35901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19:08.031" v="35903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19:08.032" v="35905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19:08.033" v="35908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19:08.033" v="35909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19:08.033" v="35910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19:08.034" v="35911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19:08.034" v="35912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19:08.050" v="35924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B2768D1-DFDD-45FF-849C-23AD8ECAB483}" dt="2024-05-08T16:18:13.692" v="34456"/>
          <ac:graphicFrameMkLst>
            <pc:docMk/>
            <pc:sldMk cId="1917659360" sldId="279"/>
            <ac:graphicFrameMk id="8" creationId="{E616D429-2A43-EC47-A9B4-A15B6A93803F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19:08.017" v="35857"/>
          <ac:graphicFrameMkLst>
            <pc:docMk/>
            <pc:sldMk cId="1917659360" sldId="279"/>
            <ac:graphicFrameMk id="10" creationId="{BE688B86-9305-3EC3-B6CE-CDCCEFDA93E3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8:51.138" v="34734"/>
          <ac:graphicFrameMkLst>
            <pc:docMk/>
            <pc:sldMk cId="1917659360" sldId="279"/>
            <ac:graphicFrameMk id="34" creationId="{23E93A20-CDDD-5916-6E10-8CD0E8B9B1D3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19:08.032" v="35907"/>
          <ac:graphicFrameMkLst>
            <pc:docMk/>
            <pc:sldMk cId="1917659360" sldId="279"/>
            <ac:graphicFrameMk id="35" creationId="{D026D1C6-3AB4-392D-B0AE-599087203F6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8:59.248" v="35341"/>
          <ac:graphicFrameMkLst>
            <pc:docMk/>
            <pc:sldMk cId="1917659360" sldId="279"/>
            <ac:graphicFrameMk id="49" creationId="{D3A59E93-A5B4-A180-D2C0-68547F270C3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9:00.925" v="35511"/>
          <ac:graphicFrameMkLst>
            <pc:docMk/>
            <pc:sldMk cId="1917659360" sldId="279"/>
            <ac:graphicFrameMk id="52" creationId="{81BE040E-5EE2-97F4-709C-AAC2BD2AA10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9:04.256" v="35704"/>
          <ac:graphicFrameMkLst>
            <pc:docMk/>
            <pc:sldMk cId="1917659360" sldId="279"/>
            <ac:graphicFrameMk id="54" creationId="{D4B5D518-7173-78EB-D3B4-E3551C80AE8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19:07.995" v="35843"/>
          <ac:graphicFrameMkLst>
            <pc:docMk/>
            <pc:sldMk cId="1917659360" sldId="279"/>
            <ac:graphicFrameMk id="56" creationId="{D38230DB-C88B-29C3-90B7-2F0C0C2BC3F0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19:08.024" v="35881"/>
          <ac:graphicFrameMkLst>
            <pc:docMk/>
            <pc:sldMk cId="1917659360" sldId="279"/>
            <ac:graphicFrameMk id="59" creationId="{E36F36E6-5332-3B77-B6B7-F2F5CA362A17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18:58.317" v="35174"/>
          <ac:graphicFrameMkLst>
            <pc:docMk/>
            <pc:sldMk cId="1917659360" sldId="279"/>
            <ac:graphicFrameMk id="61" creationId="{16275846-A7A2-84CC-5B39-64F0064BC881}"/>
          </ac:graphicFrameMkLst>
        </pc:graphicFrameChg>
        <pc:picChg chg="del mod ord">
          <ac:chgData name="Joelle Brehm" userId="a518f54c-6985-42c0-8041-2bb16a414839" providerId="ADAL" clId="{9B2768D1-DFDD-45FF-849C-23AD8ECAB483}" dt="2024-05-08T16:18:38.618" v="34631" actId="478"/>
          <ac:picMkLst>
            <pc:docMk/>
            <pc:sldMk cId="1917659360" sldId="279"/>
            <ac:picMk id="9" creationId="{280E4A7D-D678-FA8E-F024-8312F6E8F135}"/>
          </ac:picMkLst>
        </pc:picChg>
        <pc:picChg chg="add mod ord">
          <ac:chgData name="Joelle Brehm" userId="a518f54c-6985-42c0-8041-2bb16a414839" providerId="ADAL" clId="{9B2768D1-DFDD-45FF-849C-23AD8ECAB483}" dt="2024-05-08T16:19:08.016" v="35851"/>
          <ac:picMkLst>
            <pc:docMk/>
            <pc:sldMk cId="1917659360" sldId="279"/>
            <ac:picMk id="31" creationId="{0907C1E6-FC52-1392-2C03-3AAC9D07C0B2}"/>
          </ac:picMkLst>
        </pc:picChg>
        <pc:picChg chg="mod ord">
          <ac:chgData name="Joelle Brehm" userId="a518f54c-6985-42c0-8041-2bb16a414839" providerId="ADAL" clId="{9B2768D1-DFDD-45FF-849C-23AD8ECAB483}" dt="2024-05-08T16:19:08.034" v="35914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19:08.017" v="35855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26:22.548" v="41956"/>
        <pc:sldMkLst>
          <pc:docMk/>
          <pc:sldMk cId="168389892" sldId="281"/>
        </pc:sldMkLst>
        <pc:spChg chg="mod ord">
          <ac:chgData name="Joelle Brehm" userId="a518f54c-6985-42c0-8041-2bb16a414839" providerId="ADAL" clId="{9B2768D1-DFDD-45FF-849C-23AD8ECAB483}" dt="2024-05-08T16:26:22.532" v="41950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9B2768D1-DFDD-45FF-849C-23AD8ECAB483}" dt="2024-05-08T16:25:07.477" v="39874" actId="478"/>
          <ac:spMkLst>
            <pc:docMk/>
            <pc:sldMk cId="168389892" sldId="281"/>
            <ac:spMk id="3" creationId="{22B17CA1-53DC-A629-30B4-BE7C219DB3BD}"/>
          </ac:spMkLst>
        </pc:spChg>
        <pc:spChg chg="add del mod modVis">
          <ac:chgData name="Joelle Brehm" userId="a518f54c-6985-42c0-8041-2bb16a414839" providerId="ADAL" clId="{9B2768D1-DFDD-45FF-849C-23AD8ECAB483}" dt="2024-05-08T16:25:15.790" v="40123"/>
          <ac:spMkLst>
            <pc:docMk/>
            <pc:sldMk cId="168389892" sldId="281"/>
            <ac:spMk id="5" creationId="{791B4683-AF7B-0FFA-CB45-2044552295FC}"/>
          </ac:spMkLst>
        </pc:spChg>
        <pc:spChg chg="mod ord">
          <ac:chgData name="Joelle Brehm" userId="a518f54c-6985-42c0-8041-2bb16a414839" providerId="ADAL" clId="{9B2768D1-DFDD-45FF-849C-23AD8ECAB483}" dt="2024-05-08T16:26:22.508" v="41862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26:22.521" v="41909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9B2768D1-DFDD-45FF-849C-23AD8ECAB483}" dt="2024-05-08T16:26:22.510" v="41873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26:22.510" v="41869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26:22.510" v="41870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26:22.508" v="41867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26:22.508" v="41868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26:22.510" v="41871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26:22.510" v="41872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26:22.511" v="41874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26:22.511" v="41875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26:22.511" v="41876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26:22.512" v="41877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26:22.512" v="41878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26:22.512" v="41880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26:22.513" v="41883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26:22.514" v="41885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26:22.513" v="41884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26:22.515" v="41888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26:22.516" v="41889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26:22.514" v="41887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26:22.516" v="41891"/>
          <ac:spMkLst>
            <pc:docMk/>
            <pc:sldMk cId="168389892" sldId="281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25:53.139" v="40518"/>
          <ac:spMkLst>
            <pc:docMk/>
            <pc:sldMk cId="168389892" sldId="281"/>
            <ac:spMk id="33" creationId="{617D011C-BE4E-8B9A-E76F-EE71E3454DEC}"/>
          </ac:spMkLst>
        </pc:spChg>
        <pc:spChg chg="mod">
          <ac:chgData name="Joelle Brehm" userId="a518f54c-6985-42c0-8041-2bb16a414839" providerId="ADAL" clId="{9B2768D1-DFDD-45FF-849C-23AD8ECAB483}" dt="2024-05-08T16:26:22.522" v="41912"/>
          <ac:spMkLst>
            <pc:docMk/>
            <pc:sldMk cId="168389892" sldId="281"/>
            <ac:spMk id="34" creationId="{0E8E46D7-D2A7-7EA2-D456-4F5AC1475AED}"/>
          </ac:spMkLst>
        </pc:spChg>
        <pc:spChg chg="mod ord">
          <ac:chgData name="Joelle Brehm" userId="a518f54c-6985-42c0-8041-2bb16a414839" providerId="ADAL" clId="{9B2768D1-DFDD-45FF-849C-23AD8ECAB483}" dt="2024-05-08T16:26:22.513" v="41882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9B2768D1-DFDD-45FF-849C-23AD8ECAB483}" dt="2024-05-08T16:26:22.525" v="41922"/>
          <ac:spMkLst>
            <pc:docMk/>
            <pc:sldMk cId="168389892" sldId="281"/>
            <ac:spMk id="38" creationId="{DD8BB25F-BD9F-9AAE-9C2C-A41E6EB967DA}"/>
          </ac:spMkLst>
        </pc:spChg>
        <pc:spChg chg="mod ord">
          <ac:chgData name="Joelle Brehm" userId="a518f54c-6985-42c0-8041-2bb16a414839" providerId="ADAL" clId="{9B2768D1-DFDD-45FF-849C-23AD8ECAB483}" dt="2024-05-08T16:26:22.525" v="41921"/>
          <ac:spMkLst>
            <pc:docMk/>
            <pc:sldMk cId="168389892" sldId="281"/>
            <ac:spMk id="39" creationId="{76E9BD3F-3196-C7FB-42C5-10B4F07669D2}"/>
          </ac:spMkLst>
        </pc:spChg>
        <pc:spChg chg="mod">
          <ac:chgData name="Joelle Brehm" userId="a518f54c-6985-42c0-8041-2bb16a414839" providerId="ADAL" clId="{9B2768D1-DFDD-45FF-849C-23AD8ECAB483}" dt="2024-05-08T16:26:22.524" v="41918"/>
          <ac:spMkLst>
            <pc:docMk/>
            <pc:sldMk cId="168389892" sldId="281"/>
            <ac:spMk id="40" creationId="{7541989C-2D24-7D6C-C2DA-7AF85BAB9B44}"/>
          </ac:spMkLst>
        </pc:spChg>
        <pc:spChg chg="mod">
          <ac:chgData name="Joelle Brehm" userId="a518f54c-6985-42c0-8041-2bb16a414839" providerId="ADAL" clId="{9B2768D1-DFDD-45FF-849C-23AD8ECAB483}" dt="2024-05-08T16:26:22.524" v="41920"/>
          <ac:spMkLst>
            <pc:docMk/>
            <pc:sldMk cId="168389892" sldId="281"/>
            <ac:spMk id="41" creationId="{1DFF5D5D-181E-ABF3-623A-26EAF3684297}"/>
          </ac:spMkLst>
        </pc:spChg>
        <pc:spChg chg="mod">
          <ac:chgData name="Joelle Brehm" userId="a518f54c-6985-42c0-8041-2bb16a414839" providerId="ADAL" clId="{9B2768D1-DFDD-45FF-849C-23AD8ECAB483}" dt="2024-05-08T16:26:22.523" v="41916"/>
          <ac:spMkLst>
            <pc:docMk/>
            <pc:sldMk cId="168389892" sldId="281"/>
            <ac:spMk id="42" creationId="{B52EB065-62EB-A990-E2D9-9703B327E3FC}"/>
          </ac:spMkLst>
        </pc:spChg>
        <pc:spChg chg="add del mod modVis">
          <ac:chgData name="Joelle Brehm" userId="a518f54c-6985-42c0-8041-2bb16a414839" providerId="ADAL" clId="{9B2768D1-DFDD-45FF-849C-23AD8ECAB483}" dt="2024-05-08T16:26:04.412" v="40740"/>
          <ac:spMkLst>
            <pc:docMk/>
            <pc:sldMk cId="168389892" sldId="281"/>
            <ac:spMk id="43" creationId="{C4283C78-E84D-AC79-FC51-9C1C2BF3E300}"/>
          </ac:spMkLst>
        </pc:spChg>
        <pc:spChg chg="mod">
          <ac:chgData name="Joelle Brehm" userId="a518f54c-6985-42c0-8041-2bb16a414839" providerId="ADAL" clId="{9B2768D1-DFDD-45FF-849C-23AD8ECAB483}" dt="2024-05-08T16:26:22.517" v="41895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6:22.523" v="41914"/>
          <ac:spMkLst>
            <pc:docMk/>
            <pc:sldMk cId="168389892" sldId="281"/>
            <ac:spMk id="45" creationId="{B489755F-21EB-39D7-16FB-197494E2C1A4}"/>
          </ac:spMkLst>
        </pc:spChg>
        <pc:spChg chg="mod">
          <ac:chgData name="Joelle Brehm" userId="a518f54c-6985-42c0-8041-2bb16a414839" providerId="ADAL" clId="{9B2768D1-DFDD-45FF-849C-23AD8ECAB483}" dt="2024-05-08T16:26:22.522" v="41911"/>
          <ac:spMkLst>
            <pc:docMk/>
            <pc:sldMk cId="168389892" sldId="281"/>
            <ac:spMk id="46" creationId="{D7E2D47E-9249-E731-F2B0-9D4421FC27B7}"/>
          </ac:spMkLst>
        </pc:spChg>
        <pc:spChg chg="mod">
          <ac:chgData name="Joelle Brehm" userId="a518f54c-6985-42c0-8041-2bb16a414839" providerId="ADAL" clId="{9B2768D1-DFDD-45FF-849C-23AD8ECAB483}" dt="2024-05-08T16:26:22.522" v="41913"/>
          <ac:spMkLst>
            <pc:docMk/>
            <pc:sldMk cId="168389892" sldId="281"/>
            <ac:spMk id="47" creationId="{C9F7A368-91BD-AFB9-D004-F672E6C15DDD}"/>
          </ac:spMkLst>
        </pc:spChg>
        <pc:spChg chg="mod">
          <ac:chgData name="Joelle Brehm" userId="a518f54c-6985-42c0-8041-2bb16a414839" providerId="ADAL" clId="{9B2768D1-DFDD-45FF-849C-23AD8ECAB483}" dt="2024-05-08T16:26:22.521" v="41908"/>
          <ac:spMkLst>
            <pc:docMk/>
            <pc:sldMk cId="168389892" sldId="281"/>
            <ac:spMk id="49" creationId="{C06AD811-F54D-296F-21A9-ACC2CBDA832A}"/>
          </ac:spMkLst>
        </pc:spChg>
        <pc:spChg chg="mod">
          <ac:chgData name="Joelle Brehm" userId="a518f54c-6985-42c0-8041-2bb16a414839" providerId="ADAL" clId="{9B2768D1-DFDD-45FF-849C-23AD8ECAB483}" dt="2024-05-08T16:26:22.523" v="41915"/>
          <ac:spMkLst>
            <pc:docMk/>
            <pc:sldMk cId="168389892" sldId="281"/>
            <ac:spMk id="50" creationId="{05A0C844-F372-941D-CC72-DA0AD120D666}"/>
          </ac:spMkLst>
        </pc:spChg>
        <pc:spChg chg="mod">
          <ac:chgData name="Joelle Brehm" userId="a518f54c-6985-42c0-8041-2bb16a414839" providerId="ADAL" clId="{9B2768D1-DFDD-45FF-849C-23AD8ECAB483}" dt="2024-05-08T16:26:22.520" v="41905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9B2768D1-DFDD-45FF-849C-23AD8ECAB483}" dt="2024-05-08T16:26:22.519" v="41903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9B2768D1-DFDD-45FF-849C-23AD8ECAB483}" dt="2024-05-08T16:26:22.519" v="41902"/>
          <ac:spMkLst>
            <pc:docMk/>
            <pc:sldMk cId="168389892" sldId="281"/>
            <ac:spMk id="53" creationId="{DF60D68E-A8E9-4219-0821-2BF8FE4E0626}"/>
          </ac:spMkLst>
        </pc:spChg>
        <pc:spChg chg="add mod replST">
          <ac:chgData name="Joelle Brehm" userId="a518f54c-6985-42c0-8041-2bb16a414839" providerId="ADAL" clId="{9B2768D1-DFDD-45FF-849C-23AD8ECAB483}" dt="2024-05-08T16:26:22.525" v="41923"/>
          <ac:spMkLst>
            <pc:docMk/>
            <pc:sldMk cId="168389892" sldId="281"/>
            <ac:spMk id="54" creationId="{0710932E-747D-6B02-3A15-6173736F1147}"/>
          </ac:spMkLst>
        </pc:spChg>
        <pc:spChg chg="mod">
          <ac:chgData name="Joelle Brehm" userId="a518f54c-6985-42c0-8041-2bb16a414839" providerId="ADAL" clId="{9B2768D1-DFDD-45FF-849C-23AD8ECAB483}" dt="2024-05-08T16:26:22.524" v="41919"/>
          <ac:spMkLst>
            <pc:docMk/>
            <pc:sldMk cId="168389892" sldId="281"/>
            <ac:spMk id="55" creationId="{69B837B8-0C6A-4C0B-DC88-D4DF05732D64}"/>
          </ac:spMkLst>
        </pc:spChg>
        <pc:spChg chg="add del mod modVis">
          <ac:chgData name="Joelle Brehm" userId="a518f54c-6985-42c0-8041-2bb16a414839" providerId="ADAL" clId="{9B2768D1-DFDD-45FF-849C-23AD8ECAB483}" dt="2024-05-08T16:26:11.786" v="41100"/>
          <ac:spMkLst>
            <pc:docMk/>
            <pc:sldMk cId="168389892" sldId="281"/>
            <ac:spMk id="56" creationId="{21C67166-EF1B-E5A0-71FA-136D6FE2AF4A}"/>
          </ac:spMkLst>
        </pc:spChg>
        <pc:spChg chg="del mod">
          <ac:chgData name="Joelle Brehm" userId="a518f54c-6985-42c0-8041-2bb16a414839" providerId="ADAL" clId="{9B2768D1-DFDD-45FF-849C-23AD8ECAB483}" dt="2024-05-08T16:26:18.885" v="41524"/>
          <ac:spMkLst>
            <pc:docMk/>
            <pc:sldMk cId="168389892" sldId="281"/>
            <ac:spMk id="57" creationId="{C5C40907-46F2-01D7-4DFC-21E722FD6F82}"/>
          </ac:spMkLst>
        </pc:spChg>
        <pc:spChg chg="mod">
          <ac:chgData name="Joelle Brehm" userId="a518f54c-6985-42c0-8041-2bb16a414839" providerId="ADAL" clId="{9B2768D1-DFDD-45FF-849C-23AD8ECAB483}" dt="2024-05-08T16:26:22.523" v="41917"/>
          <ac:spMkLst>
            <pc:docMk/>
            <pc:sldMk cId="168389892" sldId="281"/>
            <ac:spMk id="58" creationId="{0FB3C4FB-481D-A94A-711B-D751B148E790}"/>
          </ac:spMkLst>
        </pc:spChg>
        <pc:spChg chg="mod">
          <ac:chgData name="Joelle Brehm" userId="a518f54c-6985-42c0-8041-2bb16a414839" providerId="ADAL" clId="{9B2768D1-DFDD-45FF-849C-23AD8ECAB483}" dt="2024-05-08T16:26:22.520" v="41904"/>
          <ac:spMkLst>
            <pc:docMk/>
            <pc:sldMk cId="168389892" sldId="281"/>
            <ac:spMk id="59" creationId="{BBFA453A-E525-16C3-8EB6-A14471D632A3}"/>
          </ac:spMkLst>
        </pc:spChg>
        <pc:spChg chg="del mod">
          <ac:chgData name="Joelle Brehm" userId="a518f54c-6985-42c0-8041-2bb16a414839" providerId="ADAL" clId="{9B2768D1-DFDD-45FF-849C-23AD8ECAB483}" dt="2024-05-08T16:26:18.883" v="41523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9B2768D1-DFDD-45FF-849C-23AD8ECAB483}" dt="2024-05-08T16:26:22.522" v="41910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9B2768D1-DFDD-45FF-849C-23AD8ECAB483}" dt="2024-05-08T16:26:22.521" v="41907"/>
          <ac:spMkLst>
            <pc:docMk/>
            <pc:sldMk cId="168389892" sldId="281"/>
            <ac:spMk id="62" creationId="{DE7D5BF8-193E-8278-7BAE-2D4FE573EB09}"/>
          </ac:spMkLst>
        </pc:spChg>
        <pc:spChg chg="mod">
          <ac:chgData name="Joelle Brehm" userId="a518f54c-6985-42c0-8041-2bb16a414839" providerId="ADAL" clId="{9B2768D1-DFDD-45FF-849C-23AD8ECAB483}" dt="2024-05-08T16:26:22.526" v="41925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9B2768D1-DFDD-45FF-849C-23AD8ECAB483}" dt="2024-05-08T16:26:13.684" v="41300"/>
          <ac:spMkLst>
            <pc:docMk/>
            <pc:sldMk cId="168389892" sldId="281"/>
            <ac:spMk id="65" creationId="{D31C3575-2FBE-DC48-9A94-699B89FD3CBA}"/>
          </ac:spMkLst>
        </pc:spChg>
        <pc:spChg chg="mod">
          <ac:chgData name="Joelle Brehm" userId="a518f54c-6985-42c0-8041-2bb16a414839" providerId="ADAL" clId="{9B2768D1-DFDD-45FF-849C-23AD8ECAB483}" dt="2024-05-08T16:26:22.520" v="41906"/>
          <ac:spMkLst>
            <pc:docMk/>
            <pc:sldMk cId="168389892" sldId="281"/>
            <ac:spMk id="67" creationId="{7E34EA90-F698-215B-99E3-B598F96FF491}"/>
          </ac:spMkLst>
        </pc:spChg>
        <pc:spChg chg="add mod replST">
          <ac:chgData name="Joelle Brehm" userId="a518f54c-6985-42c0-8041-2bb16a414839" providerId="ADAL" clId="{9B2768D1-DFDD-45FF-849C-23AD8ECAB483}" dt="2024-05-08T16:26:22.526" v="41924"/>
          <ac:spMkLst>
            <pc:docMk/>
            <pc:sldMk cId="168389892" sldId="281"/>
            <ac:spMk id="69" creationId="{1B0C805A-09F2-C817-B940-5590A26E0F87}"/>
          </ac:spMkLst>
        </pc:spChg>
        <pc:spChg chg="add del mod modVis">
          <ac:chgData name="Joelle Brehm" userId="a518f54c-6985-42c0-8041-2bb16a414839" providerId="ADAL" clId="{9B2768D1-DFDD-45FF-849C-23AD8ECAB483}" dt="2024-05-08T16:26:16.162" v="41520"/>
          <ac:spMkLst>
            <pc:docMk/>
            <pc:sldMk cId="168389892" sldId="281"/>
            <ac:spMk id="70" creationId="{6F92CF9F-2E7C-B870-96B3-C67DAED388A1}"/>
          </ac:spMkLst>
        </pc:spChg>
        <pc:spChg chg="add del mod modVis">
          <ac:chgData name="Joelle Brehm" userId="a518f54c-6985-42c0-8041-2bb16a414839" providerId="ADAL" clId="{9B2768D1-DFDD-45FF-849C-23AD8ECAB483}" dt="2024-05-08T16:26:19.214" v="41768"/>
          <ac:spMkLst>
            <pc:docMk/>
            <pc:sldMk cId="168389892" sldId="281"/>
            <ac:spMk id="72" creationId="{A01CC1AE-F72F-4075-B60A-BBF4BBFE38D1}"/>
          </ac:spMkLst>
        </pc:spChg>
        <pc:spChg chg="mod">
          <ac:chgData name="Joelle Brehm" userId="a518f54c-6985-42c0-8041-2bb16a414839" providerId="ADAL" clId="{9B2768D1-DFDD-45FF-849C-23AD8ECAB483}" dt="2024-05-08T16:26:22.517" v="41894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6:22.514" v="41886"/>
          <ac:spMkLst>
            <pc:docMk/>
            <pc:sldMk cId="168389892" sldId="281"/>
            <ac:spMk id="74" creationId="{1E5392BC-349C-45B4-8F81-52F83DA74F43}"/>
          </ac:spMkLst>
        </pc:spChg>
        <pc:spChg chg="mod">
          <ac:chgData name="Joelle Brehm" userId="a518f54c-6985-42c0-8041-2bb16a414839" providerId="ADAL" clId="{9B2768D1-DFDD-45FF-849C-23AD8ECAB483}" dt="2024-05-08T16:26:22.517" v="41896"/>
          <ac:spMkLst>
            <pc:docMk/>
            <pc:sldMk cId="168389892" sldId="281"/>
            <ac:spMk id="7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6:22.518" v="41897"/>
          <ac:spMkLst>
            <pc:docMk/>
            <pc:sldMk cId="168389892" sldId="281"/>
            <ac:spMk id="7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6:22.518" v="41898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6:22.526" v="41927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26:22.527" v="41929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26:22.518" v="41899"/>
          <ac:spMkLst>
            <pc:docMk/>
            <pc:sldMk cId="168389892" sldId="281"/>
            <ac:spMk id="8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6:22.519" v="41901"/>
          <ac:spMkLst>
            <pc:docMk/>
            <pc:sldMk cId="168389892" sldId="281"/>
            <ac:spMk id="82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26:22.533" v="41954"/>
          <ac:spMkLst>
            <pc:docMk/>
            <pc:sldMk cId="168389892" sldId="281"/>
            <ac:spMk id="83" creationId="{D5D18790-F5D4-E42B-30EE-B594DAA90919}"/>
          </ac:spMkLst>
        </pc:spChg>
        <pc:spChg chg="mod">
          <ac:chgData name="Joelle Brehm" userId="a518f54c-6985-42c0-8041-2bb16a414839" providerId="ADAL" clId="{9B2768D1-DFDD-45FF-849C-23AD8ECAB483}" dt="2024-05-08T16:26:22.518" v="41900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6:22.527" v="41931"/>
          <ac:spMkLst>
            <pc:docMk/>
            <pc:sldMk cId="168389892" sldId="281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26:22.528" v="41933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26:22.528" v="41935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26:22.529" v="41937"/>
          <ac:spMkLst>
            <pc:docMk/>
            <pc:sldMk cId="168389892" sldId="281"/>
            <ac:spMk id="110" creationId="{76D5A471-E342-4112-9B61-678EA0C3F282}"/>
          </ac:spMkLst>
        </pc:spChg>
        <pc:spChg chg="add del mod">
          <ac:chgData name="Joelle Brehm" userId="a518f54c-6985-42c0-8041-2bb16a414839" providerId="ADAL" clId="{9B2768D1-DFDD-45FF-849C-23AD8ECAB483}" dt="2024-05-08T16:26:22.530" v="41940"/>
          <ac:spMkLst>
            <pc:docMk/>
            <pc:sldMk cId="168389892" sldId="281"/>
            <ac:spMk id="133" creationId="{7CAA3B95-4C78-4122-BECA-B5FB0F3F3764}"/>
          </ac:spMkLst>
        </pc:spChg>
        <pc:spChg chg="add del mod">
          <ac:chgData name="Joelle Brehm" userId="a518f54c-6985-42c0-8041-2bb16a414839" providerId="ADAL" clId="{9B2768D1-DFDD-45FF-849C-23AD8ECAB483}" dt="2024-05-08T16:26:22.530" v="41941"/>
          <ac:spMkLst>
            <pc:docMk/>
            <pc:sldMk cId="168389892" sldId="281"/>
            <ac:spMk id="135" creationId="{7CAA3B95-4C78-4122-BECA-B5FB0F3F3764}"/>
          </ac:spMkLst>
        </pc:spChg>
        <pc:spChg chg="add del mod">
          <ac:chgData name="Joelle Brehm" userId="a518f54c-6985-42c0-8041-2bb16a414839" providerId="ADAL" clId="{9B2768D1-DFDD-45FF-849C-23AD8ECAB483}" dt="2024-05-08T16:26:22.530" v="41942"/>
          <ac:spMkLst>
            <pc:docMk/>
            <pc:sldMk cId="168389892" sldId="281"/>
            <ac:spMk id="136" creationId="{7CAA3B95-4C78-4122-BECA-B5FB0F3F3764}"/>
          </ac:spMkLst>
        </pc:spChg>
        <pc:spChg chg="add del mod">
          <ac:chgData name="Joelle Brehm" userId="a518f54c-6985-42c0-8041-2bb16a414839" providerId="ADAL" clId="{9B2768D1-DFDD-45FF-849C-23AD8ECAB483}" dt="2024-05-08T16:26:22.530" v="41943"/>
          <ac:spMkLst>
            <pc:docMk/>
            <pc:sldMk cId="168389892" sldId="281"/>
            <ac:spMk id="157" creationId="{04F9902D-9DA4-4582-A398-B08CDE8E08EE}"/>
          </ac:spMkLst>
        </pc:spChg>
        <pc:spChg chg="add del mod">
          <ac:chgData name="Joelle Brehm" userId="a518f54c-6985-42c0-8041-2bb16a414839" providerId="ADAL" clId="{9B2768D1-DFDD-45FF-849C-23AD8ECAB483}" dt="2024-05-08T16:26:22.531" v="41944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26:22.548" v="41956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6:22.508" v="41866"/>
          <ac:graphicFrameMkLst>
            <pc:docMk/>
            <pc:sldMk cId="168389892" sldId="281"/>
            <ac:graphicFrameMk id="8" creationId="{A6D1A043-3D78-90FA-6742-A8596199C25C}"/>
          </ac:graphicFrameMkLst>
        </pc:graphicFrameChg>
        <pc:graphicFrameChg chg="del">
          <ac:chgData name="Joelle Brehm" userId="a518f54c-6985-42c0-8041-2bb16a414839" providerId="ADAL" clId="{9B2768D1-DFDD-45FF-849C-23AD8ECAB483}" dt="2024-05-08T16:25:15.675" v="40015"/>
          <ac:graphicFrameMkLst>
            <pc:docMk/>
            <pc:sldMk cId="168389892" sldId="281"/>
            <ac:graphicFrameMk id="10" creationId="{0A7708BD-07F1-70B5-12D6-57E02135486C}"/>
          </ac:graphicFrameMkLst>
        </pc:graphicFrameChg>
        <pc:graphicFrameChg chg="add del mod ord">
          <ac:chgData name="Joelle Brehm" userId="a518f54c-6985-42c0-8041-2bb16a414839" providerId="ADAL" clId="{9B2768D1-DFDD-45FF-849C-23AD8ECAB483}" dt="2024-05-08T16:26:04.320" v="40638"/>
          <ac:graphicFrameMkLst>
            <pc:docMk/>
            <pc:sldMk cId="168389892" sldId="281"/>
            <ac:graphicFrameMk id="35" creationId="{A360550F-A3AD-7635-5AE5-4EA3E262B55C}"/>
          </ac:graphicFrameMkLst>
        </pc:graphicFrameChg>
        <pc:graphicFrameChg chg="add del mod ord replST delST">
          <ac:chgData name="Joelle Brehm" userId="a518f54c-6985-42c0-8041-2bb16a414839" providerId="ADAL" clId="{9B2768D1-DFDD-45FF-849C-23AD8ECAB483}" dt="2024-05-08T16:25:53.139" v="40518"/>
          <ac:graphicFrameMkLst>
            <pc:docMk/>
            <pc:sldMk cId="168389892" sldId="281"/>
            <ac:graphicFrameMk id="36" creationId="{089FD626-427D-325A-167A-47A3E3637E0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6:22.529" v="41939"/>
          <ac:graphicFrameMkLst>
            <pc:docMk/>
            <pc:sldMk cId="168389892" sldId="281"/>
            <ac:graphicFrameMk id="48" creationId="{35C362D6-B5A4-BB05-A18E-DA6F08CD471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6:13.585" v="41197"/>
          <ac:graphicFrameMkLst>
            <pc:docMk/>
            <pc:sldMk cId="168389892" sldId="281"/>
            <ac:graphicFrameMk id="64" creationId="{D3C9162B-2821-81CE-6E0C-36247D05D92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6:16.065" v="41415"/>
          <ac:graphicFrameMkLst>
            <pc:docMk/>
            <pc:sldMk cId="168389892" sldId="281"/>
            <ac:graphicFrameMk id="66" creationId="{3DAEDF49-4FD3-4585-C6EA-2C9B4B0A1F3D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6:11.656" v="40997"/>
          <ac:graphicFrameMkLst>
            <pc:docMk/>
            <pc:sldMk cId="168389892" sldId="281"/>
            <ac:graphicFrameMk id="68" creationId="{5BA08DF5-C5BD-0221-5121-9DA4606D0F1D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6:19.084" v="41665"/>
          <ac:graphicFrameMkLst>
            <pc:docMk/>
            <pc:sldMk cId="168389892" sldId="281"/>
            <ac:graphicFrameMk id="71" creationId="{A0C680D1-D53D-8FBF-9A44-B7F811B7C9C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6:22.482" v="41852"/>
          <ac:graphicFrameMkLst>
            <pc:docMk/>
            <pc:sldMk cId="168389892" sldId="281"/>
            <ac:graphicFrameMk id="81" creationId="{9415874D-75D6-ABC7-CEA3-BBAC7B348BAA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6:22.516" v="41893"/>
          <ac:graphicFrameMkLst>
            <pc:docMk/>
            <pc:sldMk cId="168389892" sldId="281"/>
            <ac:graphicFrameMk id="84" creationId="{9D5B77CC-2FC8-47F7-1D1B-48B2C69A6DBB}"/>
          </ac:graphicFrameMkLst>
        </pc:graphicFrameChg>
        <pc:picChg chg="add mod ord">
          <ac:chgData name="Joelle Brehm" userId="a518f54c-6985-42c0-8041-2bb16a414839" providerId="ADAL" clId="{9B2768D1-DFDD-45FF-849C-23AD8ECAB483}" dt="2024-05-08T16:26:22.506" v="41860"/>
          <ac:picMkLst>
            <pc:docMk/>
            <pc:sldMk cId="168389892" sldId="281"/>
            <ac:picMk id="31" creationId="{ACDFE4F4-1C46-31FA-E515-C09AD30F4A66}"/>
          </ac:picMkLst>
        </pc:picChg>
        <pc:picChg chg="del mod ord">
          <ac:chgData name="Joelle Brehm" userId="a518f54c-6985-42c0-8041-2bb16a414839" providerId="ADAL" clId="{9B2768D1-DFDD-45FF-849C-23AD8ECAB483}" dt="2024-05-08T16:25:40.672" v="40233" actId="478"/>
          <ac:picMkLst>
            <pc:docMk/>
            <pc:sldMk cId="168389892" sldId="281"/>
            <ac:picMk id="32" creationId="{B396E783-B5B7-7A61-FA59-FD3D61CE0317}"/>
          </ac:picMkLst>
        </pc:picChg>
        <pc:picChg chg="mod ord">
          <ac:chgData name="Joelle Brehm" userId="a518f54c-6985-42c0-8041-2bb16a414839" providerId="ADAL" clId="{9B2768D1-DFDD-45FF-849C-23AD8ECAB483}" dt="2024-05-08T16:26:22.531" v="41948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9B2768D1-DFDD-45FF-849C-23AD8ECAB483}" dt="2024-05-08T16:26:22.531" v="41946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26:22.508" v="41864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27:18.136" v="43584"/>
        <pc:sldMkLst>
          <pc:docMk/>
          <pc:sldMk cId="3564961532" sldId="282"/>
        </pc:sldMkLst>
        <pc:spChg chg="mod ord">
          <ac:chgData name="Joelle Brehm" userId="a518f54c-6985-42c0-8041-2bb16a414839" providerId="ADAL" clId="{9B2768D1-DFDD-45FF-849C-23AD8ECAB483}" dt="2024-05-08T16:27:18.116" v="43578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9B2768D1-DFDD-45FF-849C-23AD8ECAB483}" dt="2024-05-08T16:26:37.429" v="41957" actId="478"/>
          <ac:spMkLst>
            <pc:docMk/>
            <pc:sldMk cId="3564961532" sldId="282"/>
            <ac:spMk id="3" creationId="{A761BD2B-5C22-C76E-78C5-DB64D38D2739}"/>
          </ac:spMkLst>
        </pc:spChg>
        <pc:spChg chg="add del mod modVis">
          <ac:chgData name="Joelle Brehm" userId="a518f54c-6985-42c0-8041-2bb16a414839" providerId="ADAL" clId="{9B2768D1-DFDD-45FF-849C-23AD8ECAB483}" dt="2024-05-08T16:26:41.615" v="42201"/>
          <ac:spMkLst>
            <pc:docMk/>
            <pc:sldMk cId="3564961532" sldId="282"/>
            <ac:spMk id="5" creationId="{D38AF929-5215-ABC3-58E2-C13B3208C296}"/>
          </ac:spMkLst>
        </pc:spChg>
        <pc:spChg chg="mod ord">
          <ac:chgData name="Joelle Brehm" userId="a518f54c-6985-42c0-8041-2bb16a414839" providerId="ADAL" clId="{9B2768D1-DFDD-45FF-849C-23AD8ECAB483}" dt="2024-05-08T16:27:18.092" v="43491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27:18.095" v="43502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27:18.094" v="43498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27:18.094" v="43499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27:18.093" v="43496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27:18.093" v="43497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27:18.094" v="43500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27:18.094" v="43501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27:18.096" v="43503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27:18.096" v="43504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27:18.096" v="43505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27:18.096" v="43506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27:18.097" v="43507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27:18.097" v="43509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27:18.097" v="43512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27:18.099" v="43514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27:18.097" v="43513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27:18.100" v="43517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27:18.100" v="43518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27:18.099" v="43516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27:18.100" v="43520"/>
          <ac:spMkLst>
            <pc:docMk/>
            <pc:sldMk cId="3564961532" sldId="282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27:05.917" v="42546"/>
          <ac:spMkLst>
            <pc:docMk/>
            <pc:sldMk cId="3564961532" sldId="282"/>
            <ac:spMk id="32" creationId="{EC5E85F2-0BCF-ECCF-C3E6-3144E782CDD7}"/>
          </ac:spMkLst>
        </pc:spChg>
        <pc:spChg chg="mod">
          <ac:chgData name="Joelle Brehm" userId="a518f54c-6985-42c0-8041-2bb16a414839" providerId="ADAL" clId="{9B2768D1-DFDD-45FF-849C-23AD8ECAB483}" dt="2024-05-08T16:27:18.106" v="43541"/>
          <ac:spMkLst>
            <pc:docMk/>
            <pc:sldMk cId="3564961532" sldId="282"/>
            <ac:spMk id="34" creationId="{5449B49A-6F6A-898A-2D6E-3B98A8E86022}"/>
          </ac:spMkLst>
        </pc:spChg>
        <pc:spChg chg="mod">
          <ac:chgData name="Joelle Brehm" userId="a518f54c-6985-42c0-8041-2bb16a414839" providerId="ADAL" clId="{9B2768D1-DFDD-45FF-849C-23AD8ECAB483}" dt="2024-05-08T16:27:18.108" v="43545"/>
          <ac:spMkLst>
            <pc:docMk/>
            <pc:sldMk cId="3564961532" sldId="282"/>
            <ac:spMk id="35" creationId="{1817EC5B-9379-1D20-DF3E-54BFCC2A61DC}"/>
          </ac:spMkLst>
        </pc:spChg>
        <pc:spChg chg="mod">
          <ac:chgData name="Joelle Brehm" userId="a518f54c-6985-42c0-8041-2bb16a414839" providerId="ADAL" clId="{9B2768D1-DFDD-45FF-849C-23AD8ECAB483}" dt="2024-05-08T16:27:18.110" v="43551"/>
          <ac:spMkLst>
            <pc:docMk/>
            <pc:sldMk cId="3564961532" sldId="282"/>
            <ac:spMk id="36" creationId="{A6EE1690-E3E9-6350-2322-BDA0204B8882}"/>
          </ac:spMkLst>
        </pc:spChg>
        <pc:spChg chg="mod ord">
          <ac:chgData name="Joelle Brehm" userId="a518f54c-6985-42c0-8041-2bb16a414839" providerId="ADAL" clId="{9B2768D1-DFDD-45FF-849C-23AD8ECAB483}" dt="2024-05-08T16:27:18.097" v="43511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9B2768D1-DFDD-45FF-849C-23AD8ECAB483}" dt="2024-05-08T16:27:18.107" v="43543"/>
          <ac:spMkLst>
            <pc:docMk/>
            <pc:sldMk cId="3564961532" sldId="282"/>
            <ac:spMk id="38" creationId="{CC249A73-3953-259C-3458-D4FAFD8A9D0B}"/>
          </ac:spMkLst>
        </pc:spChg>
        <pc:spChg chg="mod">
          <ac:chgData name="Joelle Brehm" userId="a518f54c-6985-42c0-8041-2bb16a414839" providerId="ADAL" clId="{9B2768D1-DFDD-45FF-849C-23AD8ECAB483}" dt="2024-05-08T16:27:18.107" v="43542"/>
          <ac:spMkLst>
            <pc:docMk/>
            <pc:sldMk cId="3564961532" sldId="282"/>
            <ac:spMk id="39" creationId="{CEC7EE6E-A856-A6AD-4F8A-2BEBB154E0B8}"/>
          </ac:spMkLst>
        </pc:spChg>
        <pc:spChg chg="mod">
          <ac:chgData name="Joelle Brehm" userId="a518f54c-6985-42c0-8041-2bb16a414839" providerId="ADAL" clId="{9B2768D1-DFDD-45FF-849C-23AD8ECAB483}" dt="2024-05-08T16:27:18.107" v="43544"/>
          <ac:spMkLst>
            <pc:docMk/>
            <pc:sldMk cId="3564961532" sldId="282"/>
            <ac:spMk id="40" creationId="{8BE1E6AE-AB78-C64F-A6DE-9570C6DA172C}"/>
          </ac:spMkLst>
        </pc:spChg>
        <pc:spChg chg="mod">
          <ac:chgData name="Joelle Brehm" userId="a518f54c-6985-42c0-8041-2bb16a414839" providerId="ADAL" clId="{9B2768D1-DFDD-45FF-849C-23AD8ECAB483}" dt="2024-05-08T16:27:18.109" v="43550"/>
          <ac:spMkLst>
            <pc:docMk/>
            <pc:sldMk cId="3564961532" sldId="282"/>
            <ac:spMk id="41" creationId="{F525DBE4-0057-174B-F5BC-F712011610C5}"/>
          </ac:spMkLst>
        </pc:spChg>
        <pc:spChg chg="mod">
          <ac:chgData name="Joelle Brehm" userId="a518f54c-6985-42c0-8041-2bb16a414839" providerId="ADAL" clId="{9B2768D1-DFDD-45FF-849C-23AD8ECAB483}" dt="2024-05-08T16:27:18.108" v="43547"/>
          <ac:spMkLst>
            <pc:docMk/>
            <pc:sldMk cId="3564961532" sldId="282"/>
            <ac:spMk id="42" creationId="{2E0459C3-4123-A318-EFC4-EB93D8840E71}"/>
          </ac:spMkLst>
        </pc:spChg>
        <pc:spChg chg="mod">
          <ac:chgData name="Joelle Brehm" userId="a518f54c-6985-42c0-8041-2bb16a414839" providerId="ADAL" clId="{9B2768D1-DFDD-45FF-849C-23AD8ECAB483}" dt="2024-05-08T16:27:18.108" v="43546"/>
          <ac:spMkLst>
            <pc:docMk/>
            <pc:sldMk cId="3564961532" sldId="282"/>
            <ac:spMk id="43" creationId="{56265422-1A09-1EDC-EA11-A10E73964C50}"/>
          </ac:spMkLst>
        </pc:spChg>
        <pc:spChg chg="mod">
          <ac:chgData name="Joelle Brehm" userId="a518f54c-6985-42c0-8041-2bb16a414839" providerId="ADAL" clId="{9B2768D1-DFDD-45FF-849C-23AD8ECAB483}" dt="2024-05-08T16:27:18.109" v="43549"/>
          <ac:spMkLst>
            <pc:docMk/>
            <pc:sldMk cId="3564961532" sldId="282"/>
            <ac:spMk id="45" creationId="{07309B7F-9064-1EE3-BDEE-E8D418366AAA}"/>
          </ac:spMkLst>
        </pc:spChg>
        <pc:spChg chg="add mod replST">
          <ac:chgData name="Joelle Brehm" userId="a518f54c-6985-42c0-8041-2bb16a414839" providerId="ADAL" clId="{9B2768D1-DFDD-45FF-849C-23AD8ECAB483}" dt="2024-05-08T16:27:18.110" v="43552"/>
          <ac:spMkLst>
            <pc:docMk/>
            <pc:sldMk cId="3564961532" sldId="282"/>
            <ac:spMk id="46" creationId="{5E67ED42-3F24-FB65-0DD8-77CFAD62BFAA}"/>
          </ac:spMkLst>
        </pc:spChg>
        <pc:spChg chg="mod">
          <ac:chgData name="Joelle Brehm" userId="a518f54c-6985-42c0-8041-2bb16a414839" providerId="ADAL" clId="{9B2768D1-DFDD-45FF-849C-23AD8ECAB483}" dt="2024-05-08T16:27:18.106" v="43540"/>
          <ac:spMkLst>
            <pc:docMk/>
            <pc:sldMk cId="3564961532" sldId="282"/>
            <ac:spMk id="47" creationId="{38F805B2-3D74-F0ED-4C65-55D891954B72}"/>
          </ac:spMkLst>
        </pc:spChg>
        <pc:spChg chg="mod">
          <ac:chgData name="Joelle Brehm" userId="a518f54c-6985-42c0-8041-2bb16a414839" providerId="ADAL" clId="{9B2768D1-DFDD-45FF-849C-23AD8ECAB483}" dt="2024-05-08T16:27:18.104" v="43533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9B2768D1-DFDD-45FF-849C-23AD8ECAB483}" dt="2024-05-08T16:27:18.104" v="43532"/>
          <ac:spMkLst>
            <pc:docMk/>
            <pc:sldMk cId="3564961532" sldId="282"/>
            <ac:spMk id="49" creationId="{3033D612-1447-43C8-A9AD-7D6333587F77}"/>
          </ac:spMkLst>
        </pc:spChg>
        <pc:spChg chg="add del mod modVis">
          <ac:chgData name="Joelle Brehm" userId="a518f54c-6985-42c0-8041-2bb16a414839" providerId="ADAL" clId="{9B2768D1-DFDD-45FF-849C-23AD8ECAB483}" dt="2024-05-08T16:27:12.738" v="42908"/>
          <ac:spMkLst>
            <pc:docMk/>
            <pc:sldMk cId="3564961532" sldId="282"/>
            <ac:spMk id="50" creationId="{2CA6F9BF-B6AF-3871-E84F-113CA3BB382E}"/>
          </ac:spMkLst>
        </pc:spChg>
        <pc:spChg chg="mod">
          <ac:chgData name="Joelle Brehm" userId="a518f54c-6985-42c0-8041-2bb16a414839" providerId="ADAL" clId="{9B2768D1-DFDD-45FF-849C-23AD8ECAB483}" dt="2024-05-08T16:27:18.105" v="43537"/>
          <ac:spMkLst>
            <pc:docMk/>
            <pc:sldMk cId="3564961532" sldId="282"/>
            <ac:spMk id="51" creationId="{7D7C884D-D57C-725C-5AC2-3935B0668B1E}"/>
          </ac:spMkLst>
        </pc:spChg>
        <pc:spChg chg="del mod">
          <ac:chgData name="Joelle Brehm" userId="a518f54c-6985-42c0-8041-2bb16a414839" providerId="ADAL" clId="{9B2768D1-DFDD-45FF-849C-23AD8ECAB483}" dt="2024-05-08T16:27:17.953" v="43337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9B2768D1-DFDD-45FF-849C-23AD8ECAB483}" dt="2024-05-08T16:27:18.106" v="43539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9B2768D1-DFDD-45FF-849C-23AD8ECAB483}" dt="2024-05-08T16:27:18.105" v="43535"/>
          <ac:spMkLst>
            <pc:docMk/>
            <pc:sldMk cId="3564961532" sldId="282"/>
            <ac:spMk id="55" creationId="{63EF832D-C460-84B8-6136-051E0B959067}"/>
          </ac:spMkLst>
        </pc:spChg>
        <pc:spChg chg="del mod">
          <ac:chgData name="Joelle Brehm" userId="a518f54c-6985-42c0-8041-2bb16a414839" providerId="ADAL" clId="{9B2768D1-DFDD-45FF-849C-23AD8ECAB483}" dt="2024-05-08T16:27:17.952" v="43336"/>
          <ac:spMkLst>
            <pc:docMk/>
            <pc:sldMk cId="3564961532" sldId="282"/>
            <ac:spMk id="56" creationId="{524D0E2B-EC88-5451-10B4-9BAED81D2D7E}"/>
          </ac:spMkLst>
        </pc:spChg>
        <pc:spChg chg="mod">
          <ac:chgData name="Joelle Brehm" userId="a518f54c-6985-42c0-8041-2bb16a414839" providerId="ADAL" clId="{9B2768D1-DFDD-45FF-849C-23AD8ECAB483}" dt="2024-05-08T16:27:18.105" v="43536"/>
          <ac:spMkLst>
            <pc:docMk/>
            <pc:sldMk cId="3564961532" sldId="282"/>
            <ac:spMk id="57" creationId="{6C3836C5-4B8F-D1FF-D868-DEBFC10CBCF3}"/>
          </ac:spMkLst>
        </pc:spChg>
        <pc:spChg chg="mod">
          <ac:chgData name="Joelle Brehm" userId="a518f54c-6985-42c0-8041-2bb16a414839" providerId="ADAL" clId="{9B2768D1-DFDD-45FF-849C-23AD8ECAB483}" dt="2024-05-08T16:27:18.105" v="43538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9B2768D1-DFDD-45FF-849C-23AD8ECAB483}" dt="2024-05-08T16:27:18.104" v="43534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9B2768D1-DFDD-45FF-849C-23AD8ECAB483}" dt="2024-05-08T16:27:14.430" v="43112"/>
          <ac:spMkLst>
            <pc:docMk/>
            <pc:sldMk cId="3564961532" sldId="282"/>
            <ac:spMk id="60" creationId="{5A6D98FA-74CE-FA50-1085-25EDE89C6679}"/>
          </ac:spMkLst>
        </pc:spChg>
        <pc:spChg chg="mod">
          <ac:chgData name="Joelle Brehm" userId="a518f54c-6985-42c0-8041-2bb16a414839" providerId="ADAL" clId="{9B2768D1-DFDD-45FF-849C-23AD8ECAB483}" dt="2024-05-08T16:27:18.109" v="43548"/>
          <ac:spMkLst>
            <pc:docMk/>
            <pc:sldMk cId="3564961532" sldId="282"/>
            <ac:spMk id="61" creationId="{60D0F41E-5C01-F137-E99D-B9D246AC5A92}"/>
          </ac:spMkLst>
        </pc:spChg>
        <pc:spChg chg="mod">
          <ac:chgData name="Joelle Brehm" userId="a518f54c-6985-42c0-8041-2bb16a414839" providerId="ADAL" clId="{9B2768D1-DFDD-45FF-849C-23AD8ECAB483}" dt="2024-05-08T16:27:18.104" v="43531"/>
          <ac:spMkLst>
            <pc:docMk/>
            <pc:sldMk cId="3564961532" sldId="282"/>
            <ac:spMk id="62" creationId="{8250AA4C-09BD-619E-B000-EF59FF9E8355}"/>
          </ac:spMkLst>
        </pc:spChg>
        <pc:spChg chg="add mod replST">
          <ac:chgData name="Joelle Brehm" userId="a518f54c-6985-42c0-8041-2bb16a414839" providerId="ADAL" clId="{9B2768D1-DFDD-45FF-849C-23AD8ECAB483}" dt="2024-05-08T16:27:18.110" v="43553"/>
          <ac:spMkLst>
            <pc:docMk/>
            <pc:sldMk cId="3564961532" sldId="282"/>
            <ac:spMk id="64" creationId="{0E2ADC2C-1A47-DD38-BCE2-EAFED4B98CDA}"/>
          </ac:spMkLst>
        </pc:spChg>
        <pc:spChg chg="add del mod modVis">
          <ac:chgData name="Joelle Brehm" userId="a518f54c-6985-42c0-8041-2bb16a414839" providerId="ADAL" clId="{9B2768D1-DFDD-45FF-849C-23AD8ECAB483}" dt="2024-05-08T16:27:15.559" v="43333"/>
          <ac:spMkLst>
            <pc:docMk/>
            <pc:sldMk cId="3564961532" sldId="282"/>
            <ac:spMk id="65" creationId="{45D6594B-C01A-A93C-9E44-BBA9AA7F95BA}"/>
          </ac:spMkLst>
        </pc:spChg>
        <pc:spChg chg="mod">
          <ac:chgData name="Joelle Brehm" userId="a518f54c-6985-42c0-8041-2bb16a414839" providerId="ADAL" clId="{9B2768D1-DFDD-45FF-849C-23AD8ECAB483}" dt="2024-05-08T16:27:18.104" v="43530"/>
          <ac:spMkLst>
            <pc:docMk/>
            <pc:sldMk cId="3564961532" sldId="282"/>
            <ac:spMk id="66" creationId="{C4A33F4F-7FD9-EA78-EDDC-D0E322FB3032}"/>
          </ac:spMkLst>
        </pc:spChg>
        <pc:spChg chg="add del mod modVis">
          <ac:chgData name="Joelle Brehm" userId="a518f54c-6985-42c0-8041-2bb16a414839" providerId="ADAL" clId="{9B2768D1-DFDD-45FF-849C-23AD8ECAB483}" dt="2024-05-08T16:27:18.116" v="43582"/>
          <ac:spMkLst>
            <pc:docMk/>
            <pc:sldMk cId="3564961532" sldId="282"/>
            <ac:spMk id="68" creationId="{A7D8282C-E94F-BAE1-2EDA-9CDC6EC58215}"/>
          </ac:spMkLst>
        </pc:spChg>
        <pc:spChg chg="mod">
          <ac:chgData name="Joelle Brehm" userId="a518f54c-6985-42c0-8041-2bb16a414839" providerId="ADAL" clId="{9B2768D1-DFDD-45FF-849C-23AD8ECAB483}" dt="2024-05-08T16:27:18.099" v="43515"/>
          <ac:spMkLst>
            <pc:docMk/>
            <pc:sldMk cId="3564961532" sldId="282"/>
            <ac:spMk id="74" creationId="{1E5392BC-349C-45B4-8F81-52F83DA74F43}"/>
          </ac:spMkLst>
        </pc:spChg>
        <pc:spChg chg="mod">
          <ac:chgData name="Joelle Brehm" userId="a518f54c-6985-42c0-8041-2bb16a414839" providerId="ADAL" clId="{9B2768D1-DFDD-45FF-849C-23AD8ECAB483}" dt="2024-05-08T16:27:18.100" v="43523"/>
          <ac:spMkLst>
            <pc:docMk/>
            <pc:sldMk cId="3564961532" sldId="282"/>
            <ac:spMk id="7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7:18.100" v="43524"/>
          <ac:spMkLst>
            <pc:docMk/>
            <pc:sldMk cId="3564961532" sldId="282"/>
            <ac:spMk id="7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7:18.111" v="43555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27:18.111" v="43557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27:18.116" v="43576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9B2768D1-DFDD-45FF-849C-23AD8ECAB483}" dt="2024-05-08T16:27:18.103" v="43528"/>
          <ac:spMkLst>
            <pc:docMk/>
            <pc:sldMk cId="3564961532" sldId="282"/>
            <ac:spMk id="9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7:18.112" v="43559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9B2768D1-DFDD-45FF-849C-23AD8ECAB483}" dt="2024-05-08T16:27:18.102" v="43526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7:18.112" v="43561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27:18.112" v="43563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27:18.114" v="43565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27:18.102" v="43525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7:18.103" v="43527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7:18.103" v="43529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7:18.115" v="43568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7:18.115" v="43569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7:18.116" v="43570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7:18.116" v="43571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27:18.116" v="43572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27:18.136" v="43584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B2768D1-DFDD-45FF-849C-23AD8ECAB483}" dt="2024-05-08T16:26:41.506" v="42094"/>
          <ac:graphicFrameMkLst>
            <pc:docMk/>
            <pc:sldMk cId="3564961532" sldId="282"/>
            <ac:graphicFrameMk id="8" creationId="{19923580-FADA-1350-FC6A-F73158282D9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7:18.093" v="43495"/>
          <ac:graphicFrameMkLst>
            <pc:docMk/>
            <pc:sldMk cId="3564961532" sldId="282"/>
            <ac:graphicFrameMk id="9" creationId="{B4E6CCD8-B9CC-A814-0985-4E2E7016CECD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7:05.832" v="42445"/>
          <ac:graphicFrameMkLst>
            <pc:docMk/>
            <pc:sldMk cId="3564961532" sldId="282"/>
            <ac:graphicFrameMk id="33" creationId="{5EBE850B-9B78-ABC4-D1C7-35ED8187680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7:18.115" v="43567"/>
          <ac:graphicFrameMkLst>
            <pc:docMk/>
            <pc:sldMk cId="3564961532" sldId="282"/>
            <ac:graphicFrameMk id="44" creationId="{38A43239-2006-3255-CB1E-BD349287961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7:14.297" v="43010"/>
          <ac:graphicFrameMkLst>
            <pc:docMk/>
            <pc:sldMk cId="3564961532" sldId="282"/>
            <ac:graphicFrameMk id="52" creationId="{822A47E0-9239-9C36-BE91-1E135E7082B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7:15.475" v="43230"/>
          <ac:graphicFrameMkLst>
            <pc:docMk/>
            <pc:sldMk cId="3564961532" sldId="282"/>
            <ac:graphicFrameMk id="63" creationId="{6E49373A-9236-A830-1AEE-06FFE1A9E7F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7:18.066" v="43481"/>
          <ac:graphicFrameMkLst>
            <pc:docMk/>
            <pc:sldMk cId="3564961532" sldId="282"/>
            <ac:graphicFrameMk id="67" creationId="{237ACB5E-199D-4EFA-E50A-387EF2F6C36B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7:18.100" v="43522"/>
          <ac:graphicFrameMkLst>
            <pc:docMk/>
            <pc:sldMk cId="3564961532" sldId="282"/>
            <ac:graphicFrameMk id="69" creationId="{846ACD07-1B0C-6015-D29E-E441737C6CE3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7:12.631" v="42806"/>
          <ac:graphicFrameMkLst>
            <pc:docMk/>
            <pc:sldMk cId="3564961532" sldId="282"/>
            <ac:graphicFrameMk id="70" creationId="{65294D68-EEE5-18E3-C02D-3EE821ABC992}"/>
          </ac:graphicFrameMkLst>
        </pc:graphicFrameChg>
        <pc:picChg chg="del mod ord">
          <ac:chgData name="Joelle Brehm" userId="a518f54c-6985-42c0-8041-2bb16a414839" providerId="ADAL" clId="{9B2768D1-DFDD-45FF-849C-23AD8ECAB483}" dt="2024-05-08T16:26:57.286" v="42314" actId="478"/>
          <ac:picMkLst>
            <pc:docMk/>
            <pc:sldMk cId="3564961532" sldId="282"/>
            <ac:picMk id="10" creationId="{F919F1D0-50E2-9D2E-19FD-A00B71B6AA68}"/>
          </ac:picMkLst>
        </pc:picChg>
        <pc:picChg chg="add mod ord">
          <ac:chgData name="Joelle Brehm" userId="a518f54c-6985-42c0-8041-2bb16a414839" providerId="ADAL" clId="{9B2768D1-DFDD-45FF-849C-23AD8ECAB483}" dt="2024-05-08T16:27:18.091" v="43489"/>
          <ac:picMkLst>
            <pc:docMk/>
            <pc:sldMk cId="3564961532" sldId="282"/>
            <ac:picMk id="31" creationId="{8B525A2A-34EF-3F82-098D-350CFDBF8528}"/>
          </ac:picMkLst>
        </pc:picChg>
        <pc:picChg chg="mod ord">
          <ac:chgData name="Joelle Brehm" userId="a518f54c-6985-42c0-8041-2bb16a414839" providerId="ADAL" clId="{9B2768D1-DFDD-45FF-849C-23AD8ECAB483}" dt="2024-05-08T16:27:18.116" v="43574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27:18.092" v="43493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28:31.868" v="45169"/>
        <pc:sldMkLst>
          <pc:docMk/>
          <pc:sldMk cId="2958919186" sldId="284"/>
        </pc:sldMkLst>
        <pc:spChg chg="mod ord">
          <ac:chgData name="Joelle Brehm" userId="a518f54c-6985-42c0-8041-2bb16a414839" providerId="ADAL" clId="{9B2768D1-DFDD-45FF-849C-23AD8ECAB483}" dt="2024-05-08T16:28:31.847" v="45163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9B2768D1-DFDD-45FF-849C-23AD8ECAB483}" dt="2024-05-08T16:27:34.201" v="43585" actId="478"/>
          <ac:spMkLst>
            <pc:docMk/>
            <pc:sldMk cId="2958919186" sldId="284"/>
            <ac:spMk id="3" creationId="{831CAB64-D140-2FE8-2CF2-9639296ED861}"/>
          </ac:spMkLst>
        </pc:spChg>
        <pc:spChg chg="add del mod modVis">
          <ac:chgData name="Joelle Brehm" userId="a518f54c-6985-42c0-8041-2bb16a414839" providerId="ADAL" clId="{9B2768D1-DFDD-45FF-849C-23AD8ECAB483}" dt="2024-05-08T16:27:37.937" v="43822"/>
          <ac:spMkLst>
            <pc:docMk/>
            <pc:sldMk cId="2958919186" sldId="284"/>
            <ac:spMk id="5" creationId="{755E1042-5C7F-1948-C6E5-5C982D8159D2}"/>
          </ac:spMkLst>
        </pc:spChg>
        <pc:spChg chg="mod ord">
          <ac:chgData name="Joelle Brehm" userId="a518f54c-6985-42c0-8041-2bb16a414839" providerId="ADAL" clId="{9B2768D1-DFDD-45FF-849C-23AD8ECAB483}" dt="2024-05-08T16:28:31.816" v="45077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28:31.837" v="45126"/>
          <ac:spMkLst>
            <pc:docMk/>
            <pc:sldMk cId="2958919186" sldId="284"/>
            <ac:spMk id="10" creationId="{9719655D-B1E7-347B-4560-8C174CD823A0}"/>
          </ac:spMkLst>
        </pc:spChg>
        <pc:spChg chg="mod">
          <ac:chgData name="Joelle Brehm" userId="a518f54c-6985-42c0-8041-2bb16a414839" providerId="ADAL" clId="{9B2768D1-DFDD-45FF-849C-23AD8ECAB483}" dt="2024-05-08T16:28:31.819" v="45088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28:31.818" v="45084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28:31.818" v="45085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28:31.817" v="45082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28:31.817" v="45083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28:31.818" v="45086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28:31.819" v="45087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28:31.820" v="45089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28:31.820" v="45090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28:31.821" v="45091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28:31.822" v="45092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28:31.823" v="45093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28:31.824" v="45095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28:31.826" v="45098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28:31.826" v="45100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28:31.826" v="45099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28:31.828" v="45103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28:31.828" v="45104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28:31.827" v="45102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28:31.829" v="45106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28:31.836" v="45125"/>
          <ac:spMkLst>
            <pc:docMk/>
            <pc:sldMk cId="2958919186" sldId="284"/>
            <ac:spMk id="32" creationId="{A7F15473-C481-F557-18F4-5334C151E8F4}"/>
          </ac:spMkLst>
        </pc:spChg>
        <pc:spChg chg="add del mod modVis">
          <ac:chgData name="Joelle Brehm" userId="a518f54c-6985-42c0-8041-2bb16a414839" providerId="ADAL" clId="{9B2768D1-DFDD-45FF-849C-23AD8ECAB483}" dt="2024-05-08T16:28:08.143" v="44145"/>
          <ac:spMkLst>
            <pc:docMk/>
            <pc:sldMk cId="2958919186" sldId="284"/>
            <ac:spMk id="33" creationId="{9B92EA07-B9F3-2D18-04DF-483D66AFEFD1}"/>
          </ac:spMkLst>
        </pc:spChg>
        <pc:spChg chg="mod">
          <ac:chgData name="Joelle Brehm" userId="a518f54c-6985-42c0-8041-2bb16a414839" providerId="ADAL" clId="{9B2768D1-DFDD-45FF-849C-23AD8ECAB483}" dt="2024-05-08T16:28:31.839" v="45134"/>
          <ac:spMkLst>
            <pc:docMk/>
            <pc:sldMk cId="2958919186" sldId="284"/>
            <ac:spMk id="36" creationId="{ABC0E037-21BF-BF4A-687C-480525152A9F}"/>
          </ac:spMkLst>
        </pc:spChg>
        <pc:spChg chg="mod ord">
          <ac:chgData name="Joelle Brehm" userId="a518f54c-6985-42c0-8041-2bb16a414839" providerId="ADAL" clId="{9B2768D1-DFDD-45FF-849C-23AD8ECAB483}" dt="2024-05-08T16:28:31.825" v="45097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9B2768D1-DFDD-45FF-849C-23AD8ECAB483}" dt="2024-05-08T16:28:31.839" v="45136"/>
          <ac:spMkLst>
            <pc:docMk/>
            <pc:sldMk cId="2958919186" sldId="284"/>
            <ac:spMk id="39" creationId="{C3C5C1D5-CE05-04AD-6FA1-CD8C07C66479}"/>
          </ac:spMkLst>
        </pc:spChg>
        <pc:spChg chg="mod">
          <ac:chgData name="Joelle Brehm" userId="a518f54c-6985-42c0-8041-2bb16a414839" providerId="ADAL" clId="{9B2768D1-DFDD-45FF-849C-23AD8ECAB483}" dt="2024-05-08T16:28:31.839" v="45135"/>
          <ac:spMkLst>
            <pc:docMk/>
            <pc:sldMk cId="2958919186" sldId="284"/>
            <ac:spMk id="40" creationId="{B642CE0C-57AA-72C5-417D-5CBB363DC160}"/>
          </ac:spMkLst>
        </pc:spChg>
        <pc:spChg chg="add mod replST">
          <ac:chgData name="Joelle Brehm" userId="a518f54c-6985-42c0-8041-2bb16a414839" providerId="ADAL" clId="{9B2768D1-DFDD-45FF-849C-23AD8ECAB483}" dt="2024-05-08T16:28:31.840" v="45137"/>
          <ac:spMkLst>
            <pc:docMk/>
            <pc:sldMk cId="2958919186" sldId="284"/>
            <ac:spMk id="41" creationId="{2940CA25-AD76-456C-3D39-A6DBC7AECC68}"/>
          </ac:spMkLst>
        </pc:spChg>
        <pc:spChg chg="mod">
          <ac:chgData name="Joelle Brehm" userId="a518f54c-6985-42c0-8041-2bb16a414839" providerId="ADAL" clId="{9B2768D1-DFDD-45FF-849C-23AD8ECAB483}" dt="2024-05-08T16:28:31.836" v="45122"/>
          <ac:spMkLst>
            <pc:docMk/>
            <pc:sldMk cId="2958919186" sldId="284"/>
            <ac:spMk id="42" creationId="{907D7408-F4BF-634D-C4A3-6AB144A133E9}"/>
          </ac:spMkLst>
        </pc:spChg>
        <pc:spChg chg="mod">
          <ac:chgData name="Joelle Brehm" userId="a518f54c-6985-42c0-8041-2bb16a414839" providerId="ADAL" clId="{9B2768D1-DFDD-45FF-849C-23AD8ECAB483}" dt="2024-05-08T16:28:31.838" v="45130"/>
          <ac:spMkLst>
            <pc:docMk/>
            <pc:sldMk cId="2958919186" sldId="284"/>
            <ac:spMk id="43" creationId="{AE3E702C-DACE-F774-74FA-59D2669929E7}"/>
          </ac:spMkLst>
        </pc:spChg>
        <pc:spChg chg="mod">
          <ac:chgData name="Joelle Brehm" userId="a518f54c-6985-42c0-8041-2bb16a414839" providerId="ADAL" clId="{9B2768D1-DFDD-45FF-849C-23AD8ECAB483}" dt="2024-05-08T16:28:31.836" v="45121"/>
          <ac:spMkLst>
            <pc:docMk/>
            <pc:sldMk cId="2958919186" sldId="284"/>
            <ac:spMk id="44" creationId="{77917790-2F42-F887-E684-5C13E341F164}"/>
          </ac:spMkLst>
        </pc:spChg>
        <pc:spChg chg="mod">
          <ac:chgData name="Joelle Brehm" userId="a518f54c-6985-42c0-8041-2bb16a414839" providerId="ADAL" clId="{9B2768D1-DFDD-45FF-849C-23AD8ECAB483}" dt="2024-05-08T16:28:31.838" v="45132"/>
          <ac:spMkLst>
            <pc:docMk/>
            <pc:sldMk cId="2958919186" sldId="284"/>
            <ac:spMk id="45" creationId="{69B55197-3E95-C76B-28EA-C92C39CE202B}"/>
          </ac:spMkLst>
        </pc:spChg>
        <pc:spChg chg="mod">
          <ac:chgData name="Joelle Brehm" userId="a518f54c-6985-42c0-8041-2bb16a414839" providerId="ADAL" clId="{9B2768D1-DFDD-45FF-849C-23AD8ECAB483}" dt="2024-05-08T16:28:31.838" v="45131"/>
          <ac:spMkLst>
            <pc:docMk/>
            <pc:sldMk cId="2958919186" sldId="284"/>
            <ac:spMk id="46" creationId="{11FBAC96-1BE5-4DA8-D741-A6923EFB5B15}"/>
          </ac:spMkLst>
        </pc:spChg>
        <pc:spChg chg="mod">
          <ac:chgData name="Joelle Brehm" userId="a518f54c-6985-42c0-8041-2bb16a414839" providerId="ADAL" clId="{9B2768D1-DFDD-45FF-849C-23AD8ECAB483}" dt="2024-05-08T16:28:31.834" v="45117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9B2768D1-DFDD-45FF-849C-23AD8ECAB483}" dt="2024-05-08T16:28:31.836" v="45124"/>
          <ac:spMkLst>
            <pc:docMk/>
            <pc:sldMk cId="2958919186" sldId="284"/>
            <ac:spMk id="48" creationId="{5D20D0D7-37CC-29AE-8F09-41EE1C3042D6}"/>
          </ac:spMkLst>
        </pc:spChg>
        <pc:spChg chg="mod">
          <ac:chgData name="Joelle Brehm" userId="a518f54c-6985-42c0-8041-2bb16a414839" providerId="ADAL" clId="{9B2768D1-DFDD-45FF-849C-23AD8ECAB483}" dt="2024-05-08T16:28:31.837" v="45128"/>
          <ac:spMkLst>
            <pc:docMk/>
            <pc:sldMk cId="2958919186" sldId="284"/>
            <ac:spMk id="49" creationId="{CB11A0CB-368B-A60B-EDC1-4AB20B197FE5}"/>
          </ac:spMkLst>
        </pc:spChg>
        <pc:spChg chg="mod">
          <ac:chgData name="Joelle Brehm" userId="a518f54c-6985-42c0-8041-2bb16a414839" providerId="ADAL" clId="{9B2768D1-DFDD-45FF-849C-23AD8ECAB483}" dt="2024-05-08T16:28:31.837" v="45127"/>
          <ac:spMkLst>
            <pc:docMk/>
            <pc:sldMk cId="2958919186" sldId="284"/>
            <ac:spMk id="50" creationId="{2C405B0B-A40D-DA13-F823-C48F9BB223C3}"/>
          </ac:spMkLst>
        </pc:spChg>
        <pc:spChg chg="mod">
          <ac:chgData name="Joelle Brehm" userId="a518f54c-6985-42c0-8041-2bb16a414839" providerId="ADAL" clId="{9B2768D1-DFDD-45FF-849C-23AD8ECAB483}" dt="2024-05-08T16:28:31.836" v="45123"/>
          <ac:spMkLst>
            <pc:docMk/>
            <pc:sldMk cId="2958919186" sldId="284"/>
            <ac:spMk id="51" creationId="{5919439C-F2E5-38EE-454C-6197DCE4A0B6}"/>
          </ac:spMkLst>
        </pc:spChg>
        <pc:spChg chg="add mod replST">
          <ac:chgData name="Joelle Brehm" userId="a518f54c-6985-42c0-8041-2bb16a414839" providerId="ADAL" clId="{9B2768D1-DFDD-45FF-849C-23AD8ECAB483}" dt="2024-05-08T16:28:31.840" v="45138"/>
          <ac:spMkLst>
            <pc:docMk/>
            <pc:sldMk cId="2958919186" sldId="284"/>
            <ac:spMk id="52" creationId="{380F4B25-ABED-858A-AE44-9BCE34CDEE30}"/>
          </ac:spMkLst>
        </pc:spChg>
        <pc:spChg chg="add del mod modVis">
          <ac:chgData name="Joelle Brehm" userId="a518f54c-6985-42c0-8041-2bb16a414839" providerId="ADAL" clId="{9B2768D1-DFDD-45FF-849C-23AD8ECAB483}" dt="2024-05-08T16:28:14.312" v="44528"/>
          <ac:spMkLst>
            <pc:docMk/>
            <pc:sldMk cId="2958919186" sldId="284"/>
            <ac:spMk id="53" creationId="{8BBE4BC8-CB02-1235-93ED-E88512AC81D6}"/>
          </ac:spMkLst>
        </pc:spChg>
        <pc:spChg chg="mod">
          <ac:chgData name="Joelle Brehm" userId="a518f54c-6985-42c0-8041-2bb16a414839" providerId="ADAL" clId="{9B2768D1-DFDD-45FF-849C-23AD8ECAB483}" dt="2024-05-08T16:28:31.835" v="45120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9B2768D1-DFDD-45FF-849C-23AD8ECAB483}" dt="2024-05-08T16:28:31.835" v="45119"/>
          <ac:spMkLst>
            <pc:docMk/>
            <pc:sldMk cId="2958919186" sldId="284"/>
            <ac:spMk id="55" creationId="{2BAA32C5-1C92-8614-2678-B94A36FCDC54}"/>
          </ac:spMkLst>
        </pc:spChg>
        <pc:spChg chg="mod">
          <ac:chgData name="Joelle Brehm" userId="a518f54c-6985-42c0-8041-2bb16a414839" providerId="ADAL" clId="{9B2768D1-DFDD-45FF-849C-23AD8ECAB483}" dt="2024-05-08T16:28:31.838" v="45129"/>
          <ac:spMkLst>
            <pc:docMk/>
            <pc:sldMk cId="2958919186" sldId="284"/>
            <ac:spMk id="56" creationId="{FDC4214A-9C7D-E50B-B2D6-A8DDC8950E22}"/>
          </ac:spMkLst>
        </pc:spChg>
        <pc:spChg chg="mod">
          <ac:chgData name="Joelle Brehm" userId="a518f54c-6985-42c0-8041-2bb16a414839" providerId="ADAL" clId="{9B2768D1-DFDD-45FF-849C-23AD8ECAB483}" dt="2024-05-08T16:28:31.834" v="45116"/>
          <ac:spMkLst>
            <pc:docMk/>
            <pc:sldMk cId="2958919186" sldId="284"/>
            <ac:spMk id="58" creationId="{1FE8095F-70AA-80E7-5AB4-793D17F07A13}"/>
          </ac:spMkLst>
        </pc:spChg>
        <pc:spChg chg="mod">
          <ac:chgData name="Joelle Brehm" userId="a518f54c-6985-42c0-8041-2bb16a414839" providerId="ADAL" clId="{9B2768D1-DFDD-45FF-849C-23AD8ECAB483}" dt="2024-05-08T16:28:31.839" v="45133"/>
          <ac:spMkLst>
            <pc:docMk/>
            <pc:sldMk cId="2958919186" sldId="284"/>
            <ac:spMk id="59" creationId="{A08BBCC9-3F12-9CFB-81E3-A06659BDF559}"/>
          </ac:spMkLst>
        </pc:spChg>
        <pc:spChg chg="del mod">
          <ac:chgData name="Joelle Brehm" userId="a518f54c-6985-42c0-8041-2bb16a414839" providerId="ADAL" clId="{9B2768D1-DFDD-45FF-849C-23AD8ECAB483}" dt="2024-05-08T16:28:31.676" v="44930"/>
          <ac:spMkLst>
            <pc:docMk/>
            <pc:sldMk cId="2958919186" sldId="284"/>
            <ac:spMk id="60" creationId="{8759D603-88B6-A9D6-C425-741AE5AD2811}"/>
          </ac:spMkLst>
        </pc:spChg>
        <pc:spChg chg="del mod">
          <ac:chgData name="Joelle Brehm" userId="a518f54c-6985-42c0-8041-2bb16a414839" providerId="ADAL" clId="{9B2768D1-DFDD-45FF-849C-23AD8ECAB483}" dt="2024-05-08T16:28:31.675" v="44929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9B2768D1-DFDD-45FF-849C-23AD8ECAB483}" dt="2024-05-08T16:28:17.355" v="44728"/>
          <ac:spMkLst>
            <pc:docMk/>
            <pc:sldMk cId="2958919186" sldId="284"/>
            <ac:spMk id="62" creationId="{753BF609-1B28-DD6C-4CB5-445D5FCC9E0E}"/>
          </ac:spMkLst>
        </pc:spChg>
        <pc:spChg chg="mod">
          <ac:chgData name="Joelle Brehm" userId="a518f54c-6985-42c0-8041-2bb16a414839" providerId="ADAL" clId="{9B2768D1-DFDD-45FF-849C-23AD8ECAB483}" dt="2024-05-08T16:28:31.833" v="45115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9B2768D1-DFDD-45FF-849C-23AD8ECAB483}" dt="2024-05-08T16:28:19.851" v="44926"/>
          <ac:spMkLst>
            <pc:docMk/>
            <pc:sldMk cId="2958919186" sldId="284"/>
            <ac:spMk id="65" creationId="{CA8B3DE3-5D64-BD63-CC67-6546CB1606F8}"/>
          </ac:spMkLst>
        </pc:spChg>
        <pc:spChg chg="add del mod modVis">
          <ac:chgData name="Joelle Brehm" userId="a518f54c-6985-42c0-8041-2bb16a414839" providerId="ADAL" clId="{9B2768D1-DFDD-45FF-849C-23AD8ECAB483}" dt="2024-05-08T16:28:31.848" v="45167"/>
          <ac:spMkLst>
            <pc:docMk/>
            <pc:sldMk cId="2958919186" sldId="284"/>
            <ac:spMk id="67" creationId="{4D5FDCAB-273A-C51D-13DE-8FAFDF759D88}"/>
          </ac:spMkLst>
        </pc:spChg>
        <pc:spChg chg="mod">
          <ac:chgData name="Joelle Brehm" userId="a518f54c-6985-42c0-8041-2bb16a414839" providerId="ADAL" clId="{9B2768D1-DFDD-45FF-849C-23AD8ECAB483}" dt="2024-05-08T16:28:31.832" v="45110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8:31.832" v="45111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8:31.833" v="45113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8:31.833" v="45114"/>
          <ac:spMkLst>
            <pc:docMk/>
            <pc:sldMk cId="2958919186" sldId="284"/>
            <ac:spMk id="7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8:31.827" v="45101"/>
          <ac:spMkLst>
            <pc:docMk/>
            <pc:sldMk cId="2958919186" sldId="284"/>
            <ac:spMk id="74" creationId="{1E5392BC-349C-45B4-8F81-52F83DA74F43}"/>
          </ac:spMkLst>
        </pc:spChg>
        <pc:spChg chg="mod">
          <ac:chgData name="Joelle Brehm" userId="a518f54c-6985-42c0-8041-2bb16a414839" providerId="ADAL" clId="{9B2768D1-DFDD-45FF-849C-23AD8ECAB483}" dt="2024-05-08T16:28:31.834" v="45118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9B2768D1-DFDD-45FF-849C-23AD8ECAB483}" dt="2024-05-08T16:28:31.841" v="45140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28:31.841" v="45142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28:31.830" v="45109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8:31.847" v="45161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9B2768D1-DFDD-45FF-849C-23AD8ECAB483}" dt="2024-05-08T16:28:31.842" v="45144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28:31.842" v="45146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28:31.842" v="45148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28:31.843" v="45150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28:31.844" v="45153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8:31.844" v="45154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8:31.845" v="45155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8:31.845" v="45156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28:31.845" v="45157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9B2768D1-DFDD-45FF-849C-23AD8ECAB483}" dt="2024-05-08T16:28:31.832" v="45112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9B2768D1-DFDD-45FF-849C-23AD8ECAB483}" dt="2024-05-08T16:28:31.868" v="45169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8:31.817" v="45081"/>
          <ac:graphicFrameMkLst>
            <pc:docMk/>
            <pc:sldMk cId="2958919186" sldId="284"/>
            <ac:graphicFrameMk id="8" creationId="{4410023B-F862-22FD-C9D5-30E33D5B722B}"/>
          </ac:graphicFrameMkLst>
        </pc:graphicFrameChg>
        <pc:graphicFrameChg chg="del">
          <ac:chgData name="Joelle Brehm" userId="a518f54c-6985-42c0-8041-2bb16a414839" providerId="ADAL" clId="{9B2768D1-DFDD-45FF-849C-23AD8ECAB483}" dt="2024-05-08T16:27:37.833" v="43716"/>
          <ac:graphicFrameMkLst>
            <pc:docMk/>
            <pc:sldMk cId="2958919186" sldId="284"/>
            <ac:graphicFrameMk id="31" creationId="{FA8B1C22-FAD5-7CCD-2DF0-65B049D9C2E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8:31.844" v="45152"/>
          <ac:graphicFrameMkLst>
            <pc:docMk/>
            <pc:sldMk cId="2958919186" sldId="284"/>
            <ac:graphicFrameMk id="35" creationId="{54FD1124-4A2F-700D-0ECF-004126A4F336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8:08.040" v="44045"/>
          <ac:graphicFrameMkLst>
            <pc:docMk/>
            <pc:sldMk cId="2958919186" sldId="284"/>
            <ac:graphicFrameMk id="38" creationId="{F95ADE6D-FF95-E726-0034-EE9215CF70D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8:17.279" v="44626"/>
          <ac:graphicFrameMkLst>
            <pc:docMk/>
            <pc:sldMk cId="2958919186" sldId="284"/>
            <ac:graphicFrameMk id="57" creationId="{26F937B2-99F7-F333-347E-CDBC2C433F3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8:19.771" v="44824"/>
          <ac:graphicFrameMkLst>
            <pc:docMk/>
            <pc:sldMk cId="2958919186" sldId="284"/>
            <ac:graphicFrameMk id="63" creationId="{61BB2CBE-7A8F-CDCC-15AD-7BF17A7F0A1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8:31.785" v="45067"/>
          <ac:graphicFrameMkLst>
            <pc:docMk/>
            <pc:sldMk cId="2958919186" sldId="284"/>
            <ac:graphicFrameMk id="66" creationId="{BB43A932-6884-33AB-07B4-FC9FD7427D5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8:31.830" v="45108"/>
          <ac:graphicFrameMkLst>
            <pc:docMk/>
            <pc:sldMk cId="2958919186" sldId="284"/>
            <ac:graphicFrameMk id="72" creationId="{2CF1E704-9CA4-1358-BBD0-4E208C190BE1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8:14.234" v="44426"/>
          <ac:graphicFrameMkLst>
            <pc:docMk/>
            <pc:sldMk cId="2958919186" sldId="284"/>
            <ac:graphicFrameMk id="77" creationId="{8985F9D0-7783-3373-AF97-382455B84687}"/>
          </ac:graphicFrameMkLst>
        </pc:graphicFrameChg>
        <pc:picChg chg="add mod ord">
          <ac:chgData name="Joelle Brehm" userId="a518f54c-6985-42c0-8041-2bb16a414839" providerId="ADAL" clId="{9B2768D1-DFDD-45FF-849C-23AD8ECAB483}" dt="2024-05-08T16:28:31.816" v="45075"/>
          <ac:picMkLst>
            <pc:docMk/>
            <pc:sldMk cId="2958919186" sldId="284"/>
            <ac:picMk id="9" creationId="{4B1338FF-0BA5-E283-676C-3699068BB1BF}"/>
          </ac:picMkLst>
        </pc:picChg>
        <pc:picChg chg="del mod ord">
          <ac:chgData name="Joelle Brehm" userId="a518f54c-6985-42c0-8041-2bb16a414839" providerId="ADAL" clId="{9B2768D1-DFDD-45FF-849C-23AD8ECAB483}" dt="2024-05-08T16:27:58.790" v="43932" actId="478"/>
          <ac:picMkLst>
            <pc:docMk/>
            <pc:sldMk cId="2958919186" sldId="284"/>
            <ac:picMk id="34" creationId="{1D1426D0-12D3-A6EB-EB87-61141B9B4479}"/>
          </ac:picMkLst>
        </pc:picChg>
        <pc:picChg chg="mod ord">
          <ac:chgData name="Joelle Brehm" userId="a518f54c-6985-42c0-8041-2bb16a414839" providerId="ADAL" clId="{9B2768D1-DFDD-45FF-849C-23AD8ECAB483}" dt="2024-05-08T16:28:31.846" v="45159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28:31.817" v="45079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29:36.675" v="46960"/>
        <pc:sldMkLst>
          <pc:docMk/>
          <pc:sldMk cId="3959601197" sldId="285"/>
        </pc:sldMkLst>
        <pc:spChg chg="mod ord">
          <ac:chgData name="Joelle Brehm" userId="a518f54c-6985-42c0-8041-2bb16a414839" providerId="ADAL" clId="{9B2768D1-DFDD-45FF-849C-23AD8ECAB483}" dt="2024-05-08T16:29:36.644" v="46954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9B2768D1-DFDD-45FF-849C-23AD8ECAB483}" dt="2024-05-08T16:28:36.005" v="45170" actId="478"/>
          <ac:spMkLst>
            <pc:docMk/>
            <pc:sldMk cId="3959601197" sldId="285"/>
            <ac:spMk id="3" creationId="{93B9B6EE-9B97-46CF-A0C7-AA3CF1C981C4}"/>
          </ac:spMkLst>
        </pc:spChg>
        <pc:spChg chg="add del mod modVis">
          <ac:chgData name="Joelle Brehm" userId="a518f54c-6985-42c0-8041-2bb16a414839" providerId="ADAL" clId="{9B2768D1-DFDD-45FF-849C-23AD8ECAB483}" dt="2024-05-08T16:28:49.780" v="45391"/>
          <ac:spMkLst>
            <pc:docMk/>
            <pc:sldMk cId="3959601197" sldId="285"/>
            <ac:spMk id="5" creationId="{F08FF455-E86F-5C75-D550-79EDFF27EF1C}"/>
          </ac:spMkLst>
        </pc:spChg>
        <pc:spChg chg="mod ord">
          <ac:chgData name="Joelle Brehm" userId="a518f54c-6985-42c0-8041-2bb16a414839" providerId="ADAL" clId="{9B2768D1-DFDD-45FF-849C-23AD8ECAB483}" dt="2024-05-08T16:29:36.616" v="46886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29:36.616" v="46897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29:36.616" v="46893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29:36.616" v="46894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29:36.616" v="46891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29:36.616" v="46892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29:36.616" v="46895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29:36.616" v="46896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29:36.616" v="46898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29:36.616" v="46899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29:36.616" v="46900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29:36.616" v="46901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29:36.616" v="46902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29:36.616" v="46904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29:36.616" v="46907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29:36.616" v="46909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29:36.616" v="46908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29:36.628" v="46912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29:36.628" v="46913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29:36.627" v="46911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29:36.628" v="46915"/>
          <ac:spMkLst>
            <pc:docMk/>
            <pc:sldMk cId="3959601197" sldId="28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29:13.941" v="45653"/>
          <ac:spMkLst>
            <pc:docMk/>
            <pc:sldMk cId="3959601197" sldId="285"/>
            <ac:spMk id="32" creationId="{DB22AFD1-BF80-B9B4-E48F-32AF21BBEEE5}"/>
          </ac:spMkLst>
        </pc:spChg>
        <pc:spChg chg="add mod replST">
          <ac:chgData name="Joelle Brehm" userId="a518f54c-6985-42c0-8041-2bb16a414839" providerId="ADAL" clId="{9B2768D1-DFDD-45FF-849C-23AD8ECAB483}" dt="2024-05-08T16:29:36.628" v="46929"/>
          <ac:spMkLst>
            <pc:docMk/>
            <pc:sldMk cId="3959601197" sldId="285"/>
            <ac:spMk id="35" creationId="{2015122C-2655-6F5C-D07F-48D3C2E7E3E8}"/>
          </ac:spMkLst>
        </pc:spChg>
        <pc:spChg chg="add del mod modVis">
          <ac:chgData name="Joelle Brehm" userId="a518f54c-6985-42c0-8041-2bb16a414839" providerId="ADAL" clId="{9B2768D1-DFDD-45FF-849C-23AD8ECAB483}" dt="2024-05-08T16:29:25.596" v="46059"/>
          <ac:spMkLst>
            <pc:docMk/>
            <pc:sldMk cId="3959601197" sldId="285"/>
            <ac:spMk id="36" creationId="{1E88478F-991E-0655-8B69-EF2A2C66D948}"/>
          </ac:spMkLst>
        </pc:spChg>
        <pc:spChg chg="mod ord">
          <ac:chgData name="Joelle Brehm" userId="a518f54c-6985-42c0-8041-2bb16a414839" providerId="ADAL" clId="{9B2768D1-DFDD-45FF-849C-23AD8ECAB483}" dt="2024-05-08T16:29:36.616" v="46906"/>
          <ac:spMkLst>
            <pc:docMk/>
            <pc:sldMk cId="3959601197" sldId="285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9B2768D1-DFDD-45FF-849C-23AD8ECAB483}" dt="2024-05-08T16:29:26.980" v="46230"/>
          <ac:spMkLst>
            <pc:docMk/>
            <pc:sldMk cId="3959601197" sldId="285"/>
            <ac:spMk id="39" creationId="{64AE80AC-7C6F-ECDA-658D-5E992EBA455F}"/>
          </ac:spMkLst>
        </pc:spChg>
        <pc:spChg chg="add del mod replST">
          <ac:chgData name="Joelle Brehm" userId="a518f54c-6985-42c0-8041-2bb16a414839" providerId="ADAL" clId="{9B2768D1-DFDD-45FF-849C-23AD8ECAB483}" dt="2024-05-08T16:29:32.091" v="46455"/>
          <ac:spMkLst>
            <pc:docMk/>
            <pc:sldMk cId="3959601197" sldId="285"/>
            <ac:spMk id="41" creationId="{8479E985-695E-529A-7400-B46F12CED7BB}"/>
          </ac:spMkLst>
        </pc:spChg>
        <pc:spChg chg="add del mod modVis">
          <ac:chgData name="Joelle Brehm" userId="a518f54c-6985-42c0-8041-2bb16a414839" providerId="ADAL" clId="{9B2768D1-DFDD-45FF-849C-23AD8ECAB483}" dt="2024-05-08T16:29:30.583" v="46452"/>
          <ac:spMkLst>
            <pc:docMk/>
            <pc:sldMk cId="3959601197" sldId="285"/>
            <ac:spMk id="42" creationId="{DB2D697A-4F36-7967-33F7-D63EC97A0074}"/>
          </ac:spMkLst>
        </pc:spChg>
        <pc:spChg chg="add del mod modVis">
          <ac:chgData name="Joelle Brehm" userId="a518f54c-6985-42c0-8041-2bb16a414839" providerId="ADAL" clId="{9B2768D1-DFDD-45FF-849C-23AD8ECAB483}" dt="2024-05-08T16:29:32.363" v="46634"/>
          <ac:spMkLst>
            <pc:docMk/>
            <pc:sldMk cId="3959601197" sldId="285"/>
            <ac:spMk id="44" creationId="{0FDDC196-BB05-937D-0E16-7E094E195544}"/>
          </ac:spMkLst>
        </pc:spChg>
        <pc:spChg chg="add del mod modVis">
          <ac:chgData name="Joelle Brehm" userId="a518f54c-6985-42c0-8041-2bb16a414839" providerId="ADAL" clId="{9B2768D1-DFDD-45FF-849C-23AD8ECAB483}" dt="2024-05-08T16:29:35.558" v="46776"/>
          <ac:spMkLst>
            <pc:docMk/>
            <pc:sldMk cId="3959601197" sldId="285"/>
            <ac:spMk id="46" creationId="{959EC4F4-ABAE-7F0C-6082-EEBF24090B55}"/>
          </ac:spMkLst>
        </pc:spChg>
        <pc:spChg chg="add del mod modVis">
          <ac:chgData name="Joelle Brehm" userId="a518f54c-6985-42c0-8041-2bb16a414839" providerId="ADAL" clId="{9B2768D1-DFDD-45FF-849C-23AD8ECAB483}" dt="2024-05-08T16:29:36.644" v="46958"/>
          <ac:spMkLst>
            <pc:docMk/>
            <pc:sldMk cId="3959601197" sldId="285"/>
            <ac:spMk id="48" creationId="{C0459B79-8B38-9FA3-6F7C-FC5678E08378}"/>
          </ac:spMkLst>
        </pc:spChg>
        <pc:spChg chg="mod">
          <ac:chgData name="Joelle Brehm" userId="a518f54c-6985-42c0-8041-2bb16a414839" providerId="ADAL" clId="{9B2768D1-DFDD-45FF-849C-23AD8ECAB483}" dt="2024-05-08T16:29:36.627" v="46910"/>
          <ac:spMkLst>
            <pc:docMk/>
            <pc:sldMk cId="3959601197" sldId="285"/>
            <ac:spMk id="74" creationId="{1E5392BC-349C-45B4-8F81-52F83DA74F43}"/>
          </ac:spMkLst>
        </pc:spChg>
        <pc:spChg chg="del mod">
          <ac:chgData name="Joelle Brehm" userId="a518f54c-6985-42c0-8041-2bb16a414839" providerId="ADAL" clId="{9B2768D1-DFDD-45FF-849C-23AD8ECAB483}" dt="2024-05-08T16:29:36.479" v="46779"/>
          <ac:spMkLst>
            <pc:docMk/>
            <pc:sldMk cId="3959601197" sldId="285"/>
            <ac:spMk id="7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9:36.628" v="46931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29:36.628" v="46933"/>
          <ac:spMkLst>
            <pc:docMk/>
            <pc:sldMk cId="3959601197" sldId="285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29:36.628" v="46918"/>
          <ac:spMkLst>
            <pc:docMk/>
            <pc:sldMk cId="3959601197" sldId="285"/>
            <ac:spMk id="8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19"/>
          <ac:spMkLst>
            <pc:docMk/>
            <pc:sldMk cId="3959601197" sldId="285"/>
            <ac:spMk id="8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0"/>
          <ac:spMkLst>
            <pc:docMk/>
            <pc:sldMk cId="3959601197" sldId="285"/>
            <ac:spMk id="8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1"/>
          <ac:spMkLst>
            <pc:docMk/>
            <pc:sldMk cId="3959601197" sldId="285"/>
            <ac:spMk id="8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2"/>
          <ac:spMkLst>
            <pc:docMk/>
            <pc:sldMk cId="3959601197" sldId="285"/>
            <ac:spMk id="8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3"/>
          <ac:spMkLst>
            <pc:docMk/>
            <pc:sldMk cId="3959601197" sldId="285"/>
            <ac:spMk id="8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4"/>
          <ac:spMkLst>
            <pc:docMk/>
            <pc:sldMk cId="3959601197" sldId="285"/>
            <ac:spMk id="8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5"/>
          <ac:spMkLst>
            <pc:docMk/>
            <pc:sldMk cId="3959601197" sldId="285"/>
            <ac:spMk id="8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6"/>
          <ac:spMkLst>
            <pc:docMk/>
            <pc:sldMk cId="3959601197" sldId="285"/>
            <ac:spMk id="88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7"/>
          <ac:spMkLst>
            <pc:docMk/>
            <pc:sldMk cId="3959601197" sldId="285"/>
            <ac:spMk id="8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28" v="46928"/>
          <ac:spMkLst>
            <pc:docMk/>
            <pc:sldMk cId="3959601197" sldId="285"/>
            <ac:spMk id="90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29:36.644" v="46952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9B2768D1-DFDD-45FF-849C-23AD8ECAB483}" dt="2024-05-08T16:29:36.628" v="46935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29:36.628" v="46937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29:36.628" v="46939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29:36.628" v="46941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29:36.628" v="46944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44" v="46945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44" v="46946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29:36.644" v="46947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29:36.644" v="46948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29:36.675" v="46960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9:36.616" v="46890"/>
          <ac:graphicFrameMkLst>
            <pc:docMk/>
            <pc:sldMk cId="3959601197" sldId="285"/>
            <ac:graphicFrameMk id="8" creationId="{EC425125-BF76-FA17-21BC-30D0EA3B1219}"/>
          </ac:graphicFrameMkLst>
        </pc:graphicFrameChg>
        <pc:graphicFrameChg chg="del">
          <ac:chgData name="Joelle Brehm" userId="a518f54c-6985-42c0-8041-2bb16a414839" providerId="ADAL" clId="{9B2768D1-DFDD-45FF-849C-23AD8ECAB483}" dt="2024-05-08T16:28:49.684" v="45305"/>
          <ac:graphicFrameMkLst>
            <pc:docMk/>
            <pc:sldMk cId="3959601197" sldId="285"/>
            <ac:graphicFrameMk id="9" creationId="{ECCDC47F-9965-BC5E-7C51-E6D6D562C5F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9:36.628" v="46943"/>
          <ac:graphicFrameMkLst>
            <pc:docMk/>
            <pc:sldMk cId="3959601197" sldId="285"/>
            <ac:graphicFrameMk id="33" creationId="{1618C287-D352-7BB1-5386-419791281FF7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9:13.879" v="45571"/>
          <ac:graphicFrameMkLst>
            <pc:docMk/>
            <pc:sldMk cId="3959601197" sldId="285"/>
            <ac:graphicFrameMk id="34" creationId="{7CD522B0-EE21-1411-DF5E-BF3D1E1ACA5D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9:26.900" v="46136"/>
          <ac:graphicFrameMkLst>
            <pc:docMk/>
            <pc:sldMk cId="3959601197" sldId="285"/>
            <ac:graphicFrameMk id="38" creationId="{7FC6C5F6-8517-2055-DF08-3D2386A81D0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9:30.485" v="46357"/>
          <ac:graphicFrameMkLst>
            <pc:docMk/>
            <pc:sldMk cId="3959601197" sldId="285"/>
            <ac:graphicFrameMk id="40" creationId="{C465F8AC-5AA3-CEC4-0056-57199D39F27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9:32.255" v="46551"/>
          <ac:graphicFrameMkLst>
            <pc:docMk/>
            <pc:sldMk cId="3959601197" sldId="285"/>
            <ac:graphicFrameMk id="43" creationId="{9BBAF0DB-8A3C-D986-3796-CB1781A8F0C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9:35.510" v="46693"/>
          <ac:graphicFrameMkLst>
            <pc:docMk/>
            <pc:sldMk cId="3959601197" sldId="285"/>
            <ac:graphicFrameMk id="45" creationId="{97E9B5E4-68F6-9BC5-AB64-7FA893944B8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9:36.570" v="46876"/>
          <ac:graphicFrameMkLst>
            <pc:docMk/>
            <pc:sldMk cId="3959601197" sldId="285"/>
            <ac:graphicFrameMk id="47" creationId="{8D70037C-ED8A-C271-313C-37B0B215C715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29:36.628" v="46917"/>
          <ac:graphicFrameMkLst>
            <pc:docMk/>
            <pc:sldMk cId="3959601197" sldId="285"/>
            <ac:graphicFrameMk id="49" creationId="{6209B05B-3F44-C76F-17D8-4EB37AF15935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9:25.535" v="45965"/>
          <ac:graphicFrameMkLst>
            <pc:docMk/>
            <pc:sldMk cId="3959601197" sldId="285"/>
            <ac:graphicFrameMk id="95" creationId="{6E660F9B-1C05-5ACA-C216-69F93F4C0B15}"/>
          </ac:graphicFrameMkLst>
        </pc:graphicFrameChg>
        <pc:picChg chg="add mod ord">
          <ac:chgData name="Joelle Brehm" userId="a518f54c-6985-42c0-8041-2bb16a414839" providerId="ADAL" clId="{9B2768D1-DFDD-45FF-849C-23AD8ECAB483}" dt="2024-05-08T16:29:36.616" v="46884"/>
          <ac:picMkLst>
            <pc:docMk/>
            <pc:sldMk cId="3959601197" sldId="285"/>
            <ac:picMk id="10" creationId="{F899A158-4A98-BD1B-E4D8-0E5530D400BA}"/>
          </ac:picMkLst>
        </pc:picChg>
        <pc:picChg chg="del mod ord">
          <ac:chgData name="Joelle Brehm" userId="a518f54c-6985-42c0-8041-2bb16a414839" providerId="ADAL" clId="{9B2768D1-DFDD-45FF-849C-23AD8ECAB483}" dt="2024-05-08T16:29:03.253" v="45481" actId="478"/>
          <ac:picMkLst>
            <pc:docMk/>
            <pc:sldMk cId="3959601197" sldId="285"/>
            <ac:picMk id="31" creationId="{0CF01AE1-B20A-D342-5E85-B19CBBB5D163}"/>
          </ac:picMkLst>
        </pc:picChg>
        <pc:picChg chg="mod ord">
          <ac:chgData name="Joelle Brehm" userId="a518f54c-6985-42c0-8041-2bb16a414839" providerId="ADAL" clId="{9B2768D1-DFDD-45FF-849C-23AD8ECAB483}" dt="2024-05-08T16:29:36.644" v="46950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29:36.616" v="46888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2:06.435" v="50527"/>
        <pc:sldMkLst>
          <pc:docMk/>
          <pc:sldMk cId="3093897313" sldId="286"/>
        </pc:sldMkLst>
        <pc:spChg chg="mod ord">
          <ac:chgData name="Joelle Brehm" userId="a518f54c-6985-42c0-8041-2bb16a414839" providerId="ADAL" clId="{9B2768D1-DFDD-45FF-849C-23AD8ECAB483}" dt="2024-05-08T16:32:06.405" v="50521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9B2768D1-DFDD-45FF-849C-23AD8ECAB483}" dt="2024-05-08T16:31:26.130" v="49137" actId="478"/>
          <ac:spMkLst>
            <pc:docMk/>
            <pc:sldMk cId="3093897313" sldId="286"/>
            <ac:spMk id="3" creationId="{04845E66-3E0B-03BC-A221-09CC890F396E}"/>
          </ac:spMkLst>
        </pc:spChg>
        <pc:spChg chg="add del mod modVis">
          <ac:chgData name="Joelle Brehm" userId="a518f54c-6985-42c0-8041-2bb16a414839" providerId="ADAL" clId="{9B2768D1-DFDD-45FF-849C-23AD8ECAB483}" dt="2024-05-08T16:31:29.649" v="49360"/>
          <ac:spMkLst>
            <pc:docMk/>
            <pc:sldMk cId="3093897313" sldId="286"/>
            <ac:spMk id="5" creationId="{A2D4E090-D9D5-EE7E-D02C-307F0067986C}"/>
          </ac:spMkLst>
        </pc:spChg>
        <pc:spChg chg="mod ord">
          <ac:chgData name="Joelle Brehm" userId="a518f54c-6985-42c0-8041-2bb16a414839" providerId="ADAL" clId="{9B2768D1-DFDD-45FF-849C-23AD8ECAB483}" dt="2024-05-08T16:32:06.369" v="50453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2:06.376" v="50464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2:06.374" v="50460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2:06.374" v="50461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2:06.373" v="50458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2:06.373" v="50459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2:06.375" v="50462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2:06.376" v="50463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2:06.377" v="50465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2:06.378" v="50466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2:06.379" v="50467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2:06.379" v="50468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2:06.379" v="50469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2:06.381" v="50471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2:06.383" v="50474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2:06.384" v="50476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2:06.383" v="50475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2:06.386" v="50479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2:06.386" v="50480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2:06.385" v="50478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2:06.388" v="50482"/>
          <ac:spMkLst>
            <pc:docMk/>
            <pc:sldMk cId="3093897313" sldId="286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31:52.275" v="49661"/>
          <ac:spMkLst>
            <pc:docMk/>
            <pc:sldMk cId="3093897313" sldId="286"/>
            <ac:spMk id="32" creationId="{ABC33A6F-5C82-AB9B-7F13-6C697B8DE58A}"/>
          </ac:spMkLst>
        </pc:spChg>
        <pc:spChg chg="mod">
          <ac:chgData name="Joelle Brehm" userId="a518f54c-6985-42c0-8041-2bb16a414839" providerId="ADAL" clId="{9B2768D1-DFDD-45FF-849C-23AD8ECAB483}" dt="2024-05-08T16:32:06.395" v="50495"/>
          <ac:spMkLst>
            <pc:docMk/>
            <pc:sldMk cId="3093897313" sldId="286"/>
            <ac:spMk id="34" creationId="{E8B05699-9D2D-AAA6-547E-BF477A243B71}"/>
          </ac:spMkLst>
        </pc:spChg>
        <pc:spChg chg="add mod replST">
          <ac:chgData name="Joelle Brehm" userId="a518f54c-6985-42c0-8041-2bb16a414839" providerId="ADAL" clId="{9B2768D1-DFDD-45FF-849C-23AD8ECAB483}" dt="2024-05-08T16:32:06.395" v="50496"/>
          <ac:spMkLst>
            <pc:docMk/>
            <pc:sldMk cId="3093897313" sldId="286"/>
            <ac:spMk id="36" creationId="{D00DAED3-6999-B7BE-8FDE-7156C7D958DA}"/>
          </ac:spMkLst>
        </pc:spChg>
        <pc:spChg chg="mod ord">
          <ac:chgData name="Joelle Brehm" userId="a518f54c-6985-42c0-8041-2bb16a414839" providerId="ADAL" clId="{9B2768D1-DFDD-45FF-849C-23AD8ECAB483}" dt="2024-05-08T16:32:06.382" v="50473"/>
          <ac:spMkLst>
            <pc:docMk/>
            <pc:sldMk cId="3093897313" sldId="286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9B2768D1-DFDD-45FF-849C-23AD8ECAB483}" dt="2024-05-08T16:31:59.524" v="50040"/>
          <ac:spMkLst>
            <pc:docMk/>
            <pc:sldMk cId="3093897313" sldId="286"/>
            <ac:spMk id="38" creationId="{028FB290-60B4-1983-DAA5-C94954001138}"/>
          </ac:spMkLst>
        </pc:spChg>
        <pc:spChg chg="add del mod modVis">
          <ac:chgData name="Joelle Brehm" userId="a518f54c-6985-42c0-8041-2bb16a414839" providerId="ADAL" clId="{9B2768D1-DFDD-45FF-849C-23AD8ECAB483}" dt="2024-05-08T16:32:02.236" v="50209"/>
          <ac:spMkLst>
            <pc:docMk/>
            <pc:sldMk cId="3093897313" sldId="286"/>
            <ac:spMk id="40" creationId="{0415F8C6-CCD4-DB3B-534D-1F42938C7890}"/>
          </ac:spMkLst>
        </pc:spChg>
        <pc:spChg chg="add del mod modVis">
          <ac:chgData name="Joelle Brehm" userId="a518f54c-6985-42c0-8041-2bb16a414839" providerId="ADAL" clId="{9B2768D1-DFDD-45FF-849C-23AD8ECAB483}" dt="2024-05-08T16:32:04.165" v="50347"/>
          <ac:spMkLst>
            <pc:docMk/>
            <pc:sldMk cId="3093897313" sldId="286"/>
            <ac:spMk id="43" creationId="{532411C0-03DF-1D85-F4AE-FA6A570326D5}"/>
          </ac:spMkLst>
        </pc:spChg>
        <pc:spChg chg="add del mod modVis">
          <ac:chgData name="Joelle Brehm" userId="a518f54c-6985-42c0-8041-2bb16a414839" providerId="ADAL" clId="{9B2768D1-DFDD-45FF-849C-23AD8ECAB483}" dt="2024-05-08T16:32:06.407" v="50525"/>
          <ac:spMkLst>
            <pc:docMk/>
            <pc:sldMk cId="3093897313" sldId="286"/>
            <ac:spMk id="45" creationId="{2FC2B227-4B82-4621-060A-162F26BCF34D}"/>
          </ac:spMkLst>
        </pc:spChg>
        <pc:spChg chg="mod">
          <ac:chgData name="Joelle Brehm" userId="a518f54c-6985-42c0-8041-2bb16a414839" providerId="ADAL" clId="{9B2768D1-DFDD-45FF-849C-23AD8ECAB483}" dt="2024-05-08T16:32:06.385" v="50477"/>
          <ac:spMkLst>
            <pc:docMk/>
            <pc:sldMk cId="3093897313" sldId="286"/>
            <ac:spMk id="74" creationId="{1E5392BC-349C-45B4-8F81-52F83DA74F43}"/>
          </ac:spMkLst>
        </pc:spChg>
        <pc:spChg chg="del mod">
          <ac:chgData name="Joelle Brehm" userId="a518f54c-6985-42c0-8041-2bb16a414839" providerId="ADAL" clId="{9B2768D1-DFDD-45FF-849C-23AD8ECAB483}" dt="2024-05-08T16:32:06.164" v="50350"/>
          <ac:spMkLst>
            <pc:docMk/>
            <pc:sldMk cId="3093897313" sldId="286"/>
            <ac:spMk id="7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89" v="50485"/>
          <ac:spMkLst>
            <pc:docMk/>
            <pc:sldMk cId="3093897313" sldId="286"/>
            <ac:spMk id="7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89" v="50486"/>
          <ac:spMkLst>
            <pc:docMk/>
            <pc:sldMk cId="3093897313" sldId="286"/>
            <ac:spMk id="7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32:06.396" v="50498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2:06.397" v="50500"/>
          <ac:spMkLst>
            <pc:docMk/>
            <pc:sldMk cId="3093897313" sldId="286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32:06.391" v="50487"/>
          <ac:spMkLst>
            <pc:docMk/>
            <pc:sldMk cId="3093897313" sldId="286"/>
            <ac:spMk id="8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91" v="50488"/>
          <ac:spMkLst>
            <pc:docMk/>
            <pc:sldMk cId="3093897313" sldId="286"/>
            <ac:spMk id="8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92" v="50489"/>
          <ac:spMkLst>
            <pc:docMk/>
            <pc:sldMk cId="3093897313" sldId="286"/>
            <ac:spMk id="8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92" v="50490"/>
          <ac:spMkLst>
            <pc:docMk/>
            <pc:sldMk cId="3093897313" sldId="286"/>
            <ac:spMk id="8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92" v="50491"/>
          <ac:spMkLst>
            <pc:docMk/>
            <pc:sldMk cId="3093897313" sldId="286"/>
            <ac:spMk id="8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93" v="50492"/>
          <ac:spMkLst>
            <pc:docMk/>
            <pc:sldMk cId="3093897313" sldId="286"/>
            <ac:spMk id="8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94" v="50493"/>
          <ac:spMkLst>
            <pc:docMk/>
            <pc:sldMk cId="3093897313" sldId="286"/>
            <ac:spMk id="8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394" v="50494"/>
          <ac:spMkLst>
            <pc:docMk/>
            <pc:sldMk cId="3093897313" sldId="286"/>
            <ac:spMk id="87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6:32:06.405" v="50519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9B2768D1-DFDD-45FF-849C-23AD8ECAB483}" dt="2024-05-08T16:32:06.397" v="50502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2:06.398" v="50504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2:06.399" v="50506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2:06.400" v="50508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2:06.401" v="50511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401" v="50512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402" v="50513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2:06.402" v="50514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32:06.403" v="50515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32:06.435" v="50527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2:06.371" v="50457"/>
          <ac:graphicFrameMkLst>
            <pc:docMk/>
            <pc:sldMk cId="3093897313" sldId="286"/>
            <ac:graphicFrameMk id="8" creationId="{80A5724D-F587-E7AE-A392-E50A787469F3}"/>
          </ac:graphicFrameMkLst>
        </pc:graphicFrameChg>
        <pc:graphicFrameChg chg="del">
          <ac:chgData name="Joelle Brehm" userId="a518f54c-6985-42c0-8041-2bb16a414839" providerId="ADAL" clId="{9B2768D1-DFDD-45FF-849C-23AD8ECAB483}" dt="2024-05-08T16:31:29.587" v="49274"/>
          <ac:graphicFrameMkLst>
            <pc:docMk/>
            <pc:sldMk cId="3093897313" sldId="286"/>
            <ac:graphicFrameMk id="10" creationId="{A740ADE8-CAA9-8AE2-9000-6F10039CEBFB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1:52.140" v="49579"/>
          <ac:graphicFrameMkLst>
            <pc:docMk/>
            <pc:sldMk cId="3093897313" sldId="286"/>
            <ac:graphicFrameMk id="33" creationId="{932EB751-AA68-BD4F-A3B5-D4A285709AD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2:06.400" v="50510"/>
          <ac:graphicFrameMkLst>
            <pc:docMk/>
            <pc:sldMk cId="3093897313" sldId="286"/>
            <ac:graphicFrameMk id="35" creationId="{B694DA76-6CAA-02D3-C5D3-36FFAB8BA3A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2:02.179" v="50113"/>
          <ac:graphicFrameMkLst>
            <pc:docMk/>
            <pc:sldMk cId="3093897313" sldId="286"/>
            <ac:graphicFrameMk id="39" creationId="{4AE1EFD0-60E0-29CB-3CDB-1DD9FA5BC01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2:04.065" v="50264"/>
          <ac:graphicFrameMkLst>
            <pc:docMk/>
            <pc:sldMk cId="3093897313" sldId="286"/>
            <ac:graphicFrameMk id="41" creationId="{57659B96-26FC-7E77-A335-FA0094B239B4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1:59.466" v="49949"/>
          <ac:graphicFrameMkLst>
            <pc:docMk/>
            <pc:sldMk cId="3093897313" sldId="286"/>
            <ac:graphicFrameMk id="42" creationId="{5FDF86ED-83D9-00CF-454A-2CB293AB3FD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2:06.315" v="50443"/>
          <ac:graphicFrameMkLst>
            <pc:docMk/>
            <pc:sldMk cId="3093897313" sldId="286"/>
            <ac:graphicFrameMk id="44" creationId="{2CF71FD2-CCC9-C5E4-5692-4348D8AFA41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2:06.389" v="50484"/>
          <ac:graphicFrameMkLst>
            <pc:docMk/>
            <pc:sldMk cId="3093897313" sldId="286"/>
            <ac:graphicFrameMk id="46" creationId="{7DE4C301-E19D-F5DD-F0CA-ADC137581ED1}"/>
          </ac:graphicFrameMkLst>
        </pc:graphicFrameChg>
        <pc:picChg chg="add mod ord">
          <ac:chgData name="Joelle Brehm" userId="a518f54c-6985-42c0-8041-2bb16a414839" providerId="ADAL" clId="{9B2768D1-DFDD-45FF-849C-23AD8ECAB483}" dt="2024-05-08T16:32:06.368" v="50451"/>
          <ac:picMkLst>
            <pc:docMk/>
            <pc:sldMk cId="3093897313" sldId="286"/>
            <ac:picMk id="9" creationId="{C81EA435-53B4-52D1-6698-64BA42D31871}"/>
          </ac:picMkLst>
        </pc:picChg>
        <pc:picChg chg="del mod ord">
          <ac:chgData name="Joelle Brehm" userId="a518f54c-6985-42c0-8041-2bb16a414839" providerId="ADAL" clId="{9B2768D1-DFDD-45FF-849C-23AD8ECAB483}" dt="2024-05-08T16:31:43.827" v="49452" actId="478"/>
          <ac:picMkLst>
            <pc:docMk/>
            <pc:sldMk cId="3093897313" sldId="286"/>
            <ac:picMk id="31" creationId="{7FF0BF4B-1741-A390-0289-A7890B167D5E}"/>
          </ac:picMkLst>
        </pc:picChg>
        <pc:picChg chg="mod ord">
          <ac:chgData name="Joelle Brehm" userId="a518f54c-6985-42c0-8041-2bb16a414839" providerId="ADAL" clId="{9B2768D1-DFDD-45FF-849C-23AD8ECAB483}" dt="2024-05-08T16:32:06.404" v="50517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2:06.370" v="50455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3:05.755" v="52393"/>
        <pc:sldMkLst>
          <pc:docMk/>
          <pc:sldMk cId="1459118046" sldId="288"/>
        </pc:sldMkLst>
        <pc:spChg chg="mod ord">
          <ac:chgData name="Joelle Brehm" userId="a518f54c-6985-42c0-8041-2bb16a414839" providerId="ADAL" clId="{9B2768D1-DFDD-45FF-849C-23AD8ECAB483}" dt="2024-05-08T16:33:05.720" v="52357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9B2768D1-DFDD-45FF-849C-23AD8ECAB483}" dt="2024-05-08T16:32:19.274" v="50528" actId="478"/>
          <ac:spMkLst>
            <pc:docMk/>
            <pc:sldMk cId="1459118046" sldId="288"/>
            <ac:spMk id="3" creationId="{67645104-CA56-D130-9A93-DFDFA3F9E609}"/>
          </ac:spMkLst>
        </pc:spChg>
        <pc:spChg chg="add del mod modVis">
          <ac:chgData name="Joelle Brehm" userId="a518f54c-6985-42c0-8041-2bb16a414839" providerId="ADAL" clId="{9B2768D1-DFDD-45FF-849C-23AD8ECAB483}" dt="2024-05-08T16:32:23.154" v="50747"/>
          <ac:spMkLst>
            <pc:docMk/>
            <pc:sldMk cId="1459118046" sldId="288"/>
            <ac:spMk id="5" creationId="{978354E1-5449-F856-2499-DFE7BB948183}"/>
          </ac:spMkLst>
        </pc:spChg>
        <pc:spChg chg="mod ord">
          <ac:chgData name="Joelle Brehm" userId="a518f54c-6985-42c0-8041-2bb16a414839" providerId="ADAL" clId="{9B2768D1-DFDD-45FF-849C-23AD8ECAB483}" dt="2024-05-08T16:33:05.705" v="52319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3:05.710" v="52332"/>
          <ac:spMkLst>
            <pc:docMk/>
            <pc:sldMk cId="1459118046" sldId="288"/>
            <ac:spMk id="10" creationId="{F330FDA5-01AA-960D-FADC-74B8E7D526E8}"/>
          </ac:spMkLst>
        </pc:spChg>
        <pc:spChg chg="add del mod modVis">
          <ac:chgData name="Joelle Brehm" userId="a518f54c-6985-42c0-8041-2bb16a414839" providerId="ADAL" clId="{9B2768D1-DFDD-45FF-849C-23AD8ECAB483}" dt="2024-05-08T16:32:45.287" v="51050"/>
          <ac:spMkLst>
            <pc:docMk/>
            <pc:sldMk cId="1459118046" sldId="288"/>
            <ac:spMk id="13" creationId="{D13F25DD-DF28-3A09-773F-2C9C065D7CCF}"/>
          </ac:spMkLst>
        </pc:spChg>
        <pc:spChg chg="mod">
          <ac:chgData name="Joelle Brehm" userId="a518f54c-6985-42c0-8041-2bb16a414839" providerId="ADAL" clId="{9B2768D1-DFDD-45FF-849C-23AD8ECAB483}" dt="2024-05-08T16:33:05.710" v="52333"/>
          <ac:spMkLst>
            <pc:docMk/>
            <pc:sldMk cId="1459118046" sldId="288"/>
            <ac:spMk id="15" creationId="{D494E85D-4F3D-3204-35FB-2E48C65A19C6}"/>
          </ac:spMkLst>
        </pc:spChg>
        <pc:spChg chg="mod">
          <ac:chgData name="Joelle Brehm" userId="a518f54c-6985-42c0-8041-2bb16a414839" providerId="ADAL" clId="{9B2768D1-DFDD-45FF-849C-23AD8ECAB483}" dt="2024-05-08T16:33:05.712" v="52336"/>
          <ac:spMkLst>
            <pc:docMk/>
            <pc:sldMk cId="1459118046" sldId="288"/>
            <ac:spMk id="17" creationId="{94023B31-D9C1-DAA3-4E90-5B42F38D372E}"/>
          </ac:spMkLst>
        </pc:spChg>
        <pc:spChg chg="mod">
          <ac:chgData name="Joelle Brehm" userId="a518f54c-6985-42c0-8041-2bb16a414839" providerId="ADAL" clId="{9B2768D1-DFDD-45FF-849C-23AD8ECAB483}" dt="2024-05-08T16:33:05.709" v="52330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9B2768D1-DFDD-45FF-849C-23AD8ECAB483}" dt="2024-05-08T16:33:05.712" v="52337"/>
          <ac:spMkLst>
            <pc:docMk/>
            <pc:sldMk cId="1459118046" sldId="288"/>
            <ac:spMk id="19" creationId="{684E5AE1-0CDA-4B7F-EC64-FB8D1F43ECBE}"/>
          </ac:spMkLst>
        </pc:spChg>
        <pc:spChg chg="mod">
          <ac:chgData name="Joelle Brehm" userId="a518f54c-6985-42c0-8041-2bb16a414839" providerId="ADAL" clId="{9B2768D1-DFDD-45FF-849C-23AD8ECAB483}" dt="2024-05-08T16:33:05.710" v="52331"/>
          <ac:spMkLst>
            <pc:docMk/>
            <pc:sldMk cId="1459118046" sldId="288"/>
            <ac:spMk id="20" creationId="{1E04F6C7-C5CE-0639-E6EE-4EA6F2501082}"/>
          </ac:spMkLst>
        </pc:spChg>
        <pc:spChg chg="add mod replST">
          <ac:chgData name="Joelle Brehm" userId="a518f54c-6985-42c0-8041-2bb16a414839" providerId="ADAL" clId="{9B2768D1-DFDD-45FF-849C-23AD8ECAB483}" dt="2024-05-08T16:33:05.714" v="52339"/>
          <ac:spMkLst>
            <pc:docMk/>
            <pc:sldMk cId="1459118046" sldId="288"/>
            <ac:spMk id="21" creationId="{7EDE55C2-D2E5-6F27-2361-2CC909872ED7}"/>
          </ac:spMkLst>
        </pc:spChg>
        <pc:spChg chg="mod">
          <ac:chgData name="Joelle Brehm" userId="a518f54c-6985-42c0-8041-2bb16a414839" providerId="ADAL" clId="{9B2768D1-DFDD-45FF-849C-23AD8ECAB483}" dt="2024-05-08T16:33:05.709" v="52329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9B2768D1-DFDD-45FF-849C-23AD8ECAB483}" dt="2024-05-08T16:33:05.706" v="52323"/>
          <ac:spMkLst>
            <pc:docMk/>
            <pc:sldMk cId="1459118046" sldId="288"/>
            <ac:spMk id="23" creationId="{4F66D543-1212-4042-AA81-691C8D2FF42C}"/>
          </ac:spMkLst>
        </pc:spChg>
        <pc:spChg chg="del mod">
          <ac:chgData name="Joelle Brehm" userId="a518f54c-6985-42c0-8041-2bb16a414839" providerId="ADAL" clId="{9B2768D1-DFDD-45FF-849C-23AD8ECAB483}" dt="2024-05-08T16:32:58.898" v="51842"/>
          <ac:spMkLst>
            <pc:docMk/>
            <pc:sldMk cId="1459118046" sldId="288"/>
            <ac:spMk id="24" creationId="{C635EC53-592F-A2D5-EF91-370516B08014}"/>
          </ac:spMkLst>
        </pc:spChg>
        <pc:spChg chg="mod">
          <ac:chgData name="Joelle Brehm" userId="a518f54c-6985-42c0-8041-2bb16a414839" providerId="ADAL" clId="{9B2768D1-DFDD-45FF-849C-23AD8ECAB483}" dt="2024-05-08T16:33:05.713" v="52338"/>
          <ac:spMkLst>
            <pc:docMk/>
            <pc:sldMk cId="1459118046" sldId="288"/>
            <ac:spMk id="25" creationId="{2104038D-F815-C2E8-FDBB-6EE2838F6910}"/>
          </ac:spMkLst>
        </pc:spChg>
        <pc:spChg chg="mod">
          <ac:chgData name="Joelle Brehm" userId="a518f54c-6985-42c0-8041-2bb16a414839" providerId="ADAL" clId="{9B2768D1-DFDD-45FF-849C-23AD8ECAB483}" dt="2024-05-08T16:33:05.711" v="52334"/>
          <ac:spMkLst>
            <pc:docMk/>
            <pc:sldMk cId="1459118046" sldId="288"/>
            <ac:spMk id="26" creationId="{F420E5CB-3D9D-458C-56DF-AF2792018047}"/>
          </ac:spMkLst>
        </pc:spChg>
        <pc:spChg chg="add del mod modVis">
          <ac:chgData name="Joelle Brehm" userId="a518f54c-6985-42c0-8041-2bb16a414839" providerId="ADAL" clId="{9B2768D1-DFDD-45FF-849C-23AD8ECAB483}" dt="2024-05-08T16:32:52.231" v="51447"/>
          <ac:spMkLst>
            <pc:docMk/>
            <pc:sldMk cId="1459118046" sldId="288"/>
            <ac:spMk id="27" creationId="{67C5E952-415B-FBCE-48A8-2360658112BD}"/>
          </ac:spMkLst>
        </pc:spChg>
        <pc:spChg chg="mod">
          <ac:chgData name="Joelle Brehm" userId="a518f54c-6985-42c0-8041-2bb16a414839" providerId="ADAL" clId="{9B2768D1-DFDD-45FF-849C-23AD8ECAB483}" dt="2024-05-08T16:33:05.711" v="52335"/>
          <ac:spMkLst>
            <pc:docMk/>
            <pc:sldMk cId="1459118046" sldId="288"/>
            <ac:spMk id="29" creationId="{540439B0-A678-8AD6-C88E-52118F5A08A3}"/>
          </ac:spMkLst>
        </pc:spChg>
        <pc:spChg chg="mod ord">
          <ac:chgData name="Joelle Brehm" userId="a518f54c-6985-42c0-8041-2bb16a414839" providerId="ADAL" clId="{9B2768D1-DFDD-45FF-849C-23AD8ECAB483}" dt="2024-05-08T16:33:05.707" v="52325"/>
          <ac:spMkLst>
            <pc:docMk/>
            <pc:sldMk cId="1459118046" sldId="28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32:53.788" v="51618"/>
          <ac:spMkLst>
            <pc:docMk/>
            <pc:sldMk cId="1459118046" sldId="288"/>
            <ac:spMk id="31" creationId="{5CB9FD01-D703-670E-CFAD-FB88361987E3}"/>
          </ac:spMkLst>
        </pc:spChg>
        <pc:spChg chg="mod">
          <ac:chgData name="Joelle Brehm" userId="a518f54c-6985-42c0-8041-2bb16a414839" providerId="ADAL" clId="{9B2768D1-DFDD-45FF-849C-23AD8ECAB483}" dt="2024-05-08T16:33:05.708" v="52328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9B2768D1-DFDD-45FF-849C-23AD8ECAB483}" dt="2024-05-08T16:32:55.959" v="51839"/>
          <ac:spMkLst>
            <pc:docMk/>
            <pc:sldMk cId="1459118046" sldId="288"/>
            <ac:spMk id="34" creationId="{E0C2FD39-A17F-8530-EF23-390A04C1BAAA}"/>
          </ac:spMkLst>
        </pc:spChg>
        <pc:spChg chg="mod">
          <ac:chgData name="Joelle Brehm" userId="a518f54c-6985-42c0-8041-2bb16a414839" providerId="ADAL" clId="{9B2768D1-DFDD-45FF-849C-23AD8ECAB483}" dt="2024-05-08T16:33:05.733" v="52387"/>
          <ac:spMkLst>
            <pc:docMk/>
            <pc:sldMk cId="1459118046" sldId="288"/>
            <ac:spMk id="35" creationId="{6B934B86-5715-3E83-5B96-BD8EBE06A322}"/>
          </ac:spMkLst>
        </pc:spChg>
        <pc:spChg chg="add del mod ord replST">
          <ac:chgData name="Joelle Brehm" userId="a518f54c-6985-42c0-8041-2bb16a414839" providerId="ADAL" clId="{9B2768D1-DFDD-45FF-849C-23AD8ECAB483}" dt="2024-05-08T16:33:02.522" v="52164"/>
          <ac:spMkLst>
            <pc:docMk/>
            <pc:sldMk cId="1459118046" sldId="288"/>
            <ac:spMk id="36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32:59.340" v="52105"/>
          <ac:spMkLst>
            <pc:docMk/>
            <pc:sldMk cId="1459118046" sldId="288"/>
            <ac:spMk id="38" creationId="{40420C8F-366F-0322-80D6-9FC496AEB966}"/>
          </ac:spMkLst>
        </pc:spChg>
        <pc:spChg chg="add del mod ord replST">
          <ac:chgData name="Joelle Brehm" userId="a518f54c-6985-42c0-8041-2bb16a414839" providerId="ADAL" clId="{9B2768D1-DFDD-45FF-849C-23AD8ECAB483}" dt="2024-05-08T16:33:05.667" v="52307"/>
          <ac:spMkLst>
            <pc:docMk/>
            <pc:sldMk cId="1459118046" sldId="288"/>
            <ac:spMk id="40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33:02.588" v="52250"/>
          <ac:spMkLst>
            <pc:docMk/>
            <pc:sldMk cId="1459118046" sldId="288"/>
            <ac:spMk id="42" creationId="{A58965C3-CF17-620E-67A3-985436F943CD}"/>
          </ac:spMkLst>
        </pc:spChg>
        <pc:spChg chg="add del mod modVis">
          <ac:chgData name="Joelle Brehm" userId="a518f54c-6985-42c0-8041-2bb16a414839" providerId="ADAL" clId="{9B2768D1-DFDD-45FF-849C-23AD8ECAB483}" dt="2024-05-08T16:33:05.734" v="52391"/>
          <ac:spMkLst>
            <pc:docMk/>
            <pc:sldMk cId="1459118046" sldId="288"/>
            <ac:spMk id="44" creationId="{CA1FE096-C366-93F9-FF4D-8696090A3713}"/>
          </ac:spMkLst>
        </pc:spChg>
        <pc:spChg chg="mod ord">
          <ac:chgData name="Joelle Brehm" userId="a518f54c-6985-42c0-8041-2bb16a414839" providerId="ADAL" clId="{9B2768D1-DFDD-45FF-849C-23AD8ECAB483}" dt="2024-05-08T16:33:05.714" v="52341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3:05.715" v="52343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9B2768D1-DFDD-45FF-849C-23AD8ECAB483}" dt="2024-05-08T16:33:05.724" v="52371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9B2768D1-DFDD-45FF-849C-23AD8ECAB483}" dt="2024-05-08T16:33:05.721" v="52360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9B2768D1-DFDD-45FF-849C-23AD8ECAB483}" dt="2024-05-08T16:33:05.719" v="52355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9B2768D1-DFDD-45FF-849C-23AD8ECAB483}" dt="2024-05-08T16:33:05.723" v="52366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9B2768D1-DFDD-45FF-849C-23AD8ECAB483}" dt="2024-05-08T16:33:05.721" v="52361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9B2768D1-DFDD-45FF-849C-23AD8ECAB483}" dt="2024-05-08T16:33:05.722" v="52365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9B2768D1-DFDD-45FF-849C-23AD8ECAB483}" dt="2024-05-08T16:33:05.716" v="52345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9B2768D1-DFDD-45FF-849C-23AD8ECAB483}" dt="2024-05-08T16:33:05.722" v="52362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9B2768D1-DFDD-45FF-849C-23AD8ECAB483}" dt="2024-05-08T16:33:05.722" v="52363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9B2768D1-DFDD-45FF-849C-23AD8ECAB483}" dt="2024-05-08T16:33:05.723" v="52367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9B2768D1-DFDD-45FF-849C-23AD8ECAB483}" dt="2024-05-08T16:33:05.722" v="52364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9B2768D1-DFDD-45FF-849C-23AD8ECAB483}" dt="2024-05-08T16:33:05.723" v="52368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9B2768D1-DFDD-45FF-849C-23AD8ECAB483}" dt="2024-05-08T16:33:05.724" v="52369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9B2768D1-DFDD-45FF-849C-23AD8ECAB483}" dt="2024-05-08T16:33:05.724" v="52370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9B2768D1-DFDD-45FF-849C-23AD8ECAB483}" dt="2024-05-08T16:33:05.716" v="52347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3:05.717" v="52349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3:05.718" v="52351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3:05.727" v="52376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9B2768D1-DFDD-45FF-849C-23AD8ECAB483}" dt="2024-05-08T16:33:05.726" v="52375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9B2768D1-DFDD-45FF-849C-23AD8ECAB483}" dt="2024-05-08T16:33:05.726" v="52374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9B2768D1-DFDD-45FF-849C-23AD8ECAB483}" dt="2024-05-08T16:33:05.725" v="52373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9B2768D1-DFDD-45FF-849C-23AD8ECAB483}" dt="2024-05-08T16:33:05.729" v="52380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9B2768D1-DFDD-45FF-849C-23AD8ECAB483}" dt="2024-05-08T16:33:05.729" v="52378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9B2768D1-DFDD-45FF-849C-23AD8ECAB483}" dt="2024-05-08T16:33:05.728" v="52377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9B2768D1-DFDD-45FF-849C-23AD8ECAB483}" dt="2024-05-08T16:33:05.729" v="52379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9B2768D1-DFDD-45FF-849C-23AD8ECAB483}" dt="2024-05-08T16:33:05.732" v="52385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9B2768D1-DFDD-45FF-849C-23AD8ECAB483}" dt="2024-05-08T16:33:05.732" v="52384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9B2768D1-DFDD-45FF-849C-23AD8ECAB483}" dt="2024-05-08T16:33:05.730" v="52383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9B2768D1-DFDD-45FF-849C-23AD8ECAB483}" dt="2024-05-08T16:33:05.732" v="52386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9B2768D1-DFDD-45FF-849C-23AD8ECAB483}" dt="2024-05-08T16:33:05.755" v="52393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B2768D1-DFDD-45FF-849C-23AD8ECAB483}" dt="2024-05-08T16:32:23.062" v="50663"/>
          <ac:graphicFrameMkLst>
            <pc:docMk/>
            <pc:sldMk cId="1459118046" sldId="288"/>
            <ac:graphicFrameMk id="8" creationId="{20674225-61DA-90E9-42B2-943E1E1C521C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3:05.720" v="52359"/>
          <ac:graphicFrameMkLst>
            <pc:docMk/>
            <pc:sldMk cId="1459118046" sldId="288"/>
            <ac:graphicFrameMk id="11" creationId="{784F62D3-9700-BC3F-3456-07839FD39EA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3:05.730" v="52382"/>
          <ac:graphicFrameMkLst>
            <pc:docMk/>
            <pc:sldMk cId="1459118046" sldId="288"/>
            <ac:graphicFrameMk id="14" creationId="{D6624650-D979-9070-A12B-C4D3DA1D27A5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2:45.228" v="50968"/>
          <ac:graphicFrameMkLst>
            <pc:docMk/>
            <pc:sldMk cId="1459118046" sldId="288"/>
            <ac:graphicFrameMk id="16" creationId="{A3FE0EDB-7FDD-2D5D-207A-72DE7D3052D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2:53.670" v="51524"/>
          <ac:graphicFrameMkLst>
            <pc:docMk/>
            <pc:sldMk cId="1459118046" sldId="288"/>
            <ac:graphicFrameMk id="28" creationId="{93F394C2-6C11-13CA-CD83-57FE665355D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2:55.861" v="51743"/>
          <ac:graphicFrameMkLst>
            <pc:docMk/>
            <pc:sldMk cId="1459118046" sldId="288"/>
            <ac:graphicFrameMk id="33" creationId="{6375E4CC-C1E3-A55B-CEF5-EDA171B47CF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2:59.221" v="52008"/>
          <ac:graphicFrameMkLst>
            <pc:docMk/>
            <pc:sldMk cId="1459118046" sldId="288"/>
            <ac:graphicFrameMk id="37" creationId="{F53A5CA4-D2BC-CCF3-6220-574A04C383B8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2:52.119" v="51358"/>
          <ac:graphicFrameMkLst>
            <pc:docMk/>
            <pc:sldMk cId="1459118046" sldId="288"/>
            <ac:graphicFrameMk id="39" creationId="{D84DB3AF-9CE3-B2C3-54F7-097344A2CC4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3:02.524" v="52166"/>
          <ac:graphicFrameMkLst>
            <pc:docMk/>
            <pc:sldMk cId="1459118046" sldId="288"/>
            <ac:graphicFrameMk id="41" creationId="{4EAE8AB4-BC64-1717-08CA-E0864E6504A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3:05.669" v="52309"/>
          <ac:graphicFrameMkLst>
            <pc:docMk/>
            <pc:sldMk cId="1459118046" sldId="288"/>
            <ac:graphicFrameMk id="43" creationId="{987081BF-3E73-6704-0D1F-C44BFE2530A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3:05.708" v="52327"/>
          <ac:graphicFrameMkLst>
            <pc:docMk/>
            <pc:sldMk cId="1459118046" sldId="288"/>
            <ac:graphicFrameMk id="45" creationId="{8F47DFB0-B509-D8A6-1324-D224B3955160}"/>
          </ac:graphicFrameMkLst>
        </pc:graphicFrameChg>
        <pc:picChg chg="del mod ord">
          <ac:chgData name="Joelle Brehm" userId="a518f54c-6985-42c0-8041-2bb16a414839" providerId="ADAL" clId="{9B2768D1-DFDD-45FF-849C-23AD8ECAB483}" dt="2024-05-08T16:32:36.757" v="50843" actId="478"/>
          <ac:picMkLst>
            <pc:docMk/>
            <pc:sldMk cId="1459118046" sldId="288"/>
            <ac:picMk id="9" creationId="{6BA97D15-06F3-C569-0F61-2DE75F95523C}"/>
          </ac:picMkLst>
        </pc:picChg>
        <pc:picChg chg="add mod ord">
          <ac:chgData name="Joelle Brehm" userId="a518f54c-6985-42c0-8041-2bb16a414839" providerId="ADAL" clId="{9B2768D1-DFDD-45FF-849C-23AD8ECAB483}" dt="2024-05-08T16:33:05.704" v="52317"/>
          <ac:picMkLst>
            <pc:docMk/>
            <pc:sldMk cId="1459118046" sldId="288"/>
            <ac:picMk id="12" creationId="{AA0B8E36-805B-6D54-5236-D61C1CCB45DC}"/>
          </ac:picMkLst>
        </pc:picChg>
        <pc:picChg chg="mod ord">
          <ac:chgData name="Joelle Brehm" userId="a518f54c-6985-42c0-8041-2bb16a414839" providerId="ADAL" clId="{9B2768D1-DFDD-45FF-849C-23AD8ECAB483}" dt="2024-05-08T16:33:05.718" v="52353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3:05.706" v="52321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4:14.792" v="54325"/>
        <pc:sldMkLst>
          <pc:docMk/>
          <pc:sldMk cId="10849840" sldId="290"/>
        </pc:sldMkLst>
        <pc:spChg chg="add del mod">
          <ac:chgData name="Joelle Brehm" userId="a518f54c-6985-42c0-8041-2bb16a414839" providerId="ADAL" clId="{9B2768D1-DFDD-45FF-849C-23AD8ECAB483}" dt="2024-05-08T16:33:13.489" v="52394" actId="478"/>
          <ac:spMkLst>
            <pc:docMk/>
            <pc:sldMk cId="10849840" sldId="290"/>
            <ac:spMk id="2" creationId="{AE8BB04B-6A17-F85C-B685-B23010E7BBBB}"/>
          </ac:spMkLst>
        </pc:spChg>
        <pc:spChg chg="mod ord">
          <ac:chgData name="Joelle Brehm" userId="a518f54c-6985-42c0-8041-2bb16a414839" providerId="ADAL" clId="{9B2768D1-DFDD-45FF-849C-23AD8ECAB483}" dt="2024-05-08T16:34:14.769" v="54319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9B2768D1-DFDD-45FF-849C-23AD8ECAB483}" dt="2024-05-08T16:34:14.750" v="54283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9B2768D1-DFDD-45FF-849C-23AD8ECAB483}" dt="2024-05-08T16:34:14.737" v="54251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9B2768D1-DFDD-45FF-849C-23AD8ECAB483}" dt="2024-05-08T16:33:19.525" v="52464"/>
          <ac:spMkLst>
            <pc:docMk/>
            <pc:sldMk cId="10849840" sldId="290"/>
            <ac:spMk id="8" creationId="{D3A3BF84-0CC8-655A-4901-FF06AC472BDE}"/>
          </ac:spMkLst>
        </pc:spChg>
        <pc:spChg chg="add del mod modVis">
          <ac:chgData name="Joelle Brehm" userId="a518f54c-6985-42c0-8041-2bb16a414839" providerId="ADAL" clId="{9B2768D1-DFDD-45FF-849C-23AD8ECAB483}" dt="2024-05-08T16:33:22.966" v="52671"/>
          <ac:spMkLst>
            <pc:docMk/>
            <pc:sldMk cId="10849840" sldId="290"/>
            <ac:spMk id="9" creationId="{07727F4C-B7E9-42B3-152F-274DDA8F7EF4}"/>
          </ac:spMkLst>
        </pc:spChg>
        <pc:spChg chg="mod">
          <ac:chgData name="Joelle Brehm" userId="a518f54c-6985-42c0-8041-2bb16a414839" providerId="ADAL" clId="{9B2768D1-DFDD-45FF-849C-23AD8ECAB483}" dt="2024-05-08T16:34:14.742" v="54262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4:14.740" v="54258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4:14.740" v="54259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4:14.739" v="54256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4:14.739" v="54257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4:14.741" v="54260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4:14.742" v="54261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4:14.742" v="54263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4:14.743" v="54264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4:14.743" v="54265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4:14.744" v="54266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4:14.744" v="54267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4:14.745" v="54269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4:14.746" v="54272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4:14.747" v="54274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4:14.746" v="54273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4:14.748" v="54277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4:14.748" v="54278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4:14.748" v="54276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4:14.749" v="54280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34:14.754" v="54288"/>
          <ac:spMkLst>
            <pc:docMk/>
            <pc:sldMk cId="10849840" sldId="290"/>
            <ac:spMk id="32" creationId="{6EC9F26A-A939-514C-7EDB-F425DFFD4036}"/>
          </ac:spMkLst>
        </pc:spChg>
        <pc:spChg chg="mod">
          <ac:chgData name="Joelle Brehm" userId="a518f54c-6985-42c0-8041-2bb16a414839" providerId="ADAL" clId="{9B2768D1-DFDD-45FF-849C-23AD8ECAB483}" dt="2024-05-08T16:34:14.751" v="54284"/>
          <ac:spMkLst>
            <pc:docMk/>
            <pc:sldMk cId="10849840" sldId="290"/>
            <ac:spMk id="33" creationId="{A55B1EF4-73C4-D584-0203-A74707EA08E2}"/>
          </ac:spMkLst>
        </pc:spChg>
        <pc:spChg chg="mod">
          <ac:chgData name="Joelle Brehm" userId="a518f54c-6985-42c0-8041-2bb16a414839" providerId="ADAL" clId="{9B2768D1-DFDD-45FF-849C-23AD8ECAB483}" dt="2024-05-08T16:34:14.757" v="54293"/>
          <ac:spMkLst>
            <pc:docMk/>
            <pc:sldMk cId="10849840" sldId="290"/>
            <ac:spMk id="35" creationId="{5068F9AC-303B-0780-2965-4D483BEE31B5}"/>
          </ac:spMkLst>
        </pc:spChg>
        <pc:spChg chg="mod ord">
          <ac:chgData name="Joelle Brehm" userId="a518f54c-6985-42c0-8041-2bb16a414839" providerId="ADAL" clId="{9B2768D1-DFDD-45FF-849C-23AD8ECAB483}" dt="2024-05-08T16:34:14.745" v="54271"/>
          <ac:spMkLst>
            <pc:docMk/>
            <pc:sldMk cId="10849840" sldId="290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9B2768D1-DFDD-45FF-849C-23AD8ECAB483}" dt="2024-05-08T16:33:45.992" v="52969"/>
          <ac:spMkLst>
            <pc:docMk/>
            <pc:sldMk cId="10849840" sldId="290"/>
            <ac:spMk id="38" creationId="{EA4A1CC8-EFC4-4826-4AC8-B89D5A61DA43}"/>
          </ac:spMkLst>
        </pc:spChg>
        <pc:spChg chg="mod">
          <ac:chgData name="Joelle Brehm" userId="a518f54c-6985-42c0-8041-2bb16a414839" providerId="ADAL" clId="{9B2768D1-DFDD-45FF-849C-23AD8ECAB483}" dt="2024-05-08T16:34:14.756" v="54291"/>
          <ac:spMkLst>
            <pc:docMk/>
            <pc:sldMk cId="10849840" sldId="290"/>
            <ac:spMk id="40" creationId="{A1E94C84-A04D-D474-C19C-53F6E4D29899}"/>
          </ac:spMkLst>
        </pc:spChg>
        <pc:spChg chg="add del mod modVis">
          <ac:chgData name="Joelle Brehm" userId="a518f54c-6985-42c0-8041-2bb16a414839" providerId="ADAL" clId="{9B2768D1-DFDD-45FF-849C-23AD8ECAB483}" dt="2024-05-08T16:33:52.939" v="53097"/>
          <ac:spMkLst>
            <pc:docMk/>
            <pc:sldMk cId="10849840" sldId="290"/>
            <ac:spMk id="41" creationId="{C3C8B869-187E-862D-A415-9C6334CFEFE5}"/>
          </ac:spMkLst>
        </pc:spChg>
        <pc:spChg chg="mod">
          <ac:chgData name="Joelle Brehm" userId="a518f54c-6985-42c0-8041-2bb16a414839" providerId="ADAL" clId="{9B2768D1-DFDD-45FF-849C-23AD8ECAB483}" dt="2024-05-08T16:34:14.752" v="54285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9B2768D1-DFDD-45FF-849C-23AD8ECAB483}" dt="2024-05-08T16:34:14.753" v="54286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9B2768D1-DFDD-45FF-849C-23AD8ECAB483}" dt="2024-05-08T16:34:14.755" v="54289"/>
          <ac:spMkLst>
            <pc:docMk/>
            <pc:sldMk cId="10849840" sldId="290"/>
            <ac:spMk id="45" creationId="{552BD52A-8984-63D8-5FA9-87FE57296EC3}"/>
          </ac:spMkLst>
        </pc:spChg>
        <pc:spChg chg="del mod">
          <ac:chgData name="Joelle Brehm" userId="a518f54c-6985-42c0-8041-2bb16a414839" providerId="ADAL" clId="{9B2768D1-DFDD-45FF-849C-23AD8ECAB483}" dt="2024-05-08T16:34:09.884" v="53930"/>
          <ac:spMkLst>
            <pc:docMk/>
            <pc:sldMk cId="10849840" sldId="290"/>
            <ac:spMk id="46" creationId="{3E1C433A-5376-E641-B9A1-4367058A9B7F}"/>
          </ac:spMkLst>
        </pc:spChg>
        <pc:spChg chg="mod">
          <ac:chgData name="Joelle Brehm" userId="a518f54c-6985-42c0-8041-2bb16a414839" providerId="ADAL" clId="{9B2768D1-DFDD-45FF-849C-23AD8ECAB483}" dt="2024-05-08T16:34:14.753" v="54287"/>
          <ac:spMkLst>
            <pc:docMk/>
            <pc:sldMk cId="10849840" sldId="290"/>
            <ac:spMk id="47" creationId="{0E162DBF-E60F-A83B-56A5-E40D4E5B4D77}"/>
          </ac:spMkLst>
        </pc:spChg>
        <pc:spChg chg="add del mod modVis">
          <ac:chgData name="Joelle Brehm" userId="a518f54c-6985-42c0-8041-2bb16a414839" providerId="ADAL" clId="{9B2768D1-DFDD-45FF-849C-23AD8ECAB483}" dt="2024-05-08T16:33:57.400" v="53225"/>
          <ac:spMkLst>
            <pc:docMk/>
            <pc:sldMk cId="10849840" sldId="290"/>
            <ac:spMk id="48" creationId="{72821865-FE67-7460-A8A1-017885277932}"/>
          </ac:spMkLst>
        </pc:spChg>
        <pc:spChg chg="mod">
          <ac:chgData name="Joelle Brehm" userId="a518f54c-6985-42c0-8041-2bb16a414839" providerId="ADAL" clId="{9B2768D1-DFDD-45FF-849C-23AD8ECAB483}" dt="2024-05-08T16:34:14.756" v="54292"/>
          <ac:spMkLst>
            <pc:docMk/>
            <pc:sldMk cId="10849840" sldId="290"/>
            <ac:spMk id="50" creationId="{449B00ED-3776-83CB-F1FD-BD8553FCA5FB}"/>
          </ac:spMkLst>
        </pc:spChg>
        <pc:spChg chg="mod">
          <ac:chgData name="Joelle Brehm" userId="a518f54c-6985-42c0-8041-2bb16a414839" providerId="ADAL" clId="{9B2768D1-DFDD-45FF-849C-23AD8ECAB483}" dt="2024-05-08T16:34:14.755" v="54290"/>
          <ac:spMkLst>
            <pc:docMk/>
            <pc:sldMk cId="10849840" sldId="290"/>
            <ac:spMk id="52" creationId="{DC96C436-B81F-F984-27FA-D181BC415FF2}"/>
          </ac:spMkLst>
        </pc:spChg>
        <pc:spChg chg="add mod replST">
          <ac:chgData name="Joelle Brehm" userId="a518f54c-6985-42c0-8041-2bb16a414839" providerId="ADAL" clId="{9B2768D1-DFDD-45FF-849C-23AD8ECAB483}" dt="2024-05-08T16:34:14.757" v="54294"/>
          <ac:spMkLst>
            <pc:docMk/>
            <pc:sldMk cId="10849840" sldId="290"/>
            <ac:spMk id="53" creationId="{93D173DE-D1D8-3BB4-7ADC-2134D178F624}"/>
          </ac:spMkLst>
        </pc:spChg>
        <pc:spChg chg="add del mod modVis">
          <ac:chgData name="Joelle Brehm" userId="a518f54c-6985-42c0-8041-2bb16a414839" providerId="ADAL" clId="{9B2768D1-DFDD-45FF-849C-23AD8ECAB483}" dt="2024-05-08T16:34:04.402" v="53591"/>
          <ac:spMkLst>
            <pc:docMk/>
            <pc:sldMk cId="10849840" sldId="290"/>
            <ac:spMk id="54" creationId="{9EEA3A7F-9A9D-E1C1-C213-D0B08285E989}"/>
          </ac:spMkLst>
        </pc:spChg>
        <pc:spChg chg="add del mod modVis">
          <ac:chgData name="Joelle Brehm" userId="a518f54c-6985-42c0-8041-2bb16a414839" providerId="ADAL" clId="{9B2768D1-DFDD-45FF-849C-23AD8ECAB483}" dt="2024-05-08T16:34:05.473" v="53760"/>
          <ac:spMkLst>
            <pc:docMk/>
            <pc:sldMk cId="10849840" sldId="290"/>
            <ac:spMk id="57" creationId="{CD6CE233-D0BF-2911-58D8-2F2CA2452DA0}"/>
          </ac:spMkLst>
        </pc:spChg>
        <pc:spChg chg="add del mod modVis">
          <ac:chgData name="Joelle Brehm" userId="a518f54c-6985-42c0-8041-2bb16a414839" providerId="ADAL" clId="{9B2768D1-DFDD-45FF-849C-23AD8ECAB483}" dt="2024-05-08T16:34:07.201" v="53927"/>
          <ac:spMkLst>
            <pc:docMk/>
            <pc:sldMk cId="10849840" sldId="290"/>
            <ac:spMk id="59" creationId="{A8012151-38DF-58CB-C959-BEF6DA7D7E56}"/>
          </ac:spMkLst>
        </pc:spChg>
        <pc:spChg chg="mod ord">
          <ac:chgData name="Joelle Brehm" userId="a518f54c-6985-42c0-8041-2bb16a414839" providerId="ADAL" clId="{9B2768D1-DFDD-45FF-849C-23AD8ECAB483}" dt="2024-05-08T16:34:14.768" v="54317"/>
          <ac:spMkLst>
            <pc:docMk/>
            <pc:sldMk cId="10849840" sldId="290"/>
            <ac:spMk id="60" creationId="{AB5689A7-20F6-4DF1-88AE-FB8557333BFB}"/>
          </ac:spMkLst>
        </pc:spChg>
        <pc:spChg chg="add del mod modVis">
          <ac:chgData name="Joelle Brehm" userId="a518f54c-6985-42c0-8041-2bb16a414839" providerId="ADAL" clId="{9B2768D1-DFDD-45FF-849C-23AD8ECAB483}" dt="2024-05-08T16:34:10.399" v="54186"/>
          <ac:spMkLst>
            <pc:docMk/>
            <pc:sldMk cId="10849840" sldId="290"/>
            <ac:spMk id="62" creationId="{536B6E8D-B1D6-8C95-6B8D-FB5FAB3E7197}"/>
          </ac:spMkLst>
        </pc:spChg>
        <pc:spChg chg="add del mod ord replST">
          <ac:chgData name="Joelle Brehm" userId="a518f54c-6985-42c0-8041-2bb16a414839" providerId="ADAL" clId="{9B2768D1-DFDD-45FF-849C-23AD8ECAB483}" dt="2024-05-08T16:34:14.698" v="54239"/>
          <ac:spMkLst>
            <pc:docMk/>
            <pc:sldMk cId="10849840" sldId="290"/>
            <ac:spMk id="63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34:14.770" v="54323"/>
          <ac:spMkLst>
            <pc:docMk/>
            <pc:sldMk cId="10849840" sldId="290"/>
            <ac:spMk id="65" creationId="{D690DD95-7F52-0153-D4C7-9FDD3616427D}"/>
          </ac:spMkLst>
        </pc:spChg>
        <pc:spChg chg="mod">
          <ac:chgData name="Joelle Brehm" userId="a518f54c-6985-42c0-8041-2bb16a414839" providerId="ADAL" clId="{9B2768D1-DFDD-45FF-849C-23AD8ECAB483}" dt="2024-05-08T16:34:14.747" v="54275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9B2768D1-DFDD-45FF-849C-23AD8ECAB483}" dt="2024-05-08T16:34:14.758" v="54296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4:14.759" v="54298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34:14.760" v="54300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4:14.761" v="54302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4:14.762" v="54304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4:14.762" v="54306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4:14.764" v="54309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4:14.764" v="54310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4:14.764" v="54311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4:14.765" v="54312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34:14.765" v="54313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34:14.792" v="54325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4:14.738" v="54255"/>
          <ac:graphicFrameMkLst>
            <pc:docMk/>
            <pc:sldMk cId="10849840" sldId="290"/>
            <ac:graphicFrameMk id="10" creationId="{6231236C-2460-14D3-0394-BC4D07F667D2}"/>
          </ac:graphicFrameMkLst>
        </pc:graphicFrameChg>
        <pc:graphicFrameChg chg="del">
          <ac:chgData name="Joelle Brehm" userId="a518f54c-6985-42c0-8041-2bb16a414839" providerId="ADAL" clId="{9B2768D1-DFDD-45FF-849C-23AD8ECAB483}" dt="2024-05-08T16:33:22.840" v="52587"/>
          <ac:graphicFrameMkLst>
            <pc:docMk/>
            <pc:sldMk cId="10849840" sldId="290"/>
            <ac:graphicFrameMk id="31" creationId="{316298B2-676E-B597-A957-C48960785AA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3:52.870" v="53015"/>
          <ac:graphicFrameMkLst>
            <pc:docMk/>
            <pc:sldMk cId="10849840" sldId="290"/>
            <ac:graphicFrameMk id="39" creationId="{21B74E65-4A0C-B435-60BC-6C36B106DDF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3:57.325" v="53143"/>
          <ac:graphicFrameMkLst>
            <pc:docMk/>
            <pc:sldMk cId="10849840" sldId="290"/>
            <ac:graphicFrameMk id="44" creationId="{BE439A97-72B0-9357-493E-FE286098EDB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4:14.763" v="54308"/>
          <ac:graphicFrameMkLst>
            <pc:docMk/>
            <pc:sldMk cId="10849840" sldId="290"/>
            <ac:graphicFrameMk id="49" creationId="{32D5329B-63A0-9B8D-06CA-18C2A770914C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4:04.256" v="53504"/>
          <ac:graphicFrameMkLst>
            <pc:docMk/>
            <pc:sldMk cId="10849840" sldId="290"/>
            <ac:graphicFrameMk id="51" creationId="{EF581E39-63E1-BA56-2188-16A6E7D68462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3:45.866" v="52887"/>
          <ac:graphicFrameMkLst>
            <pc:docMk/>
            <pc:sldMk cId="10849840" sldId="290"/>
            <ac:graphicFrameMk id="55" creationId="{03E68A7B-5723-A5C8-A38E-622ECB9096E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4:05.378" v="53666"/>
          <ac:graphicFrameMkLst>
            <pc:docMk/>
            <pc:sldMk cId="10849840" sldId="290"/>
            <ac:graphicFrameMk id="56" creationId="{A39DC88F-BC2E-CBEA-E94F-850A3A5FE70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4:07.092" v="53833"/>
          <ac:graphicFrameMkLst>
            <pc:docMk/>
            <pc:sldMk cId="10849840" sldId="290"/>
            <ac:graphicFrameMk id="58" creationId="{D435D08A-8B37-576B-CD13-73F070638BA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4:10.262" v="54091"/>
          <ac:graphicFrameMkLst>
            <pc:docMk/>
            <pc:sldMk cId="10849840" sldId="290"/>
            <ac:graphicFrameMk id="61" creationId="{6271DF65-73B2-D2F3-64D3-31C41169530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4:14.700" v="54241"/>
          <ac:graphicFrameMkLst>
            <pc:docMk/>
            <pc:sldMk cId="10849840" sldId="290"/>
            <ac:graphicFrameMk id="64" creationId="{21A1BC9F-73B2-72FB-A991-2C5DAD7EB8D0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4:14.750" v="54282"/>
          <ac:graphicFrameMkLst>
            <pc:docMk/>
            <pc:sldMk cId="10849840" sldId="290"/>
            <ac:graphicFrameMk id="66" creationId="{39FC68A7-C20C-D284-370E-A2FF71A57936}"/>
          </ac:graphicFrameMkLst>
        </pc:graphicFrameChg>
        <pc:picChg chg="del mod ord">
          <ac:chgData name="Joelle Brehm" userId="a518f54c-6985-42c0-8041-2bb16a414839" providerId="ADAL" clId="{9B2768D1-DFDD-45FF-849C-23AD8ECAB483}" dt="2024-05-08T16:33:36.023" v="52759" actId="478"/>
          <ac:picMkLst>
            <pc:docMk/>
            <pc:sldMk cId="10849840" sldId="290"/>
            <ac:picMk id="34" creationId="{1BFD03C4-373E-C955-20BB-4CB8A82A716B}"/>
          </ac:picMkLst>
        </pc:picChg>
        <pc:picChg chg="add mod ord">
          <ac:chgData name="Joelle Brehm" userId="a518f54c-6985-42c0-8041-2bb16a414839" providerId="ADAL" clId="{9B2768D1-DFDD-45FF-849C-23AD8ECAB483}" dt="2024-05-08T16:34:14.736" v="54249"/>
          <ac:picMkLst>
            <pc:docMk/>
            <pc:sldMk cId="10849840" sldId="290"/>
            <ac:picMk id="36" creationId="{A9B9B944-FD70-CFCC-B2E6-F18AF999D1D8}"/>
          </ac:picMkLst>
        </pc:picChg>
        <pc:picChg chg="mod ord">
          <ac:chgData name="Joelle Brehm" userId="a518f54c-6985-42c0-8041-2bb16a414839" providerId="ADAL" clId="{9B2768D1-DFDD-45FF-849C-23AD8ECAB483}" dt="2024-05-08T16:34:14.766" v="54315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4:14.738" v="54253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6:49.501" v="57636"/>
        <pc:sldMkLst>
          <pc:docMk/>
          <pc:sldMk cId="996393659" sldId="291"/>
        </pc:sldMkLst>
        <pc:spChg chg="mod ord">
          <ac:chgData name="Joelle Brehm" userId="a518f54c-6985-42c0-8041-2bb16a414839" providerId="ADAL" clId="{9B2768D1-DFDD-45FF-849C-23AD8ECAB483}" dt="2024-05-08T16:36:49.485" v="57630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9B2768D1-DFDD-45FF-849C-23AD8ECAB483}" dt="2024-05-08T16:35:29.210" v="56038" actId="478"/>
          <ac:spMkLst>
            <pc:docMk/>
            <pc:sldMk cId="996393659" sldId="291"/>
            <ac:spMk id="3" creationId="{B5DB31A5-C66B-BA06-96BB-D4482F799ADA}"/>
          </ac:spMkLst>
        </pc:spChg>
        <pc:spChg chg="add del mod modVis">
          <ac:chgData name="Joelle Brehm" userId="a518f54c-6985-42c0-8041-2bb16a414839" providerId="ADAL" clId="{9B2768D1-DFDD-45FF-849C-23AD8ECAB483}" dt="2024-05-08T16:35:33.054" v="56257"/>
          <ac:spMkLst>
            <pc:docMk/>
            <pc:sldMk cId="996393659" sldId="291"/>
            <ac:spMk id="5" creationId="{2F9D2C2C-AEA5-4534-ADC8-8066B169F441}"/>
          </ac:spMkLst>
        </pc:spChg>
        <pc:spChg chg="mod ord">
          <ac:chgData name="Joelle Brehm" userId="a518f54c-6985-42c0-8041-2bb16a414839" providerId="ADAL" clId="{9B2768D1-DFDD-45FF-849C-23AD8ECAB483}" dt="2024-05-08T16:36:49.469" v="57562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6:49.471" v="57573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6:49.470" v="57569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6:49.470" v="57570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6:49.470" v="57567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6:49.470" v="57568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6:49.471" v="57571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6:49.471" v="57572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6:49.471" v="57574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6:49.473" v="57575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6:49.473" v="57576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6:49.473" v="57577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6:49.473" v="57578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6:49.474" v="57580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6:49.474" v="57583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6:49.474" v="57585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6:49.474" v="57584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6:49.475" v="57588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6:49.475" v="57589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6:49.475" v="57587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6:49.475" v="57591"/>
          <ac:spMkLst>
            <pc:docMk/>
            <pc:sldMk cId="996393659" sldId="291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9B2768D1-DFDD-45FF-849C-23AD8ECAB483}" dt="2024-05-08T16:36:03.300" v="56533"/>
          <ac:spMkLst>
            <pc:docMk/>
            <pc:sldMk cId="996393659" sldId="291"/>
            <ac:spMk id="31" creationId="{1FB8987C-4DC0-2F70-3E7D-CDB1818C06BF}"/>
          </ac:spMkLst>
        </pc:spChg>
        <pc:spChg chg="mod">
          <ac:chgData name="Joelle Brehm" userId="a518f54c-6985-42c0-8041-2bb16a414839" providerId="ADAL" clId="{9B2768D1-DFDD-45FF-849C-23AD8ECAB483}" dt="2024-05-08T16:36:49.478" v="57599"/>
          <ac:spMkLst>
            <pc:docMk/>
            <pc:sldMk cId="996393659" sldId="291"/>
            <ac:spMk id="32" creationId="{27A91E20-CA24-9C21-342D-ABA565F5471B}"/>
          </ac:spMkLst>
        </pc:spChg>
        <pc:spChg chg="mod">
          <ac:chgData name="Joelle Brehm" userId="a518f54c-6985-42c0-8041-2bb16a414839" providerId="ADAL" clId="{9B2768D1-DFDD-45FF-849C-23AD8ECAB483}" dt="2024-05-08T16:36:49.479" v="57602"/>
          <ac:spMkLst>
            <pc:docMk/>
            <pc:sldMk cId="996393659" sldId="291"/>
            <ac:spMk id="33" creationId="{CB5C8FD5-055D-6A27-CF2F-C337C198975F}"/>
          </ac:spMkLst>
        </pc:spChg>
        <pc:spChg chg="mod">
          <ac:chgData name="Joelle Brehm" userId="a518f54c-6985-42c0-8041-2bb16a414839" providerId="ADAL" clId="{9B2768D1-DFDD-45FF-849C-23AD8ECAB483}" dt="2024-05-08T16:36:49.479" v="57603"/>
          <ac:spMkLst>
            <pc:docMk/>
            <pc:sldMk cId="996393659" sldId="291"/>
            <ac:spMk id="36" creationId="{A69784E3-14C3-52CF-6613-6D8ECE4E8A6A}"/>
          </ac:spMkLst>
        </pc:spChg>
        <pc:spChg chg="mod ord">
          <ac:chgData name="Joelle Brehm" userId="a518f54c-6985-42c0-8041-2bb16a414839" providerId="ADAL" clId="{9B2768D1-DFDD-45FF-849C-23AD8ECAB483}" dt="2024-05-08T16:36:49.474" v="57582"/>
          <ac:spMkLst>
            <pc:docMk/>
            <pc:sldMk cId="996393659" sldId="291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9B2768D1-DFDD-45FF-849C-23AD8ECAB483}" dt="2024-05-08T16:36:49.480" v="57605"/>
          <ac:spMkLst>
            <pc:docMk/>
            <pc:sldMk cId="996393659" sldId="291"/>
            <ac:spMk id="38" creationId="{AB652CCA-FD67-8777-6FAD-9A937FE3AA5B}"/>
          </ac:spMkLst>
        </pc:spChg>
        <pc:spChg chg="mod">
          <ac:chgData name="Joelle Brehm" userId="a518f54c-6985-42c0-8041-2bb16a414839" providerId="ADAL" clId="{9B2768D1-DFDD-45FF-849C-23AD8ECAB483}" dt="2024-05-08T16:36:49.476" v="57594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9B2768D1-DFDD-45FF-849C-23AD8ECAB483}" dt="2024-05-08T16:36:49.476" v="57595"/>
          <ac:spMkLst>
            <pc:docMk/>
            <pc:sldMk cId="996393659" sldId="291"/>
            <ac:spMk id="41" creationId="{99EE3A94-95FB-03C1-2179-11BFF50F2502}"/>
          </ac:spMkLst>
        </pc:spChg>
        <pc:spChg chg="add del mod modVis">
          <ac:chgData name="Joelle Brehm" userId="a518f54c-6985-42c0-8041-2bb16a414839" providerId="ADAL" clId="{9B2768D1-DFDD-45FF-849C-23AD8ECAB483}" dt="2024-05-08T16:36:09.523" v="56980"/>
          <ac:spMkLst>
            <pc:docMk/>
            <pc:sldMk cId="996393659" sldId="291"/>
            <ac:spMk id="42" creationId="{FE7A4D43-3265-52FD-A391-624BB831BBFE}"/>
          </ac:spMkLst>
        </pc:spChg>
        <pc:spChg chg="mod">
          <ac:chgData name="Joelle Brehm" userId="a518f54c-6985-42c0-8041-2bb16a414839" providerId="ADAL" clId="{9B2768D1-DFDD-45FF-849C-23AD8ECAB483}" dt="2024-05-08T16:36:49.478" v="57596"/>
          <ac:spMkLst>
            <pc:docMk/>
            <pc:sldMk cId="996393659" sldId="291"/>
            <ac:spMk id="43" creationId="{303C9E64-DDAA-B40A-C9BA-080A4CEAFB77}"/>
          </ac:spMkLst>
        </pc:spChg>
        <pc:spChg chg="del mod">
          <ac:chgData name="Joelle Brehm" userId="a518f54c-6985-42c0-8041-2bb16a414839" providerId="ADAL" clId="{9B2768D1-DFDD-45FF-849C-23AD8ECAB483}" dt="2024-05-08T16:36:14.660" v="57155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9B2768D1-DFDD-45FF-849C-23AD8ECAB483}" dt="2024-05-08T16:36:49.478" v="57597"/>
          <ac:spMkLst>
            <pc:docMk/>
            <pc:sldMk cId="996393659" sldId="291"/>
            <ac:spMk id="45" creationId="{7A6869B6-C6F2-DDAD-D4B2-6D5DE21E6DC6}"/>
          </ac:spMkLst>
        </pc:spChg>
        <pc:spChg chg="mod">
          <ac:chgData name="Joelle Brehm" userId="a518f54c-6985-42c0-8041-2bb16a414839" providerId="ADAL" clId="{9B2768D1-DFDD-45FF-849C-23AD8ECAB483}" dt="2024-05-08T16:36:49.479" v="57601"/>
          <ac:spMkLst>
            <pc:docMk/>
            <pc:sldMk cId="996393659" sldId="291"/>
            <ac:spMk id="46" creationId="{70F395A2-745A-564E-6009-C9A72EA00DA6}"/>
          </ac:spMkLst>
        </pc:spChg>
        <pc:spChg chg="mod">
          <ac:chgData name="Joelle Brehm" userId="a518f54c-6985-42c0-8041-2bb16a414839" providerId="ADAL" clId="{9B2768D1-DFDD-45FF-849C-23AD8ECAB483}" dt="2024-05-08T16:36:49.478" v="57598"/>
          <ac:spMkLst>
            <pc:docMk/>
            <pc:sldMk cId="996393659" sldId="291"/>
            <ac:spMk id="47" creationId="{954547EF-AD33-B12C-24C3-BC43A057FE8B}"/>
          </ac:spMkLst>
        </pc:spChg>
        <pc:spChg chg="mod">
          <ac:chgData name="Joelle Brehm" userId="a518f54c-6985-42c0-8041-2bb16a414839" providerId="ADAL" clId="{9B2768D1-DFDD-45FF-849C-23AD8ECAB483}" dt="2024-05-08T16:36:49.479" v="57604"/>
          <ac:spMkLst>
            <pc:docMk/>
            <pc:sldMk cId="996393659" sldId="291"/>
            <ac:spMk id="48" creationId="{2701738F-C238-836B-D9DE-4987A0F33EEC}"/>
          </ac:spMkLst>
        </pc:spChg>
        <pc:spChg chg="add del mod ord replST">
          <ac:chgData name="Joelle Brehm" userId="a518f54c-6985-42c0-8041-2bb16a414839" providerId="ADAL" clId="{9B2768D1-DFDD-45FF-849C-23AD8ECAB483}" dt="2024-05-08T16:36:49.445" v="57550"/>
          <ac:spMkLst>
            <pc:docMk/>
            <pc:sldMk cId="996393659" sldId="291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36:12.422" v="57152"/>
          <ac:spMkLst>
            <pc:docMk/>
            <pc:sldMk cId="996393659" sldId="291"/>
            <ac:spMk id="51" creationId="{2F51826B-BF22-78AF-804A-147B34E9805D}"/>
          </ac:spMkLst>
        </pc:spChg>
        <pc:spChg chg="mod">
          <ac:chgData name="Joelle Brehm" userId="a518f54c-6985-42c0-8041-2bb16a414839" providerId="ADAL" clId="{9B2768D1-DFDD-45FF-849C-23AD8ECAB483}" dt="2024-05-08T16:36:49.478" v="57600"/>
          <ac:spMkLst>
            <pc:docMk/>
            <pc:sldMk cId="996393659" sldId="291"/>
            <ac:spMk id="53" creationId="{BBEFF6A7-9912-F6A1-9F12-1B2BB6B5B810}"/>
          </ac:spMkLst>
        </pc:spChg>
        <pc:spChg chg="add del mod modVis">
          <ac:chgData name="Joelle Brehm" userId="a518f54c-6985-42c0-8041-2bb16a414839" providerId="ADAL" clId="{9B2768D1-DFDD-45FF-849C-23AD8ECAB483}" dt="2024-05-08T16:36:14.858" v="57331"/>
          <ac:spMkLst>
            <pc:docMk/>
            <pc:sldMk cId="996393659" sldId="291"/>
            <ac:spMk id="54" creationId="{295DCC66-855D-C03B-4821-38B09C365E14}"/>
          </ac:spMkLst>
        </pc:spChg>
        <pc:spChg chg="add del mod modVis">
          <ac:chgData name="Joelle Brehm" userId="a518f54c-6985-42c0-8041-2bb16a414839" providerId="ADAL" clId="{9B2768D1-DFDD-45FF-849C-23AD8ECAB483}" dt="2024-05-08T16:36:17.747" v="57499"/>
          <ac:spMkLst>
            <pc:docMk/>
            <pc:sldMk cId="996393659" sldId="291"/>
            <ac:spMk id="56" creationId="{02DC10D3-93AB-212D-5830-FF24C0E28BB5}"/>
          </ac:spMkLst>
        </pc:spChg>
        <pc:spChg chg="add del mod modVis">
          <ac:chgData name="Joelle Brehm" userId="a518f54c-6985-42c0-8041-2bb16a414839" providerId="ADAL" clId="{9B2768D1-DFDD-45FF-849C-23AD8ECAB483}" dt="2024-05-08T16:36:49.487" v="57634"/>
          <ac:spMkLst>
            <pc:docMk/>
            <pc:sldMk cId="996393659" sldId="291"/>
            <ac:spMk id="58" creationId="{A09AD8C8-7826-A988-18A3-386D148523CF}"/>
          </ac:spMkLst>
        </pc:spChg>
        <pc:spChg chg="mod">
          <ac:chgData name="Joelle Brehm" userId="a518f54c-6985-42c0-8041-2bb16a414839" providerId="ADAL" clId="{9B2768D1-DFDD-45FF-849C-23AD8ECAB483}" dt="2024-05-08T16:36:49.474" v="57586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9B2768D1-DFDD-45FF-849C-23AD8ECAB483}" dt="2024-05-08T16:36:49.480" v="57607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6:49.481" v="57609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36:49.485" v="57628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9B2768D1-DFDD-45FF-849C-23AD8ECAB483}" dt="2024-05-08T16:36:49.481" v="57611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6:49.481" v="57613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6:49.482" v="57615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6:49.483" v="57617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6:49.483" v="57620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6:49.484" v="57621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6:49.484" v="57622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6:49.484" v="57623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36:49.484" v="57624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36:49.501" v="57636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B2768D1-DFDD-45FF-849C-23AD8ECAB483}" dt="2024-05-08T16:35:32.921" v="56173"/>
          <ac:graphicFrameMkLst>
            <pc:docMk/>
            <pc:sldMk cId="996393659" sldId="291"/>
            <ac:graphicFrameMk id="8" creationId="{7C09CCFD-808A-13C2-E006-358B94EDEB0A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6:49.469" v="57566"/>
          <ac:graphicFrameMkLst>
            <pc:docMk/>
            <pc:sldMk cId="996393659" sldId="291"/>
            <ac:graphicFrameMk id="9" creationId="{6F90C643-EBF8-530C-F1D3-6B8780530800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6:49.483" v="57619"/>
          <ac:graphicFrameMkLst>
            <pc:docMk/>
            <pc:sldMk cId="996393659" sldId="291"/>
            <ac:graphicFrameMk id="35" creationId="{08F5A27F-87F9-FA81-43A5-8147EC890C00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6:03.214" v="56451"/>
          <ac:graphicFrameMkLst>
            <pc:docMk/>
            <pc:sldMk cId="996393659" sldId="291"/>
            <ac:graphicFrameMk id="39" creationId="{8F8AAB69-9EE9-DE06-31BA-0ABC4374044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6:12.310" v="57054"/>
          <ac:graphicFrameMkLst>
            <pc:docMk/>
            <pc:sldMk cId="996393659" sldId="291"/>
            <ac:graphicFrameMk id="50" creationId="{FA1B4D10-797E-8C2F-5CAF-4F24CCE8F72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6:14.778" v="57247"/>
          <ac:graphicFrameMkLst>
            <pc:docMk/>
            <pc:sldMk cId="996393659" sldId="291"/>
            <ac:graphicFrameMk id="52" creationId="{20C7197D-4FAE-13D3-495D-E673980ECED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6:17.663" v="57402"/>
          <ac:graphicFrameMkLst>
            <pc:docMk/>
            <pc:sldMk cId="996393659" sldId="291"/>
            <ac:graphicFrameMk id="55" creationId="{4A3F31D3-E885-3999-AC34-5436FBB53E2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6:49.446" v="57552"/>
          <ac:graphicFrameMkLst>
            <pc:docMk/>
            <pc:sldMk cId="996393659" sldId="291"/>
            <ac:graphicFrameMk id="57" creationId="{ACE38626-FBDE-1D0F-3D3D-2145B64ABE69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6:09.379" v="56882"/>
          <ac:graphicFrameMkLst>
            <pc:docMk/>
            <pc:sldMk cId="996393659" sldId="291"/>
            <ac:graphicFrameMk id="59" creationId="{A58426F4-7C88-75DF-6DF5-0C0C9D1E7C23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6:49.476" v="57593"/>
          <ac:graphicFrameMkLst>
            <pc:docMk/>
            <pc:sldMk cId="996393659" sldId="291"/>
            <ac:graphicFrameMk id="60" creationId="{D57716FB-40FF-BA7D-307E-5B2617214694}"/>
          </ac:graphicFrameMkLst>
        </pc:graphicFrameChg>
        <pc:picChg chg="add mod ord">
          <ac:chgData name="Joelle Brehm" userId="a518f54c-6985-42c0-8041-2bb16a414839" providerId="ADAL" clId="{9B2768D1-DFDD-45FF-849C-23AD8ECAB483}" dt="2024-05-08T16:36:49.468" v="57560"/>
          <ac:picMkLst>
            <pc:docMk/>
            <pc:sldMk cId="996393659" sldId="291"/>
            <ac:picMk id="10" creationId="{84139295-ABD8-FEED-7F8C-DBF675C60948}"/>
          </ac:picMkLst>
        </pc:picChg>
        <pc:picChg chg="del mod ord">
          <ac:chgData name="Joelle Brehm" userId="a518f54c-6985-42c0-8041-2bb16a414839" providerId="ADAL" clId="{9B2768D1-DFDD-45FF-849C-23AD8ECAB483}" dt="2024-05-08T16:35:52.328" v="56347" actId="478"/>
          <ac:picMkLst>
            <pc:docMk/>
            <pc:sldMk cId="996393659" sldId="291"/>
            <ac:picMk id="34" creationId="{6360D14E-6AF5-7243-6CFA-54052EA156B2}"/>
          </ac:picMkLst>
        </pc:picChg>
        <pc:picChg chg="mod ord">
          <ac:chgData name="Joelle Brehm" userId="a518f54c-6985-42c0-8041-2bb16a414839" providerId="ADAL" clId="{9B2768D1-DFDD-45FF-849C-23AD8ECAB483}" dt="2024-05-08T16:36:49.485" v="57626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6:49.469" v="57564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5:19.808" v="56037"/>
        <pc:sldMkLst>
          <pc:docMk/>
          <pc:sldMk cId="3635637425" sldId="292"/>
        </pc:sldMkLst>
        <pc:spChg chg="mod ord">
          <ac:chgData name="Joelle Brehm" userId="a518f54c-6985-42c0-8041-2bb16a414839" providerId="ADAL" clId="{9B2768D1-DFDD-45FF-849C-23AD8ECAB483}" dt="2024-05-08T16:35:19.793" v="56031"/>
          <ac:spMkLst>
            <pc:docMk/>
            <pc:sldMk cId="3635637425" sldId="292"/>
            <ac:spMk id="2" creationId="{9445A78E-5217-4459-B540-57B5B2359A2E}"/>
          </ac:spMkLst>
        </pc:spChg>
        <pc:spChg chg="add del mod">
          <ac:chgData name="Joelle Brehm" userId="a518f54c-6985-42c0-8041-2bb16a414839" providerId="ADAL" clId="{9B2768D1-DFDD-45FF-849C-23AD8ECAB483}" dt="2024-05-08T16:34:30.034" v="54326" actId="478"/>
          <ac:spMkLst>
            <pc:docMk/>
            <pc:sldMk cId="3635637425" sldId="292"/>
            <ac:spMk id="3" creationId="{506AD617-69FC-D410-537D-9B4119A12C39}"/>
          </ac:spMkLst>
        </pc:spChg>
        <pc:spChg chg="add del mod modVis">
          <ac:chgData name="Joelle Brehm" userId="a518f54c-6985-42c0-8041-2bb16a414839" providerId="ADAL" clId="{9B2768D1-DFDD-45FF-849C-23AD8ECAB483}" dt="2024-05-08T16:34:34.463" v="54553"/>
          <ac:spMkLst>
            <pc:docMk/>
            <pc:sldMk cId="3635637425" sldId="292"/>
            <ac:spMk id="5" creationId="{092616B5-7D5D-7457-49DC-655AF3C51DDA}"/>
          </ac:spMkLst>
        </pc:spChg>
        <pc:spChg chg="mod ord">
          <ac:chgData name="Joelle Brehm" userId="a518f54c-6985-42c0-8041-2bb16a414839" providerId="ADAL" clId="{9B2768D1-DFDD-45FF-849C-23AD8ECAB483}" dt="2024-05-08T16:35:19.777" v="55963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9B2768D1-DFDD-45FF-849C-23AD8ECAB483}" dt="2024-05-08T16:35:19.779" v="55974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9B2768D1-DFDD-45FF-849C-23AD8ECAB483}" dt="2024-05-08T16:35:19.778" v="55970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9B2768D1-DFDD-45FF-849C-23AD8ECAB483}" dt="2024-05-08T16:35:19.778" v="55971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9B2768D1-DFDD-45FF-849C-23AD8ECAB483}" dt="2024-05-08T16:35:19.778" v="55968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9B2768D1-DFDD-45FF-849C-23AD8ECAB483}" dt="2024-05-08T16:35:19.778" v="55969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9B2768D1-DFDD-45FF-849C-23AD8ECAB483}" dt="2024-05-08T16:35:19.779" v="55972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9B2768D1-DFDD-45FF-849C-23AD8ECAB483}" dt="2024-05-08T16:35:19.779" v="55973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9B2768D1-DFDD-45FF-849C-23AD8ECAB483}" dt="2024-05-08T16:35:19.780" v="55975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9B2768D1-DFDD-45FF-849C-23AD8ECAB483}" dt="2024-05-08T16:35:19.780" v="55976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9B2768D1-DFDD-45FF-849C-23AD8ECAB483}" dt="2024-05-08T16:35:19.780" v="55977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9B2768D1-DFDD-45FF-849C-23AD8ECAB483}" dt="2024-05-08T16:35:19.780" v="55978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9B2768D1-DFDD-45FF-849C-23AD8ECAB483}" dt="2024-05-08T16:35:19.781" v="55979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9B2768D1-DFDD-45FF-849C-23AD8ECAB483}" dt="2024-05-08T16:35:19.781" v="55981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9B2768D1-DFDD-45FF-849C-23AD8ECAB483}" dt="2024-05-08T16:35:19.782" v="55984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9B2768D1-DFDD-45FF-849C-23AD8ECAB483}" dt="2024-05-08T16:35:19.782" v="55986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9B2768D1-DFDD-45FF-849C-23AD8ECAB483}" dt="2024-05-08T16:35:19.782" v="55985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9B2768D1-DFDD-45FF-849C-23AD8ECAB483}" dt="2024-05-08T16:35:19.783" v="55989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9B2768D1-DFDD-45FF-849C-23AD8ECAB483}" dt="2024-05-08T16:35:19.783" v="55990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9B2768D1-DFDD-45FF-849C-23AD8ECAB483}" dt="2024-05-08T16:35:19.783" v="55988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9B2768D1-DFDD-45FF-849C-23AD8ECAB483}" dt="2024-05-08T16:35:19.784" v="55992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9B2768D1-DFDD-45FF-849C-23AD8ECAB483}" dt="2024-05-08T16:35:19.787" v="56004"/>
          <ac:spMkLst>
            <pc:docMk/>
            <pc:sldMk cId="3635637425" sldId="292"/>
            <ac:spMk id="32" creationId="{8F9B02F6-DAE6-BC87-0735-690A0C269FE9}"/>
          </ac:spMkLst>
        </pc:spChg>
        <pc:spChg chg="mod">
          <ac:chgData name="Joelle Brehm" userId="a518f54c-6985-42c0-8041-2bb16a414839" providerId="ADAL" clId="{9B2768D1-DFDD-45FF-849C-23AD8ECAB483}" dt="2024-05-08T16:35:19.785" v="56000"/>
          <ac:spMkLst>
            <pc:docMk/>
            <pc:sldMk cId="3635637425" sldId="292"/>
            <ac:spMk id="33" creationId="{FC0BC779-DB08-9C64-2173-284503839894}"/>
          </ac:spMkLst>
        </pc:spChg>
        <pc:spChg chg="mod">
          <ac:chgData name="Joelle Brehm" userId="a518f54c-6985-42c0-8041-2bb16a414839" providerId="ADAL" clId="{9B2768D1-DFDD-45FF-849C-23AD8ECAB483}" dt="2024-05-08T16:35:19.787" v="56003"/>
          <ac:spMkLst>
            <pc:docMk/>
            <pc:sldMk cId="3635637425" sldId="292"/>
            <ac:spMk id="34" creationId="{1A89A7DF-5840-E927-8D60-C325BD6C6D3A}"/>
          </ac:spMkLst>
        </pc:spChg>
        <pc:spChg chg="add del mod modVis">
          <ac:chgData name="Joelle Brehm" userId="a518f54c-6985-42c0-8041-2bb16a414839" providerId="ADAL" clId="{9B2768D1-DFDD-45FF-849C-23AD8ECAB483}" dt="2024-05-08T16:34:53.294" v="54812"/>
          <ac:spMkLst>
            <pc:docMk/>
            <pc:sldMk cId="3635637425" sldId="292"/>
            <ac:spMk id="35" creationId="{4577EE5A-9B48-FD39-B23E-C399DD450B50}"/>
          </ac:spMkLst>
        </pc:spChg>
        <pc:spChg chg="mod ord">
          <ac:chgData name="Joelle Brehm" userId="a518f54c-6985-42c0-8041-2bb16a414839" providerId="ADAL" clId="{9B2768D1-DFDD-45FF-849C-23AD8ECAB483}" dt="2024-05-08T16:35:19.782" v="55983"/>
          <ac:spMkLst>
            <pc:docMk/>
            <pc:sldMk cId="3635637425" sldId="292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9B2768D1-DFDD-45FF-849C-23AD8ECAB483}" dt="2024-05-08T16:35:00.464" v="54940"/>
          <ac:spMkLst>
            <pc:docMk/>
            <pc:sldMk cId="3635637425" sldId="292"/>
            <ac:spMk id="38" creationId="{9AD61C76-EA4C-42C0-FFC4-9CFA9BBD70C2}"/>
          </ac:spMkLst>
        </pc:spChg>
        <pc:spChg chg="mod">
          <ac:chgData name="Joelle Brehm" userId="a518f54c-6985-42c0-8041-2bb16a414839" providerId="ADAL" clId="{9B2768D1-DFDD-45FF-849C-23AD8ECAB483}" dt="2024-05-08T16:35:19.784" v="55995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9B2768D1-DFDD-45FF-849C-23AD8ECAB483}" dt="2024-05-08T16:35:19.784" v="55996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9B2768D1-DFDD-45FF-849C-23AD8ECAB483}" dt="2024-05-08T16:35:19.785" v="55997"/>
          <ac:spMkLst>
            <pc:docMk/>
            <pc:sldMk cId="3635637425" sldId="292"/>
            <ac:spMk id="41" creationId="{CAD662BE-DA77-C496-2C1F-D8B2218DD0E5}"/>
          </ac:spMkLst>
        </pc:spChg>
        <pc:spChg chg="mod">
          <ac:chgData name="Joelle Brehm" userId="a518f54c-6985-42c0-8041-2bb16a414839" providerId="ADAL" clId="{9B2768D1-DFDD-45FF-849C-23AD8ECAB483}" dt="2024-05-08T16:35:19.785" v="55998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9B2768D1-DFDD-45FF-849C-23AD8ECAB483}" dt="2024-05-08T16:35:19.786" v="56001"/>
          <ac:spMkLst>
            <pc:docMk/>
            <pc:sldMk cId="3635637425" sldId="292"/>
            <ac:spMk id="45" creationId="{A417CFF4-2744-C952-9C9F-69606D981D63}"/>
          </ac:spMkLst>
        </pc:spChg>
        <pc:spChg chg="del mod">
          <ac:chgData name="Joelle Brehm" userId="a518f54c-6985-42c0-8041-2bb16a414839" providerId="ADAL" clId="{9B2768D1-DFDD-45FF-849C-23AD8ECAB483}" dt="2024-05-08T16:35:16.768" v="55720"/>
          <ac:spMkLst>
            <pc:docMk/>
            <pc:sldMk cId="3635637425" sldId="292"/>
            <ac:spMk id="46" creationId="{38D3D6F2-A854-D543-7C6D-CB3894DB11AC}"/>
          </ac:spMkLst>
        </pc:spChg>
        <pc:spChg chg="mod">
          <ac:chgData name="Joelle Brehm" userId="a518f54c-6985-42c0-8041-2bb16a414839" providerId="ADAL" clId="{9B2768D1-DFDD-45FF-849C-23AD8ECAB483}" dt="2024-05-08T16:35:19.787" v="56002"/>
          <ac:spMkLst>
            <pc:docMk/>
            <pc:sldMk cId="3635637425" sldId="292"/>
            <ac:spMk id="47" creationId="{23D31415-4B44-8B3E-05F2-6373D86735DA}"/>
          </ac:spMkLst>
        </pc:spChg>
        <pc:spChg chg="mod">
          <ac:chgData name="Joelle Brehm" userId="a518f54c-6985-42c0-8041-2bb16a414839" providerId="ADAL" clId="{9B2768D1-DFDD-45FF-849C-23AD8ECAB483}" dt="2024-05-08T16:35:19.788" v="56005"/>
          <ac:spMkLst>
            <pc:docMk/>
            <pc:sldMk cId="3635637425" sldId="292"/>
            <ac:spMk id="48" creationId="{17326811-6623-0C6F-CD08-2B764DF4E600}"/>
          </ac:spMkLst>
        </pc:spChg>
        <pc:spChg chg="mod">
          <ac:chgData name="Joelle Brehm" userId="a518f54c-6985-42c0-8041-2bb16a414839" providerId="ADAL" clId="{9B2768D1-DFDD-45FF-849C-23AD8ECAB483}" dt="2024-05-08T16:35:19.785" v="55999"/>
          <ac:spMkLst>
            <pc:docMk/>
            <pc:sldMk cId="3635637425" sldId="292"/>
            <ac:spMk id="49" creationId="{C2AC46DF-8DB5-4BF7-F270-6657C4B8CE44}"/>
          </ac:spMkLst>
        </pc:spChg>
        <pc:spChg chg="add mod replST">
          <ac:chgData name="Joelle Brehm" userId="a518f54c-6985-42c0-8041-2bb16a414839" providerId="ADAL" clId="{9B2768D1-DFDD-45FF-849C-23AD8ECAB483}" dt="2024-05-08T16:35:19.788" v="56006"/>
          <ac:spMkLst>
            <pc:docMk/>
            <pc:sldMk cId="3635637425" sldId="292"/>
            <ac:spMk id="50" creationId="{92CA77E9-99C7-DBE7-923F-64AAD11CD257}"/>
          </ac:spMkLst>
        </pc:spChg>
        <pc:spChg chg="add del mod modVis">
          <ac:chgData name="Joelle Brehm" userId="a518f54c-6985-42c0-8041-2bb16a414839" providerId="ADAL" clId="{9B2768D1-DFDD-45FF-849C-23AD8ECAB483}" dt="2024-05-08T16:35:08.449" v="55329"/>
          <ac:spMkLst>
            <pc:docMk/>
            <pc:sldMk cId="3635637425" sldId="292"/>
            <ac:spMk id="51" creationId="{45E48544-60C9-132A-C8F4-2C560C3C0924}"/>
          </ac:spMkLst>
        </pc:spChg>
        <pc:spChg chg="add del mod modVis">
          <ac:chgData name="Joelle Brehm" userId="a518f54c-6985-42c0-8041-2bb16a414839" providerId="ADAL" clId="{9B2768D1-DFDD-45FF-849C-23AD8ECAB483}" dt="2024-05-08T16:35:10.547" v="55498"/>
          <ac:spMkLst>
            <pc:docMk/>
            <pc:sldMk cId="3635637425" sldId="292"/>
            <ac:spMk id="53" creationId="{27C31585-498B-DC87-77BA-1A57EE08A2F1}"/>
          </ac:spMkLst>
        </pc:spChg>
        <pc:spChg chg="add del mod modVis">
          <ac:chgData name="Joelle Brehm" userId="a518f54c-6985-42c0-8041-2bb16a414839" providerId="ADAL" clId="{9B2768D1-DFDD-45FF-849C-23AD8ECAB483}" dt="2024-05-08T16:35:14.296" v="55717"/>
          <ac:spMkLst>
            <pc:docMk/>
            <pc:sldMk cId="3635637425" sldId="292"/>
            <ac:spMk id="55" creationId="{669DD970-1E98-8C51-87AA-E20B33899B22}"/>
          </ac:spMkLst>
        </pc:spChg>
        <pc:spChg chg="add del mod ord replST">
          <ac:chgData name="Joelle Brehm" userId="a518f54c-6985-42c0-8041-2bb16a414839" providerId="ADAL" clId="{9B2768D1-DFDD-45FF-849C-23AD8ECAB483}" dt="2024-05-08T16:35:19.751" v="55951"/>
          <ac:spMkLst>
            <pc:docMk/>
            <pc:sldMk cId="3635637425" sldId="292"/>
            <ac:spMk id="56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35:17.074" v="55898"/>
          <ac:spMkLst>
            <pc:docMk/>
            <pc:sldMk cId="3635637425" sldId="292"/>
            <ac:spMk id="58" creationId="{B8EED207-57C0-55A1-9B87-06D5A0708718}"/>
          </ac:spMkLst>
        </pc:spChg>
        <pc:spChg chg="mod ord">
          <ac:chgData name="Joelle Brehm" userId="a518f54c-6985-42c0-8041-2bb16a414839" providerId="ADAL" clId="{9B2768D1-DFDD-45FF-849C-23AD8ECAB483}" dt="2024-05-08T16:35:19.793" v="56029"/>
          <ac:spMkLst>
            <pc:docMk/>
            <pc:sldMk cId="3635637425" sldId="292"/>
            <ac:spMk id="60" creationId="{8AFF754E-1785-41DB-892C-A30765DCA565}"/>
          </ac:spMkLst>
        </pc:spChg>
        <pc:spChg chg="add del mod modVis">
          <ac:chgData name="Joelle Brehm" userId="a518f54c-6985-42c0-8041-2bb16a414839" providerId="ADAL" clId="{9B2768D1-DFDD-45FF-849C-23AD8ECAB483}" dt="2024-05-08T16:35:19.794" v="56035"/>
          <ac:spMkLst>
            <pc:docMk/>
            <pc:sldMk cId="3635637425" sldId="292"/>
            <ac:spMk id="61" creationId="{56647E6E-D6FD-B090-5D02-FF208DABA2F5}"/>
          </ac:spMkLst>
        </pc:spChg>
        <pc:spChg chg="mod">
          <ac:chgData name="Joelle Brehm" userId="a518f54c-6985-42c0-8041-2bb16a414839" providerId="ADAL" clId="{9B2768D1-DFDD-45FF-849C-23AD8ECAB483}" dt="2024-05-08T16:35:19.783" v="55987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9B2768D1-DFDD-45FF-849C-23AD8ECAB483}" dt="2024-05-08T16:35:19.789" v="56008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9B2768D1-DFDD-45FF-849C-23AD8ECAB483}" dt="2024-05-08T16:35:19.789" v="56010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9B2768D1-DFDD-45FF-849C-23AD8ECAB483}" dt="2024-05-08T16:35:19.789" v="56012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9B2768D1-DFDD-45FF-849C-23AD8ECAB483}" dt="2024-05-08T16:35:19.790" v="56014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9B2768D1-DFDD-45FF-849C-23AD8ECAB483}" dt="2024-05-08T16:35:19.790" v="56016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9B2768D1-DFDD-45FF-849C-23AD8ECAB483}" dt="2024-05-08T16:35:19.791" v="56018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9B2768D1-DFDD-45FF-849C-23AD8ECAB483}" dt="2024-05-08T16:35:19.791" v="56021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5:19.792" v="56022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5:19.792" v="56023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5:19.792" v="56024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9B2768D1-DFDD-45FF-849C-23AD8ECAB483}" dt="2024-05-08T16:35:19.792" v="56025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B2768D1-DFDD-45FF-849C-23AD8ECAB483}" dt="2024-05-08T16:35:19.808" v="56037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B2768D1-DFDD-45FF-849C-23AD8ECAB483}" dt="2024-05-08T16:34:34.336" v="54467"/>
          <ac:graphicFrameMkLst>
            <pc:docMk/>
            <pc:sldMk cId="3635637425" sldId="292"/>
            <ac:graphicFrameMk id="8" creationId="{6BDCE70D-967C-0434-A614-F0B7524FCC11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5:19.777" v="55967"/>
          <ac:graphicFrameMkLst>
            <pc:docMk/>
            <pc:sldMk cId="3635637425" sldId="292"/>
            <ac:graphicFrameMk id="9" creationId="{DC3FE0A4-D542-AD0D-0A15-C9B4EA96608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5:00.402" v="54858"/>
          <ac:graphicFrameMkLst>
            <pc:docMk/>
            <pc:sldMk cId="3635637425" sldId="292"/>
            <ac:graphicFrameMk id="36" creationId="{12B7145C-ED7C-A6DA-F6B5-1F87ADD00A7B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4:53.230" v="54730"/>
          <ac:graphicFrameMkLst>
            <pc:docMk/>
            <pc:sldMk cId="3635637425" sldId="292"/>
            <ac:graphicFrameMk id="42" creationId="{CF59C0C8-DA85-3617-7456-02E198EF0AC9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5:19.791" v="56020"/>
          <ac:graphicFrameMkLst>
            <pc:docMk/>
            <pc:sldMk cId="3635637425" sldId="292"/>
            <ac:graphicFrameMk id="44" creationId="{A6925864-9B69-4B02-1F0B-98B673D1FD5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5:10.391" v="55402"/>
          <ac:graphicFrameMkLst>
            <pc:docMk/>
            <pc:sldMk cId="3635637425" sldId="292"/>
            <ac:graphicFrameMk id="52" creationId="{51F4FACE-CEE9-C805-A464-428D9485B73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5:14.177" v="55619"/>
          <ac:graphicFrameMkLst>
            <pc:docMk/>
            <pc:sldMk cId="3635637425" sldId="292"/>
            <ac:graphicFrameMk id="54" creationId="{48AEF2BF-FEC0-409F-0147-ED7BB8ECAB2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5:16.951" v="55814"/>
          <ac:graphicFrameMkLst>
            <pc:docMk/>
            <pc:sldMk cId="3635637425" sldId="292"/>
            <ac:graphicFrameMk id="57" creationId="{CA7B0475-4E12-55A6-E656-2E592661AF7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5:19.753" v="55953"/>
          <ac:graphicFrameMkLst>
            <pc:docMk/>
            <pc:sldMk cId="3635637425" sldId="292"/>
            <ac:graphicFrameMk id="59" creationId="{AC19BEFC-0410-A5F0-DBC4-E730BDE60C0D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5:19.784" v="55994"/>
          <ac:graphicFrameMkLst>
            <pc:docMk/>
            <pc:sldMk cId="3635637425" sldId="292"/>
            <ac:graphicFrameMk id="62" creationId="{B3150D6C-C0E9-7644-C15B-2B3F820DABE9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5:08.317" v="55233"/>
          <ac:graphicFrameMkLst>
            <pc:docMk/>
            <pc:sldMk cId="3635637425" sldId="292"/>
            <ac:graphicFrameMk id="148" creationId="{6307384F-F428-EDB3-BFB9-C2B3AB515E17}"/>
          </ac:graphicFrameMkLst>
        </pc:graphicFrameChg>
        <pc:picChg chg="del mod ord">
          <ac:chgData name="Joelle Brehm" userId="a518f54c-6985-42c0-8041-2bb16a414839" providerId="ADAL" clId="{9B2768D1-DFDD-45FF-849C-23AD8ECAB483}" dt="2024-05-08T16:34:46.247" v="54640" actId="478"/>
          <ac:picMkLst>
            <pc:docMk/>
            <pc:sldMk cId="3635637425" sldId="292"/>
            <ac:picMk id="10" creationId="{80E47554-C153-BC7A-09F0-37413CF7DD47}"/>
          </ac:picMkLst>
        </pc:picChg>
        <pc:picChg chg="add mod ord">
          <ac:chgData name="Joelle Brehm" userId="a518f54c-6985-42c0-8041-2bb16a414839" providerId="ADAL" clId="{9B2768D1-DFDD-45FF-849C-23AD8ECAB483}" dt="2024-05-08T16:35:19.776" v="55961"/>
          <ac:picMkLst>
            <pc:docMk/>
            <pc:sldMk cId="3635637425" sldId="292"/>
            <ac:picMk id="31" creationId="{7A0336A4-0C20-FA08-35C5-075688B2E2D2}"/>
          </ac:picMkLst>
        </pc:picChg>
        <pc:picChg chg="mod ord">
          <ac:chgData name="Joelle Brehm" userId="a518f54c-6985-42c0-8041-2bb16a414839" providerId="ADAL" clId="{9B2768D1-DFDD-45FF-849C-23AD8ECAB483}" dt="2024-05-08T16:35:19.792" v="56027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B2768D1-DFDD-45FF-849C-23AD8ECAB483}" dt="2024-05-08T16:35:19.777" v="55965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9T15:12:42.022" v="64711" actId="1038"/>
        <pc:sldMkLst>
          <pc:docMk/>
          <pc:sldMk cId="4143996880" sldId="293"/>
        </pc:sldMkLst>
        <pc:spChg chg="mod ord">
          <ac:chgData name="Joelle Brehm" userId="a518f54c-6985-42c0-8041-2bb16a414839" providerId="ADAL" clId="{9B2768D1-DFDD-45FF-849C-23AD8ECAB483}" dt="2024-05-09T15:12:37.979" v="64698"/>
          <ac:spMkLst>
            <pc:docMk/>
            <pc:sldMk cId="4143996880" sldId="293"/>
            <ac:spMk id="2" creationId="{01E014B2-1FBF-48C6-9093-6CFE20AFFCCE}"/>
          </ac:spMkLst>
        </pc:spChg>
        <pc:spChg chg="mod ord">
          <ac:chgData name="Joelle Brehm" userId="a518f54c-6985-42c0-8041-2bb16a414839" providerId="ADAL" clId="{9B2768D1-DFDD-45FF-849C-23AD8ECAB483}" dt="2024-05-09T15:12:37.972" v="64673"/>
          <ac:spMkLst>
            <pc:docMk/>
            <pc:sldMk cId="4143996880" sldId="293"/>
            <ac:spMk id="5" creationId="{7B827F87-784E-46DA-B4AC-26C5F16C015D}"/>
          </ac:spMkLst>
        </pc:spChg>
        <pc:spChg chg="add del mod">
          <ac:chgData name="Joelle Brehm" userId="a518f54c-6985-42c0-8041-2bb16a414839" providerId="ADAL" clId="{9B2768D1-DFDD-45FF-849C-23AD8ECAB483}" dt="2024-05-07T16:09:24.286" v="408" actId="478"/>
          <ac:spMkLst>
            <pc:docMk/>
            <pc:sldMk cId="4143996880" sldId="293"/>
            <ac:spMk id="6" creationId="{FBC62DDD-BAA9-A8C7-99BE-88ECF1C774B4}"/>
          </ac:spMkLst>
        </pc:spChg>
        <pc:spChg chg="mod ord">
          <ac:chgData name="Joelle Brehm" userId="a518f54c-6985-42c0-8041-2bb16a414839" providerId="ADAL" clId="{9B2768D1-DFDD-45FF-849C-23AD8ECAB483}" dt="2024-05-09T15:12:37.980" v="64700"/>
          <ac:spMkLst>
            <pc:docMk/>
            <pc:sldMk cId="4143996880" sldId="293"/>
            <ac:spMk id="7" creationId="{4565A035-FE13-20EE-FA55-3EF1907FA676}"/>
          </ac:spMkLst>
        </pc:spChg>
        <pc:spChg chg="mod">
          <ac:chgData name="Joelle Brehm" userId="a518f54c-6985-42c0-8041-2bb16a414839" providerId="ADAL" clId="{9B2768D1-DFDD-45FF-849C-23AD8ECAB483}" dt="2024-05-09T15:12:37.975" v="64682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9B2768D1-DFDD-45FF-849C-23AD8ECAB483}" dt="2024-05-09T15:12:37.974" v="64678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9B2768D1-DFDD-45FF-849C-23AD8ECAB483}" dt="2024-05-09T15:12:37.973" v="64676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9B2768D1-DFDD-45FF-849C-23AD8ECAB483}" dt="2024-05-09T15:12:37.974" v="64677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9B2768D1-DFDD-45FF-849C-23AD8ECAB483}" dt="2024-05-09T15:12:37.974" v="64679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9B2768D1-DFDD-45FF-849C-23AD8ECAB483}" dt="2024-05-09T15:12:37.976" v="64685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9B2768D1-DFDD-45FF-849C-23AD8ECAB483}" dt="2024-05-09T15:12:37.974" v="64680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9B2768D1-DFDD-45FF-849C-23AD8ECAB483}" dt="2024-05-09T15:12:37.975" v="64683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9B2768D1-DFDD-45FF-849C-23AD8ECAB483}" dt="2024-05-09T15:12:37.975" v="64681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9B2768D1-DFDD-45FF-849C-23AD8ECAB483}" dt="2024-05-09T15:12:37.976" v="64684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9B2768D1-DFDD-45FF-849C-23AD8ECAB483}" dt="2024-05-09T15:12:37.976" v="64686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9B2768D1-DFDD-45FF-849C-23AD8ECAB483}" dt="2024-05-09T15:12:37.976" v="64687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9B2768D1-DFDD-45FF-849C-23AD8ECAB483}" dt="2024-05-09T15:12:37.977" v="64689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9B2768D1-DFDD-45FF-849C-23AD8ECAB483}" dt="2024-05-09T15:12:37.977" v="64691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9B2768D1-DFDD-45FF-849C-23AD8ECAB483}" dt="2024-05-09T15:06:48.934" v="64658"/>
          <ac:spMkLst>
            <pc:docMk/>
            <pc:sldMk cId="4143996880" sldId="293"/>
            <ac:spMk id="23" creationId="{452CD409-1D7A-13F6-6DC5-464B4AB54CCC}"/>
          </ac:spMkLst>
        </pc:spChg>
        <pc:spChg chg="add del mod modVis">
          <ac:chgData name="Joelle Brehm" userId="a518f54c-6985-42c0-8041-2bb16a414839" providerId="ADAL" clId="{9B2768D1-DFDD-45FF-849C-23AD8ECAB483}" dt="2024-05-07T16:10:20.494" v="705"/>
          <ac:spMkLst>
            <pc:docMk/>
            <pc:sldMk cId="4143996880" sldId="293"/>
            <ac:spMk id="25" creationId="{AE4F8AE4-2E5D-B690-D967-BF08F1ADCBB1}"/>
          </ac:spMkLst>
        </pc:spChg>
        <pc:spChg chg="mod ord">
          <ac:chgData name="Joelle Brehm" userId="a518f54c-6985-42c0-8041-2bb16a414839" providerId="ADAL" clId="{9B2768D1-DFDD-45FF-849C-23AD8ECAB483}" dt="2024-05-09T15:12:37.978" v="64693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9B2768D1-DFDD-45FF-849C-23AD8ECAB483}" dt="2024-05-09T15:12:37.978" v="64695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9B2768D1-DFDD-45FF-849C-23AD8ECAB483}" dt="2024-05-09T15:12:37.994" v="64706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16:10:20.463" v="662"/>
          <ac:graphicFrameMkLst>
            <pc:docMk/>
            <pc:sldMk cId="4143996880" sldId="293"/>
            <ac:graphicFrameMk id="24" creationId="{92F26A34-9F9E-19CD-A790-ECFFC93489F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5:12:37.973" v="64675"/>
          <ac:graphicFrameMkLst>
            <pc:docMk/>
            <pc:sldMk cId="4143996880" sldId="293"/>
            <ac:graphicFrameMk id="24" creationId="{FD45BE2B-1F47-9FDE-F6A2-74815928DAC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9T15:06:48.884" v="64613"/>
          <ac:graphicFrameMkLst>
            <pc:docMk/>
            <pc:sldMk cId="4143996880" sldId="293"/>
            <ac:graphicFrameMk id="26" creationId="{9797B794-DA39-04B6-893D-91A625856DCD}"/>
          </ac:graphicFrameMkLst>
        </pc:graphicFrameChg>
        <pc:picChg chg="mod ord">
          <ac:chgData name="Joelle Brehm" userId="a518f54c-6985-42c0-8041-2bb16a414839" providerId="ADAL" clId="{9B2768D1-DFDD-45FF-849C-23AD8ECAB483}" dt="2024-05-09T15:12:42.022" v="64711" actId="1038"/>
          <ac:picMkLst>
            <pc:docMk/>
            <pc:sldMk cId="4143996880" sldId="293"/>
            <ac:picMk id="3" creationId="{9B11BCD5-BEF9-2061-41CD-8FEE02DFC75B}"/>
          </ac:picMkLst>
        </pc:picChg>
        <pc:picChg chg="add mod ord">
          <ac:chgData name="Joelle Brehm" userId="a518f54c-6985-42c0-8041-2bb16a414839" providerId="ADAL" clId="{9B2768D1-DFDD-45FF-849C-23AD8ECAB483}" dt="2024-05-09T15:12:37.971" v="64669"/>
          <ac:picMkLst>
            <pc:docMk/>
            <pc:sldMk cId="4143996880" sldId="293"/>
            <ac:picMk id="6" creationId="{36134F01-BE5D-7BF3-D789-DB0EDC9CDF65}"/>
          </ac:picMkLst>
        </pc:picChg>
        <pc:picChg chg="add mod ord">
          <ac:chgData name="Joelle Brehm" userId="a518f54c-6985-42c0-8041-2bb16a414839" providerId="ADAL" clId="{9B2768D1-DFDD-45FF-849C-23AD8ECAB483}" dt="2024-05-09T15:12:37.971" v="64667"/>
          <ac:picMkLst>
            <pc:docMk/>
            <pc:sldMk cId="4143996880" sldId="293"/>
            <ac:picMk id="22" creationId="{0CC08C96-4E2A-D36C-F4F5-3B772B79ACF3}"/>
          </ac:picMkLst>
        </pc:picChg>
        <pc:picChg chg="add del mod ord">
          <ac:chgData name="Joelle Brehm" userId="a518f54c-6985-42c0-8041-2bb16a414839" providerId="ADAL" clId="{9B2768D1-DFDD-45FF-849C-23AD8ECAB483}" dt="2024-05-09T15:06:31.236" v="64406" actId="478"/>
          <ac:picMkLst>
            <pc:docMk/>
            <pc:sldMk cId="4143996880" sldId="293"/>
            <ac:picMk id="22" creationId="{7761884D-9629-9B87-FD34-D6BF363C6E99}"/>
          </ac:picMkLst>
        </pc:picChg>
        <pc:picChg chg="del mod ord">
          <ac:chgData name="Joelle Brehm" userId="a518f54c-6985-42c0-8041-2bb16a414839" providerId="ADAL" clId="{9B2768D1-DFDD-45FF-849C-23AD8ECAB483}" dt="2024-05-07T16:09:58.465" v="454" actId="478"/>
          <ac:picMkLst>
            <pc:docMk/>
            <pc:sldMk cId="4143996880" sldId="293"/>
            <ac:picMk id="23" creationId="{B13D46A7-4602-2E01-4BC1-376A1530D703}"/>
          </ac:picMkLst>
        </pc:picChg>
        <pc:picChg chg="add del mod">
          <ac:chgData name="Joelle Brehm" userId="a518f54c-6985-42c0-8041-2bb16a414839" providerId="ADAL" clId="{9B2768D1-DFDD-45FF-849C-23AD8ECAB483}" dt="2024-05-09T15:07:01.462" v="64663" actId="478"/>
          <ac:picMkLst>
            <pc:docMk/>
            <pc:sldMk cId="4143996880" sldId="293"/>
            <ac:picMk id="25" creationId="{DACF2A26-1EAE-CE24-0D52-8DED1B3B9EB4}"/>
          </ac:picMkLst>
        </pc:picChg>
        <pc:picChg chg="add del mod ord">
          <ac:chgData name="Joelle Brehm" userId="a518f54c-6985-42c0-8041-2bb16a414839" providerId="ADAL" clId="{9B2768D1-DFDD-45FF-849C-23AD8ECAB483}" dt="2024-05-09T15:12:39.264" v="64707" actId="478"/>
          <ac:picMkLst>
            <pc:docMk/>
            <pc:sldMk cId="4143996880" sldId="293"/>
            <ac:picMk id="27" creationId="{73DA7288-2B32-DA5A-26A4-25676CD611D2}"/>
          </ac:picMkLst>
        </pc:picChg>
        <pc:picChg chg="mod">
          <ac:chgData name="Joelle Brehm" userId="a518f54c-6985-42c0-8041-2bb16a414839" providerId="ADAL" clId="{9B2768D1-DFDD-45FF-849C-23AD8ECAB483}" dt="2024-05-09T15:12:37.978" v="64696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9B2768D1-DFDD-45FF-849C-23AD8ECAB483}" dt="2024-05-09T19:33:28.124" v="66240"/>
        <pc:sldMkLst>
          <pc:docMk/>
          <pc:sldMk cId="77660323" sldId="295"/>
        </pc:sldMkLst>
        <pc:spChg chg="add del mod modVis">
          <ac:chgData name="Joelle Brehm" userId="a518f54c-6985-42c0-8041-2bb16a414839" providerId="ADAL" clId="{9B2768D1-DFDD-45FF-849C-23AD8ECAB483}" dt="2024-05-09T19:30:16.311" v="65923"/>
          <ac:spMkLst>
            <pc:docMk/>
            <pc:sldMk cId="77660323" sldId="295"/>
            <ac:spMk id="2" creationId="{57100F54-ADED-81A3-7FB1-EF8796E024B8}"/>
          </ac:spMkLst>
        </pc:spChg>
        <pc:spChg chg="add del mod">
          <ac:chgData name="Joelle Brehm" userId="a518f54c-6985-42c0-8041-2bb16a414839" providerId="ADAL" clId="{9B2768D1-DFDD-45FF-849C-23AD8ECAB483}" dt="2024-05-07T20:48:01.451" v="6927" actId="478"/>
          <ac:spMkLst>
            <pc:docMk/>
            <pc:sldMk cId="77660323" sldId="295"/>
            <ac:spMk id="2" creationId="{6D29BB48-2DF4-0C85-8470-87BA45BD9D21}"/>
          </ac:spMkLst>
        </pc:spChg>
        <pc:spChg chg="mod ord">
          <ac:chgData name="Joelle Brehm" userId="a518f54c-6985-42c0-8041-2bb16a414839" providerId="ADAL" clId="{9B2768D1-DFDD-45FF-849C-23AD8ECAB483}" dt="2024-05-09T19:33:28.035" v="66123"/>
          <ac:spMkLst>
            <pc:docMk/>
            <pc:sldMk cId="77660323" sldId="295"/>
            <ac:spMk id="5" creationId="{7B827F87-784E-46DA-B4AC-26C5F16C015D}"/>
          </ac:spMkLst>
        </pc:spChg>
        <pc:spChg chg="del">
          <ac:chgData name="Joelle Brehm" userId="a518f54c-6985-42c0-8041-2bb16a414839" providerId="ADAL" clId="{9B2768D1-DFDD-45FF-849C-23AD8ECAB483}" dt="2024-05-07T20:48:12.019" v="6928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9B2768D1-DFDD-45FF-849C-23AD8ECAB483}" dt="2024-05-09T19:33:28.040" v="66143"/>
          <ac:spMkLst>
            <pc:docMk/>
            <pc:sldMk cId="77660323" sldId="295"/>
            <ac:spMk id="7" creationId="{AC248985-01B4-CD8C-E025-DF4D35603919}"/>
          </ac:spMkLst>
        </pc:spChg>
        <pc:spChg chg="mod">
          <ac:chgData name="Joelle Brehm" userId="a518f54c-6985-42c0-8041-2bb16a414839" providerId="ADAL" clId="{9B2768D1-DFDD-45FF-849C-23AD8ECAB483}" dt="2024-05-09T19:33:28.041" v="66147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9B2768D1-DFDD-45FF-849C-23AD8ECAB483}" dt="2024-05-09T19:33:28.041" v="66146"/>
          <ac:spMkLst>
            <pc:docMk/>
            <pc:sldMk cId="77660323" sldId="295"/>
            <ac:spMk id="9" creationId="{5B920F75-31B6-8B4B-7E2C-665E8C04F047}"/>
          </ac:spMkLst>
        </pc:spChg>
        <pc:spChg chg="mod">
          <ac:chgData name="Joelle Brehm" userId="a518f54c-6985-42c0-8041-2bb16a414839" providerId="ADAL" clId="{9B2768D1-DFDD-45FF-849C-23AD8ECAB483}" dt="2024-05-09T19:33:28.041" v="66148"/>
          <ac:spMkLst>
            <pc:docMk/>
            <pc:sldMk cId="77660323" sldId="295"/>
            <ac:spMk id="10" creationId="{99AAF5F5-7487-DDF7-D317-1B4F799ACEB6}"/>
          </ac:spMkLst>
        </pc:spChg>
        <pc:spChg chg="mod">
          <ac:chgData name="Joelle Brehm" userId="a518f54c-6985-42c0-8041-2bb16a414839" providerId="ADAL" clId="{9B2768D1-DFDD-45FF-849C-23AD8ECAB483}" dt="2024-05-09T19:33:28.040" v="66145"/>
          <ac:spMkLst>
            <pc:docMk/>
            <pc:sldMk cId="77660323" sldId="295"/>
            <ac:spMk id="11" creationId="{4D142ECA-E2D8-9285-6C24-1D82A2038821}"/>
          </ac:spMkLst>
        </pc:spChg>
        <pc:spChg chg="mod">
          <ac:chgData name="Joelle Brehm" userId="a518f54c-6985-42c0-8041-2bb16a414839" providerId="ADAL" clId="{9B2768D1-DFDD-45FF-849C-23AD8ECAB483}" dt="2024-05-09T19:33:28.041" v="66149"/>
          <ac:spMkLst>
            <pc:docMk/>
            <pc:sldMk cId="77660323" sldId="295"/>
            <ac:spMk id="12" creationId="{9794817C-34B2-68B8-0BC6-DDDED5C00595}"/>
          </ac:spMkLst>
        </pc:spChg>
        <pc:spChg chg="mod">
          <ac:chgData name="Joelle Brehm" userId="a518f54c-6985-42c0-8041-2bb16a414839" providerId="ADAL" clId="{9B2768D1-DFDD-45FF-849C-23AD8ECAB483}" dt="2024-05-09T19:33:28.042" v="66150"/>
          <ac:spMkLst>
            <pc:docMk/>
            <pc:sldMk cId="77660323" sldId="295"/>
            <ac:spMk id="13" creationId="{806F2968-42A3-483A-337A-D0AE86BE93FB}"/>
          </ac:spMkLst>
        </pc:spChg>
        <pc:spChg chg="mod">
          <ac:chgData name="Joelle Brehm" userId="a518f54c-6985-42c0-8041-2bb16a414839" providerId="ADAL" clId="{9B2768D1-DFDD-45FF-849C-23AD8ECAB483}" dt="2024-05-09T19:33:28.042" v="66151"/>
          <ac:spMkLst>
            <pc:docMk/>
            <pc:sldMk cId="77660323" sldId="295"/>
            <ac:spMk id="14" creationId="{0C8E4B72-72C6-60A2-4BA2-FBC70AE3CCF2}"/>
          </ac:spMkLst>
        </pc:spChg>
        <pc:spChg chg="add del mod modVis">
          <ac:chgData name="Joelle Brehm" userId="a518f54c-6985-42c0-8041-2bb16a414839" providerId="ADAL" clId="{9B2768D1-DFDD-45FF-849C-23AD8ECAB483}" dt="2024-05-09T19:33:28.066" v="66238"/>
          <ac:spMkLst>
            <pc:docMk/>
            <pc:sldMk cId="77660323" sldId="295"/>
            <ac:spMk id="15" creationId="{6973336A-1E24-04C3-BF09-EEE8D22179D8}"/>
          </ac:spMkLst>
        </pc:spChg>
        <pc:spChg chg="add del mod modVis">
          <ac:chgData name="Joelle Brehm" userId="a518f54c-6985-42c0-8041-2bb16a414839" providerId="ADAL" clId="{9B2768D1-DFDD-45FF-849C-23AD8ECAB483}" dt="2024-05-07T20:48:12.341" v="7275"/>
          <ac:spMkLst>
            <pc:docMk/>
            <pc:sldMk cId="77660323" sldId="295"/>
            <ac:spMk id="15" creationId="{6D622F08-1A2F-976A-3376-F7030A5136A3}"/>
          </ac:spMkLst>
        </pc:spChg>
        <pc:spChg chg="mod">
          <ac:chgData name="Joelle Brehm" userId="a518f54c-6985-42c0-8041-2bb16a414839" providerId="ADAL" clId="{9B2768D1-DFDD-45FF-849C-23AD8ECAB483}" dt="2024-05-09T19:33:28.040" v="66144"/>
          <ac:spMkLst>
            <pc:docMk/>
            <pc:sldMk cId="77660323" sldId="295"/>
            <ac:spMk id="17" creationId="{521229FB-0801-C7EF-5E13-8F0309A61A17}"/>
          </ac:spMkLst>
        </pc:spChg>
        <pc:spChg chg="mod">
          <ac:chgData name="Joelle Brehm" userId="a518f54c-6985-42c0-8041-2bb16a414839" providerId="ADAL" clId="{9B2768D1-DFDD-45FF-849C-23AD8ECAB483}" dt="2024-05-09T19:33:28.042" v="66153"/>
          <ac:spMkLst>
            <pc:docMk/>
            <pc:sldMk cId="77660323" sldId="295"/>
            <ac:spMk id="18" creationId="{900F32F0-5773-0038-DB6B-BB38F63C4BEE}"/>
          </ac:spMkLst>
        </pc:spChg>
        <pc:spChg chg="mod">
          <ac:chgData name="Joelle Brehm" userId="a518f54c-6985-42c0-8041-2bb16a414839" providerId="ADAL" clId="{9B2768D1-DFDD-45FF-849C-23AD8ECAB483}" dt="2024-05-09T19:33:28.042" v="66152"/>
          <ac:spMkLst>
            <pc:docMk/>
            <pc:sldMk cId="77660323" sldId="295"/>
            <ac:spMk id="19" creationId="{E532CFC3-942F-0097-1AFF-537E14B8E55A}"/>
          </ac:spMkLst>
        </pc:spChg>
        <pc:spChg chg="add mod replST">
          <ac:chgData name="Joelle Brehm" userId="a518f54c-6985-42c0-8041-2bb16a414839" providerId="ADAL" clId="{9B2768D1-DFDD-45FF-849C-23AD8ECAB483}" dt="2024-05-09T19:33:28.043" v="66154"/>
          <ac:spMkLst>
            <pc:docMk/>
            <pc:sldMk cId="77660323" sldId="295"/>
            <ac:spMk id="20" creationId="{B15473B1-9B22-FEDD-2EEF-F33677C946A7}"/>
          </ac:spMkLst>
        </pc:spChg>
        <pc:spChg chg="add del mod modVis">
          <ac:chgData name="Joelle Brehm" userId="a518f54c-6985-42c0-8041-2bb16a414839" providerId="ADAL" clId="{9B2768D1-DFDD-45FF-849C-23AD8ECAB483}" dt="2024-05-07T20:48:17.892" v="7561"/>
          <ac:spMkLst>
            <pc:docMk/>
            <pc:sldMk cId="77660323" sldId="295"/>
            <ac:spMk id="21" creationId="{67A81B31-9337-3F43-3042-0ABC50813395}"/>
          </ac:spMkLst>
        </pc:spChg>
        <pc:spChg chg="add del mod modVis">
          <ac:chgData name="Joelle Brehm" userId="a518f54c-6985-42c0-8041-2bb16a414839" providerId="ADAL" clId="{9B2768D1-DFDD-45FF-849C-23AD8ECAB483}" dt="2024-05-07T20:48:23.710" v="7802"/>
          <ac:spMkLst>
            <pc:docMk/>
            <pc:sldMk cId="77660323" sldId="295"/>
            <ac:spMk id="23" creationId="{BBF81763-D014-B66A-CAB9-B66147BE02FC}"/>
          </ac:spMkLst>
        </pc:spChg>
        <pc:spChg chg="mod">
          <ac:chgData name="Joelle Brehm" userId="a518f54c-6985-42c0-8041-2bb16a414839" providerId="ADAL" clId="{9B2768D1-DFDD-45FF-849C-23AD8ECAB483}" dt="2024-05-09T19:33:28.038" v="66138"/>
          <ac:spMkLst>
            <pc:docMk/>
            <pc:sldMk cId="77660323" sldId="295"/>
            <ac:spMk id="24" creationId="{7CAA3B95-4C78-4122-BECA-B5FB0F3F3764}"/>
          </ac:spMkLst>
        </pc:spChg>
        <pc:spChg chg="add mod replST">
          <ac:chgData name="Joelle Brehm" userId="a518f54c-6985-42c0-8041-2bb16a414839" providerId="ADAL" clId="{9B2768D1-DFDD-45FF-849C-23AD8ECAB483}" dt="2024-05-09T19:33:28.053" v="66196"/>
          <ac:spMkLst>
            <pc:docMk/>
            <pc:sldMk cId="77660323" sldId="295"/>
            <ac:spMk id="26" creationId="{16FA05BB-4AA6-26A3-36DC-780DB005060F}"/>
          </ac:spMkLst>
        </pc:spChg>
        <pc:spChg chg="mod">
          <ac:chgData name="Joelle Brehm" userId="a518f54c-6985-42c0-8041-2bb16a414839" providerId="ADAL" clId="{9B2768D1-DFDD-45FF-849C-23AD8ECAB483}" dt="2024-05-09T19:33:28.039" v="66140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40" v="66142"/>
          <ac:spMkLst>
            <pc:docMk/>
            <pc:sldMk cId="77660323" sldId="295"/>
            <ac:spMk id="28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0:48:33.656" v="8270"/>
          <ac:spMkLst>
            <pc:docMk/>
            <pc:sldMk cId="77660323" sldId="295"/>
            <ac:spMk id="29" creationId="{8068731D-3941-24BC-9034-BD7949040ED6}"/>
          </ac:spMkLst>
        </pc:spChg>
        <pc:spChg chg="mod">
          <ac:chgData name="Joelle Brehm" userId="a518f54c-6985-42c0-8041-2bb16a414839" providerId="ADAL" clId="{9B2768D1-DFDD-45FF-849C-23AD8ECAB483}" dt="2024-05-09T19:33:28.046" v="66171"/>
          <ac:spMkLst>
            <pc:docMk/>
            <pc:sldMk cId="77660323" sldId="295"/>
            <ac:spMk id="31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0:48:35.523" v="8604"/>
          <ac:spMkLst>
            <pc:docMk/>
            <pc:sldMk cId="77660323" sldId="295"/>
            <ac:spMk id="32" creationId="{07F0BDC8-8933-54AF-7883-60445D90761F}"/>
          </ac:spMkLst>
        </pc:spChg>
        <pc:spChg chg="mod">
          <ac:chgData name="Joelle Brehm" userId="a518f54c-6985-42c0-8041-2bb16a414839" providerId="ADAL" clId="{9B2768D1-DFDD-45FF-849C-23AD8ECAB483}" dt="2024-05-09T19:33:28.047" v="66172"/>
          <ac:spMkLst>
            <pc:docMk/>
            <pc:sldMk cId="77660323" sldId="295"/>
            <ac:spMk id="33" creationId="{7CAA3B95-4C78-4122-BECA-B5FB0F3F3764}"/>
          </ac:spMkLst>
        </pc:spChg>
        <pc:spChg chg="add mod ord replST">
          <ac:chgData name="Joelle Brehm" userId="a518f54c-6985-42c0-8041-2bb16a414839" providerId="ADAL" clId="{9B2768D1-DFDD-45FF-849C-23AD8ECAB483}" dt="2024-05-09T19:33:28.049" v="66184"/>
          <ac:spMkLst>
            <pc:docMk/>
            <pc:sldMk cId="77660323" sldId="295"/>
            <ac:spMk id="34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0:48:40.490" v="8813"/>
          <ac:spMkLst>
            <pc:docMk/>
            <pc:sldMk cId="77660323" sldId="295"/>
            <ac:spMk id="37" creationId="{A72A51CD-AF22-E608-8988-50CB50D723AE}"/>
          </ac:spMkLst>
        </pc:spChg>
        <pc:spChg chg="mod">
          <ac:chgData name="Joelle Brehm" userId="a518f54c-6985-42c0-8041-2bb16a414839" providerId="ADAL" clId="{9B2768D1-DFDD-45FF-849C-23AD8ECAB483}" dt="2024-05-09T19:33:28.038" v="66136"/>
          <ac:spMkLst>
            <pc:docMk/>
            <pc:sldMk cId="77660323" sldId="295"/>
            <ac:spMk id="39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0:48:41.535" v="9037"/>
          <ac:spMkLst>
            <pc:docMk/>
            <pc:sldMk cId="77660323" sldId="295"/>
            <ac:spMk id="40" creationId="{B84875FC-DAEB-6C01-ADB6-07E03EE5BDA9}"/>
          </ac:spMkLst>
        </pc:spChg>
        <pc:spChg chg="mod">
          <ac:chgData name="Joelle Brehm" userId="a518f54c-6985-42c0-8041-2bb16a414839" providerId="ADAL" clId="{9B2768D1-DFDD-45FF-849C-23AD8ECAB483}" dt="2024-05-09T19:33:28.047" v="66173"/>
          <ac:spMkLst>
            <pc:docMk/>
            <pc:sldMk cId="77660323" sldId="295"/>
            <ac:spMk id="42" creationId="{A32B7D8C-DAE5-D336-7D31-9ECFB1F6E20C}"/>
          </ac:spMkLst>
        </pc:spChg>
        <pc:spChg chg="add mod replST">
          <ac:chgData name="Joelle Brehm" userId="a518f54c-6985-42c0-8041-2bb16a414839" providerId="ADAL" clId="{9B2768D1-DFDD-45FF-849C-23AD8ECAB483}" dt="2024-05-09T19:33:28.061" v="66226"/>
          <ac:spMkLst>
            <pc:docMk/>
            <pc:sldMk cId="77660323" sldId="295"/>
            <ac:spMk id="44" creationId="{B9423F85-1B3A-2939-475C-C076921FF7D9}"/>
          </ac:spMkLst>
        </pc:spChg>
        <pc:spChg chg="add del mod modVis">
          <ac:chgData name="Joelle Brehm" userId="a518f54c-6985-42c0-8041-2bb16a414839" providerId="ADAL" clId="{9B2768D1-DFDD-45FF-849C-23AD8ECAB483}" dt="2024-05-07T20:48:49.318" v="9527"/>
          <ac:spMkLst>
            <pc:docMk/>
            <pc:sldMk cId="77660323" sldId="295"/>
            <ac:spMk id="45" creationId="{1C9453DB-D681-613A-3F3D-540FFFA90454}"/>
          </ac:spMkLst>
        </pc:spChg>
        <pc:spChg chg="add del mod modVis">
          <ac:chgData name="Joelle Brehm" userId="a518f54c-6985-42c0-8041-2bb16a414839" providerId="ADAL" clId="{9B2768D1-DFDD-45FF-849C-23AD8ECAB483}" dt="2024-05-07T20:48:55.080" v="9780"/>
          <ac:spMkLst>
            <pc:docMk/>
            <pc:sldMk cId="77660323" sldId="295"/>
            <ac:spMk id="47" creationId="{5D6FFC83-8ECC-0BB1-7F28-415BF55A0A06}"/>
          </ac:spMkLst>
        </pc:spChg>
        <pc:spChg chg="add del mod modVis">
          <ac:chgData name="Joelle Brehm" userId="a518f54c-6985-42c0-8041-2bb16a414839" providerId="ADAL" clId="{9B2768D1-DFDD-45FF-849C-23AD8ECAB483}" dt="2024-05-07T20:49:04.549" v="9998"/>
          <ac:spMkLst>
            <pc:docMk/>
            <pc:sldMk cId="77660323" sldId="295"/>
            <ac:spMk id="50" creationId="{8B83408F-889E-DAFF-C636-AD45EE036D86}"/>
          </ac:spMkLst>
        </pc:spChg>
        <pc:spChg chg="add del mod modVis">
          <ac:chgData name="Joelle Brehm" userId="a518f54c-6985-42c0-8041-2bb16a414839" providerId="ADAL" clId="{9B2768D1-DFDD-45FF-849C-23AD8ECAB483}" dt="2024-05-07T20:49:05.311" v="10214"/>
          <ac:spMkLst>
            <pc:docMk/>
            <pc:sldMk cId="77660323" sldId="295"/>
            <ac:spMk id="52" creationId="{BB721A6C-3F6C-EDC6-29FB-4C2B928E8096}"/>
          </ac:spMkLst>
        </pc:spChg>
        <pc:spChg chg="add del mod modVis">
          <ac:chgData name="Joelle Brehm" userId="a518f54c-6985-42c0-8041-2bb16a414839" providerId="ADAL" clId="{9B2768D1-DFDD-45FF-849C-23AD8ECAB483}" dt="2024-05-07T20:49:08.964" v="10578"/>
          <ac:spMkLst>
            <pc:docMk/>
            <pc:sldMk cId="77660323" sldId="295"/>
            <ac:spMk id="54" creationId="{746572F0-E58D-36A2-B492-DED2BB8AA939}"/>
          </ac:spMkLst>
        </pc:spChg>
        <pc:spChg chg="add del mod ord replST">
          <ac:chgData name="Joelle Brehm" userId="a518f54c-6985-42c0-8041-2bb16a414839" providerId="ADAL" clId="{9B2768D1-DFDD-45FF-849C-23AD8ECAB483}" dt="2024-05-07T20:49:22.791" v="11191"/>
          <ac:spMkLst>
            <pc:docMk/>
            <pc:sldMk cId="77660323" sldId="295"/>
            <ac:spMk id="55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7T20:49:20.991" v="10921"/>
          <ac:spMkLst>
            <pc:docMk/>
            <pc:sldMk cId="77660323" sldId="295"/>
            <ac:spMk id="58" creationId="{5A115FB4-F543-EA91-A6BA-053DC76BED2B}"/>
          </ac:spMkLst>
        </pc:spChg>
        <pc:spChg chg="add del mod modVis">
          <ac:chgData name="Joelle Brehm" userId="a518f54c-6985-42c0-8041-2bb16a414839" providerId="ADAL" clId="{9B2768D1-DFDD-45FF-849C-23AD8ECAB483}" dt="2024-05-07T20:49:22.865" v="11336"/>
          <ac:spMkLst>
            <pc:docMk/>
            <pc:sldMk cId="77660323" sldId="295"/>
            <ac:spMk id="60" creationId="{B40FC5CD-724A-95B2-6AAA-8903382B0D36}"/>
          </ac:spMkLst>
        </pc:spChg>
        <pc:spChg chg="del mod">
          <ac:chgData name="Joelle Brehm" userId="a518f54c-6985-42c0-8041-2bb16a414839" providerId="ADAL" clId="{9B2768D1-DFDD-45FF-849C-23AD8ECAB483}" dt="2024-05-07T20:49:08.715" v="10217"/>
          <ac:spMkLst>
            <pc:docMk/>
            <pc:sldMk cId="77660323" sldId="295"/>
            <ac:spMk id="6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7" v="66215"/>
          <ac:spMkLst>
            <pc:docMk/>
            <pc:sldMk cId="77660323" sldId="295"/>
            <ac:spMk id="7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8" v="66216"/>
          <ac:spMkLst>
            <pc:docMk/>
            <pc:sldMk cId="77660323" sldId="295"/>
            <ac:spMk id="7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8" v="66217"/>
          <ac:spMkLst>
            <pc:docMk/>
            <pc:sldMk cId="77660323" sldId="295"/>
            <ac:spMk id="7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8" v="66218"/>
          <ac:spMkLst>
            <pc:docMk/>
            <pc:sldMk cId="77660323" sldId="295"/>
            <ac:spMk id="7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9" v="66219"/>
          <ac:spMkLst>
            <pc:docMk/>
            <pc:sldMk cId="77660323" sldId="295"/>
            <ac:spMk id="7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9" v="66220"/>
          <ac:spMkLst>
            <pc:docMk/>
            <pc:sldMk cId="77660323" sldId="295"/>
            <ac:spMk id="7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9" v="66221"/>
          <ac:spMkLst>
            <pc:docMk/>
            <pc:sldMk cId="77660323" sldId="295"/>
            <ac:spMk id="7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61" v="66222"/>
          <ac:spMkLst>
            <pc:docMk/>
            <pc:sldMk cId="77660323" sldId="295"/>
            <ac:spMk id="7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61" v="66223"/>
          <ac:spMkLst>
            <pc:docMk/>
            <pc:sldMk cId="77660323" sldId="295"/>
            <ac:spMk id="78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61" v="66224"/>
          <ac:spMkLst>
            <pc:docMk/>
            <pc:sldMk cId="77660323" sldId="295"/>
            <ac:spMk id="7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61" v="66225"/>
          <ac:spMkLst>
            <pc:docMk/>
            <pc:sldMk cId="77660323" sldId="295"/>
            <ac:spMk id="80" creationId="{7CAA3B95-4C78-4122-BECA-B5FB0F3F3764}"/>
          </ac:spMkLst>
        </pc:spChg>
        <pc:spChg chg="del mod">
          <ac:chgData name="Joelle Brehm" userId="a518f54c-6985-42c0-8041-2bb16a414839" providerId="ADAL" clId="{9B2768D1-DFDD-45FF-849C-23AD8ECAB483}" dt="2024-05-07T20:48:35.279" v="8275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49" v="66185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0" v="66186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0" v="66187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0" v="66188"/>
          <ac:spMkLst>
            <pc:docMk/>
            <pc:sldMk cId="77660323" sldId="295"/>
            <ac:spMk id="88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0" v="66189"/>
          <ac:spMkLst>
            <pc:docMk/>
            <pc:sldMk cId="77660323" sldId="295"/>
            <ac:spMk id="89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1" v="66190"/>
          <ac:spMkLst>
            <pc:docMk/>
            <pc:sldMk cId="77660323" sldId="295"/>
            <ac:spMk id="90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1" v="66191"/>
          <ac:spMkLst>
            <pc:docMk/>
            <pc:sldMk cId="77660323" sldId="295"/>
            <ac:spMk id="91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1" v="66192"/>
          <ac:spMkLst>
            <pc:docMk/>
            <pc:sldMk cId="77660323" sldId="295"/>
            <ac:spMk id="92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1" v="66193"/>
          <ac:spMkLst>
            <pc:docMk/>
            <pc:sldMk cId="77660323" sldId="295"/>
            <ac:spMk id="9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2" v="66194"/>
          <ac:spMkLst>
            <pc:docMk/>
            <pc:sldMk cId="77660323" sldId="295"/>
            <ac:spMk id="94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52" v="66195"/>
          <ac:spMkLst>
            <pc:docMk/>
            <pc:sldMk cId="77660323" sldId="295"/>
            <ac:spMk id="95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9T19:33:28.036" v="66129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9B2768D1-DFDD-45FF-849C-23AD8ECAB483}" dt="2024-05-09T19:33:28.037" v="66131"/>
          <ac:spMkLst>
            <pc:docMk/>
            <pc:sldMk cId="77660323" sldId="295"/>
            <ac:spMk id="97" creationId="{64B2B8D7-E8A8-4757-99A4-69F1EAA48321}"/>
          </ac:spMkLst>
        </pc:spChg>
        <pc:spChg chg="mod ord">
          <ac:chgData name="Joelle Brehm" userId="a518f54c-6985-42c0-8041-2bb16a414839" providerId="ADAL" clId="{9B2768D1-DFDD-45FF-849C-23AD8ECAB483}" dt="2024-05-09T19:33:28.036" v="66125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9B2768D1-DFDD-45FF-849C-23AD8ECAB483}" dt="2024-05-09T19:33:28.038" v="66137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39" v="66139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9T19:33:28.039" v="66141"/>
          <ac:spMkLst>
            <pc:docMk/>
            <pc:sldMk cId="77660323" sldId="295"/>
            <ac:spMk id="136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9T19:33:28.037" v="66133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9B2768D1-DFDD-45FF-849C-23AD8ECAB483}" dt="2024-05-09T19:33:28.048" v="66176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9B2768D1-DFDD-45FF-849C-23AD8ECAB483}" dt="2024-05-09T19:33:28.054" v="66203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9B2768D1-DFDD-45FF-849C-23AD8ECAB483}" dt="2024-05-09T19:33:28.055" v="66204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9B2768D1-DFDD-45FF-849C-23AD8ECAB483}" dt="2024-05-09T19:33:28.064" v="66233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9B2768D1-DFDD-45FF-849C-23AD8ECAB483}" dt="2024-05-09T19:33:28.064" v="66234"/>
          <ac:spMkLst>
            <pc:docMk/>
            <pc:sldMk cId="77660323" sldId="295"/>
            <ac:spMk id="402" creationId="{54A50511-8137-91F0-6AA8-1D657EEE3E68}"/>
          </ac:spMkLst>
        </pc:spChg>
        <pc:spChg chg="mod ord">
          <ac:chgData name="Joelle Brehm" userId="a518f54c-6985-42c0-8041-2bb16a414839" providerId="ADAL" clId="{9B2768D1-DFDD-45FF-849C-23AD8ECAB483}" dt="2024-05-09T19:33:28.045" v="66166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9B2768D1-DFDD-45FF-849C-23AD8ECAB483}" dt="2024-05-09T19:33:28.045" v="66164"/>
          <ac:spMkLst>
            <pc:docMk/>
            <pc:sldMk cId="77660323" sldId="295"/>
            <ac:spMk id="485" creationId="{0E817BE1-E587-06E4-D9FC-07EC7C45C787}"/>
          </ac:spMkLst>
        </pc:spChg>
        <pc:spChg chg="mod ord">
          <ac:chgData name="Joelle Brehm" userId="a518f54c-6985-42c0-8041-2bb16a414839" providerId="ADAL" clId="{9B2768D1-DFDD-45FF-849C-23AD8ECAB483}" dt="2024-05-09T19:33:28.046" v="66168"/>
          <ac:spMkLst>
            <pc:docMk/>
            <pc:sldMk cId="77660323" sldId="295"/>
            <ac:spMk id="490" creationId="{9C81118A-E471-58E2-D54E-14C43A3A7D15}"/>
          </ac:spMkLst>
        </pc:spChg>
        <pc:spChg chg="mod">
          <ac:chgData name="Joelle Brehm" userId="a518f54c-6985-42c0-8041-2bb16a414839" providerId="ADAL" clId="{9B2768D1-DFDD-45FF-849C-23AD8ECAB483}" dt="2024-05-09T19:33:28.047" v="66174"/>
          <ac:spMkLst>
            <pc:docMk/>
            <pc:sldMk cId="77660323" sldId="295"/>
            <ac:spMk id="496" creationId="{FB24F7D5-26C6-DCA1-D822-BCC9573069E9}"/>
          </ac:spMkLst>
        </pc:spChg>
        <pc:spChg chg="mod ord">
          <ac:chgData name="Joelle Brehm" userId="a518f54c-6985-42c0-8041-2bb16a414839" providerId="ADAL" clId="{9B2768D1-DFDD-45FF-849C-23AD8ECAB483}" dt="2024-05-09T19:33:28.046" v="66170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9B2768D1-DFDD-45FF-849C-23AD8ECAB483}" dt="2024-05-09T19:33:28.054" v="66202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9B2768D1-DFDD-45FF-849C-23AD8ECAB483}" dt="2024-05-09T19:33:28.064" v="66232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9B2768D1-DFDD-45FF-849C-23AD8ECAB483}" dt="2024-05-09T19:33:28.124" v="66240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9:33:28.048" v="66178"/>
          <ac:graphicFrameMkLst>
            <pc:docMk/>
            <pc:sldMk cId="77660323" sldId="295"/>
            <ac:graphicFrameMk id="6" creationId="{AA4D2D58-26B4-6C5A-57AF-073BF51A44F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8:17.783" v="7384"/>
          <ac:graphicFrameMkLst>
            <pc:docMk/>
            <pc:sldMk cId="77660323" sldId="295"/>
            <ac:graphicFrameMk id="16" creationId="{3A091A80-FB27-1508-BE0B-1238CBFE8AAA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9:33:28.038" v="66135"/>
          <ac:graphicFrameMkLst>
            <pc:docMk/>
            <pc:sldMk cId="77660323" sldId="295"/>
            <ac:graphicFrameMk id="16" creationId="{F28D6A5C-A51D-EDD5-2E7B-1C4C589CD8C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8:23.606" v="7625"/>
          <ac:graphicFrameMkLst>
            <pc:docMk/>
            <pc:sldMk cId="77660323" sldId="295"/>
            <ac:graphicFrameMk id="22" creationId="{A3300D2D-7C4E-1E2C-0ED1-3D69982FC87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9T19:33:27.949" v="66057"/>
          <ac:graphicFrameMkLst>
            <pc:docMk/>
            <pc:sldMk cId="77660323" sldId="295"/>
            <ac:graphicFrameMk id="25" creationId="{6D2C7707-85C4-AE98-78BA-71221ECDC3F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8:35.428" v="8443"/>
          <ac:graphicFrameMkLst>
            <pc:docMk/>
            <pc:sldMk cId="77660323" sldId="295"/>
            <ac:graphicFrameMk id="30" creationId="{92A55591-034D-76CC-E8D1-1BF9588BE4A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8:40.416" v="8664"/>
          <ac:graphicFrameMkLst>
            <pc:docMk/>
            <pc:sldMk cId="77660323" sldId="295"/>
            <ac:graphicFrameMk id="35" creationId="{45857733-8DF2-7635-1C86-F11FAC8D343D}"/>
          </ac:graphicFrameMkLst>
        </pc:graphicFrameChg>
        <pc:graphicFrameChg chg="del">
          <ac:chgData name="Joelle Brehm" userId="a518f54c-6985-42c0-8041-2bb16a414839" providerId="ADAL" clId="{9B2768D1-DFDD-45FF-849C-23AD8ECAB483}" dt="2024-05-07T20:48:12.224" v="7099"/>
          <ac:graphicFrameMkLst>
            <pc:docMk/>
            <pc:sldMk cId="77660323" sldId="295"/>
            <ac:graphicFrameMk id="36" creationId="{B9E884B0-1F67-D8AC-7FE3-1EBA889B1D0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8:41.451" v="8886"/>
          <ac:graphicFrameMkLst>
            <pc:docMk/>
            <pc:sldMk cId="77660323" sldId="295"/>
            <ac:graphicFrameMk id="38" creationId="{7EE426F5-C805-871F-E74F-1C8829EA352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9T19:30:16.217" v="65762"/>
          <ac:graphicFrameMkLst>
            <pc:docMk/>
            <pc:sldMk cId="77660323" sldId="295"/>
            <ac:graphicFrameMk id="43" creationId="{6BD5540A-93F5-CCF2-9171-F94EAD56A325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8:54.957" v="9614"/>
          <ac:graphicFrameMkLst>
            <pc:docMk/>
            <pc:sldMk cId="77660323" sldId="295"/>
            <ac:graphicFrameMk id="46" creationId="{653B5FB2-5362-7185-AF25-20A1245A5DB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9:04.462" v="9846"/>
          <ac:graphicFrameMkLst>
            <pc:docMk/>
            <pc:sldMk cId="77660323" sldId="295"/>
            <ac:graphicFrameMk id="48" creationId="{CA66750F-261E-D5CF-68E1-DDFF0EEA4F8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9:05.228" v="10062"/>
          <ac:graphicFrameMkLst>
            <pc:docMk/>
            <pc:sldMk cId="77660323" sldId="295"/>
            <ac:graphicFrameMk id="51" creationId="{96561131-BE20-7C9C-B318-0FDD0261E15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9:08.879" v="10409"/>
          <ac:graphicFrameMkLst>
            <pc:docMk/>
            <pc:sldMk cId="77660323" sldId="295"/>
            <ac:graphicFrameMk id="53" creationId="{92F8AE4F-DABA-1774-F8C7-751DBFBB92C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7T20:49:22.791" v="11201"/>
          <ac:graphicFrameMkLst>
            <pc:docMk/>
            <pc:sldMk cId="77660323" sldId="295"/>
            <ac:graphicFrameMk id="57" creationId="{9EE8BBD8-EC45-FF52-5574-CF1437620DDF}"/>
          </ac:graphicFrameMkLst>
        </pc:graphicFrameChg>
        <pc:graphicFrameChg chg="add mod ord replST delST">
          <ac:chgData name="Joelle Brehm" userId="a518f54c-6985-42c0-8041-2bb16a414839" providerId="ADAL" clId="{9B2768D1-DFDD-45FF-849C-23AD8ECAB483}" dt="2024-05-07T20:49:20.991" v="10921"/>
          <ac:graphicFrameMkLst>
            <pc:docMk/>
            <pc:sldMk cId="77660323" sldId="295"/>
            <ac:graphicFrameMk id="59" creationId="{60476512-52EC-4645-1712-63D3595489F0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9:33:28.055" v="66206"/>
          <ac:graphicFrameMkLst>
            <pc:docMk/>
            <pc:sldMk cId="77660323" sldId="295"/>
            <ac:graphicFrameMk id="61" creationId="{147F25CC-7425-50BD-6035-151FD805615A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0:48:33.586" v="8112"/>
          <ac:graphicFrameMkLst>
            <pc:docMk/>
            <pc:sldMk cId="77660323" sldId="295"/>
            <ac:graphicFrameMk id="105" creationId="{2BC518BF-8DDD-7115-5E39-D204F3D3E3BF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7T20:48:49.233" v="9365"/>
          <ac:graphicFrameMkLst>
            <pc:docMk/>
            <pc:sldMk cId="77660323" sldId="295"/>
            <ac:graphicFrameMk id="108" creationId="{DCA0759C-42E2-FB4F-616F-AE68AC27646C}"/>
          </ac:graphicFrameMkLst>
        </pc:graphicFrameChg>
        <pc:picChg chg="mod ord">
          <ac:chgData name="Joelle Brehm" userId="a518f54c-6985-42c0-8041-2bb16a414839" providerId="ADAL" clId="{9B2768D1-DFDD-45FF-849C-23AD8ECAB483}" dt="2024-05-09T19:33:28.036" v="66127"/>
          <ac:picMkLst>
            <pc:docMk/>
            <pc:sldMk cId="77660323" sldId="295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9B2768D1-DFDD-45FF-849C-23AD8ECAB483}" dt="2024-05-09T19:33:28.035" v="66121"/>
          <ac:picMkLst>
            <pc:docMk/>
            <pc:sldMk cId="77660323" sldId="295"/>
            <ac:picMk id="62" creationId="{9E014B37-87FC-DB17-DABB-92AC5BE4CCEE}"/>
          </ac:picMkLst>
        </pc:picChg>
        <pc:picChg chg="del mod ord">
          <ac:chgData name="Joelle Brehm" userId="a518f54c-6985-42c0-8041-2bb16a414839" providerId="ADAL" clId="{9B2768D1-DFDD-45FF-849C-23AD8ECAB483}" dt="2024-05-07T20:52:17.091" v="11614" actId="478"/>
          <ac:picMkLst>
            <pc:docMk/>
            <pc:sldMk cId="77660323" sldId="295"/>
            <ac:picMk id="109" creationId="{A57174B3-CE71-33B1-9B0C-DA5AD8C8A80A}"/>
          </ac:picMkLst>
        </pc:picChg>
        <pc:cxnChg chg="add mod ord replST">
          <ac:chgData name="Joelle Brehm" userId="a518f54c-6985-42c0-8041-2bb16a414839" providerId="ADAL" clId="{9B2768D1-DFDD-45FF-849C-23AD8ECAB483}" dt="2024-05-09T19:33:28.049" v="66182"/>
          <ac:cxnSpMkLst>
            <pc:docMk/>
            <pc:sldMk cId="77660323" sldId="295"/>
            <ac:cxnSpMk id="41" creationId="{78C42382-38B1-D345-71C3-07D8FF8437EA}"/>
          </ac:cxnSpMkLst>
        </pc:cxnChg>
        <pc:cxnChg chg="mod ord">
          <ac:chgData name="Joelle Brehm" userId="a518f54c-6985-42c0-8041-2bb16a414839" providerId="ADAL" clId="{9B2768D1-DFDD-45FF-849C-23AD8ECAB483}" dt="2024-05-09T19:33:28.048" v="66180"/>
          <ac:cxnSpMkLst>
            <pc:docMk/>
            <pc:sldMk cId="77660323" sldId="295"/>
            <ac:cxnSpMk id="49" creationId="{A1B8BCA2-A4F6-C735-D36D-75C40207794D}"/>
          </ac:cxnSpMkLst>
        </pc:cxnChg>
        <pc:cxnChg chg="add mod ord replST">
          <ac:chgData name="Joelle Brehm" userId="a518f54c-6985-42c0-8041-2bb16a414839" providerId="ADAL" clId="{9B2768D1-DFDD-45FF-849C-23AD8ECAB483}" dt="2024-05-09T19:33:28.056" v="66208"/>
          <ac:cxnSpMkLst>
            <pc:docMk/>
            <pc:sldMk cId="77660323" sldId="295"/>
            <ac:cxnSpMk id="56" creationId="{F58CF815-822B-0DAD-FC7E-B81C1E2D1D16}"/>
          </ac:cxnSpMkLst>
        </pc:cxnChg>
        <pc:cxnChg chg="del mod ord">
          <ac:chgData name="Joelle Brehm" userId="a518f54c-6985-42c0-8041-2bb16a414839" providerId="ADAL" clId="{9B2768D1-DFDD-45FF-849C-23AD8ECAB483}" dt="2024-05-07T20:48:35.279" v="8274"/>
          <ac:cxnSpMkLst>
            <pc:docMk/>
            <pc:sldMk cId="77660323" sldId="295"/>
            <ac:cxnSpMk id="98" creationId="{55EBBAF7-85A2-D4D3-A027-BAB3761B60CE}"/>
          </ac:cxnSpMkLst>
        </pc:cxnChg>
        <pc:cxnChg chg="mod ord">
          <ac:chgData name="Joelle Brehm" userId="a518f54c-6985-42c0-8041-2bb16a414839" providerId="ADAL" clId="{9B2768D1-DFDD-45FF-849C-23AD8ECAB483}" dt="2024-05-09T19:33:28.043" v="66156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9B2768D1-DFDD-45FF-849C-23AD8ECAB483}" dt="2024-05-09T19:33:28.044" v="66158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9B2768D1-DFDD-45FF-849C-23AD8ECAB483}" dt="2024-05-09T19:33:28.044" v="66160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9B2768D1-DFDD-45FF-849C-23AD8ECAB483}" dt="2024-05-09T19:33:28.053" v="66198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9B2768D1-DFDD-45FF-849C-23AD8ECAB483}" dt="2024-05-09T19:33:28.053" v="66200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9B2768D1-DFDD-45FF-849C-23AD8ECAB483}" dt="2024-05-09T19:33:28.062" v="66228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9B2768D1-DFDD-45FF-849C-23AD8ECAB483}" dt="2024-05-09T19:33:28.062" v="66230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9B2768D1-DFDD-45FF-849C-23AD8ECAB483}" dt="2024-05-09T19:33:28.056" v="66212"/>
          <ac:cxnSpMkLst>
            <pc:docMk/>
            <pc:sldMk cId="77660323" sldId="295"/>
            <ac:cxnSpMk id="451" creationId="{7A172D71-A9C3-9431-7EB5-BE9F63E67BCD}"/>
          </ac:cxnSpMkLst>
        </pc:cxnChg>
        <pc:cxnChg chg="mod ord">
          <ac:chgData name="Joelle Brehm" userId="a518f54c-6985-42c0-8041-2bb16a414839" providerId="ADAL" clId="{9B2768D1-DFDD-45FF-849C-23AD8ECAB483}" dt="2024-05-09T19:33:28.056" v="66210"/>
          <ac:cxnSpMkLst>
            <pc:docMk/>
            <pc:sldMk cId="77660323" sldId="295"/>
            <ac:cxnSpMk id="461" creationId="{A9880E77-89B4-FAF6-9F4F-4692C63B345B}"/>
          </ac:cxnSpMkLst>
        </pc:cxnChg>
        <pc:cxnChg chg="mod ord">
          <ac:chgData name="Joelle Brehm" userId="a518f54c-6985-42c0-8041-2bb16a414839" providerId="ADAL" clId="{9B2768D1-DFDD-45FF-849C-23AD8ECAB483}" dt="2024-05-09T19:33:28.057" v="66214"/>
          <ac:cxnSpMkLst>
            <pc:docMk/>
            <pc:sldMk cId="77660323" sldId="295"/>
            <ac:cxnSpMk id="464" creationId="{8B0C8772-9A41-2CE0-E710-52E090E563DE}"/>
          </ac:cxnSpMkLst>
        </pc:cxnChg>
        <pc:cxnChg chg="mod ord">
          <ac:chgData name="Joelle Brehm" userId="a518f54c-6985-42c0-8041-2bb16a414839" providerId="ADAL" clId="{9B2768D1-DFDD-45FF-849C-23AD8ECAB483}" dt="2024-05-09T19:33:28.044" v="66162"/>
          <ac:cxnSpMkLst>
            <pc:docMk/>
            <pc:sldMk cId="77660323" sldId="295"/>
            <ac:cxnSpMk id="499" creationId="{03F78B4F-B1A0-4DEB-C1BE-2365D8B94D05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8:57:50.769" v="63950" actId="20577"/>
        <pc:sldMkLst>
          <pc:docMk/>
          <pc:sldMk cId="3184321266" sldId="296"/>
        </pc:sldMkLst>
        <pc:spChg chg="add del mod ord">
          <ac:chgData name="Joelle Brehm" userId="a518f54c-6985-42c0-8041-2bb16a414839" providerId="ADAL" clId="{9B2768D1-DFDD-45FF-849C-23AD8ECAB483}" dt="2024-05-08T17:06:06.686" v="63910" actId="478"/>
          <ac:spMkLst>
            <pc:docMk/>
            <pc:sldMk cId="3184321266" sldId="296"/>
            <ac:spMk id="2" creationId="{A2BDCB10-0F50-3CC6-F8CA-4C086EE390A2}"/>
          </ac:spMkLst>
        </pc:spChg>
        <pc:spChg chg="mod ord">
          <ac:chgData name="Joelle Brehm" userId="a518f54c-6985-42c0-8041-2bb16a414839" providerId="ADAL" clId="{9B2768D1-DFDD-45FF-849C-23AD8ECAB483}" dt="2024-05-08T17:04:12.366" v="63889"/>
          <ac:spMkLst>
            <pc:docMk/>
            <pc:sldMk cId="3184321266" sldId="296"/>
            <ac:spMk id="3" creationId="{86D6AA5F-2727-5417-09CB-42026894EFF8}"/>
          </ac:spMkLst>
        </pc:spChg>
        <pc:spChg chg="mod ord">
          <ac:chgData name="Joelle Brehm" userId="a518f54c-6985-42c0-8041-2bb16a414839" providerId="ADAL" clId="{9B2768D1-DFDD-45FF-849C-23AD8ECAB483}" dt="2024-05-08T17:04:12.364" v="63882"/>
          <ac:spMkLst>
            <pc:docMk/>
            <pc:sldMk cId="3184321266" sldId="296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9B2768D1-DFDD-45FF-849C-23AD8ECAB483}" dt="2024-05-08T17:03:47.923" v="63761"/>
          <ac:spMkLst>
            <pc:docMk/>
            <pc:sldMk cId="3184321266" sldId="296"/>
            <ac:spMk id="6" creationId="{8226703E-DA0B-66E3-E870-A09F8A0D1BB9}"/>
          </ac:spMkLst>
        </pc:spChg>
        <pc:spChg chg="mod ord">
          <ac:chgData name="Joelle Brehm" userId="a518f54c-6985-42c0-8041-2bb16a414839" providerId="ADAL" clId="{9B2768D1-DFDD-45FF-849C-23AD8ECAB483}" dt="2024-05-08T17:04:12.367" v="63891"/>
          <ac:spMkLst>
            <pc:docMk/>
            <pc:sldMk cId="3184321266" sldId="296"/>
            <ac:spMk id="8" creationId="{C75CB710-EFB8-7D57-0F83-AB63CD63F5E0}"/>
          </ac:spMkLst>
        </pc:spChg>
        <pc:spChg chg="add del mod modVis">
          <ac:chgData name="Joelle Brehm" userId="a518f54c-6985-42c0-8041-2bb16a414839" providerId="ADAL" clId="{9B2768D1-DFDD-45FF-849C-23AD8ECAB483}" dt="2024-05-08T17:04:08.704" v="63838"/>
          <ac:spMkLst>
            <pc:docMk/>
            <pc:sldMk cId="3184321266" sldId="296"/>
            <ac:spMk id="9" creationId="{C4B3AA83-1102-5A8D-A86B-DB8DF05614EC}"/>
          </ac:spMkLst>
        </pc:spChg>
        <pc:spChg chg="mod">
          <ac:chgData name="Joelle Brehm" userId="a518f54c-6985-42c0-8041-2bb16a414839" providerId="ADAL" clId="{9B2768D1-DFDD-45FF-849C-23AD8ECAB483}" dt="2024-05-08T17:04:12.368" v="63895"/>
          <ac:spMkLst>
            <pc:docMk/>
            <pc:sldMk cId="3184321266" sldId="296"/>
            <ac:spMk id="10" creationId="{ACBE2952-1408-2663-AB1D-8F843E822072}"/>
          </ac:spMkLst>
        </pc:spChg>
        <pc:spChg chg="add del mod modVis">
          <ac:chgData name="Joelle Brehm" userId="a518f54c-6985-42c0-8041-2bb16a414839" providerId="ADAL" clId="{9B2768D1-DFDD-45FF-849C-23AD8ECAB483}" dt="2024-05-08T17:04:12.371" v="63907"/>
          <ac:spMkLst>
            <pc:docMk/>
            <pc:sldMk cId="3184321266" sldId="296"/>
            <ac:spMk id="12" creationId="{ACF09189-298A-3123-D9A3-90BD23808412}"/>
          </ac:spMkLst>
        </pc:spChg>
        <pc:spChg chg="mod">
          <ac:chgData name="Joelle Brehm" userId="a518f54c-6985-42c0-8041-2bb16a414839" providerId="ADAL" clId="{9B2768D1-DFDD-45FF-849C-23AD8ECAB483}" dt="2024-05-08T17:04:12.368" v="63894"/>
          <ac:spMkLst>
            <pc:docMk/>
            <pc:sldMk cId="3184321266" sldId="296"/>
            <ac:spMk id="14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7:04:12.365" v="63884"/>
          <ac:spMkLst>
            <pc:docMk/>
            <pc:sldMk cId="3184321266" sldId="296"/>
            <ac:spMk id="96" creationId="{13AC7CFA-23AF-445A-96F6-EA0D2FF657A3}"/>
          </ac:spMkLst>
        </pc:spChg>
        <pc:spChg chg="mod">
          <ac:chgData name="Joelle Brehm" userId="a518f54c-6985-42c0-8041-2bb16a414839" providerId="ADAL" clId="{9B2768D1-DFDD-45FF-849C-23AD8ECAB483}" dt="2024-05-08T17:04:12.369" v="63899"/>
          <ac:spMkLst>
            <pc:docMk/>
            <pc:sldMk cId="3184321266" sldId="296"/>
            <ac:spMk id="190" creationId="{7CAA3B95-4C78-4122-BECA-B5FB0F3F3764}"/>
          </ac:spMkLst>
        </pc:spChg>
        <pc:spChg chg="mod ord">
          <ac:chgData name="Joelle Brehm" userId="a518f54c-6985-42c0-8041-2bb16a414839" providerId="ADAL" clId="{9B2768D1-DFDD-45FF-849C-23AD8ECAB483}" dt="2024-05-08T17:04:12.365" v="63886"/>
          <ac:spMkLst>
            <pc:docMk/>
            <pc:sldMk cId="3184321266" sldId="296"/>
            <ac:spMk id="210" creationId="{2DBE4665-8B4A-4508-AC03-BDBC6AA30475}"/>
          </ac:spMkLst>
        </pc:spChg>
        <pc:spChg chg="mod">
          <ac:chgData name="Joelle Brehm" userId="a518f54c-6985-42c0-8041-2bb16a414839" providerId="ADAL" clId="{9B2768D1-DFDD-45FF-849C-23AD8ECAB483}" dt="2024-05-08T17:04:12.369" v="63898"/>
          <ac:spMkLst>
            <pc:docMk/>
            <pc:sldMk cId="3184321266" sldId="296"/>
            <ac:spMk id="1062" creationId="{AAB4FE2D-13B1-774A-33CC-02765FFAA2DA}"/>
          </ac:spMkLst>
        </pc:spChg>
        <pc:spChg chg="mod ord">
          <ac:chgData name="Joelle Brehm" userId="a518f54c-6985-42c0-8041-2bb16a414839" providerId="ADAL" clId="{9B2768D1-DFDD-45FF-849C-23AD8ECAB483}" dt="2024-05-08T18:57:50.769" v="63950" actId="20577"/>
          <ac:spMkLst>
            <pc:docMk/>
            <pc:sldMk cId="3184321266" sldId="296"/>
            <ac:spMk id="1065" creationId="{D8CB5779-D0CF-D5F7-B11D-0A8746941D75}"/>
          </ac:spMkLst>
        </pc:spChg>
        <pc:graphicFrameChg chg="mod">
          <ac:chgData name="Joelle Brehm" userId="a518f54c-6985-42c0-8041-2bb16a414839" providerId="ADAL" clId="{9B2768D1-DFDD-45FF-849C-23AD8ECAB483}" dt="2024-05-08T17:04:12.376" v="63909"/>
          <ac:graphicFrameMkLst>
            <pc:docMk/>
            <pc:sldMk cId="3184321266" sldId="296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7:04:12.368" v="63897"/>
          <ac:graphicFrameMkLst>
            <pc:docMk/>
            <pc:sldMk cId="3184321266" sldId="296"/>
            <ac:graphicFrameMk id="7" creationId="{4F98C636-EF27-FEB4-FBF6-CD76FF11F78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7:04:12.343" v="63874"/>
          <ac:graphicFrameMkLst>
            <pc:docMk/>
            <pc:sldMk cId="3184321266" sldId="296"/>
            <ac:graphicFrameMk id="11" creationId="{69DC1857-3566-B11E-793C-5ACE0DC893BC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7:04:12.367" v="63893"/>
          <ac:graphicFrameMkLst>
            <pc:docMk/>
            <pc:sldMk cId="3184321266" sldId="296"/>
            <ac:graphicFrameMk id="13" creationId="{279A25D7-A8D5-B1B9-E2EC-1A6B83B4B1D4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7:04:08.661" v="63805"/>
          <ac:graphicFrameMkLst>
            <pc:docMk/>
            <pc:sldMk cId="3184321266" sldId="296"/>
            <ac:graphicFrameMk id="20" creationId="{BAB3D433-9C10-957A-88A6-CBB24FDD36B7}"/>
          </ac:graphicFrameMkLst>
        </pc:graphicFrameChg>
        <pc:graphicFrameChg chg="del">
          <ac:chgData name="Joelle Brehm" userId="a518f54c-6985-42c0-8041-2bb16a414839" providerId="ADAL" clId="{9B2768D1-DFDD-45FF-849C-23AD8ECAB483}" dt="2024-05-08T17:03:47.886" v="63728"/>
          <ac:graphicFrameMkLst>
            <pc:docMk/>
            <pc:sldMk cId="3184321266" sldId="296"/>
            <ac:graphicFrameMk id="22" creationId="{A1F84227-3BC9-40D9-4E32-79901854FB54}"/>
          </ac:graphicFrameMkLst>
        </pc:graphicFrameChg>
        <pc:picChg chg="mod">
          <ac:chgData name="Joelle Brehm" userId="a518f54c-6985-42c0-8041-2bb16a414839" providerId="ADAL" clId="{9B2768D1-DFDD-45FF-849C-23AD8ECAB483}" dt="2024-05-08T17:04:12.365" v="63887"/>
          <ac:picMkLst>
            <pc:docMk/>
            <pc:sldMk cId="3184321266" sldId="296"/>
            <ac:picMk id="1026" creationId="{A81E4029-9E9C-E6AC-16A9-5E0666C1EEB4}"/>
          </ac:picMkLst>
        </pc:picChg>
      </pc:sldChg>
      <pc:sldChg chg="addSp delSp modSp add del mod">
        <pc:chgData name="Joelle Brehm" userId="a518f54c-6985-42c0-8041-2bb16a414839" providerId="ADAL" clId="{9B2768D1-DFDD-45FF-849C-23AD8ECAB483}" dt="2024-05-09T15:13:50.696" v="65377"/>
        <pc:sldMkLst>
          <pc:docMk/>
          <pc:sldMk cId="691181643" sldId="297"/>
        </pc:sldMkLst>
        <pc:spChg chg="add del mod modVis">
          <ac:chgData name="Joelle Brehm" userId="a518f54c-6985-42c0-8041-2bb16a414839" providerId="ADAL" clId="{9B2768D1-DFDD-45FF-849C-23AD8ECAB483}" dt="2024-05-08T16:22:29.409" v="37158"/>
          <ac:spMkLst>
            <pc:docMk/>
            <pc:sldMk cId="691181643" sldId="297"/>
            <ac:spMk id="2" creationId="{A2D83BE9-3330-11C5-1AB7-3FC853E19AF8}"/>
          </ac:spMkLst>
        </pc:spChg>
        <pc:spChg chg="add mod">
          <ac:chgData name="Joelle Brehm" userId="a518f54c-6985-42c0-8041-2bb16a414839" providerId="ADAL" clId="{9B2768D1-DFDD-45FF-849C-23AD8ECAB483}" dt="2024-05-07T15:58:19.211" v="31"/>
          <ac:spMkLst>
            <pc:docMk/>
            <pc:sldMk cId="691181643" sldId="297"/>
            <ac:spMk id="2" creationId="{E3B5ED2B-18B3-80B3-E839-3D67C4A6EF09}"/>
          </ac:spMkLst>
        </pc:spChg>
        <pc:spChg chg="add del mod modVis">
          <ac:chgData name="Joelle Brehm" userId="a518f54c-6985-42c0-8041-2bb16a414839" providerId="ADAL" clId="{9B2768D1-DFDD-45FF-849C-23AD8ECAB483}" dt="2024-05-09T15:13:19.194" v="64925"/>
          <ac:spMkLst>
            <pc:docMk/>
            <pc:sldMk cId="691181643" sldId="297"/>
            <ac:spMk id="2" creationId="{F8754952-1AC0-0F01-EFB9-E36810589AB5}"/>
          </ac:spMkLst>
        </pc:spChg>
        <pc:spChg chg="mod ord">
          <ac:chgData name="Joelle Brehm" userId="a518f54c-6985-42c0-8041-2bb16a414839" providerId="ADAL" clId="{9B2768D1-DFDD-45FF-849C-23AD8ECAB483}" dt="2024-05-09T15:13:50.676" v="65368"/>
          <ac:spMkLst>
            <pc:docMk/>
            <pc:sldMk cId="691181643" sldId="297"/>
            <ac:spMk id="3" creationId="{E352B70C-7A9D-8F6C-4CE6-D440060FF1E2}"/>
          </ac:spMkLst>
        </pc:spChg>
        <pc:spChg chg="mod ord">
          <ac:chgData name="Joelle Brehm" userId="a518f54c-6985-42c0-8041-2bb16a414839" providerId="ADAL" clId="{9B2768D1-DFDD-45FF-849C-23AD8ECAB483}" dt="2024-05-09T15:13:50.650" v="65314"/>
          <ac:spMkLst>
            <pc:docMk/>
            <pc:sldMk cId="691181643" sldId="297"/>
            <ac:spMk id="6" creationId="{37144386-4260-17AD-D649-2A9FECFC8E69}"/>
          </ac:spMkLst>
        </pc:spChg>
        <pc:spChg chg="add del mod modVis">
          <ac:chgData name="Joelle Brehm" userId="a518f54c-6985-42c0-8041-2bb16a414839" providerId="ADAL" clId="{9B2768D1-DFDD-45FF-849C-23AD8ECAB483}" dt="2024-05-08T16:22:38.125" v="37361"/>
          <ac:spMkLst>
            <pc:docMk/>
            <pc:sldMk cId="691181643" sldId="297"/>
            <ac:spMk id="8" creationId="{A4E801C9-5FEA-3EAD-885A-4A1DC18BC21D}"/>
          </ac:spMkLst>
        </pc:spChg>
        <pc:spChg chg="add del mod modVis">
          <ac:chgData name="Joelle Brehm" userId="a518f54c-6985-42c0-8041-2bb16a414839" providerId="ADAL" clId="{9B2768D1-DFDD-45FF-849C-23AD8ECAB483}" dt="2024-05-09T15:13:27.204" v="65118"/>
          <ac:spMkLst>
            <pc:docMk/>
            <pc:sldMk cId="691181643" sldId="297"/>
            <ac:spMk id="9" creationId="{709189E7-0FF4-74E3-9740-955D469C0A35}"/>
          </ac:spMkLst>
        </pc:spChg>
        <pc:spChg chg="mod">
          <ac:chgData name="Joelle Brehm" userId="a518f54c-6985-42c0-8041-2bb16a414839" providerId="ADAL" clId="{9B2768D1-DFDD-45FF-849C-23AD8ECAB483}" dt="2024-05-09T15:13:50.654" v="65325"/>
          <ac:spMkLst>
            <pc:docMk/>
            <pc:sldMk cId="691181643" sldId="297"/>
            <ac:spMk id="11" creationId="{02BF5DC4-7E6B-48A3-B7C3-E226B893962E}"/>
          </ac:spMkLst>
        </pc:spChg>
        <pc:spChg chg="mod">
          <ac:chgData name="Joelle Brehm" userId="a518f54c-6985-42c0-8041-2bb16a414839" providerId="ADAL" clId="{9B2768D1-DFDD-45FF-849C-23AD8ECAB483}" dt="2024-05-09T15:13:50.652" v="65321"/>
          <ac:spMkLst>
            <pc:docMk/>
            <pc:sldMk cId="691181643" sldId="297"/>
            <ac:spMk id="12" creationId="{716ACC36-D399-95B2-BCEC-AE9CB99DD50A}"/>
          </ac:spMkLst>
        </pc:spChg>
        <pc:spChg chg="mod">
          <ac:chgData name="Joelle Brehm" userId="a518f54c-6985-42c0-8041-2bb16a414839" providerId="ADAL" clId="{9B2768D1-DFDD-45FF-849C-23AD8ECAB483}" dt="2024-05-09T15:13:50.653" v="65322"/>
          <ac:spMkLst>
            <pc:docMk/>
            <pc:sldMk cId="691181643" sldId="297"/>
            <ac:spMk id="13" creationId="{AD140D78-FDD5-695F-4A88-47F0D26CD5E1}"/>
          </ac:spMkLst>
        </pc:spChg>
        <pc:spChg chg="mod">
          <ac:chgData name="Joelle Brehm" userId="a518f54c-6985-42c0-8041-2bb16a414839" providerId="ADAL" clId="{9B2768D1-DFDD-45FF-849C-23AD8ECAB483}" dt="2024-05-09T15:13:50.652" v="65319"/>
          <ac:spMkLst>
            <pc:docMk/>
            <pc:sldMk cId="691181643" sldId="297"/>
            <ac:spMk id="14" creationId="{CB87F016-E61D-A5A6-BCE4-6CD0F8DE5D43}"/>
          </ac:spMkLst>
        </pc:spChg>
        <pc:spChg chg="mod">
          <ac:chgData name="Joelle Brehm" userId="a518f54c-6985-42c0-8041-2bb16a414839" providerId="ADAL" clId="{9B2768D1-DFDD-45FF-849C-23AD8ECAB483}" dt="2024-05-09T15:13:50.652" v="65320"/>
          <ac:spMkLst>
            <pc:docMk/>
            <pc:sldMk cId="691181643" sldId="297"/>
            <ac:spMk id="15" creationId="{50B6EFF4-ECF2-D261-34EF-07D689FDB03A}"/>
          </ac:spMkLst>
        </pc:spChg>
        <pc:spChg chg="mod">
          <ac:chgData name="Joelle Brehm" userId="a518f54c-6985-42c0-8041-2bb16a414839" providerId="ADAL" clId="{9B2768D1-DFDD-45FF-849C-23AD8ECAB483}" dt="2024-05-09T15:13:50.653" v="65323"/>
          <ac:spMkLst>
            <pc:docMk/>
            <pc:sldMk cId="691181643" sldId="297"/>
            <ac:spMk id="16" creationId="{D980E975-E330-68EC-477F-60F48A87FAD8}"/>
          </ac:spMkLst>
        </pc:spChg>
        <pc:spChg chg="mod">
          <ac:chgData name="Joelle Brehm" userId="a518f54c-6985-42c0-8041-2bb16a414839" providerId="ADAL" clId="{9B2768D1-DFDD-45FF-849C-23AD8ECAB483}" dt="2024-05-09T15:13:50.653" v="65324"/>
          <ac:spMkLst>
            <pc:docMk/>
            <pc:sldMk cId="691181643" sldId="297"/>
            <ac:spMk id="17" creationId="{D2BBB23C-0446-3CC4-77FA-286CB0F573C2}"/>
          </ac:spMkLst>
        </pc:spChg>
        <pc:spChg chg="mod">
          <ac:chgData name="Joelle Brehm" userId="a518f54c-6985-42c0-8041-2bb16a414839" providerId="ADAL" clId="{9B2768D1-DFDD-45FF-849C-23AD8ECAB483}" dt="2024-05-09T15:13:50.654" v="65326"/>
          <ac:spMkLst>
            <pc:docMk/>
            <pc:sldMk cId="691181643" sldId="297"/>
            <ac:spMk id="18" creationId="{65495921-8928-9A1E-927A-65A293D208C7}"/>
          </ac:spMkLst>
        </pc:spChg>
        <pc:spChg chg="mod">
          <ac:chgData name="Joelle Brehm" userId="a518f54c-6985-42c0-8041-2bb16a414839" providerId="ADAL" clId="{9B2768D1-DFDD-45FF-849C-23AD8ECAB483}" dt="2024-05-09T15:13:50.654" v="65327"/>
          <ac:spMkLst>
            <pc:docMk/>
            <pc:sldMk cId="691181643" sldId="297"/>
            <ac:spMk id="19" creationId="{CF683958-5957-5AC8-1047-E26BACAC97AD}"/>
          </ac:spMkLst>
        </pc:spChg>
        <pc:spChg chg="mod">
          <ac:chgData name="Joelle Brehm" userId="a518f54c-6985-42c0-8041-2bb16a414839" providerId="ADAL" clId="{9B2768D1-DFDD-45FF-849C-23AD8ECAB483}" dt="2024-05-09T15:13:50.655" v="65328"/>
          <ac:spMkLst>
            <pc:docMk/>
            <pc:sldMk cId="691181643" sldId="297"/>
            <ac:spMk id="20" creationId="{99757F7C-687C-6778-5B80-6F5459DC2377}"/>
          </ac:spMkLst>
        </pc:spChg>
        <pc:spChg chg="mod">
          <ac:chgData name="Joelle Brehm" userId="a518f54c-6985-42c0-8041-2bb16a414839" providerId="ADAL" clId="{9B2768D1-DFDD-45FF-849C-23AD8ECAB483}" dt="2024-05-09T15:13:50.655" v="65329"/>
          <ac:spMkLst>
            <pc:docMk/>
            <pc:sldMk cId="691181643" sldId="297"/>
            <ac:spMk id="21" creationId="{88662C75-372E-3172-0F30-2440B86A6E07}"/>
          </ac:spMkLst>
        </pc:spChg>
        <pc:spChg chg="mod">
          <ac:chgData name="Joelle Brehm" userId="a518f54c-6985-42c0-8041-2bb16a414839" providerId="ADAL" clId="{9B2768D1-DFDD-45FF-849C-23AD8ECAB483}" dt="2024-05-09T15:13:50.655" v="65330"/>
          <ac:spMkLst>
            <pc:docMk/>
            <pc:sldMk cId="691181643" sldId="297"/>
            <ac:spMk id="22" creationId="{2D9142C4-67A0-25E1-D2CF-B2635DF32607}"/>
          </ac:spMkLst>
        </pc:spChg>
        <pc:spChg chg="mod ord">
          <ac:chgData name="Joelle Brehm" userId="a518f54c-6985-42c0-8041-2bb16a414839" providerId="ADAL" clId="{9B2768D1-DFDD-45FF-849C-23AD8ECAB483}" dt="2024-05-09T15:13:50.656" v="65332"/>
          <ac:spMkLst>
            <pc:docMk/>
            <pc:sldMk cId="691181643" sldId="297"/>
            <ac:spMk id="23" creationId="{E55438EE-F637-2FA3-2C0E-B05EA6D8C1E8}"/>
          </ac:spMkLst>
        </pc:spChg>
        <pc:spChg chg="mod">
          <ac:chgData name="Joelle Brehm" userId="a518f54c-6985-42c0-8041-2bb16a414839" providerId="ADAL" clId="{9B2768D1-DFDD-45FF-849C-23AD8ECAB483}" dt="2024-05-09T15:13:50.656" v="65333"/>
          <ac:spMkLst>
            <pc:docMk/>
            <pc:sldMk cId="691181643" sldId="297"/>
            <ac:spMk id="24" creationId="{F4D0BFA4-5AB2-BBC0-BC0F-1E4C03E222AF}"/>
          </ac:spMkLst>
        </pc:spChg>
        <pc:spChg chg="mod">
          <ac:chgData name="Joelle Brehm" userId="a518f54c-6985-42c0-8041-2bb16a414839" providerId="ADAL" clId="{9B2768D1-DFDD-45FF-849C-23AD8ECAB483}" dt="2024-05-09T15:13:50.658" v="65335"/>
          <ac:spMkLst>
            <pc:docMk/>
            <pc:sldMk cId="691181643" sldId="297"/>
            <ac:spMk id="25" creationId="{5FD262B9-E4EE-5C5B-CBBE-842B5C267DD1}"/>
          </ac:spMkLst>
        </pc:spChg>
        <pc:spChg chg="mod">
          <ac:chgData name="Joelle Brehm" userId="a518f54c-6985-42c0-8041-2bb16a414839" providerId="ADAL" clId="{9B2768D1-DFDD-45FF-849C-23AD8ECAB483}" dt="2024-05-09T15:13:50.657" v="65334"/>
          <ac:spMkLst>
            <pc:docMk/>
            <pc:sldMk cId="691181643" sldId="297"/>
            <ac:spMk id="26" creationId="{790670ED-11A2-E0D0-D7A5-53436D971104}"/>
          </ac:spMkLst>
        </pc:spChg>
        <pc:spChg chg="mod">
          <ac:chgData name="Joelle Brehm" userId="a518f54c-6985-42c0-8041-2bb16a414839" providerId="ADAL" clId="{9B2768D1-DFDD-45FF-849C-23AD8ECAB483}" dt="2024-05-09T15:13:50.659" v="65337"/>
          <ac:spMkLst>
            <pc:docMk/>
            <pc:sldMk cId="691181643" sldId="297"/>
            <ac:spMk id="27" creationId="{074A3588-4A02-E75B-E640-8244EDF702A1}"/>
          </ac:spMkLst>
        </pc:spChg>
        <pc:spChg chg="mod">
          <ac:chgData name="Joelle Brehm" userId="a518f54c-6985-42c0-8041-2bb16a414839" providerId="ADAL" clId="{9B2768D1-DFDD-45FF-849C-23AD8ECAB483}" dt="2024-05-09T15:13:50.659" v="65338"/>
          <ac:spMkLst>
            <pc:docMk/>
            <pc:sldMk cId="691181643" sldId="297"/>
            <ac:spMk id="28" creationId="{326C9293-A5D0-4EDC-4211-AC7D030AF457}"/>
          </ac:spMkLst>
        </pc:spChg>
        <pc:spChg chg="mod">
          <ac:chgData name="Joelle Brehm" userId="a518f54c-6985-42c0-8041-2bb16a414839" providerId="ADAL" clId="{9B2768D1-DFDD-45FF-849C-23AD8ECAB483}" dt="2024-05-09T15:13:50.658" v="65336"/>
          <ac:spMkLst>
            <pc:docMk/>
            <pc:sldMk cId="691181643" sldId="297"/>
            <ac:spMk id="29" creationId="{E329C5DC-1864-0128-B1E2-CE87D618F8DF}"/>
          </ac:spMkLst>
        </pc:spChg>
        <pc:spChg chg="mod ord">
          <ac:chgData name="Joelle Brehm" userId="a518f54c-6985-42c0-8041-2bb16a414839" providerId="ADAL" clId="{9B2768D1-DFDD-45FF-849C-23AD8ECAB483}" dt="2024-05-09T15:13:50.660" v="65340"/>
          <ac:spMkLst>
            <pc:docMk/>
            <pc:sldMk cId="691181643" sldId="297"/>
            <ac:spMk id="30" creationId="{DD13A74B-6D89-8AED-C069-E05CCAE360C9}"/>
          </ac:spMkLst>
        </pc:spChg>
        <pc:spChg chg="add mod replST">
          <ac:chgData name="Joelle Brehm" userId="a518f54c-6985-42c0-8041-2bb16a414839" providerId="ADAL" clId="{9B2768D1-DFDD-45FF-849C-23AD8ECAB483}" dt="2024-05-09T15:13:50.662" v="65345"/>
          <ac:spMkLst>
            <pc:docMk/>
            <pc:sldMk cId="691181643" sldId="297"/>
            <ac:spMk id="32" creationId="{95D26D6A-B817-35EB-19BA-05CE5C39AF17}"/>
          </ac:spMkLst>
        </pc:spChg>
        <pc:spChg chg="mod">
          <ac:chgData name="Joelle Brehm" userId="a518f54c-6985-42c0-8041-2bb16a414839" providerId="ADAL" clId="{9B2768D1-DFDD-45FF-849C-23AD8ECAB483}" dt="2024-05-09T15:13:50.662" v="65344"/>
          <ac:spMkLst>
            <pc:docMk/>
            <pc:sldMk cId="691181643" sldId="297"/>
            <ac:spMk id="33" creationId="{59B0E788-E20C-9C4C-D48E-6BD2D3D7A778}"/>
          </ac:spMkLst>
        </pc:spChg>
        <pc:spChg chg="add del mod modVis">
          <ac:chgData name="Joelle Brehm" userId="a518f54c-6985-42c0-8041-2bb16a414839" providerId="ADAL" clId="{9B2768D1-DFDD-45FF-849C-23AD8ECAB483}" dt="2024-05-08T16:23:13.702" v="37727"/>
          <ac:spMkLst>
            <pc:docMk/>
            <pc:sldMk cId="691181643" sldId="297"/>
            <ac:spMk id="34" creationId="{8BC76FCE-7A65-5A34-0176-833A0E4BCB74}"/>
          </ac:spMkLst>
        </pc:spChg>
        <pc:spChg chg="add del mod modVis">
          <ac:chgData name="Joelle Brehm" userId="a518f54c-6985-42c0-8041-2bb16a414839" providerId="ADAL" clId="{9B2768D1-DFDD-45FF-849C-23AD8ECAB483}" dt="2024-05-08T16:23:18.325" v="37873"/>
          <ac:spMkLst>
            <pc:docMk/>
            <pc:sldMk cId="691181643" sldId="297"/>
            <ac:spMk id="36" creationId="{03772C42-E65E-A6B5-3005-6E5F58AAE43F}"/>
          </ac:spMkLst>
        </pc:spChg>
        <pc:spChg chg="add del mod modVis">
          <ac:chgData name="Joelle Brehm" userId="a518f54c-6985-42c0-8041-2bb16a414839" providerId="ADAL" clId="{9B2768D1-DFDD-45FF-849C-23AD8ECAB483}" dt="2024-05-09T15:13:50.679" v="65375"/>
          <ac:spMkLst>
            <pc:docMk/>
            <pc:sldMk cId="691181643" sldId="297"/>
            <ac:spMk id="36" creationId="{40CCAAEB-8EDB-5E60-187E-0DD992C00831}"/>
          </ac:spMkLst>
        </pc:spChg>
        <pc:spChg chg="add del mod modVis">
          <ac:chgData name="Joelle Brehm" userId="a518f54c-6985-42c0-8041-2bb16a414839" providerId="ADAL" clId="{9B2768D1-DFDD-45FF-849C-23AD8ECAB483}" dt="2024-05-08T16:23:20.927" v="37988"/>
          <ac:spMkLst>
            <pc:docMk/>
            <pc:sldMk cId="691181643" sldId="297"/>
            <ac:spMk id="38" creationId="{162861AC-E40F-EF5D-36DC-2A087D39F228}"/>
          </ac:spMkLst>
        </pc:spChg>
        <pc:spChg chg="add del mod modVis">
          <ac:chgData name="Joelle Brehm" userId="a518f54c-6985-42c0-8041-2bb16a414839" providerId="ADAL" clId="{9B2768D1-DFDD-45FF-849C-23AD8ECAB483}" dt="2024-05-08T16:23:26.372" v="38107"/>
          <ac:spMkLst>
            <pc:docMk/>
            <pc:sldMk cId="691181643" sldId="297"/>
            <ac:spMk id="40" creationId="{D7CFF888-E122-2EFD-6850-98E783761C3D}"/>
          </ac:spMkLst>
        </pc:spChg>
        <pc:spChg chg="mod">
          <ac:chgData name="Joelle Brehm" userId="a518f54c-6985-42c0-8041-2bb16a414839" providerId="ADAL" clId="{9B2768D1-DFDD-45FF-849C-23AD8ECAB483}" dt="2024-05-09T15:13:50.661" v="65343"/>
          <ac:spMkLst>
            <pc:docMk/>
            <pc:sldMk cId="691181643" sldId="297"/>
            <ac:spMk id="44" creationId="{6B978AFC-A986-0352-AEF6-422F66617A4E}"/>
          </ac:spMkLst>
        </pc:spChg>
        <pc:spChg chg="mod ord">
          <ac:chgData name="Joelle Brehm" userId="a518f54c-6985-42c0-8041-2bb16a414839" providerId="ADAL" clId="{9B2768D1-DFDD-45FF-849C-23AD8ECAB483}" dt="2024-05-09T15:13:50.662" v="65347"/>
          <ac:spMkLst>
            <pc:docMk/>
            <pc:sldMk cId="691181643" sldId="297"/>
            <ac:spMk id="78" creationId="{98C90A5D-A6CB-ABB8-DC63-03278FBCB561}"/>
          </ac:spMkLst>
        </pc:spChg>
        <pc:spChg chg="mod ord">
          <ac:chgData name="Joelle Brehm" userId="a518f54c-6985-42c0-8041-2bb16a414839" providerId="ADAL" clId="{9B2768D1-DFDD-45FF-849C-23AD8ECAB483}" dt="2024-05-09T15:13:50.664" v="65349"/>
          <ac:spMkLst>
            <pc:docMk/>
            <pc:sldMk cId="691181643" sldId="297"/>
            <ac:spMk id="79" creationId="{6462C443-5638-1A41-C459-2DF66B866EDA}"/>
          </ac:spMkLst>
        </pc:spChg>
        <pc:spChg chg="mod ord">
          <ac:chgData name="Joelle Brehm" userId="a518f54c-6985-42c0-8041-2bb16a414839" providerId="ADAL" clId="{9B2768D1-DFDD-45FF-849C-23AD8ECAB483}" dt="2024-05-09T15:13:50.665" v="65351"/>
          <ac:spMkLst>
            <pc:docMk/>
            <pc:sldMk cId="691181643" sldId="297"/>
            <ac:spMk id="100" creationId="{7FC258AD-340F-DBAB-C9DB-CAF57178614D}"/>
          </ac:spMkLst>
        </pc:spChg>
        <pc:spChg chg="mod ord">
          <ac:chgData name="Joelle Brehm" userId="a518f54c-6985-42c0-8041-2bb16a414839" providerId="ADAL" clId="{9B2768D1-DFDD-45FF-849C-23AD8ECAB483}" dt="2024-05-09T15:13:50.667" v="65353"/>
          <ac:spMkLst>
            <pc:docMk/>
            <pc:sldMk cId="691181643" sldId="297"/>
            <ac:spMk id="108" creationId="{606A0223-A506-3818-5143-A2CA029E3AF2}"/>
          </ac:spMkLst>
        </pc:spChg>
        <pc:spChg chg="mod ord">
          <ac:chgData name="Joelle Brehm" userId="a518f54c-6985-42c0-8041-2bb16a414839" providerId="ADAL" clId="{9B2768D1-DFDD-45FF-849C-23AD8ECAB483}" dt="2024-05-09T15:13:50.669" v="65355"/>
          <ac:spMkLst>
            <pc:docMk/>
            <pc:sldMk cId="691181643" sldId="297"/>
            <ac:spMk id="109" creationId="{7BEDB0ED-D13E-1714-C6F0-A02EF316F132}"/>
          </ac:spMkLst>
        </pc:spChg>
        <pc:spChg chg="mod ord">
          <ac:chgData name="Joelle Brehm" userId="a518f54c-6985-42c0-8041-2bb16a414839" providerId="ADAL" clId="{9B2768D1-DFDD-45FF-849C-23AD8ECAB483}" dt="2024-05-09T15:13:50.671" v="65357"/>
          <ac:spMkLst>
            <pc:docMk/>
            <pc:sldMk cId="691181643" sldId="297"/>
            <ac:spMk id="110" creationId="{06800A4A-BF98-F3CF-A472-BC9F58811EF4}"/>
          </ac:spMkLst>
        </pc:spChg>
        <pc:spChg chg="mod ord">
          <ac:chgData name="Joelle Brehm" userId="a518f54c-6985-42c0-8041-2bb16a414839" providerId="ADAL" clId="{9B2768D1-DFDD-45FF-849C-23AD8ECAB483}" dt="2024-05-09T15:13:50.677" v="65370"/>
          <ac:spMkLst>
            <pc:docMk/>
            <pc:sldMk cId="691181643" sldId="297"/>
            <ac:spMk id="116" creationId="{1FE84FA0-510F-7B5C-864C-30121652B032}"/>
          </ac:spMkLst>
        </pc:spChg>
        <pc:spChg chg="mod">
          <ac:chgData name="Joelle Brehm" userId="a518f54c-6985-42c0-8041-2bb16a414839" providerId="ADAL" clId="{9B2768D1-DFDD-45FF-849C-23AD8ECAB483}" dt="2024-05-09T15:13:50.672" v="65360"/>
          <ac:spMkLst>
            <pc:docMk/>
            <pc:sldMk cId="691181643" sldId="297"/>
            <ac:spMk id="133" creationId="{5424138A-AB7B-0F7B-15F3-FAA030115ECF}"/>
          </ac:spMkLst>
        </pc:spChg>
        <pc:spChg chg="mod">
          <ac:chgData name="Joelle Brehm" userId="a518f54c-6985-42c0-8041-2bb16a414839" providerId="ADAL" clId="{9B2768D1-DFDD-45FF-849C-23AD8ECAB483}" dt="2024-05-09T15:13:50.673" v="65361"/>
          <ac:spMkLst>
            <pc:docMk/>
            <pc:sldMk cId="691181643" sldId="297"/>
            <ac:spMk id="135" creationId="{BA495C2F-E652-0B75-7A16-F6A1F64312BE}"/>
          </ac:spMkLst>
        </pc:spChg>
        <pc:spChg chg="mod">
          <ac:chgData name="Joelle Brehm" userId="a518f54c-6985-42c0-8041-2bb16a414839" providerId="ADAL" clId="{9B2768D1-DFDD-45FF-849C-23AD8ECAB483}" dt="2024-05-09T15:13:50.673" v="65362"/>
          <ac:spMkLst>
            <pc:docMk/>
            <pc:sldMk cId="691181643" sldId="297"/>
            <ac:spMk id="136" creationId="{CB3283BC-69A1-DE36-1760-FDD3588B4CAD}"/>
          </ac:spMkLst>
        </pc:spChg>
        <pc:spChg chg="mod">
          <ac:chgData name="Joelle Brehm" userId="a518f54c-6985-42c0-8041-2bb16a414839" providerId="ADAL" clId="{9B2768D1-DFDD-45FF-849C-23AD8ECAB483}" dt="2024-05-09T15:13:50.674" v="65363"/>
          <ac:spMkLst>
            <pc:docMk/>
            <pc:sldMk cId="691181643" sldId="297"/>
            <ac:spMk id="157" creationId="{E4B79A22-8103-94CD-F875-9827A05F8002}"/>
          </ac:spMkLst>
        </pc:spChg>
        <pc:spChg chg="mod">
          <ac:chgData name="Joelle Brehm" userId="a518f54c-6985-42c0-8041-2bb16a414839" providerId="ADAL" clId="{9B2768D1-DFDD-45FF-849C-23AD8ECAB483}" dt="2024-05-09T15:13:50.674" v="65364"/>
          <ac:spMkLst>
            <pc:docMk/>
            <pc:sldMk cId="691181643" sldId="297"/>
            <ac:spMk id="158" creationId="{7A7BF95B-537C-2588-A4E4-756592017FC8}"/>
          </ac:spMkLst>
        </pc:spChg>
        <pc:graphicFrameChg chg="mod">
          <ac:chgData name="Joelle Brehm" userId="a518f54c-6985-42c0-8041-2bb16a414839" providerId="ADAL" clId="{9B2768D1-DFDD-45FF-849C-23AD8ECAB483}" dt="2024-05-09T15:13:50.696" v="65377"/>
          <ac:graphicFrameMkLst>
            <pc:docMk/>
            <pc:sldMk cId="691181643" sldId="297"/>
            <ac:graphicFrameMk id="4" creationId="{419D2559-42BC-46AC-BFDB-B77F1539CB1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9T15:13:27.152" v="65043"/>
          <ac:graphicFrameMkLst>
            <pc:docMk/>
            <pc:sldMk cId="691181643" sldId="297"/>
            <ac:graphicFrameMk id="5" creationId="{2A6FAD16-F40F-6149-7B9F-FB92F598A46F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5:13:50.671" v="65359"/>
          <ac:graphicFrameMkLst>
            <pc:docMk/>
            <pc:sldMk cId="691181643" sldId="297"/>
            <ac:graphicFrameMk id="8" creationId="{508F82E8-4370-7013-71ED-AD9A809467C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2:41.609" v="37383"/>
          <ac:graphicFrameMkLst>
            <pc:docMk/>
            <pc:sldMk cId="691181643" sldId="297"/>
            <ac:graphicFrameMk id="9" creationId="{011EB53F-FF34-D938-DBBD-F4185381BAE4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9T15:13:19.142" v="64854"/>
          <ac:graphicFrameMkLst>
            <pc:docMk/>
            <pc:sldMk cId="691181643" sldId="297"/>
            <ac:graphicFrameMk id="10" creationId="{ECB9B172-2C17-05C5-C0E9-70161500C6AB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5:13:50.651" v="65318"/>
          <ac:graphicFrameMkLst>
            <pc:docMk/>
            <pc:sldMk cId="691181643" sldId="297"/>
            <ac:graphicFrameMk id="34" creationId="{25AE86A7-4081-0BFB-3EAF-014B4DB4151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3:18.240" v="37791"/>
          <ac:graphicFrameMkLst>
            <pc:docMk/>
            <pc:sldMk cId="691181643" sldId="297"/>
            <ac:graphicFrameMk id="35" creationId="{66C0D5E8-DF8E-9CAE-4F3A-F883E4D0BB88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3:20.851" v="37917"/>
          <ac:graphicFrameMkLst>
            <pc:docMk/>
            <pc:sldMk cId="691181643" sldId="297"/>
            <ac:graphicFrameMk id="37" creationId="{666FBFA7-B617-2C82-00A6-42804FEBF709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5:13:50.660" v="65342"/>
          <ac:graphicFrameMkLst>
            <pc:docMk/>
            <pc:sldMk cId="691181643" sldId="297"/>
            <ac:graphicFrameMk id="37" creationId="{8FEDA0D7-86D6-037C-AA45-9CACF95ED2F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3:26.329" v="38036"/>
          <ac:graphicFrameMkLst>
            <pc:docMk/>
            <pc:sldMk cId="691181643" sldId="297"/>
            <ac:graphicFrameMk id="39" creationId="{076368E5-81FF-AC69-E582-4928EE9414B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9T15:13:50.624" v="65300"/>
          <ac:graphicFrameMkLst>
            <pc:docMk/>
            <pc:sldMk cId="691181643" sldId="297"/>
            <ac:graphicFrameMk id="41" creationId="{3251A8FE-091A-92A0-84B5-D182D64AAA30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3:13.587" v="37652"/>
          <ac:graphicFrameMkLst>
            <pc:docMk/>
            <pc:sldMk cId="691181643" sldId="297"/>
            <ac:graphicFrameMk id="42" creationId="{CABE0822-8D21-E97E-4C83-5E1BB4A392E7}"/>
          </ac:graphicFrameMkLst>
        </pc:graphicFrameChg>
        <pc:graphicFrameChg chg="del">
          <ac:chgData name="Joelle Brehm" userId="a518f54c-6985-42c0-8041-2bb16a414839" providerId="ADAL" clId="{9B2768D1-DFDD-45FF-849C-23AD8ECAB483}" dt="2024-05-08T16:22:29.312" v="37086"/>
          <ac:graphicFrameMkLst>
            <pc:docMk/>
            <pc:sldMk cId="691181643" sldId="297"/>
            <ac:graphicFrameMk id="45" creationId="{C88947CA-1DEB-8BED-1BFE-F44F44B04764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2:37.995" v="37291"/>
          <ac:graphicFrameMkLst>
            <pc:docMk/>
            <pc:sldMk cId="691181643" sldId="297"/>
            <ac:graphicFrameMk id="48" creationId="{8AA005A4-DCD1-A1DD-4C3B-F582A3F434E2}"/>
          </ac:graphicFrameMkLst>
        </pc:graphicFrameChg>
        <pc:picChg chg="add del mod ord">
          <ac:chgData name="Joelle Brehm" userId="a518f54c-6985-42c0-8041-2bb16a414839" providerId="ADAL" clId="{9B2768D1-DFDD-45FF-849C-23AD8ECAB483}" dt="2024-05-09T15:13:43.705" v="65195" actId="478"/>
          <ac:picMkLst>
            <pc:docMk/>
            <pc:sldMk cId="691181643" sldId="297"/>
            <ac:picMk id="31" creationId="{6FF759F9-B338-ECE9-8318-D2CE3E8B5DEE}"/>
          </ac:picMkLst>
        </pc:picChg>
        <pc:picChg chg="add mod ord">
          <ac:chgData name="Joelle Brehm" userId="a518f54c-6985-42c0-8041-2bb16a414839" providerId="ADAL" clId="{9B2768D1-DFDD-45FF-849C-23AD8ECAB483}" dt="2024-05-09T15:13:50.650" v="65312"/>
          <ac:picMkLst>
            <pc:docMk/>
            <pc:sldMk cId="691181643" sldId="297"/>
            <ac:picMk id="35" creationId="{360A7B40-A9FB-C406-0660-170BAAC8A291}"/>
          </ac:picMkLst>
        </pc:picChg>
        <pc:picChg chg="del mod ord">
          <ac:chgData name="Joelle Brehm" userId="a518f54c-6985-42c0-8041-2bb16a414839" providerId="ADAL" clId="{9B2768D1-DFDD-45FF-849C-23AD8ECAB483}" dt="2024-05-08T16:23:07.886" v="37530" actId="478"/>
          <ac:picMkLst>
            <pc:docMk/>
            <pc:sldMk cId="691181643" sldId="297"/>
            <ac:picMk id="46" creationId="{CADD6FCC-4B57-31A0-EEF5-9CA4D61EDF31}"/>
          </ac:picMkLst>
        </pc:picChg>
        <pc:picChg chg="mod ord">
          <ac:chgData name="Joelle Brehm" userId="a518f54c-6985-42c0-8041-2bb16a414839" providerId="ADAL" clId="{9B2768D1-DFDD-45FF-849C-23AD8ECAB483}" dt="2024-05-09T15:13:50.675" v="65366"/>
          <ac:picMkLst>
            <pc:docMk/>
            <pc:sldMk cId="691181643" sldId="297"/>
            <ac:picMk id="185" creationId="{9FFEEFE7-BA59-B86C-A215-C2885FAFB419}"/>
          </ac:picMkLst>
        </pc:picChg>
        <pc:picChg chg="mod">
          <ac:chgData name="Joelle Brehm" userId="a518f54c-6985-42c0-8041-2bb16a414839" providerId="ADAL" clId="{9B2768D1-DFDD-45FF-849C-23AD8ECAB483}" dt="2024-05-09T15:13:50.677" v="65371"/>
          <ac:picMkLst>
            <pc:docMk/>
            <pc:sldMk cId="691181643" sldId="297"/>
            <ac:picMk id="1026" creationId="{9954C29C-BCE7-2698-3D0E-771A38088457}"/>
          </ac:picMkLst>
        </pc:picChg>
        <pc:cxnChg chg="mod ord">
          <ac:chgData name="Joelle Brehm" userId="a518f54c-6985-42c0-8041-2bb16a414839" providerId="ADAL" clId="{9B2768D1-DFDD-45FF-849C-23AD8ECAB483}" dt="2024-05-09T15:13:50.651" v="65316"/>
          <ac:cxnSpMkLst>
            <pc:docMk/>
            <pc:sldMk cId="691181643" sldId="297"/>
            <ac:cxnSpMk id="7" creationId="{BB10A77B-1D7D-C192-4A0C-D5604924950E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7:59.392" v="58821"/>
        <pc:sldMkLst>
          <pc:docMk/>
          <pc:sldMk cId="2408005870" sldId="298"/>
        </pc:sldMkLst>
        <pc:spChg chg="mod ord">
          <ac:chgData name="Joelle Brehm" userId="a518f54c-6985-42c0-8041-2bb16a414839" providerId="ADAL" clId="{9B2768D1-DFDD-45FF-849C-23AD8ECAB483}" dt="2024-05-08T16:37:59.361" v="58812"/>
          <ac:spMkLst>
            <pc:docMk/>
            <pc:sldMk cId="2408005870" sldId="298"/>
            <ac:spMk id="2" creationId="{0ED69946-FBC9-508C-7A76-E57B5F06DB25}"/>
          </ac:spMkLst>
        </pc:spChg>
        <pc:spChg chg="mod ord">
          <ac:chgData name="Joelle Brehm" userId="a518f54c-6985-42c0-8041-2bb16a414839" providerId="ADAL" clId="{9B2768D1-DFDD-45FF-849C-23AD8ECAB483}" dt="2024-05-08T16:37:59.361" v="58814"/>
          <ac:spMkLst>
            <pc:docMk/>
            <pc:sldMk cId="2408005870" sldId="298"/>
            <ac:spMk id="3" creationId="{9D385F7A-0D5E-BAA8-F542-D726F01E82AF}"/>
          </ac:spMkLst>
        </pc:spChg>
        <pc:spChg chg="add del mod">
          <ac:chgData name="Joelle Brehm" userId="a518f54c-6985-42c0-8041-2bb16a414839" providerId="ADAL" clId="{9B2768D1-DFDD-45FF-849C-23AD8ECAB483}" dt="2024-05-08T16:36:52.791" v="57637" actId="478"/>
          <ac:spMkLst>
            <pc:docMk/>
            <pc:sldMk cId="2408005870" sldId="298"/>
            <ac:spMk id="5" creationId="{95B7EF3F-9983-46A8-6ABD-AC3343FA3E0B}"/>
          </ac:spMkLst>
        </pc:spChg>
        <pc:spChg chg="mod ord">
          <ac:chgData name="Joelle Brehm" userId="a518f54c-6985-42c0-8041-2bb16a414839" providerId="ADAL" clId="{9B2768D1-DFDD-45FF-849C-23AD8ECAB483}" dt="2024-05-08T16:37:59.345" v="58755"/>
          <ac:spMkLst>
            <pc:docMk/>
            <pc:sldMk cId="2408005870" sldId="298"/>
            <ac:spMk id="6" creationId="{DE41C5D9-5F86-503E-31CB-2261C660FBA8}"/>
          </ac:spMkLst>
        </pc:spChg>
        <pc:spChg chg="add del mod modVis">
          <ac:chgData name="Joelle Brehm" userId="a518f54c-6985-42c0-8041-2bb16a414839" providerId="ADAL" clId="{9B2768D1-DFDD-45FF-849C-23AD8ECAB483}" dt="2024-05-08T16:37:08.010" v="57847"/>
          <ac:spMkLst>
            <pc:docMk/>
            <pc:sldMk cId="2408005870" sldId="298"/>
            <ac:spMk id="8" creationId="{8E00C3EC-5315-0561-CA2C-96A1FC583DC7}"/>
          </ac:spMkLst>
        </pc:spChg>
        <pc:spChg chg="mod">
          <ac:chgData name="Joelle Brehm" userId="a518f54c-6985-42c0-8041-2bb16a414839" providerId="ADAL" clId="{9B2768D1-DFDD-45FF-849C-23AD8ECAB483}" dt="2024-05-08T16:37:59.348" v="58766"/>
          <ac:spMkLst>
            <pc:docMk/>
            <pc:sldMk cId="2408005870" sldId="298"/>
            <ac:spMk id="11" creationId="{CA016300-C2A3-5479-F7F1-63A6DBB1977B}"/>
          </ac:spMkLst>
        </pc:spChg>
        <pc:spChg chg="mod">
          <ac:chgData name="Joelle Brehm" userId="a518f54c-6985-42c0-8041-2bb16a414839" providerId="ADAL" clId="{9B2768D1-DFDD-45FF-849C-23AD8ECAB483}" dt="2024-05-08T16:37:59.347" v="58762"/>
          <ac:spMkLst>
            <pc:docMk/>
            <pc:sldMk cId="2408005870" sldId="298"/>
            <ac:spMk id="12" creationId="{95F9EB3F-3A35-4028-E594-42ACA739D3C0}"/>
          </ac:spMkLst>
        </pc:spChg>
        <pc:spChg chg="mod">
          <ac:chgData name="Joelle Brehm" userId="a518f54c-6985-42c0-8041-2bb16a414839" providerId="ADAL" clId="{9B2768D1-DFDD-45FF-849C-23AD8ECAB483}" dt="2024-05-08T16:37:59.347" v="58763"/>
          <ac:spMkLst>
            <pc:docMk/>
            <pc:sldMk cId="2408005870" sldId="298"/>
            <ac:spMk id="13" creationId="{97D6763B-6469-7EB9-E8DE-188261B2C2FA}"/>
          </ac:spMkLst>
        </pc:spChg>
        <pc:spChg chg="mod">
          <ac:chgData name="Joelle Brehm" userId="a518f54c-6985-42c0-8041-2bb16a414839" providerId="ADAL" clId="{9B2768D1-DFDD-45FF-849C-23AD8ECAB483}" dt="2024-05-08T16:37:59.346" v="58760"/>
          <ac:spMkLst>
            <pc:docMk/>
            <pc:sldMk cId="2408005870" sldId="298"/>
            <ac:spMk id="14" creationId="{16A22A32-B4BE-8C31-E1A5-E7423618FC14}"/>
          </ac:spMkLst>
        </pc:spChg>
        <pc:spChg chg="mod">
          <ac:chgData name="Joelle Brehm" userId="a518f54c-6985-42c0-8041-2bb16a414839" providerId="ADAL" clId="{9B2768D1-DFDD-45FF-849C-23AD8ECAB483}" dt="2024-05-08T16:37:59.347" v="58761"/>
          <ac:spMkLst>
            <pc:docMk/>
            <pc:sldMk cId="2408005870" sldId="298"/>
            <ac:spMk id="15" creationId="{D9F0AB18-292A-D369-16B8-2E76E14CD1B4}"/>
          </ac:spMkLst>
        </pc:spChg>
        <pc:spChg chg="mod">
          <ac:chgData name="Joelle Brehm" userId="a518f54c-6985-42c0-8041-2bb16a414839" providerId="ADAL" clId="{9B2768D1-DFDD-45FF-849C-23AD8ECAB483}" dt="2024-05-08T16:37:59.347" v="58764"/>
          <ac:spMkLst>
            <pc:docMk/>
            <pc:sldMk cId="2408005870" sldId="298"/>
            <ac:spMk id="16" creationId="{A1A79201-80C7-A139-796A-12F76E5104AD}"/>
          </ac:spMkLst>
        </pc:spChg>
        <pc:spChg chg="mod">
          <ac:chgData name="Joelle Brehm" userId="a518f54c-6985-42c0-8041-2bb16a414839" providerId="ADAL" clId="{9B2768D1-DFDD-45FF-849C-23AD8ECAB483}" dt="2024-05-08T16:37:59.348" v="58765"/>
          <ac:spMkLst>
            <pc:docMk/>
            <pc:sldMk cId="2408005870" sldId="298"/>
            <ac:spMk id="17" creationId="{A6371AA9-0691-90E2-6053-C44FB7BF3E38}"/>
          </ac:spMkLst>
        </pc:spChg>
        <pc:spChg chg="mod">
          <ac:chgData name="Joelle Brehm" userId="a518f54c-6985-42c0-8041-2bb16a414839" providerId="ADAL" clId="{9B2768D1-DFDD-45FF-849C-23AD8ECAB483}" dt="2024-05-08T16:37:59.349" v="58767"/>
          <ac:spMkLst>
            <pc:docMk/>
            <pc:sldMk cId="2408005870" sldId="298"/>
            <ac:spMk id="18" creationId="{C85CAE6F-7A3A-8BE3-BB6F-B363C5AFCDB8}"/>
          </ac:spMkLst>
        </pc:spChg>
        <pc:spChg chg="mod">
          <ac:chgData name="Joelle Brehm" userId="a518f54c-6985-42c0-8041-2bb16a414839" providerId="ADAL" clId="{9B2768D1-DFDD-45FF-849C-23AD8ECAB483}" dt="2024-05-08T16:37:59.349" v="58768"/>
          <ac:spMkLst>
            <pc:docMk/>
            <pc:sldMk cId="2408005870" sldId="298"/>
            <ac:spMk id="19" creationId="{5277DDC2-2A2D-0029-DB25-F54866371E0C}"/>
          </ac:spMkLst>
        </pc:spChg>
        <pc:spChg chg="mod">
          <ac:chgData name="Joelle Brehm" userId="a518f54c-6985-42c0-8041-2bb16a414839" providerId="ADAL" clId="{9B2768D1-DFDD-45FF-849C-23AD8ECAB483}" dt="2024-05-08T16:37:59.349" v="58769"/>
          <ac:spMkLst>
            <pc:docMk/>
            <pc:sldMk cId="2408005870" sldId="298"/>
            <ac:spMk id="20" creationId="{BC7D336D-1BB9-ECF2-415F-E023A3BBBD9B}"/>
          </ac:spMkLst>
        </pc:spChg>
        <pc:spChg chg="mod">
          <ac:chgData name="Joelle Brehm" userId="a518f54c-6985-42c0-8041-2bb16a414839" providerId="ADAL" clId="{9B2768D1-DFDD-45FF-849C-23AD8ECAB483}" dt="2024-05-08T16:37:59.349" v="58770"/>
          <ac:spMkLst>
            <pc:docMk/>
            <pc:sldMk cId="2408005870" sldId="298"/>
            <ac:spMk id="21" creationId="{D14ED558-5334-C19F-A5B8-7140010B5216}"/>
          </ac:spMkLst>
        </pc:spChg>
        <pc:spChg chg="mod">
          <ac:chgData name="Joelle Brehm" userId="a518f54c-6985-42c0-8041-2bb16a414839" providerId="ADAL" clId="{9B2768D1-DFDD-45FF-849C-23AD8ECAB483}" dt="2024-05-08T16:37:59.350" v="58771"/>
          <ac:spMkLst>
            <pc:docMk/>
            <pc:sldMk cId="2408005870" sldId="298"/>
            <ac:spMk id="22" creationId="{1C150717-5D5C-4095-A24C-D6EF84446D4F}"/>
          </ac:spMkLst>
        </pc:spChg>
        <pc:spChg chg="mod ord">
          <ac:chgData name="Joelle Brehm" userId="a518f54c-6985-42c0-8041-2bb16a414839" providerId="ADAL" clId="{9B2768D1-DFDD-45FF-849C-23AD8ECAB483}" dt="2024-05-08T16:37:59.350" v="58773"/>
          <ac:spMkLst>
            <pc:docMk/>
            <pc:sldMk cId="2408005870" sldId="298"/>
            <ac:spMk id="23" creationId="{0F60CB9C-34D1-36D2-F94C-15F4FC22092D}"/>
          </ac:spMkLst>
        </pc:spChg>
        <pc:spChg chg="mod">
          <ac:chgData name="Joelle Brehm" userId="a518f54c-6985-42c0-8041-2bb16a414839" providerId="ADAL" clId="{9B2768D1-DFDD-45FF-849C-23AD8ECAB483}" dt="2024-05-08T16:37:59.351" v="58776"/>
          <ac:spMkLst>
            <pc:docMk/>
            <pc:sldMk cId="2408005870" sldId="298"/>
            <ac:spMk id="24" creationId="{36500181-4670-B49A-7AC3-2A82E53C2CA3}"/>
          </ac:spMkLst>
        </pc:spChg>
        <pc:spChg chg="mod">
          <ac:chgData name="Joelle Brehm" userId="a518f54c-6985-42c0-8041-2bb16a414839" providerId="ADAL" clId="{9B2768D1-DFDD-45FF-849C-23AD8ECAB483}" dt="2024-05-08T16:37:59.352" v="58778"/>
          <ac:spMkLst>
            <pc:docMk/>
            <pc:sldMk cId="2408005870" sldId="298"/>
            <ac:spMk id="25" creationId="{58AD6EC7-2E4C-2B24-5137-99C38A661019}"/>
          </ac:spMkLst>
        </pc:spChg>
        <pc:spChg chg="mod">
          <ac:chgData name="Joelle Brehm" userId="a518f54c-6985-42c0-8041-2bb16a414839" providerId="ADAL" clId="{9B2768D1-DFDD-45FF-849C-23AD8ECAB483}" dt="2024-05-08T16:37:59.352" v="58777"/>
          <ac:spMkLst>
            <pc:docMk/>
            <pc:sldMk cId="2408005870" sldId="298"/>
            <ac:spMk id="26" creationId="{29055051-95C0-892B-B496-84640681B51B}"/>
          </ac:spMkLst>
        </pc:spChg>
        <pc:spChg chg="mod">
          <ac:chgData name="Joelle Brehm" userId="a518f54c-6985-42c0-8041-2bb16a414839" providerId="ADAL" clId="{9B2768D1-DFDD-45FF-849C-23AD8ECAB483}" dt="2024-05-08T16:37:59.353" v="58781"/>
          <ac:spMkLst>
            <pc:docMk/>
            <pc:sldMk cId="2408005870" sldId="298"/>
            <ac:spMk id="27" creationId="{15389E45-B188-8E55-F9BF-97020DFCC806}"/>
          </ac:spMkLst>
        </pc:spChg>
        <pc:spChg chg="mod">
          <ac:chgData name="Joelle Brehm" userId="a518f54c-6985-42c0-8041-2bb16a414839" providerId="ADAL" clId="{9B2768D1-DFDD-45FF-849C-23AD8ECAB483}" dt="2024-05-08T16:37:59.353" v="58782"/>
          <ac:spMkLst>
            <pc:docMk/>
            <pc:sldMk cId="2408005870" sldId="298"/>
            <ac:spMk id="28" creationId="{B894C8FA-0E16-209B-5808-A9F27224B339}"/>
          </ac:spMkLst>
        </pc:spChg>
        <pc:spChg chg="mod">
          <ac:chgData name="Joelle Brehm" userId="a518f54c-6985-42c0-8041-2bb16a414839" providerId="ADAL" clId="{9B2768D1-DFDD-45FF-849C-23AD8ECAB483}" dt="2024-05-08T16:37:59.353" v="58780"/>
          <ac:spMkLst>
            <pc:docMk/>
            <pc:sldMk cId="2408005870" sldId="298"/>
            <ac:spMk id="29" creationId="{D51A0C91-4CAD-F515-546F-3A2437891C98}"/>
          </ac:spMkLst>
        </pc:spChg>
        <pc:spChg chg="mod ord">
          <ac:chgData name="Joelle Brehm" userId="a518f54c-6985-42c0-8041-2bb16a414839" providerId="ADAL" clId="{9B2768D1-DFDD-45FF-849C-23AD8ECAB483}" dt="2024-05-08T16:37:59.354" v="58784"/>
          <ac:spMkLst>
            <pc:docMk/>
            <pc:sldMk cId="2408005870" sldId="298"/>
            <ac:spMk id="30" creationId="{2CC97171-2B19-F184-EC98-7749012F6DB5}"/>
          </ac:spMkLst>
        </pc:spChg>
        <pc:spChg chg="add del mod modVis">
          <ac:chgData name="Joelle Brehm" userId="a518f54c-6985-42c0-8041-2bb16a414839" providerId="ADAL" clId="{9B2768D1-DFDD-45FF-849C-23AD8ECAB483}" dt="2024-05-08T16:37:37.014" v="58117"/>
          <ac:spMkLst>
            <pc:docMk/>
            <pc:sldMk cId="2408005870" sldId="298"/>
            <ac:spMk id="31" creationId="{1CFF085C-99CF-40B0-B4DE-DE24B55298B2}"/>
          </ac:spMkLst>
        </pc:spChg>
        <pc:spChg chg="mod">
          <ac:chgData name="Joelle Brehm" userId="a518f54c-6985-42c0-8041-2bb16a414839" providerId="ADAL" clId="{9B2768D1-DFDD-45FF-849C-23AD8ECAB483}" dt="2024-05-08T16:37:59.355" v="58788"/>
          <ac:spMkLst>
            <pc:docMk/>
            <pc:sldMk cId="2408005870" sldId="298"/>
            <ac:spMk id="33" creationId="{4F12BCDE-46A6-1720-1A9F-697D1F086EC8}"/>
          </ac:spMkLst>
        </pc:spChg>
        <pc:spChg chg="add del mod modVis">
          <ac:chgData name="Joelle Brehm" userId="a518f54c-6985-42c0-8041-2bb16a414839" providerId="ADAL" clId="{9B2768D1-DFDD-45FF-849C-23AD8ECAB483}" dt="2024-05-08T16:37:44.118" v="58236"/>
          <ac:spMkLst>
            <pc:docMk/>
            <pc:sldMk cId="2408005870" sldId="298"/>
            <ac:spMk id="34" creationId="{8189B588-EC6B-70DD-9A7C-2C7FEDA23E49}"/>
          </ac:spMkLst>
        </pc:spChg>
        <pc:spChg chg="mod ord">
          <ac:chgData name="Joelle Brehm" userId="a518f54c-6985-42c0-8041-2bb16a414839" providerId="ADAL" clId="{9B2768D1-DFDD-45FF-849C-23AD8ECAB483}" dt="2024-05-08T16:37:59.351" v="58775"/>
          <ac:spMkLst>
            <pc:docMk/>
            <pc:sldMk cId="2408005870" sldId="298"/>
            <ac:spMk id="37" creationId="{D22AFD2E-1619-5918-9AA4-D04FE2AB012B}"/>
          </ac:spMkLst>
        </pc:spChg>
        <pc:spChg chg="add mod replST">
          <ac:chgData name="Joelle Brehm" userId="a518f54c-6985-42c0-8041-2bb16a414839" providerId="ADAL" clId="{9B2768D1-DFDD-45FF-849C-23AD8ECAB483}" dt="2024-05-08T16:37:59.355" v="58789"/>
          <ac:spMkLst>
            <pc:docMk/>
            <pc:sldMk cId="2408005870" sldId="298"/>
            <ac:spMk id="40" creationId="{3324F089-CAE3-CB12-37AA-BF4A94A0CB6B}"/>
          </ac:spMkLst>
        </pc:spChg>
        <pc:spChg chg="add del mod modVis">
          <ac:chgData name="Joelle Brehm" userId="a518f54c-6985-42c0-8041-2bb16a414839" providerId="ADAL" clId="{9B2768D1-DFDD-45FF-849C-23AD8ECAB483}" dt="2024-05-08T16:37:51.740" v="58433"/>
          <ac:spMkLst>
            <pc:docMk/>
            <pc:sldMk cId="2408005870" sldId="298"/>
            <ac:spMk id="41" creationId="{F0C9EAF9-1750-0B46-7D17-2572BF4FD0EE}"/>
          </ac:spMkLst>
        </pc:spChg>
        <pc:spChg chg="add del mod modVis">
          <ac:chgData name="Joelle Brehm" userId="a518f54c-6985-42c0-8041-2bb16a414839" providerId="ADAL" clId="{9B2768D1-DFDD-45FF-849C-23AD8ECAB483}" dt="2024-05-08T16:37:54.403" v="58581"/>
          <ac:spMkLst>
            <pc:docMk/>
            <pc:sldMk cId="2408005870" sldId="298"/>
            <ac:spMk id="44" creationId="{46BD8AD9-1FE3-D0D9-8F57-C9DF10966851}"/>
          </ac:spMkLst>
        </pc:spChg>
        <pc:spChg chg="add del mod modVis">
          <ac:chgData name="Joelle Brehm" userId="a518f54c-6985-42c0-8041-2bb16a414839" providerId="ADAL" clId="{9B2768D1-DFDD-45FF-849C-23AD8ECAB483}" dt="2024-05-08T16:37:55.902" v="58698"/>
          <ac:spMkLst>
            <pc:docMk/>
            <pc:sldMk cId="2408005870" sldId="298"/>
            <ac:spMk id="46" creationId="{23DC589C-ED26-1D6A-3EEF-497810EED76A}"/>
          </ac:spMkLst>
        </pc:spChg>
        <pc:spChg chg="add del mod modVis">
          <ac:chgData name="Joelle Brehm" userId="a518f54c-6985-42c0-8041-2bb16a414839" providerId="ADAL" clId="{9B2768D1-DFDD-45FF-849C-23AD8ECAB483}" dt="2024-05-08T16:37:59.363" v="58819"/>
          <ac:spMkLst>
            <pc:docMk/>
            <pc:sldMk cId="2408005870" sldId="298"/>
            <ac:spMk id="48" creationId="{0BB3C0C2-80EF-1D4F-9875-F299EC1C1BD3}"/>
          </ac:spMkLst>
        </pc:spChg>
        <pc:spChg chg="mod">
          <ac:chgData name="Joelle Brehm" userId="a518f54c-6985-42c0-8041-2bb16a414839" providerId="ADAL" clId="{9B2768D1-DFDD-45FF-849C-23AD8ECAB483}" dt="2024-05-08T16:37:59.352" v="58779"/>
          <ac:spMkLst>
            <pc:docMk/>
            <pc:sldMk cId="2408005870" sldId="298"/>
            <ac:spMk id="74" creationId="{F96CED9D-6367-A924-0F54-E35B745F0FAC}"/>
          </ac:spMkLst>
        </pc:spChg>
        <pc:spChg chg="mod ord">
          <ac:chgData name="Joelle Brehm" userId="a518f54c-6985-42c0-8041-2bb16a414839" providerId="ADAL" clId="{9B2768D1-DFDD-45FF-849C-23AD8ECAB483}" dt="2024-05-08T16:37:59.356" v="58791"/>
          <ac:spMkLst>
            <pc:docMk/>
            <pc:sldMk cId="2408005870" sldId="298"/>
            <ac:spMk id="78" creationId="{3BC39856-0E2A-9CBF-43C2-36FB3A102F41}"/>
          </ac:spMkLst>
        </pc:spChg>
        <pc:spChg chg="mod ord">
          <ac:chgData name="Joelle Brehm" userId="a518f54c-6985-42c0-8041-2bb16a414839" providerId="ADAL" clId="{9B2768D1-DFDD-45FF-849C-23AD8ECAB483}" dt="2024-05-08T16:37:59.356" v="58793"/>
          <ac:spMkLst>
            <pc:docMk/>
            <pc:sldMk cId="2408005870" sldId="298"/>
            <ac:spMk id="79" creationId="{E49D6D66-16FF-BB70-1B5C-19C4966EBD03}"/>
          </ac:spMkLst>
        </pc:spChg>
        <pc:spChg chg="mod ord">
          <ac:chgData name="Joelle Brehm" userId="a518f54c-6985-42c0-8041-2bb16a414839" providerId="ADAL" clId="{9B2768D1-DFDD-45FF-849C-23AD8ECAB483}" dt="2024-05-08T16:37:59.357" v="58795"/>
          <ac:spMkLst>
            <pc:docMk/>
            <pc:sldMk cId="2408005870" sldId="298"/>
            <ac:spMk id="100" creationId="{C88E22AA-0092-05BA-BF9A-6365A03D7FBE}"/>
          </ac:spMkLst>
        </pc:spChg>
        <pc:spChg chg="mod ord">
          <ac:chgData name="Joelle Brehm" userId="a518f54c-6985-42c0-8041-2bb16a414839" providerId="ADAL" clId="{9B2768D1-DFDD-45FF-849C-23AD8ECAB483}" dt="2024-05-08T16:37:59.357" v="58797"/>
          <ac:spMkLst>
            <pc:docMk/>
            <pc:sldMk cId="2408005870" sldId="298"/>
            <ac:spMk id="108" creationId="{5E4FE43B-AF0C-26EE-FD35-8E5FA1F48181}"/>
          </ac:spMkLst>
        </pc:spChg>
        <pc:spChg chg="mod ord">
          <ac:chgData name="Joelle Brehm" userId="a518f54c-6985-42c0-8041-2bb16a414839" providerId="ADAL" clId="{9B2768D1-DFDD-45FF-849C-23AD8ECAB483}" dt="2024-05-08T16:37:59.358" v="58799"/>
          <ac:spMkLst>
            <pc:docMk/>
            <pc:sldMk cId="2408005870" sldId="298"/>
            <ac:spMk id="109" creationId="{813D763F-3392-5CD1-36BE-251DFFE419CF}"/>
          </ac:spMkLst>
        </pc:spChg>
        <pc:spChg chg="mod ord">
          <ac:chgData name="Joelle Brehm" userId="a518f54c-6985-42c0-8041-2bb16a414839" providerId="ADAL" clId="{9B2768D1-DFDD-45FF-849C-23AD8ECAB483}" dt="2024-05-08T16:37:59.358" v="58801"/>
          <ac:spMkLst>
            <pc:docMk/>
            <pc:sldMk cId="2408005870" sldId="298"/>
            <ac:spMk id="110" creationId="{CDE9DB01-62E8-9DCE-9D32-2702FF3872FC}"/>
          </ac:spMkLst>
        </pc:spChg>
        <pc:spChg chg="mod">
          <ac:chgData name="Joelle Brehm" userId="a518f54c-6985-42c0-8041-2bb16a414839" providerId="ADAL" clId="{9B2768D1-DFDD-45FF-849C-23AD8ECAB483}" dt="2024-05-08T16:37:59.355" v="58787"/>
          <ac:spMkLst>
            <pc:docMk/>
            <pc:sldMk cId="2408005870" sldId="298"/>
            <ac:spMk id="127" creationId="{7CAA3B95-4C78-4122-BECA-B5FB0F3F3764}"/>
          </ac:spMkLst>
        </pc:spChg>
        <pc:spChg chg="mod">
          <ac:chgData name="Joelle Brehm" userId="a518f54c-6985-42c0-8041-2bb16a414839" providerId="ADAL" clId="{9B2768D1-DFDD-45FF-849C-23AD8ECAB483}" dt="2024-05-08T16:37:59.359" v="58804"/>
          <ac:spMkLst>
            <pc:docMk/>
            <pc:sldMk cId="2408005870" sldId="298"/>
            <ac:spMk id="133" creationId="{583DBFB2-F20D-7A4D-EA94-53532A11B391}"/>
          </ac:spMkLst>
        </pc:spChg>
        <pc:spChg chg="mod">
          <ac:chgData name="Joelle Brehm" userId="a518f54c-6985-42c0-8041-2bb16a414839" providerId="ADAL" clId="{9B2768D1-DFDD-45FF-849C-23AD8ECAB483}" dt="2024-05-08T16:37:59.359" v="58805"/>
          <ac:spMkLst>
            <pc:docMk/>
            <pc:sldMk cId="2408005870" sldId="298"/>
            <ac:spMk id="135" creationId="{A26C4806-21AA-E022-6B28-DAABDCD94933}"/>
          </ac:spMkLst>
        </pc:spChg>
        <pc:spChg chg="mod">
          <ac:chgData name="Joelle Brehm" userId="a518f54c-6985-42c0-8041-2bb16a414839" providerId="ADAL" clId="{9B2768D1-DFDD-45FF-849C-23AD8ECAB483}" dt="2024-05-08T16:37:59.359" v="58806"/>
          <ac:spMkLst>
            <pc:docMk/>
            <pc:sldMk cId="2408005870" sldId="298"/>
            <ac:spMk id="136" creationId="{5FA91760-C05A-676F-A929-95FF39F7B02B}"/>
          </ac:spMkLst>
        </pc:spChg>
        <pc:spChg chg="mod">
          <ac:chgData name="Joelle Brehm" userId="a518f54c-6985-42c0-8041-2bb16a414839" providerId="ADAL" clId="{9B2768D1-DFDD-45FF-849C-23AD8ECAB483}" dt="2024-05-08T16:37:59.360" v="58807"/>
          <ac:spMkLst>
            <pc:docMk/>
            <pc:sldMk cId="2408005870" sldId="298"/>
            <ac:spMk id="157" creationId="{473D045B-F2FA-ED54-96E1-5AF9FDD0A521}"/>
          </ac:spMkLst>
        </pc:spChg>
        <pc:spChg chg="mod">
          <ac:chgData name="Joelle Brehm" userId="a518f54c-6985-42c0-8041-2bb16a414839" providerId="ADAL" clId="{9B2768D1-DFDD-45FF-849C-23AD8ECAB483}" dt="2024-05-08T16:37:59.360" v="58808"/>
          <ac:spMkLst>
            <pc:docMk/>
            <pc:sldMk cId="2408005870" sldId="298"/>
            <ac:spMk id="158" creationId="{59321C7D-64CF-E6EC-A954-708C21127E0D}"/>
          </ac:spMkLst>
        </pc:spChg>
        <pc:graphicFrameChg chg="mod">
          <ac:chgData name="Joelle Brehm" userId="a518f54c-6985-42c0-8041-2bb16a414839" providerId="ADAL" clId="{9B2768D1-DFDD-45FF-849C-23AD8ECAB483}" dt="2024-05-08T16:37:59.392" v="58821"/>
          <ac:graphicFrameMkLst>
            <pc:docMk/>
            <pc:sldMk cId="2408005870" sldId="298"/>
            <ac:graphicFrameMk id="4" creationId="{49C9F69D-41F0-D32D-122C-78EE4AFF09A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7:59.346" v="58759"/>
          <ac:graphicFrameMkLst>
            <pc:docMk/>
            <pc:sldMk cId="2408005870" sldId="298"/>
            <ac:graphicFrameMk id="9" creationId="{70F34D18-7169-AF8E-E69A-8F21221D06F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7:44.069" v="58163"/>
          <ac:graphicFrameMkLst>
            <pc:docMk/>
            <pc:sldMk cId="2408005870" sldId="298"/>
            <ac:graphicFrameMk id="32" creationId="{71388C4C-3660-3EB1-00C3-297E7CDE4D2F}"/>
          </ac:graphicFrameMkLst>
        </pc:graphicFrameChg>
        <pc:graphicFrameChg chg="del">
          <ac:chgData name="Joelle Brehm" userId="a518f54c-6985-42c0-8041-2bb16a414839" providerId="ADAL" clId="{9B2768D1-DFDD-45FF-849C-23AD8ECAB483}" dt="2024-05-08T16:37:07.961" v="57770"/>
          <ac:graphicFrameMkLst>
            <pc:docMk/>
            <pc:sldMk cId="2408005870" sldId="298"/>
            <ac:graphicFrameMk id="35" creationId="{0C1E3CE0-78B0-5A72-30CD-9839A9B0437D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7:59.358" v="58803"/>
          <ac:graphicFrameMkLst>
            <pc:docMk/>
            <pc:sldMk cId="2408005870" sldId="298"/>
            <ac:graphicFrameMk id="38" creationId="{02D05555-94C4-B74A-6834-2E67B275F8FB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7:36.928" v="58044"/>
          <ac:graphicFrameMkLst>
            <pc:docMk/>
            <pc:sldMk cId="2408005870" sldId="298"/>
            <ac:graphicFrameMk id="39" creationId="{617F1DEF-B372-1F13-4D7C-557D390FF47E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7:51.656" v="58355"/>
          <ac:graphicFrameMkLst>
            <pc:docMk/>
            <pc:sldMk cId="2408005870" sldId="298"/>
            <ac:graphicFrameMk id="42" creationId="{10A70E0B-D9B4-3528-4D51-239E8862674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7:54.310" v="58496"/>
          <ac:graphicFrameMkLst>
            <pc:docMk/>
            <pc:sldMk cId="2408005870" sldId="298"/>
            <ac:graphicFrameMk id="43" creationId="{FE6C5604-FDAE-1501-8654-5970078A0CE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7:55.791" v="58624"/>
          <ac:graphicFrameMkLst>
            <pc:docMk/>
            <pc:sldMk cId="2408005870" sldId="298"/>
            <ac:graphicFrameMk id="45" creationId="{FB511F25-2300-9F87-4F65-E018A56AB6CD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7:59.321" v="58745"/>
          <ac:graphicFrameMkLst>
            <pc:docMk/>
            <pc:sldMk cId="2408005870" sldId="298"/>
            <ac:graphicFrameMk id="47" creationId="{ECB271B0-D3BF-B24E-0427-7052B2B9271D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7:59.354" v="58786"/>
          <ac:graphicFrameMkLst>
            <pc:docMk/>
            <pc:sldMk cId="2408005870" sldId="298"/>
            <ac:graphicFrameMk id="49" creationId="{5E4605C4-52CD-FECA-6A17-7DB8343CB345}"/>
          </ac:graphicFrameMkLst>
        </pc:graphicFrameChg>
        <pc:picChg chg="add mod ord">
          <ac:chgData name="Joelle Brehm" userId="a518f54c-6985-42c0-8041-2bb16a414839" providerId="ADAL" clId="{9B2768D1-DFDD-45FF-849C-23AD8ECAB483}" dt="2024-05-08T16:37:59.345" v="58753"/>
          <ac:picMkLst>
            <pc:docMk/>
            <pc:sldMk cId="2408005870" sldId="298"/>
            <ac:picMk id="10" creationId="{EEB4144C-C6B3-957D-97C2-328CD48120E9}"/>
          </ac:picMkLst>
        </pc:picChg>
        <pc:picChg chg="del mod ord">
          <ac:chgData name="Joelle Brehm" userId="a518f54c-6985-42c0-8041-2bb16a414839" providerId="ADAL" clId="{9B2768D1-DFDD-45FF-849C-23AD8ECAB483}" dt="2024-05-08T16:37:26.243" v="57926" actId="478"/>
          <ac:picMkLst>
            <pc:docMk/>
            <pc:sldMk cId="2408005870" sldId="298"/>
            <ac:picMk id="36" creationId="{1ED52A27-B002-C4A7-8C0E-F4A383EB59C1}"/>
          </ac:picMkLst>
        </pc:picChg>
        <pc:picChg chg="mod ord">
          <ac:chgData name="Joelle Brehm" userId="a518f54c-6985-42c0-8041-2bb16a414839" providerId="ADAL" clId="{9B2768D1-DFDD-45FF-849C-23AD8ECAB483}" dt="2024-05-08T16:37:59.360" v="58810"/>
          <ac:picMkLst>
            <pc:docMk/>
            <pc:sldMk cId="2408005870" sldId="298"/>
            <ac:picMk id="185" creationId="{7F94EC9E-13C7-B044-38AE-C9111050B406}"/>
          </ac:picMkLst>
        </pc:picChg>
        <pc:picChg chg="mod">
          <ac:chgData name="Joelle Brehm" userId="a518f54c-6985-42c0-8041-2bb16a414839" providerId="ADAL" clId="{9B2768D1-DFDD-45FF-849C-23AD8ECAB483}" dt="2024-05-08T16:37:59.362" v="58815"/>
          <ac:picMkLst>
            <pc:docMk/>
            <pc:sldMk cId="2408005870" sldId="298"/>
            <ac:picMk id="2050" creationId="{AE3D7468-37A1-3C28-8B8E-A27B162D7C98}"/>
          </ac:picMkLst>
        </pc:picChg>
        <pc:cxnChg chg="mod ord">
          <ac:chgData name="Joelle Brehm" userId="a518f54c-6985-42c0-8041-2bb16a414839" providerId="ADAL" clId="{9B2768D1-DFDD-45FF-849C-23AD8ECAB483}" dt="2024-05-08T16:37:59.346" v="58757"/>
          <ac:cxnSpMkLst>
            <pc:docMk/>
            <pc:sldMk cId="2408005870" sldId="298"/>
            <ac:cxnSpMk id="7" creationId="{8EA446E6-71BC-F03A-3657-B927AE22D5A7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39:01.306" v="60014"/>
        <pc:sldMkLst>
          <pc:docMk/>
          <pc:sldMk cId="1147469392" sldId="299"/>
        </pc:sldMkLst>
        <pc:spChg chg="mod ord">
          <ac:chgData name="Joelle Brehm" userId="a518f54c-6985-42c0-8041-2bb16a414839" providerId="ADAL" clId="{9B2768D1-DFDD-45FF-849C-23AD8ECAB483}" dt="2024-05-08T16:39:01.289" v="60005"/>
          <ac:spMkLst>
            <pc:docMk/>
            <pc:sldMk cId="1147469392" sldId="299"/>
            <ac:spMk id="2" creationId="{B98AECD7-F227-7661-1D74-C87CD0D40C01}"/>
          </ac:spMkLst>
        </pc:spChg>
        <pc:spChg chg="mod ord">
          <ac:chgData name="Joelle Brehm" userId="a518f54c-6985-42c0-8041-2bb16a414839" providerId="ADAL" clId="{9B2768D1-DFDD-45FF-849C-23AD8ECAB483}" dt="2024-05-08T16:39:01.290" v="60007"/>
          <ac:spMkLst>
            <pc:docMk/>
            <pc:sldMk cId="1147469392" sldId="299"/>
            <ac:spMk id="3" creationId="{987550CE-28D5-31FC-DA06-EE3C8CEEBAC4}"/>
          </ac:spMkLst>
        </pc:spChg>
        <pc:spChg chg="add del mod">
          <ac:chgData name="Joelle Brehm" userId="a518f54c-6985-42c0-8041-2bb16a414839" providerId="ADAL" clId="{9B2768D1-DFDD-45FF-849C-23AD8ECAB483}" dt="2024-05-08T16:38:11.424" v="58822" actId="478"/>
          <ac:spMkLst>
            <pc:docMk/>
            <pc:sldMk cId="1147469392" sldId="299"/>
            <ac:spMk id="5" creationId="{53D40ADF-6639-7DFF-CE14-BCACFFB457AA}"/>
          </ac:spMkLst>
        </pc:spChg>
        <pc:spChg chg="mod ord">
          <ac:chgData name="Joelle Brehm" userId="a518f54c-6985-42c0-8041-2bb16a414839" providerId="ADAL" clId="{9B2768D1-DFDD-45FF-849C-23AD8ECAB483}" dt="2024-05-08T16:39:01.274" v="59948"/>
          <ac:spMkLst>
            <pc:docMk/>
            <pc:sldMk cId="1147469392" sldId="299"/>
            <ac:spMk id="6" creationId="{0EAC578E-89F1-9012-7CFE-E394FA03D5BB}"/>
          </ac:spMkLst>
        </pc:spChg>
        <pc:spChg chg="add del mod modVis">
          <ac:chgData name="Joelle Brehm" userId="a518f54c-6985-42c0-8041-2bb16a414839" providerId="ADAL" clId="{9B2768D1-DFDD-45FF-849C-23AD8ECAB483}" dt="2024-05-08T16:38:15.260" v="59026"/>
          <ac:spMkLst>
            <pc:docMk/>
            <pc:sldMk cId="1147469392" sldId="299"/>
            <ac:spMk id="8" creationId="{E933BF32-69AF-095E-5B07-E4AA754EEE76}"/>
          </ac:spMkLst>
        </pc:spChg>
        <pc:spChg chg="mod">
          <ac:chgData name="Joelle Brehm" userId="a518f54c-6985-42c0-8041-2bb16a414839" providerId="ADAL" clId="{9B2768D1-DFDD-45FF-849C-23AD8ECAB483}" dt="2024-05-08T16:39:01.277" v="59959"/>
          <ac:spMkLst>
            <pc:docMk/>
            <pc:sldMk cId="1147469392" sldId="299"/>
            <ac:spMk id="11" creationId="{22B603EF-478D-0AD6-4D23-7FCAC6C5B3A8}"/>
          </ac:spMkLst>
        </pc:spChg>
        <pc:spChg chg="mod">
          <ac:chgData name="Joelle Brehm" userId="a518f54c-6985-42c0-8041-2bb16a414839" providerId="ADAL" clId="{9B2768D1-DFDD-45FF-849C-23AD8ECAB483}" dt="2024-05-08T16:39:01.275" v="59955"/>
          <ac:spMkLst>
            <pc:docMk/>
            <pc:sldMk cId="1147469392" sldId="299"/>
            <ac:spMk id="12" creationId="{EF91471B-672D-6CC5-CF57-DA4811B37750}"/>
          </ac:spMkLst>
        </pc:spChg>
        <pc:spChg chg="mod">
          <ac:chgData name="Joelle Brehm" userId="a518f54c-6985-42c0-8041-2bb16a414839" providerId="ADAL" clId="{9B2768D1-DFDD-45FF-849C-23AD8ECAB483}" dt="2024-05-08T16:39:01.276" v="59956"/>
          <ac:spMkLst>
            <pc:docMk/>
            <pc:sldMk cId="1147469392" sldId="299"/>
            <ac:spMk id="13" creationId="{93D9A990-B724-217A-59C0-550353D722BC}"/>
          </ac:spMkLst>
        </pc:spChg>
        <pc:spChg chg="mod">
          <ac:chgData name="Joelle Brehm" userId="a518f54c-6985-42c0-8041-2bb16a414839" providerId="ADAL" clId="{9B2768D1-DFDD-45FF-849C-23AD8ECAB483}" dt="2024-05-08T16:39:01.275" v="59953"/>
          <ac:spMkLst>
            <pc:docMk/>
            <pc:sldMk cId="1147469392" sldId="299"/>
            <ac:spMk id="14" creationId="{01488B66-9E2B-C289-21D2-6006FA4EB02C}"/>
          </ac:spMkLst>
        </pc:spChg>
        <pc:spChg chg="mod">
          <ac:chgData name="Joelle Brehm" userId="a518f54c-6985-42c0-8041-2bb16a414839" providerId="ADAL" clId="{9B2768D1-DFDD-45FF-849C-23AD8ECAB483}" dt="2024-05-08T16:39:01.275" v="59954"/>
          <ac:spMkLst>
            <pc:docMk/>
            <pc:sldMk cId="1147469392" sldId="299"/>
            <ac:spMk id="15" creationId="{C9DB922C-D286-DBF0-0AE7-25DDB51ED935}"/>
          </ac:spMkLst>
        </pc:spChg>
        <pc:spChg chg="mod">
          <ac:chgData name="Joelle Brehm" userId="a518f54c-6985-42c0-8041-2bb16a414839" providerId="ADAL" clId="{9B2768D1-DFDD-45FF-849C-23AD8ECAB483}" dt="2024-05-08T16:39:01.276" v="59957"/>
          <ac:spMkLst>
            <pc:docMk/>
            <pc:sldMk cId="1147469392" sldId="299"/>
            <ac:spMk id="16" creationId="{EAF5C985-33B7-C144-D7D4-2F545640EB66}"/>
          </ac:spMkLst>
        </pc:spChg>
        <pc:spChg chg="mod">
          <ac:chgData name="Joelle Brehm" userId="a518f54c-6985-42c0-8041-2bb16a414839" providerId="ADAL" clId="{9B2768D1-DFDD-45FF-849C-23AD8ECAB483}" dt="2024-05-08T16:39:01.276" v="59958"/>
          <ac:spMkLst>
            <pc:docMk/>
            <pc:sldMk cId="1147469392" sldId="299"/>
            <ac:spMk id="17" creationId="{A74F232F-4C99-6217-DB6E-798BC722C290}"/>
          </ac:spMkLst>
        </pc:spChg>
        <pc:spChg chg="mod">
          <ac:chgData name="Joelle Brehm" userId="a518f54c-6985-42c0-8041-2bb16a414839" providerId="ADAL" clId="{9B2768D1-DFDD-45FF-849C-23AD8ECAB483}" dt="2024-05-08T16:39:01.277" v="59960"/>
          <ac:spMkLst>
            <pc:docMk/>
            <pc:sldMk cId="1147469392" sldId="299"/>
            <ac:spMk id="18" creationId="{31AF8F52-A343-80A2-1AAE-C847B4EC1C2F}"/>
          </ac:spMkLst>
        </pc:spChg>
        <pc:spChg chg="mod">
          <ac:chgData name="Joelle Brehm" userId="a518f54c-6985-42c0-8041-2bb16a414839" providerId="ADAL" clId="{9B2768D1-DFDD-45FF-849C-23AD8ECAB483}" dt="2024-05-08T16:39:01.277" v="59961"/>
          <ac:spMkLst>
            <pc:docMk/>
            <pc:sldMk cId="1147469392" sldId="299"/>
            <ac:spMk id="19" creationId="{C67B8F2C-387B-9309-6C26-DA14E7C7F2B3}"/>
          </ac:spMkLst>
        </pc:spChg>
        <pc:spChg chg="mod">
          <ac:chgData name="Joelle Brehm" userId="a518f54c-6985-42c0-8041-2bb16a414839" providerId="ADAL" clId="{9B2768D1-DFDD-45FF-849C-23AD8ECAB483}" dt="2024-05-08T16:39:01.278" v="59962"/>
          <ac:spMkLst>
            <pc:docMk/>
            <pc:sldMk cId="1147469392" sldId="299"/>
            <ac:spMk id="20" creationId="{A356996F-09E8-7E5E-06AD-FCA01C53425F}"/>
          </ac:spMkLst>
        </pc:spChg>
        <pc:spChg chg="mod">
          <ac:chgData name="Joelle Brehm" userId="a518f54c-6985-42c0-8041-2bb16a414839" providerId="ADAL" clId="{9B2768D1-DFDD-45FF-849C-23AD8ECAB483}" dt="2024-05-08T16:39:01.278" v="59963"/>
          <ac:spMkLst>
            <pc:docMk/>
            <pc:sldMk cId="1147469392" sldId="299"/>
            <ac:spMk id="21" creationId="{B99DEEA5-7788-7892-8278-B8A15BEE72BF}"/>
          </ac:spMkLst>
        </pc:spChg>
        <pc:spChg chg="mod">
          <ac:chgData name="Joelle Brehm" userId="a518f54c-6985-42c0-8041-2bb16a414839" providerId="ADAL" clId="{9B2768D1-DFDD-45FF-849C-23AD8ECAB483}" dt="2024-05-08T16:39:01.278" v="59964"/>
          <ac:spMkLst>
            <pc:docMk/>
            <pc:sldMk cId="1147469392" sldId="299"/>
            <ac:spMk id="22" creationId="{CC83DFED-CC12-B82A-CF88-46DCE7A285D0}"/>
          </ac:spMkLst>
        </pc:spChg>
        <pc:spChg chg="mod ord">
          <ac:chgData name="Joelle Brehm" userId="a518f54c-6985-42c0-8041-2bb16a414839" providerId="ADAL" clId="{9B2768D1-DFDD-45FF-849C-23AD8ECAB483}" dt="2024-05-08T16:39:01.279" v="59966"/>
          <ac:spMkLst>
            <pc:docMk/>
            <pc:sldMk cId="1147469392" sldId="299"/>
            <ac:spMk id="23" creationId="{388B9762-8B62-238C-4DAE-371D743789A7}"/>
          </ac:spMkLst>
        </pc:spChg>
        <pc:spChg chg="mod">
          <ac:chgData name="Joelle Brehm" userId="a518f54c-6985-42c0-8041-2bb16a414839" providerId="ADAL" clId="{9B2768D1-DFDD-45FF-849C-23AD8ECAB483}" dt="2024-05-08T16:39:01.280" v="59969"/>
          <ac:spMkLst>
            <pc:docMk/>
            <pc:sldMk cId="1147469392" sldId="299"/>
            <ac:spMk id="24" creationId="{08D99868-DFC5-7B57-ACE9-F10209C62F18}"/>
          </ac:spMkLst>
        </pc:spChg>
        <pc:spChg chg="mod">
          <ac:chgData name="Joelle Brehm" userId="a518f54c-6985-42c0-8041-2bb16a414839" providerId="ADAL" clId="{9B2768D1-DFDD-45FF-849C-23AD8ECAB483}" dt="2024-05-08T16:39:01.280" v="59971"/>
          <ac:spMkLst>
            <pc:docMk/>
            <pc:sldMk cId="1147469392" sldId="299"/>
            <ac:spMk id="25" creationId="{893D1401-ECA9-770C-685D-A99936A67292}"/>
          </ac:spMkLst>
        </pc:spChg>
        <pc:spChg chg="mod">
          <ac:chgData name="Joelle Brehm" userId="a518f54c-6985-42c0-8041-2bb16a414839" providerId="ADAL" clId="{9B2768D1-DFDD-45FF-849C-23AD8ECAB483}" dt="2024-05-08T16:39:01.280" v="59970"/>
          <ac:spMkLst>
            <pc:docMk/>
            <pc:sldMk cId="1147469392" sldId="299"/>
            <ac:spMk id="26" creationId="{8AE2212A-1DA5-F563-809B-F4152E79D85E}"/>
          </ac:spMkLst>
        </pc:spChg>
        <pc:spChg chg="mod">
          <ac:chgData name="Joelle Brehm" userId="a518f54c-6985-42c0-8041-2bb16a414839" providerId="ADAL" clId="{9B2768D1-DFDD-45FF-849C-23AD8ECAB483}" dt="2024-05-08T16:39:01.282" v="59974"/>
          <ac:spMkLst>
            <pc:docMk/>
            <pc:sldMk cId="1147469392" sldId="299"/>
            <ac:spMk id="27" creationId="{7566499B-08B1-834D-908F-AE1A9393F260}"/>
          </ac:spMkLst>
        </pc:spChg>
        <pc:spChg chg="mod">
          <ac:chgData name="Joelle Brehm" userId="a518f54c-6985-42c0-8041-2bb16a414839" providerId="ADAL" clId="{9B2768D1-DFDD-45FF-849C-23AD8ECAB483}" dt="2024-05-08T16:39:01.282" v="59975"/>
          <ac:spMkLst>
            <pc:docMk/>
            <pc:sldMk cId="1147469392" sldId="299"/>
            <ac:spMk id="28" creationId="{9A55B08D-DC70-EE69-55AD-11598C1C9B12}"/>
          </ac:spMkLst>
        </pc:spChg>
        <pc:spChg chg="mod">
          <ac:chgData name="Joelle Brehm" userId="a518f54c-6985-42c0-8041-2bb16a414839" providerId="ADAL" clId="{9B2768D1-DFDD-45FF-849C-23AD8ECAB483}" dt="2024-05-08T16:39:01.281" v="59973"/>
          <ac:spMkLst>
            <pc:docMk/>
            <pc:sldMk cId="1147469392" sldId="299"/>
            <ac:spMk id="29" creationId="{CF6E8C33-3094-B90B-55D8-884C79658463}"/>
          </ac:spMkLst>
        </pc:spChg>
        <pc:spChg chg="mod ord">
          <ac:chgData name="Joelle Brehm" userId="a518f54c-6985-42c0-8041-2bb16a414839" providerId="ADAL" clId="{9B2768D1-DFDD-45FF-849C-23AD8ECAB483}" dt="2024-05-08T16:39:01.282" v="59977"/>
          <ac:spMkLst>
            <pc:docMk/>
            <pc:sldMk cId="1147469392" sldId="299"/>
            <ac:spMk id="30" creationId="{F91A67B0-6455-465A-3588-978AE8BFE3CD}"/>
          </ac:spMkLst>
        </pc:spChg>
        <pc:spChg chg="add del mod modVis">
          <ac:chgData name="Joelle Brehm" userId="a518f54c-6985-42c0-8041-2bb16a414839" providerId="ADAL" clId="{9B2768D1-DFDD-45FF-849C-23AD8ECAB483}" dt="2024-05-08T16:38:43.750" v="59283"/>
          <ac:spMkLst>
            <pc:docMk/>
            <pc:sldMk cId="1147469392" sldId="299"/>
            <ac:spMk id="31" creationId="{8414D6A8-F8E3-9D60-72B2-0BC1C1491796}"/>
          </ac:spMkLst>
        </pc:spChg>
        <pc:spChg chg="add del mod modVis">
          <ac:chgData name="Joelle Brehm" userId="a518f54c-6985-42c0-8041-2bb16a414839" providerId="ADAL" clId="{9B2768D1-DFDD-45FF-849C-23AD8ECAB483}" dt="2024-05-08T16:38:46.979" v="59402"/>
          <ac:spMkLst>
            <pc:docMk/>
            <pc:sldMk cId="1147469392" sldId="299"/>
            <ac:spMk id="35" creationId="{A313A471-A219-8B52-FE11-650CB0D4D961}"/>
          </ac:spMkLst>
        </pc:spChg>
        <pc:spChg chg="mod ord">
          <ac:chgData name="Joelle Brehm" userId="a518f54c-6985-42c0-8041-2bb16a414839" providerId="ADAL" clId="{9B2768D1-DFDD-45FF-849C-23AD8ECAB483}" dt="2024-05-08T16:39:01.279" v="59968"/>
          <ac:spMkLst>
            <pc:docMk/>
            <pc:sldMk cId="1147469392" sldId="299"/>
            <ac:spMk id="37" creationId="{AF100E2E-9AB7-93B9-D1F1-FCEDBF8C64D5}"/>
          </ac:spMkLst>
        </pc:spChg>
        <pc:spChg chg="add mod replST">
          <ac:chgData name="Joelle Brehm" userId="a518f54c-6985-42c0-8041-2bb16a414839" providerId="ADAL" clId="{9B2768D1-DFDD-45FF-849C-23AD8ECAB483}" dt="2024-05-08T16:39:01.284" v="59982"/>
          <ac:spMkLst>
            <pc:docMk/>
            <pc:sldMk cId="1147469392" sldId="299"/>
            <ac:spMk id="38" creationId="{B0AB2FEB-1079-808F-A444-E3CB7581C104}"/>
          </ac:spMkLst>
        </pc:spChg>
        <pc:spChg chg="mod">
          <ac:chgData name="Joelle Brehm" userId="a518f54c-6985-42c0-8041-2bb16a414839" providerId="ADAL" clId="{9B2768D1-DFDD-45FF-849C-23AD8ECAB483}" dt="2024-05-08T16:39:01.284" v="59981"/>
          <ac:spMkLst>
            <pc:docMk/>
            <pc:sldMk cId="1147469392" sldId="299"/>
            <ac:spMk id="40" creationId="{EAB3036D-6C58-106A-186C-AB3727D062D5}"/>
          </ac:spMkLst>
        </pc:spChg>
        <pc:spChg chg="add del mod modVis">
          <ac:chgData name="Joelle Brehm" userId="a518f54c-6985-42c0-8041-2bb16a414839" providerId="ADAL" clId="{9B2768D1-DFDD-45FF-849C-23AD8ECAB483}" dt="2024-05-08T16:38:51.774" v="59620"/>
          <ac:spMkLst>
            <pc:docMk/>
            <pc:sldMk cId="1147469392" sldId="299"/>
            <ac:spMk id="41" creationId="{C15B0817-46CD-ABFB-80E7-1B9650217630}"/>
          </ac:spMkLst>
        </pc:spChg>
        <pc:spChg chg="add del mod modVis">
          <ac:chgData name="Joelle Brehm" userId="a518f54c-6985-42c0-8041-2bb16a414839" providerId="ADAL" clId="{9B2768D1-DFDD-45FF-849C-23AD8ECAB483}" dt="2024-05-08T16:38:53.461" v="59770"/>
          <ac:spMkLst>
            <pc:docMk/>
            <pc:sldMk cId="1147469392" sldId="299"/>
            <ac:spMk id="43" creationId="{81230203-60DC-EFE7-BFC2-315A2597D5E1}"/>
          </ac:spMkLst>
        </pc:spChg>
        <pc:spChg chg="add del mod modVis">
          <ac:chgData name="Joelle Brehm" userId="a518f54c-6985-42c0-8041-2bb16a414839" providerId="ADAL" clId="{9B2768D1-DFDD-45FF-849C-23AD8ECAB483}" dt="2024-05-08T16:38:55.493" v="59889"/>
          <ac:spMkLst>
            <pc:docMk/>
            <pc:sldMk cId="1147469392" sldId="299"/>
            <ac:spMk id="45" creationId="{F9C377A3-5762-0ECF-CA1D-D8470A8A4167}"/>
          </ac:spMkLst>
        </pc:spChg>
        <pc:spChg chg="add del mod modVis">
          <ac:chgData name="Joelle Brehm" userId="a518f54c-6985-42c0-8041-2bb16a414839" providerId="ADAL" clId="{9B2768D1-DFDD-45FF-849C-23AD8ECAB483}" dt="2024-05-08T16:39:01.291" v="60012"/>
          <ac:spMkLst>
            <pc:docMk/>
            <pc:sldMk cId="1147469392" sldId="299"/>
            <ac:spMk id="48" creationId="{099D4802-5C33-E0A7-B7F4-14E1752B9BF4}"/>
          </ac:spMkLst>
        </pc:spChg>
        <pc:spChg chg="mod">
          <ac:chgData name="Joelle Brehm" userId="a518f54c-6985-42c0-8041-2bb16a414839" providerId="ADAL" clId="{9B2768D1-DFDD-45FF-849C-23AD8ECAB483}" dt="2024-05-08T16:39:01.281" v="59972"/>
          <ac:spMkLst>
            <pc:docMk/>
            <pc:sldMk cId="1147469392" sldId="299"/>
            <ac:spMk id="74" creationId="{4F5B4CA8-2D45-2165-F89C-2248C44244DE}"/>
          </ac:spMkLst>
        </pc:spChg>
        <pc:spChg chg="mod ord">
          <ac:chgData name="Joelle Brehm" userId="a518f54c-6985-42c0-8041-2bb16a414839" providerId="ADAL" clId="{9B2768D1-DFDD-45FF-849C-23AD8ECAB483}" dt="2024-05-08T16:39:01.284" v="59984"/>
          <ac:spMkLst>
            <pc:docMk/>
            <pc:sldMk cId="1147469392" sldId="299"/>
            <ac:spMk id="78" creationId="{8693DA61-5E71-53E1-FED7-C350F1EBFA04}"/>
          </ac:spMkLst>
        </pc:spChg>
        <pc:spChg chg="mod ord">
          <ac:chgData name="Joelle Brehm" userId="a518f54c-6985-42c0-8041-2bb16a414839" providerId="ADAL" clId="{9B2768D1-DFDD-45FF-849C-23AD8ECAB483}" dt="2024-05-08T16:39:01.285" v="59986"/>
          <ac:spMkLst>
            <pc:docMk/>
            <pc:sldMk cId="1147469392" sldId="299"/>
            <ac:spMk id="79" creationId="{2510167D-D2B4-E764-EE5A-59C5D61DA230}"/>
          </ac:spMkLst>
        </pc:spChg>
        <pc:spChg chg="mod ord">
          <ac:chgData name="Joelle Brehm" userId="a518f54c-6985-42c0-8041-2bb16a414839" providerId="ADAL" clId="{9B2768D1-DFDD-45FF-849C-23AD8ECAB483}" dt="2024-05-08T16:39:01.285" v="59988"/>
          <ac:spMkLst>
            <pc:docMk/>
            <pc:sldMk cId="1147469392" sldId="299"/>
            <ac:spMk id="100" creationId="{0020504F-761A-2575-33E3-0FF9244E605B}"/>
          </ac:spMkLst>
        </pc:spChg>
        <pc:spChg chg="mod ord">
          <ac:chgData name="Joelle Brehm" userId="a518f54c-6985-42c0-8041-2bb16a414839" providerId="ADAL" clId="{9B2768D1-DFDD-45FF-849C-23AD8ECAB483}" dt="2024-05-08T16:39:01.286" v="59990"/>
          <ac:spMkLst>
            <pc:docMk/>
            <pc:sldMk cId="1147469392" sldId="299"/>
            <ac:spMk id="108" creationId="{D21D14B1-19CF-8F2B-4831-0B9DB368403B}"/>
          </ac:spMkLst>
        </pc:spChg>
        <pc:spChg chg="mod ord">
          <ac:chgData name="Joelle Brehm" userId="a518f54c-6985-42c0-8041-2bb16a414839" providerId="ADAL" clId="{9B2768D1-DFDD-45FF-849C-23AD8ECAB483}" dt="2024-05-08T16:39:01.286" v="59992"/>
          <ac:spMkLst>
            <pc:docMk/>
            <pc:sldMk cId="1147469392" sldId="299"/>
            <ac:spMk id="109" creationId="{CDDDEF1A-CB37-9452-AFDD-EBD68254CF6B}"/>
          </ac:spMkLst>
        </pc:spChg>
        <pc:spChg chg="mod ord">
          <ac:chgData name="Joelle Brehm" userId="a518f54c-6985-42c0-8041-2bb16a414839" providerId="ADAL" clId="{9B2768D1-DFDD-45FF-849C-23AD8ECAB483}" dt="2024-05-08T16:39:01.287" v="59994"/>
          <ac:spMkLst>
            <pc:docMk/>
            <pc:sldMk cId="1147469392" sldId="299"/>
            <ac:spMk id="110" creationId="{C956C2F4-5A3A-F475-4541-EC71F2A97D96}"/>
          </ac:spMkLst>
        </pc:spChg>
        <pc:spChg chg="mod">
          <ac:chgData name="Joelle Brehm" userId="a518f54c-6985-42c0-8041-2bb16a414839" providerId="ADAL" clId="{9B2768D1-DFDD-45FF-849C-23AD8ECAB483}" dt="2024-05-08T16:39:01.283" v="59980"/>
          <ac:spMkLst>
            <pc:docMk/>
            <pc:sldMk cId="1147469392" sldId="299"/>
            <ac:spMk id="127" creationId="{F5D06544-7B30-6FE8-2DD3-B45FB77A3FD1}"/>
          </ac:spMkLst>
        </pc:spChg>
        <pc:spChg chg="mod">
          <ac:chgData name="Joelle Brehm" userId="a518f54c-6985-42c0-8041-2bb16a414839" providerId="ADAL" clId="{9B2768D1-DFDD-45FF-849C-23AD8ECAB483}" dt="2024-05-08T16:39:01.287" v="59997"/>
          <ac:spMkLst>
            <pc:docMk/>
            <pc:sldMk cId="1147469392" sldId="299"/>
            <ac:spMk id="133" creationId="{D4931E33-6B1D-945A-5828-575D87F40680}"/>
          </ac:spMkLst>
        </pc:spChg>
        <pc:spChg chg="mod">
          <ac:chgData name="Joelle Brehm" userId="a518f54c-6985-42c0-8041-2bb16a414839" providerId="ADAL" clId="{9B2768D1-DFDD-45FF-849C-23AD8ECAB483}" dt="2024-05-08T16:39:01.288" v="59998"/>
          <ac:spMkLst>
            <pc:docMk/>
            <pc:sldMk cId="1147469392" sldId="299"/>
            <ac:spMk id="135" creationId="{5FC73E24-09AD-53E2-EC84-3C23A090452B}"/>
          </ac:spMkLst>
        </pc:spChg>
        <pc:spChg chg="mod">
          <ac:chgData name="Joelle Brehm" userId="a518f54c-6985-42c0-8041-2bb16a414839" providerId="ADAL" clId="{9B2768D1-DFDD-45FF-849C-23AD8ECAB483}" dt="2024-05-08T16:39:01.288" v="59999"/>
          <ac:spMkLst>
            <pc:docMk/>
            <pc:sldMk cId="1147469392" sldId="299"/>
            <ac:spMk id="136" creationId="{78A4E297-043C-9254-6E7C-8739BFAAE38B}"/>
          </ac:spMkLst>
        </pc:spChg>
        <pc:spChg chg="mod">
          <ac:chgData name="Joelle Brehm" userId="a518f54c-6985-42c0-8041-2bb16a414839" providerId="ADAL" clId="{9B2768D1-DFDD-45FF-849C-23AD8ECAB483}" dt="2024-05-08T16:39:01.288" v="60000"/>
          <ac:spMkLst>
            <pc:docMk/>
            <pc:sldMk cId="1147469392" sldId="299"/>
            <ac:spMk id="157" creationId="{12B01CFB-6682-78F2-C567-C22FB9480771}"/>
          </ac:spMkLst>
        </pc:spChg>
        <pc:spChg chg="mod">
          <ac:chgData name="Joelle Brehm" userId="a518f54c-6985-42c0-8041-2bb16a414839" providerId="ADAL" clId="{9B2768D1-DFDD-45FF-849C-23AD8ECAB483}" dt="2024-05-08T16:39:01.289" v="60001"/>
          <ac:spMkLst>
            <pc:docMk/>
            <pc:sldMk cId="1147469392" sldId="299"/>
            <ac:spMk id="158" creationId="{2AE8B7E1-91CF-3DBA-E84B-F08CBB3B3A09}"/>
          </ac:spMkLst>
        </pc:spChg>
        <pc:graphicFrameChg chg="mod">
          <ac:chgData name="Joelle Brehm" userId="a518f54c-6985-42c0-8041-2bb16a414839" providerId="ADAL" clId="{9B2768D1-DFDD-45FF-849C-23AD8ECAB483}" dt="2024-05-08T16:39:01.306" v="60014"/>
          <ac:graphicFrameMkLst>
            <pc:docMk/>
            <pc:sldMk cId="1147469392" sldId="299"/>
            <ac:graphicFrameMk id="4" creationId="{A8C2E1CE-EA94-6389-63BB-78C59C5B663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9:01.274" v="59952"/>
          <ac:graphicFrameMkLst>
            <pc:docMk/>
            <pc:sldMk cId="1147469392" sldId="299"/>
            <ac:graphicFrameMk id="9" creationId="{A23ECD5F-7BE7-A635-EE7A-670B44C95082}"/>
          </ac:graphicFrameMkLst>
        </pc:graphicFrameChg>
        <pc:graphicFrameChg chg="del">
          <ac:chgData name="Joelle Brehm" userId="a518f54c-6985-42c0-8041-2bb16a414839" providerId="ADAL" clId="{9B2768D1-DFDD-45FF-849C-23AD8ECAB483}" dt="2024-05-08T16:38:15.161" v="58949"/>
          <ac:graphicFrameMkLst>
            <pc:docMk/>
            <pc:sldMk cId="1147469392" sldId="299"/>
            <ac:graphicFrameMk id="32" creationId="{B878A39E-AA71-ACE5-39DF-020C75D602C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8:46.894" v="59329"/>
          <ac:graphicFrameMkLst>
            <pc:docMk/>
            <pc:sldMk cId="1147469392" sldId="299"/>
            <ac:graphicFrameMk id="34" creationId="{8CC8083A-1146-43C9-4FDC-F9C2386F4BC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9:01.287" v="59996"/>
          <ac:graphicFrameMkLst>
            <pc:docMk/>
            <pc:sldMk cId="1147469392" sldId="299"/>
            <ac:graphicFrameMk id="36" creationId="{BA93BF6E-DA68-4123-4682-10160F0558A1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8:43.669" v="59210"/>
          <ac:graphicFrameMkLst>
            <pc:docMk/>
            <pc:sldMk cId="1147469392" sldId="299"/>
            <ac:graphicFrameMk id="39" creationId="{435B86D4-CF2F-93F2-8B30-031384FC435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8:53.367" v="59685"/>
          <ac:graphicFrameMkLst>
            <pc:docMk/>
            <pc:sldMk cId="1147469392" sldId="299"/>
            <ac:graphicFrameMk id="42" creationId="{1D044E77-43FC-A111-4148-FC91D58731D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8:55.450" v="59815"/>
          <ac:graphicFrameMkLst>
            <pc:docMk/>
            <pc:sldMk cId="1147469392" sldId="299"/>
            <ac:graphicFrameMk id="44" creationId="{BEA98022-8E9A-F6AC-5677-E88DFACBF2E7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8:51.650" v="59540"/>
          <ac:graphicFrameMkLst>
            <pc:docMk/>
            <pc:sldMk cId="1147469392" sldId="299"/>
            <ac:graphicFrameMk id="46" creationId="{40B42DB3-321B-CF27-BBB8-726DE08DD35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9:01.249" v="59938"/>
          <ac:graphicFrameMkLst>
            <pc:docMk/>
            <pc:sldMk cId="1147469392" sldId="299"/>
            <ac:graphicFrameMk id="47" creationId="{FE49A769-22A6-EE5B-86E9-2D00EE59ADD6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39:01.283" v="59979"/>
          <ac:graphicFrameMkLst>
            <pc:docMk/>
            <pc:sldMk cId="1147469392" sldId="299"/>
            <ac:graphicFrameMk id="49" creationId="{FEBED6BD-2CDF-FFAF-05DA-838B4849F229}"/>
          </ac:graphicFrameMkLst>
        </pc:graphicFrameChg>
        <pc:picChg chg="add mod ord">
          <ac:chgData name="Joelle Brehm" userId="a518f54c-6985-42c0-8041-2bb16a414839" providerId="ADAL" clId="{9B2768D1-DFDD-45FF-849C-23AD8ECAB483}" dt="2024-05-08T16:39:01.273" v="59946"/>
          <ac:picMkLst>
            <pc:docMk/>
            <pc:sldMk cId="1147469392" sldId="299"/>
            <ac:picMk id="10" creationId="{BDE406EB-556F-EF10-EF58-0167009F0A37}"/>
          </ac:picMkLst>
        </pc:picChg>
        <pc:picChg chg="del mod ord">
          <ac:chgData name="Joelle Brehm" userId="a518f54c-6985-42c0-8041-2bb16a414839" providerId="ADAL" clId="{9B2768D1-DFDD-45FF-849C-23AD8ECAB483}" dt="2024-05-08T16:38:36.294" v="59120" actId="478"/>
          <ac:picMkLst>
            <pc:docMk/>
            <pc:sldMk cId="1147469392" sldId="299"/>
            <ac:picMk id="33" creationId="{727B1287-F243-C8F1-7686-A0FA944860C8}"/>
          </ac:picMkLst>
        </pc:picChg>
        <pc:picChg chg="mod ord">
          <ac:chgData name="Joelle Brehm" userId="a518f54c-6985-42c0-8041-2bb16a414839" providerId="ADAL" clId="{9B2768D1-DFDD-45FF-849C-23AD8ECAB483}" dt="2024-05-08T16:39:01.289" v="60003"/>
          <ac:picMkLst>
            <pc:docMk/>
            <pc:sldMk cId="1147469392" sldId="299"/>
            <ac:picMk id="185" creationId="{4FBF27C0-F642-0AEF-665E-15710A187E9A}"/>
          </ac:picMkLst>
        </pc:picChg>
        <pc:picChg chg="mod">
          <ac:chgData name="Joelle Brehm" userId="a518f54c-6985-42c0-8041-2bb16a414839" providerId="ADAL" clId="{9B2768D1-DFDD-45FF-849C-23AD8ECAB483}" dt="2024-05-08T16:39:01.290" v="60008"/>
          <ac:picMkLst>
            <pc:docMk/>
            <pc:sldMk cId="1147469392" sldId="299"/>
            <ac:picMk id="3074" creationId="{C2BC9611-4625-A8D6-284C-17C9AD224671}"/>
          </ac:picMkLst>
        </pc:picChg>
        <pc:cxnChg chg="mod ord">
          <ac:chgData name="Joelle Brehm" userId="a518f54c-6985-42c0-8041-2bb16a414839" providerId="ADAL" clId="{9B2768D1-DFDD-45FF-849C-23AD8ECAB483}" dt="2024-05-08T16:39:01.274" v="59950"/>
          <ac:cxnSpMkLst>
            <pc:docMk/>
            <pc:sldMk cId="1147469392" sldId="299"/>
            <ac:cxnSpMk id="7" creationId="{525B8DD7-1E59-E820-439B-D5FD08121ECB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40:25.640" v="62242"/>
        <pc:sldMkLst>
          <pc:docMk/>
          <pc:sldMk cId="1592964120" sldId="300"/>
        </pc:sldMkLst>
        <pc:spChg chg="mod ord">
          <ac:chgData name="Joelle Brehm" userId="a518f54c-6985-42c0-8041-2bb16a414839" providerId="ADAL" clId="{9B2768D1-DFDD-45FF-849C-23AD8ECAB483}" dt="2024-05-08T16:40:25.627" v="62235"/>
          <ac:spMkLst>
            <pc:docMk/>
            <pc:sldMk cId="1592964120" sldId="300"/>
            <ac:spMk id="2" creationId="{B98AECD7-F227-7661-1D74-C87CD0D40C01}"/>
          </ac:spMkLst>
        </pc:spChg>
        <pc:spChg chg="mod ord">
          <ac:chgData name="Joelle Brehm" userId="a518f54c-6985-42c0-8041-2bb16a414839" providerId="ADAL" clId="{9B2768D1-DFDD-45FF-849C-23AD8ECAB483}" dt="2024-05-08T16:40:25.628" v="62237"/>
          <ac:spMkLst>
            <pc:docMk/>
            <pc:sldMk cId="1592964120" sldId="300"/>
            <ac:spMk id="3" creationId="{987550CE-28D5-31FC-DA06-EE3C8CEEBAC4}"/>
          </ac:spMkLst>
        </pc:spChg>
        <pc:spChg chg="add del mod">
          <ac:chgData name="Joelle Brehm" userId="a518f54c-6985-42c0-8041-2bb16a414839" providerId="ADAL" clId="{9B2768D1-DFDD-45FF-849C-23AD8ECAB483}" dt="2024-05-08T16:39:14.694" v="60015" actId="478"/>
          <ac:spMkLst>
            <pc:docMk/>
            <pc:sldMk cId="1592964120" sldId="300"/>
            <ac:spMk id="5" creationId="{09483BF9-1F50-50A1-06F4-82EFFFCD32AA}"/>
          </ac:spMkLst>
        </pc:spChg>
        <pc:spChg chg="mod ord">
          <ac:chgData name="Joelle Brehm" userId="a518f54c-6985-42c0-8041-2bb16a414839" providerId="ADAL" clId="{9B2768D1-DFDD-45FF-849C-23AD8ECAB483}" dt="2024-05-08T16:40:25.611" v="62178"/>
          <ac:spMkLst>
            <pc:docMk/>
            <pc:sldMk cId="1592964120" sldId="300"/>
            <ac:spMk id="6" creationId="{0EAC578E-89F1-9012-7CFE-E394FA03D5BB}"/>
          </ac:spMkLst>
        </pc:spChg>
        <pc:spChg chg="add del mod modVis">
          <ac:chgData name="Joelle Brehm" userId="a518f54c-6985-42c0-8041-2bb16a414839" providerId="ADAL" clId="{9B2768D1-DFDD-45FF-849C-23AD8ECAB483}" dt="2024-05-08T16:39:16.309" v="60255"/>
          <ac:spMkLst>
            <pc:docMk/>
            <pc:sldMk cId="1592964120" sldId="300"/>
            <ac:spMk id="8" creationId="{02D3CBC0-CCE9-6BF3-E5A6-5333FF53D8A8}"/>
          </ac:spMkLst>
        </pc:spChg>
        <pc:spChg chg="add del mod modVis">
          <ac:chgData name="Joelle Brehm" userId="a518f54c-6985-42c0-8041-2bb16a414839" providerId="ADAL" clId="{9B2768D1-DFDD-45FF-849C-23AD8ECAB483}" dt="2024-05-08T16:39:17.418" v="60467"/>
          <ac:spMkLst>
            <pc:docMk/>
            <pc:sldMk cId="1592964120" sldId="300"/>
            <ac:spMk id="10" creationId="{04BDFA7F-260D-AA48-8FBC-D92BFC06E128}"/>
          </ac:spMkLst>
        </pc:spChg>
        <pc:spChg chg="mod">
          <ac:chgData name="Joelle Brehm" userId="a518f54c-6985-42c0-8041-2bb16a414839" providerId="ADAL" clId="{9B2768D1-DFDD-45FF-849C-23AD8ECAB483}" dt="2024-05-08T16:40:25.614" v="62189"/>
          <ac:spMkLst>
            <pc:docMk/>
            <pc:sldMk cId="1592964120" sldId="300"/>
            <ac:spMk id="11" creationId="{22B603EF-478D-0AD6-4D23-7FCAC6C5B3A8}"/>
          </ac:spMkLst>
        </pc:spChg>
        <pc:spChg chg="mod">
          <ac:chgData name="Joelle Brehm" userId="a518f54c-6985-42c0-8041-2bb16a414839" providerId="ADAL" clId="{9B2768D1-DFDD-45FF-849C-23AD8ECAB483}" dt="2024-05-08T16:40:25.613" v="62185"/>
          <ac:spMkLst>
            <pc:docMk/>
            <pc:sldMk cId="1592964120" sldId="300"/>
            <ac:spMk id="12" creationId="{EF91471B-672D-6CC5-CF57-DA4811B37750}"/>
          </ac:spMkLst>
        </pc:spChg>
        <pc:spChg chg="mod">
          <ac:chgData name="Joelle Brehm" userId="a518f54c-6985-42c0-8041-2bb16a414839" providerId="ADAL" clId="{9B2768D1-DFDD-45FF-849C-23AD8ECAB483}" dt="2024-05-08T16:40:25.613" v="62186"/>
          <ac:spMkLst>
            <pc:docMk/>
            <pc:sldMk cId="1592964120" sldId="300"/>
            <ac:spMk id="13" creationId="{93D9A990-B724-217A-59C0-550353D722BC}"/>
          </ac:spMkLst>
        </pc:spChg>
        <pc:spChg chg="mod">
          <ac:chgData name="Joelle Brehm" userId="a518f54c-6985-42c0-8041-2bb16a414839" providerId="ADAL" clId="{9B2768D1-DFDD-45FF-849C-23AD8ECAB483}" dt="2024-05-08T16:40:25.612" v="62183"/>
          <ac:spMkLst>
            <pc:docMk/>
            <pc:sldMk cId="1592964120" sldId="300"/>
            <ac:spMk id="14" creationId="{01488B66-9E2B-C289-21D2-6006FA4EB02C}"/>
          </ac:spMkLst>
        </pc:spChg>
        <pc:spChg chg="mod">
          <ac:chgData name="Joelle Brehm" userId="a518f54c-6985-42c0-8041-2bb16a414839" providerId="ADAL" clId="{9B2768D1-DFDD-45FF-849C-23AD8ECAB483}" dt="2024-05-08T16:40:25.613" v="62184"/>
          <ac:spMkLst>
            <pc:docMk/>
            <pc:sldMk cId="1592964120" sldId="300"/>
            <ac:spMk id="15" creationId="{C9DB922C-D286-DBF0-0AE7-25DDB51ED935}"/>
          </ac:spMkLst>
        </pc:spChg>
        <pc:spChg chg="mod">
          <ac:chgData name="Joelle Brehm" userId="a518f54c-6985-42c0-8041-2bb16a414839" providerId="ADAL" clId="{9B2768D1-DFDD-45FF-849C-23AD8ECAB483}" dt="2024-05-08T16:40:25.614" v="62187"/>
          <ac:spMkLst>
            <pc:docMk/>
            <pc:sldMk cId="1592964120" sldId="300"/>
            <ac:spMk id="16" creationId="{EAF5C985-33B7-C144-D7D4-2F545640EB66}"/>
          </ac:spMkLst>
        </pc:spChg>
        <pc:spChg chg="mod">
          <ac:chgData name="Joelle Brehm" userId="a518f54c-6985-42c0-8041-2bb16a414839" providerId="ADAL" clId="{9B2768D1-DFDD-45FF-849C-23AD8ECAB483}" dt="2024-05-08T16:40:25.614" v="62188"/>
          <ac:spMkLst>
            <pc:docMk/>
            <pc:sldMk cId="1592964120" sldId="300"/>
            <ac:spMk id="17" creationId="{A74F232F-4C99-6217-DB6E-798BC722C290}"/>
          </ac:spMkLst>
        </pc:spChg>
        <pc:spChg chg="mod">
          <ac:chgData name="Joelle Brehm" userId="a518f54c-6985-42c0-8041-2bb16a414839" providerId="ADAL" clId="{9B2768D1-DFDD-45FF-849C-23AD8ECAB483}" dt="2024-05-08T16:40:25.615" v="62190"/>
          <ac:spMkLst>
            <pc:docMk/>
            <pc:sldMk cId="1592964120" sldId="300"/>
            <ac:spMk id="18" creationId="{31AF8F52-A343-80A2-1AAE-C847B4EC1C2F}"/>
          </ac:spMkLst>
        </pc:spChg>
        <pc:spChg chg="mod">
          <ac:chgData name="Joelle Brehm" userId="a518f54c-6985-42c0-8041-2bb16a414839" providerId="ADAL" clId="{9B2768D1-DFDD-45FF-849C-23AD8ECAB483}" dt="2024-05-08T16:40:25.615" v="62191"/>
          <ac:spMkLst>
            <pc:docMk/>
            <pc:sldMk cId="1592964120" sldId="300"/>
            <ac:spMk id="19" creationId="{C67B8F2C-387B-9309-6C26-DA14E7C7F2B3}"/>
          </ac:spMkLst>
        </pc:spChg>
        <pc:spChg chg="mod">
          <ac:chgData name="Joelle Brehm" userId="a518f54c-6985-42c0-8041-2bb16a414839" providerId="ADAL" clId="{9B2768D1-DFDD-45FF-849C-23AD8ECAB483}" dt="2024-05-08T16:40:25.615" v="62192"/>
          <ac:spMkLst>
            <pc:docMk/>
            <pc:sldMk cId="1592964120" sldId="300"/>
            <ac:spMk id="20" creationId="{A356996F-09E8-7E5E-06AD-FCA01C53425F}"/>
          </ac:spMkLst>
        </pc:spChg>
        <pc:spChg chg="mod">
          <ac:chgData name="Joelle Brehm" userId="a518f54c-6985-42c0-8041-2bb16a414839" providerId="ADAL" clId="{9B2768D1-DFDD-45FF-849C-23AD8ECAB483}" dt="2024-05-08T16:40:25.615" v="62193"/>
          <ac:spMkLst>
            <pc:docMk/>
            <pc:sldMk cId="1592964120" sldId="300"/>
            <ac:spMk id="21" creationId="{B99DEEA5-7788-7892-8278-B8A15BEE72BF}"/>
          </ac:spMkLst>
        </pc:spChg>
        <pc:spChg chg="mod">
          <ac:chgData name="Joelle Brehm" userId="a518f54c-6985-42c0-8041-2bb16a414839" providerId="ADAL" clId="{9B2768D1-DFDD-45FF-849C-23AD8ECAB483}" dt="2024-05-08T16:40:25.616" v="62194"/>
          <ac:spMkLst>
            <pc:docMk/>
            <pc:sldMk cId="1592964120" sldId="300"/>
            <ac:spMk id="22" creationId="{CC83DFED-CC12-B82A-CF88-46DCE7A285D0}"/>
          </ac:spMkLst>
        </pc:spChg>
        <pc:spChg chg="mod ord">
          <ac:chgData name="Joelle Brehm" userId="a518f54c-6985-42c0-8041-2bb16a414839" providerId="ADAL" clId="{9B2768D1-DFDD-45FF-849C-23AD8ECAB483}" dt="2024-05-08T16:40:25.616" v="62196"/>
          <ac:spMkLst>
            <pc:docMk/>
            <pc:sldMk cId="1592964120" sldId="300"/>
            <ac:spMk id="23" creationId="{388B9762-8B62-238C-4DAE-371D743789A7}"/>
          </ac:spMkLst>
        </pc:spChg>
        <pc:spChg chg="mod">
          <ac:chgData name="Joelle Brehm" userId="a518f54c-6985-42c0-8041-2bb16a414839" providerId="ADAL" clId="{9B2768D1-DFDD-45FF-849C-23AD8ECAB483}" dt="2024-05-08T16:40:25.617" v="62199"/>
          <ac:spMkLst>
            <pc:docMk/>
            <pc:sldMk cId="1592964120" sldId="300"/>
            <ac:spMk id="24" creationId="{08D99868-DFC5-7B57-ACE9-F10209C62F18}"/>
          </ac:spMkLst>
        </pc:spChg>
        <pc:spChg chg="mod">
          <ac:chgData name="Joelle Brehm" userId="a518f54c-6985-42c0-8041-2bb16a414839" providerId="ADAL" clId="{9B2768D1-DFDD-45FF-849C-23AD8ECAB483}" dt="2024-05-08T16:40:25.618" v="62201"/>
          <ac:spMkLst>
            <pc:docMk/>
            <pc:sldMk cId="1592964120" sldId="300"/>
            <ac:spMk id="25" creationId="{893D1401-ECA9-770C-685D-A99936A67292}"/>
          </ac:spMkLst>
        </pc:spChg>
        <pc:spChg chg="mod">
          <ac:chgData name="Joelle Brehm" userId="a518f54c-6985-42c0-8041-2bb16a414839" providerId="ADAL" clId="{9B2768D1-DFDD-45FF-849C-23AD8ECAB483}" dt="2024-05-08T16:40:25.617" v="62200"/>
          <ac:spMkLst>
            <pc:docMk/>
            <pc:sldMk cId="1592964120" sldId="300"/>
            <ac:spMk id="26" creationId="{8AE2212A-1DA5-F563-809B-F4152E79D85E}"/>
          </ac:spMkLst>
        </pc:spChg>
        <pc:spChg chg="mod">
          <ac:chgData name="Joelle Brehm" userId="a518f54c-6985-42c0-8041-2bb16a414839" providerId="ADAL" clId="{9B2768D1-DFDD-45FF-849C-23AD8ECAB483}" dt="2024-05-08T16:40:25.619" v="62204"/>
          <ac:spMkLst>
            <pc:docMk/>
            <pc:sldMk cId="1592964120" sldId="300"/>
            <ac:spMk id="27" creationId="{7566499B-08B1-834D-908F-AE1A9393F260}"/>
          </ac:spMkLst>
        </pc:spChg>
        <pc:spChg chg="mod">
          <ac:chgData name="Joelle Brehm" userId="a518f54c-6985-42c0-8041-2bb16a414839" providerId="ADAL" clId="{9B2768D1-DFDD-45FF-849C-23AD8ECAB483}" dt="2024-05-08T16:40:25.619" v="62205"/>
          <ac:spMkLst>
            <pc:docMk/>
            <pc:sldMk cId="1592964120" sldId="300"/>
            <ac:spMk id="28" creationId="{9A55B08D-DC70-EE69-55AD-11598C1C9B12}"/>
          </ac:spMkLst>
        </pc:spChg>
        <pc:spChg chg="mod">
          <ac:chgData name="Joelle Brehm" userId="a518f54c-6985-42c0-8041-2bb16a414839" providerId="ADAL" clId="{9B2768D1-DFDD-45FF-849C-23AD8ECAB483}" dt="2024-05-08T16:40:25.618" v="62203"/>
          <ac:spMkLst>
            <pc:docMk/>
            <pc:sldMk cId="1592964120" sldId="300"/>
            <ac:spMk id="29" creationId="{CF6E8C33-3094-B90B-55D8-884C79658463}"/>
          </ac:spMkLst>
        </pc:spChg>
        <pc:spChg chg="mod ord">
          <ac:chgData name="Joelle Brehm" userId="a518f54c-6985-42c0-8041-2bb16a414839" providerId="ADAL" clId="{9B2768D1-DFDD-45FF-849C-23AD8ECAB483}" dt="2024-05-08T16:40:25.619" v="62207"/>
          <ac:spMkLst>
            <pc:docMk/>
            <pc:sldMk cId="1592964120" sldId="300"/>
            <ac:spMk id="30" creationId="{F91A67B0-6455-465A-3588-978AE8BFE3CD}"/>
          </ac:spMkLst>
        </pc:spChg>
        <pc:spChg chg="add del mod modVis">
          <ac:chgData name="Joelle Brehm" userId="a518f54c-6985-42c0-8041-2bb16a414839" providerId="ADAL" clId="{9B2768D1-DFDD-45FF-849C-23AD8ECAB483}" dt="2024-05-08T16:39:21.208" v="60687"/>
          <ac:spMkLst>
            <pc:docMk/>
            <pc:sldMk cId="1592964120" sldId="300"/>
            <ac:spMk id="32" creationId="{C0BF914F-7D78-A178-B397-2592B35DABCC}"/>
          </ac:spMkLst>
        </pc:spChg>
        <pc:spChg chg="add del mod modVis">
          <ac:chgData name="Joelle Brehm" userId="a518f54c-6985-42c0-8041-2bb16a414839" providerId="ADAL" clId="{9B2768D1-DFDD-45FF-849C-23AD8ECAB483}" dt="2024-05-08T16:39:47.948" v="60917"/>
          <ac:spMkLst>
            <pc:docMk/>
            <pc:sldMk cId="1592964120" sldId="300"/>
            <ac:spMk id="35" creationId="{19A0383F-8075-3770-92E0-94443A7D4B82}"/>
          </ac:spMkLst>
        </pc:spChg>
        <pc:spChg chg="mod ord">
          <ac:chgData name="Joelle Brehm" userId="a518f54c-6985-42c0-8041-2bb16a414839" providerId="ADAL" clId="{9B2768D1-DFDD-45FF-849C-23AD8ECAB483}" dt="2024-05-08T16:40:25.617" v="62198"/>
          <ac:spMkLst>
            <pc:docMk/>
            <pc:sldMk cId="1592964120" sldId="300"/>
            <ac:spMk id="37" creationId="{AF100E2E-9AB7-93B9-D1F1-FCEDBF8C64D5}"/>
          </ac:spMkLst>
        </pc:spChg>
        <pc:spChg chg="mod">
          <ac:chgData name="Joelle Brehm" userId="a518f54c-6985-42c0-8041-2bb16a414839" providerId="ADAL" clId="{9B2768D1-DFDD-45FF-849C-23AD8ECAB483}" dt="2024-05-08T16:40:25.621" v="62211"/>
          <ac:spMkLst>
            <pc:docMk/>
            <pc:sldMk cId="1592964120" sldId="300"/>
            <ac:spMk id="40" creationId="{EAB3036D-6C58-106A-186C-AB3727D062D5}"/>
          </ac:spMkLst>
        </pc:spChg>
        <pc:spChg chg="add del mod modVis">
          <ac:chgData name="Joelle Brehm" userId="a518f54c-6985-42c0-8041-2bb16a414839" providerId="ADAL" clId="{9B2768D1-DFDD-45FF-849C-23AD8ECAB483}" dt="2024-05-08T16:39:53.893" v="61310"/>
          <ac:spMkLst>
            <pc:docMk/>
            <pc:sldMk cId="1592964120" sldId="300"/>
            <ac:spMk id="41" creationId="{8FAD03D4-DC03-0FD1-896D-7D21B76E3163}"/>
          </ac:spMkLst>
        </pc:spChg>
        <pc:spChg chg="add del mod modVis">
          <ac:chgData name="Joelle Brehm" userId="a518f54c-6985-42c0-8041-2bb16a414839" providerId="ADAL" clId="{9B2768D1-DFDD-45FF-849C-23AD8ECAB483}" dt="2024-05-08T16:39:58.808" v="61429"/>
          <ac:spMkLst>
            <pc:docMk/>
            <pc:sldMk cId="1592964120" sldId="300"/>
            <ac:spMk id="43" creationId="{19ECB9B6-D79C-2A58-305D-30E6B68270F4}"/>
          </ac:spMkLst>
        </pc:spChg>
        <pc:spChg chg="add del mod modVis">
          <ac:chgData name="Joelle Brehm" userId="a518f54c-6985-42c0-8041-2bb16a414839" providerId="ADAL" clId="{9B2768D1-DFDD-45FF-849C-23AD8ECAB483}" dt="2024-05-08T16:40:02.057" v="61548"/>
          <ac:spMkLst>
            <pc:docMk/>
            <pc:sldMk cId="1592964120" sldId="300"/>
            <ac:spMk id="45" creationId="{E7CC8FC1-AFFE-2F8C-DB4B-ACA677E2EE71}"/>
          </ac:spMkLst>
        </pc:spChg>
        <pc:spChg chg="add mod replST">
          <ac:chgData name="Joelle Brehm" userId="a518f54c-6985-42c0-8041-2bb16a414839" providerId="ADAL" clId="{9B2768D1-DFDD-45FF-849C-23AD8ECAB483}" dt="2024-05-08T16:40:25.621" v="62212"/>
          <ac:spMkLst>
            <pc:docMk/>
            <pc:sldMk cId="1592964120" sldId="300"/>
            <ac:spMk id="47" creationId="{A5835490-83B8-C79D-B856-73EB6117AC60}"/>
          </ac:spMkLst>
        </pc:spChg>
        <pc:spChg chg="add del mod modVis">
          <ac:chgData name="Joelle Brehm" userId="a518f54c-6985-42c0-8041-2bb16a414839" providerId="ADAL" clId="{9B2768D1-DFDD-45FF-849C-23AD8ECAB483}" dt="2024-05-08T16:40:11.347" v="61745"/>
          <ac:spMkLst>
            <pc:docMk/>
            <pc:sldMk cId="1592964120" sldId="300"/>
            <ac:spMk id="48" creationId="{699940AB-06BA-2121-F193-25B2CB919E82}"/>
          </ac:spMkLst>
        </pc:spChg>
        <pc:spChg chg="add del mod modVis">
          <ac:chgData name="Joelle Brehm" userId="a518f54c-6985-42c0-8041-2bb16a414839" providerId="ADAL" clId="{9B2768D1-DFDD-45FF-849C-23AD8ECAB483}" dt="2024-05-08T16:40:16.102" v="61891"/>
          <ac:spMkLst>
            <pc:docMk/>
            <pc:sldMk cId="1592964120" sldId="300"/>
            <ac:spMk id="50" creationId="{FA82B260-8DEC-08E8-DC85-C477C09AA59A}"/>
          </ac:spMkLst>
        </pc:spChg>
        <pc:spChg chg="add del mod modVis">
          <ac:chgData name="Joelle Brehm" userId="a518f54c-6985-42c0-8041-2bb16a414839" providerId="ADAL" clId="{9B2768D1-DFDD-45FF-849C-23AD8ECAB483}" dt="2024-05-08T16:40:17.900" v="62022"/>
          <ac:spMkLst>
            <pc:docMk/>
            <pc:sldMk cId="1592964120" sldId="300"/>
            <ac:spMk id="52" creationId="{C38D01D5-7991-B1FA-F6E7-C50BA419E4DB}"/>
          </ac:spMkLst>
        </pc:spChg>
        <pc:spChg chg="add del mod modVis">
          <ac:chgData name="Joelle Brehm" userId="a518f54c-6985-42c0-8041-2bb16a414839" providerId="ADAL" clId="{9B2768D1-DFDD-45FF-849C-23AD8ECAB483}" dt="2024-05-08T16:40:21.420" v="62145"/>
          <ac:spMkLst>
            <pc:docMk/>
            <pc:sldMk cId="1592964120" sldId="300"/>
            <ac:spMk id="54" creationId="{B2BA54F3-A02B-C606-232D-EEACF5BC8F78}"/>
          </ac:spMkLst>
        </pc:spChg>
        <pc:spChg chg="mod">
          <ac:chgData name="Joelle Brehm" userId="a518f54c-6985-42c0-8041-2bb16a414839" providerId="ADAL" clId="{9B2768D1-DFDD-45FF-849C-23AD8ECAB483}" dt="2024-05-08T16:40:25.618" v="62202"/>
          <ac:spMkLst>
            <pc:docMk/>
            <pc:sldMk cId="1592964120" sldId="300"/>
            <ac:spMk id="74" creationId="{4F5B4CA8-2D45-2165-F89C-2248C44244DE}"/>
          </ac:spMkLst>
        </pc:spChg>
        <pc:spChg chg="mod ord">
          <ac:chgData name="Joelle Brehm" userId="a518f54c-6985-42c0-8041-2bb16a414839" providerId="ADAL" clId="{9B2768D1-DFDD-45FF-849C-23AD8ECAB483}" dt="2024-05-08T16:40:25.621" v="62214"/>
          <ac:spMkLst>
            <pc:docMk/>
            <pc:sldMk cId="1592964120" sldId="300"/>
            <ac:spMk id="78" creationId="{8693DA61-5E71-53E1-FED7-C350F1EBFA04}"/>
          </ac:spMkLst>
        </pc:spChg>
        <pc:spChg chg="mod ord">
          <ac:chgData name="Joelle Brehm" userId="a518f54c-6985-42c0-8041-2bb16a414839" providerId="ADAL" clId="{9B2768D1-DFDD-45FF-849C-23AD8ECAB483}" dt="2024-05-08T16:40:25.623" v="62216"/>
          <ac:spMkLst>
            <pc:docMk/>
            <pc:sldMk cId="1592964120" sldId="300"/>
            <ac:spMk id="79" creationId="{2510167D-D2B4-E764-EE5A-59C5D61DA230}"/>
          </ac:spMkLst>
        </pc:spChg>
        <pc:spChg chg="mod ord">
          <ac:chgData name="Joelle Brehm" userId="a518f54c-6985-42c0-8041-2bb16a414839" providerId="ADAL" clId="{9B2768D1-DFDD-45FF-849C-23AD8ECAB483}" dt="2024-05-08T16:40:25.623" v="62218"/>
          <ac:spMkLst>
            <pc:docMk/>
            <pc:sldMk cId="1592964120" sldId="300"/>
            <ac:spMk id="100" creationId="{0020504F-761A-2575-33E3-0FF9244E605B}"/>
          </ac:spMkLst>
        </pc:spChg>
        <pc:spChg chg="mod ord">
          <ac:chgData name="Joelle Brehm" userId="a518f54c-6985-42c0-8041-2bb16a414839" providerId="ADAL" clId="{9B2768D1-DFDD-45FF-849C-23AD8ECAB483}" dt="2024-05-08T16:40:25.623" v="62220"/>
          <ac:spMkLst>
            <pc:docMk/>
            <pc:sldMk cId="1592964120" sldId="300"/>
            <ac:spMk id="108" creationId="{D21D14B1-19CF-8F2B-4831-0B9DB368403B}"/>
          </ac:spMkLst>
        </pc:spChg>
        <pc:spChg chg="mod ord">
          <ac:chgData name="Joelle Brehm" userId="a518f54c-6985-42c0-8041-2bb16a414839" providerId="ADAL" clId="{9B2768D1-DFDD-45FF-849C-23AD8ECAB483}" dt="2024-05-08T16:40:25.624" v="62222"/>
          <ac:spMkLst>
            <pc:docMk/>
            <pc:sldMk cId="1592964120" sldId="300"/>
            <ac:spMk id="109" creationId="{CDDDEF1A-CB37-9452-AFDD-EBD68254CF6B}"/>
          </ac:spMkLst>
        </pc:spChg>
        <pc:spChg chg="mod ord">
          <ac:chgData name="Joelle Brehm" userId="a518f54c-6985-42c0-8041-2bb16a414839" providerId="ADAL" clId="{9B2768D1-DFDD-45FF-849C-23AD8ECAB483}" dt="2024-05-08T16:40:25.624" v="62224"/>
          <ac:spMkLst>
            <pc:docMk/>
            <pc:sldMk cId="1592964120" sldId="300"/>
            <ac:spMk id="110" creationId="{C956C2F4-5A3A-F475-4541-EC71F2A97D96}"/>
          </ac:spMkLst>
        </pc:spChg>
        <pc:spChg chg="mod">
          <ac:chgData name="Joelle Brehm" userId="a518f54c-6985-42c0-8041-2bb16a414839" providerId="ADAL" clId="{9B2768D1-DFDD-45FF-849C-23AD8ECAB483}" dt="2024-05-08T16:40:25.620" v="62210"/>
          <ac:spMkLst>
            <pc:docMk/>
            <pc:sldMk cId="1592964120" sldId="300"/>
            <ac:spMk id="127" creationId="{F5D06544-7B30-6FE8-2DD3-B45FB77A3FD1}"/>
          </ac:spMkLst>
        </pc:spChg>
        <pc:spChg chg="mod">
          <ac:chgData name="Joelle Brehm" userId="a518f54c-6985-42c0-8041-2bb16a414839" providerId="ADAL" clId="{9B2768D1-DFDD-45FF-849C-23AD8ECAB483}" dt="2024-05-08T16:40:25.625" v="62227"/>
          <ac:spMkLst>
            <pc:docMk/>
            <pc:sldMk cId="1592964120" sldId="300"/>
            <ac:spMk id="133" creationId="{D4931E33-6B1D-945A-5828-575D87F40680}"/>
          </ac:spMkLst>
        </pc:spChg>
        <pc:spChg chg="mod">
          <ac:chgData name="Joelle Brehm" userId="a518f54c-6985-42c0-8041-2bb16a414839" providerId="ADAL" clId="{9B2768D1-DFDD-45FF-849C-23AD8ECAB483}" dt="2024-05-08T16:40:25.625" v="62228"/>
          <ac:spMkLst>
            <pc:docMk/>
            <pc:sldMk cId="1592964120" sldId="300"/>
            <ac:spMk id="135" creationId="{5FC73E24-09AD-53E2-EC84-3C23A090452B}"/>
          </ac:spMkLst>
        </pc:spChg>
        <pc:spChg chg="mod">
          <ac:chgData name="Joelle Brehm" userId="a518f54c-6985-42c0-8041-2bb16a414839" providerId="ADAL" clId="{9B2768D1-DFDD-45FF-849C-23AD8ECAB483}" dt="2024-05-08T16:40:25.626" v="62229"/>
          <ac:spMkLst>
            <pc:docMk/>
            <pc:sldMk cId="1592964120" sldId="300"/>
            <ac:spMk id="136" creationId="{78A4E297-043C-9254-6E7C-8739BFAAE38B}"/>
          </ac:spMkLst>
        </pc:spChg>
        <pc:spChg chg="mod">
          <ac:chgData name="Joelle Brehm" userId="a518f54c-6985-42c0-8041-2bb16a414839" providerId="ADAL" clId="{9B2768D1-DFDD-45FF-849C-23AD8ECAB483}" dt="2024-05-08T16:40:25.626" v="62230"/>
          <ac:spMkLst>
            <pc:docMk/>
            <pc:sldMk cId="1592964120" sldId="300"/>
            <ac:spMk id="157" creationId="{12B01CFB-6682-78F2-C567-C22FB9480771}"/>
          </ac:spMkLst>
        </pc:spChg>
        <pc:spChg chg="mod">
          <ac:chgData name="Joelle Brehm" userId="a518f54c-6985-42c0-8041-2bb16a414839" providerId="ADAL" clId="{9B2768D1-DFDD-45FF-849C-23AD8ECAB483}" dt="2024-05-08T16:40:25.626" v="62231"/>
          <ac:spMkLst>
            <pc:docMk/>
            <pc:sldMk cId="1592964120" sldId="300"/>
            <ac:spMk id="158" creationId="{2AE8B7E1-91CF-3DBA-E84B-F08CBB3B3A09}"/>
          </ac:spMkLst>
        </pc:spChg>
        <pc:graphicFrameChg chg="mod">
          <ac:chgData name="Joelle Brehm" userId="a518f54c-6985-42c0-8041-2bb16a414839" providerId="ADAL" clId="{9B2768D1-DFDD-45FF-849C-23AD8ECAB483}" dt="2024-05-08T16:40:25.640" v="62242"/>
          <ac:graphicFrameMkLst>
            <pc:docMk/>
            <pc:sldMk cId="1592964120" sldId="300"/>
            <ac:graphicFrameMk id="4" creationId="{A8C2E1CE-EA94-6389-63BB-78C59C5B6632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9:21.139" v="60612"/>
          <ac:graphicFrameMkLst>
            <pc:docMk/>
            <pc:sldMk cId="1592964120" sldId="300"/>
            <ac:graphicFrameMk id="9" creationId="{79FF92C1-7226-7EA2-DC62-44775D73407D}"/>
          </ac:graphicFrameMkLst>
        </pc:graphicFrameChg>
        <pc:graphicFrameChg chg="add mod ord replST delST">
          <ac:chgData name="Joelle Brehm" userId="a518f54c-6985-42c0-8041-2bb16a414839" providerId="ADAL" clId="{9B2768D1-DFDD-45FF-849C-23AD8ECAB483}" dt="2024-05-08T16:39:17.418" v="60467"/>
          <ac:graphicFrameMkLst>
            <pc:docMk/>
            <pc:sldMk cId="1592964120" sldId="300"/>
            <ac:graphicFrameMk id="31" creationId="{3904C2CF-F8E4-F5BD-B918-EBC3DA68321A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40:25.612" v="62182"/>
          <ac:graphicFrameMkLst>
            <pc:docMk/>
            <pc:sldMk cId="1592964120" sldId="300"/>
            <ac:graphicFrameMk id="33" creationId="{799B5C98-73BE-E374-8187-B06004105D9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9:48.055" v="60940"/>
          <ac:graphicFrameMkLst>
            <pc:docMk/>
            <pc:sldMk cId="1592964120" sldId="300"/>
            <ac:graphicFrameMk id="36" creationId="{FE5F264B-1D6C-236A-D37D-64EBA6BD58B7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9:49.178" v="61034"/>
          <ac:graphicFrameMkLst>
            <pc:docMk/>
            <pc:sldMk cId="1592964120" sldId="300"/>
            <ac:graphicFrameMk id="38" creationId="{91D56A5D-2777-F3B0-979B-629AF515ABE0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9:53.809" v="61237"/>
          <ac:graphicFrameMkLst>
            <pc:docMk/>
            <pc:sldMk cId="1592964120" sldId="300"/>
            <ac:graphicFrameMk id="39" creationId="{48EF14D0-0B99-B920-120A-A667FBD0A2D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39:58.730" v="61356"/>
          <ac:graphicFrameMkLst>
            <pc:docMk/>
            <pc:sldMk cId="1592964120" sldId="300"/>
            <ac:graphicFrameMk id="42" creationId="{BCA80019-3F4D-C3D9-D2DC-069188B3037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0:01.965" v="61475"/>
          <ac:graphicFrameMkLst>
            <pc:docMk/>
            <pc:sldMk cId="1592964120" sldId="300"/>
            <ac:graphicFrameMk id="44" creationId="{8FA40FEB-F8DB-D05A-BA3E-CA3145B1A663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0:25.583" v="62168"/>
          <ac:graphicFrameMkLst>
            <pc:docMk/>
            <pc:sldMk cId="1592964120" sldId="300"/>
            <ac:graphicFrameMk id="46" creationId="{999F4F7C-CB03-01B5-A805-7F7D1592BE1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0:16.014" v="61808"/>
          <ac:graphicFrameMkLst>
            <pc:docMk/>
            <pc:sldMk cId="1592964120" sldId="300"/>
            <ac:graphicFrameMk id="49" creationId="{20608C85-ECCD-7E45-9D61-12BE649DDF2F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0:17.822" v="61948"/>
          <ac:graphicFrameMkLst>
            <pc:docMk/>
            <pc:sldMk cId="1592964120" sldId="300"/>
            <ac:graphicFrameMk id="51" creationId="{F8FD3579-E4AF-E9AC-4861-25E0EF428D7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0:21.376" v="62071"/>
          <ac:graphicFrameMkLst>
            <pc:docMk/>
            <pc:sldMk cId="1592964120" sldId="300"/>
            <ac:graphicFrameMk id="53" creationId="{787B7758-3659-C3D0-1518-7D6F89BA2137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40:25.620" v="62209"/>
          <ac:graphicFrameMkLst>
            <pc:docMk/>
            <pc:sldMk cId="1592964120" sldId="300"/>
            <ac:graphicFrameMk id="55" creationId="{A82EC392-9FC0-B569-C11F-EB99880CFD83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40:25.625" v="62226"/>
          <ac:graphicFrameMkLst>
            <pc:docMk/>
            <pc:sldMk cId="1592964120" sldId="300"/>
            <ac:graphicFrameMk id="56" creationId="{D52A4CE3-53A7-1C1D-2F0B-0302230ACCFA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39:47.899" v="60844"/>
          <ac:graphicFrameMkLst>
            <pc:docMk/>
            <pc:sldMk cId="1592964120" sldId="300"/>
            <ac:graphicFrameMk id="62" creationId="{BFB5D679-FA56-B3CD-758F-88F7C4B6118A}"/>
          </ac:graphicFrameMkLst>
        </pc:graphicFrameChg>
        <pc:graphicFrameChg chg="del">
          <ac:chgData name="Joelle Brehm" userId="a518f54c-6985-42c0-8041-2bb16a414839" providerId="ADAL" clId="{9B2768D1-DFDD-45FF-849C-23AD8ECAB483}" dt="2024-05-08T16:39:16.242" v="60173"/>
          <ac:graphicFrameMkLst>
            <pc:docMk/>
            <pc:sldMk cId="1592964120" sldId="300"/>
            <ac:graphicFrameMk id="64" creationId="{8AA21480-50B4-8414-4827-965E665F2D66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40:11.233" v="61662"/>
          <ac:graphicFrameMkLst>
            <pc:docMk/>
            <pc:sldMk cId="1592964120" sldId="300"/>
            <ac:graphicFrameMk id="85" creationId="{CB5E2C7B-2646-1E8F-6440-EBDCED210A28}"/>
          </ac:graphicFrameMkLst>
        </pc:graphicFrameChg>
        <pc:picChg chg="add mod ord">
          <ac:chgData name="Joelle Brehm" userId="a518f54c-6985-42c0-8041-2bb16a414839" providerId="ADAL" clId="{9B2768D1-DFDD-45FF-849C-23AD8ECAB483}" dt="2024-05-08T16:40:25.610" v="62176"/>
          <ac:picMkLst>
            <pc:docMk/>
            <pc:sldMk cId="1592964120" sldId="300"/>
            <ac:picMk id="34" creationId="{E9F842AC-3EE3-F139-8A36-5B8412F88FB8}"/>
          </ac:picMkLst>
        </pc:picChg>
        <pc:picChg chg="del mod ord">
          <ac:chgData name="Joelle Brehm" userId="a518f54c-6985-42c0-8041-2bb16a414839" providerId="ADAL" clId="{9B2768D1-DFDD-45FF-849C-23AD8ECAB483}" dt="2024-05-08T16:39:41.807" v="60766" actId="478"/>
          <ac:picMkLst>
            <pc:docMk/>
            <pc:sldMk cId="1592964120" sldId="300"/>
            <ac:picMk id="86" creationId="{5000484A-CC22-670D-BCD0-F23A523049FF}"/>
          </ac:picMkLst>
        </pc:picChg>
        <pc:picChg chg="mod ord">
          <ac:chgData name="Joelle Brehm" userId="a518f54c-6985-42c0-8041-2bb16a414839" providerId="ADAL" clId="{9B2768D1-DFDD-45FF-849C-23AD8ECAB483}" dt="2024-05-08T16:40:25.627" v="62233"/>
          <ac:picMkLst>
            <pc:docMk/>
            <pc:sldMk cId="1592964120" sldId="300"/>
            <ac:picMk id="185" creationId="{4FBF27C0-F642-0AEF-665E-15710A187E9A}"/>
          </ac:picMkLst>
        </pc:picChg>
        <pc:picChg chg="mod">
          <ac:chgData name="Joelle Brehm" userId="a518f54c-6985-42c0-8041-2bb16a414839" providerId="ADAL" clId="{9B2768D1-DFDD-45FF-849C-23AD8ECAB483}" dt="2024-05-08T16:40:25.628" v="62238"/>
          <ac:picMkLst>
            <pc:docMk/>
            <pc:sldMk cId="1592964120" sldId="300"/>
            <ac:picMk id="2050" creationId="{F95BEF66-B9C6-B134-257B-5D7486CB36FF}"/>
          </ac:picMkLst>
        </pc:picChg>
        <pc:cxnChg chg="mod ord">
          <ac:chgData name="Joelle Brehm" userId="a518f54c-6985-42c0-8041-2bb16a414839" providerId="ADAL" clId="{9B2768D1-DFDD-45FF-849C-23AD8ECAB483}" dt="2024-05-08T16:40:25.611" v="62180"/>
          <ac:cxnSpMkLst>
            <pc:docMk/>
            <pc:sldMk cId="1592964120" sldId="300"/>
            <ac:cxnSpMk id="7" creationId="{525B8DD7-1E59-E820-439B-D5FD08121ECB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8T16:59:06.025" v="63703" actId="478"/>
        <pc:sldMkLst>
          <pc:docMk/>
          <pc:sldMk cId="2457840071" sldId="301"/>
        </pc:sldMkLst>
        <pc:spChg chg="mod ord">
          <ac:chgData name="Joelle Brehm" userId="a518f54c-6985-42c0-8041-2bb16a414839" providerId="ADAL" clId="{9B2768D1-DFDD-45FF-849C-23AD8ECAB483}" dt="2024-05-08T16:59:03.943" v="63694"/>
          <ac:spMkLst>
            <pc:docMk/>
            <pc:sldMk cId="2457840071" sldId="301"/>
            <ac:spMk id="2" creationId="{B98AECD7-F227-7661-1D74-C87CD0D40C01}"/>
          </ac:spMkLst>
        </pc:spChg>
        <pc:spChg chg="mod ord">
          <ac:chgData name="Joelle Brehm" userId="a518f54c-6985-42c0-8041-2bb16a414839" providerId="ADAL" clId="{9B2768D1-DFDD-45FF-849C-23AD8ECAB483}" dt="2024-05-08T16:59:03.943" v="63696"/>
          <ac:spMkLst>
            <pc:docMk/>
            <pc:sldMk cId="2457840071" sldId="301"/>
            <ac:spMk id="3" creationId="{987550CE-28D5-31FC-DA06-EE3C8CEEBAC4}"/>
          </ac:spMkLst>
        </pc:spChg>
        <pc:spChg chg="add del mod ord">
          <ac:chgData name="Joelle Brehm" userId="a518f54c-6985-42c0-8041-2bb16a414839" providerId="ADAL" clId="{9B2768D1-DFDD-45FF-849C-23AD8ECAB483}" dt="2024-05-08T16:58:42.747" v="63620" actId="478"/>
          <ac:spMkLst>
            <pc:docMk/>
            <pc:sldMk cId="2457840071" sldId="301"/>
            <ac:spMk id="5" creationId="{D5B31BBF-E3E0-0211-84D3-A61DE487C551}"/>
          </ac:spMkLst>
        </pc:spChg>
        <pc:spChg chg="mod ord">
          <ac:chgData name="Joelle Brehm" userId="a518f54c-6985-42c0-8041-2bb16a414839" providerId="ADAL" clId="{9B2768D1-DFDD-45FF-849C-23AD8ECAB483}" dt="2024-05-08T16:59:03.929" v="63636"/>
          <ac:spMkLst>
            <pc:docMk/>
            <pc:sldMk cId="2457840071" sldId="301"/>
            <ac:spMk id="6" creationId="{0EAC578E-89F1-9012-7CFE-E394FA03D5BB}"/>
          </ac:spMkLst>
        </pc:spChg>
        <pc:spChg chg="add del mod modVis">
          <ac:chgData name="Joelle Brehm" userId="a518f54c-6985-42c0-8041-2bb16a414839" providerId="ADAL" clId="{9B2768D1-DFDD-45FF-849C-23AD8ECAB483}" dt="2024-05-08T16:40:47.755" v="62443"/>
          <ac:spMkLst>
            <pc:docMk/>
            <pc:sldMk cId="2457840071" sldId="301"/>
            <ac:spMk id="8" creationId="{EBFEFF95-7F7B-008C-DC05-4CA440B52CB1}"/>
          </ac:spMkLst>
        </pc:spChg>
        <pc:spChg chg="add mod replST">
          <ac:chgData name="Joelle Brehm" userId="a518f54c-6985-42c0-8041-2bb16a414839" providerId="ADAL" clId="{9B2768D1-DFDD-45FF-849C-23AD8ECAB483}" dt="2024-05-08T16:59:03.942" v="63688"/>
          <ac:spMkLst>
            <pc:docMk/>
            <pc:sldMk cId="2457840071" sldId="301"/>
            <ac:spMk id="10" creationId="{E1BFD0FF-A9F1-47AE-BFA1-4ACF93E644D4}"/>
          </ac:spMkLst>
        </pc:spChg>
        <pc:spChg chg="mod">
          <ac:chgData name="Joelle Brehm" userId="a518f54c-6985-42c0-8041-2bb16a414839" providerId="ADAL" clId="{9B2768D1-DFDD-45FF-849C-23AD8ECAB483}" dt="2024-05-08T16:59:03.932" v="63647"/>
          <ac:spMkLst>
            <pc:docMk/>
            <pc:sldMk cId="2457840071" sldId="301"/>
            <ac:spMk id="11" creationId="{22B603EF-478D-0AD6-4D23-7FCAC6C5B3A8}"/>
          </ac:spMkLst>
        </pc:spChg>
        <pc:spChg chg="mod">
          <ac:chgData name="Joelle Brehm" userId="a518f54c-6985-42c0-8041-2bb16a414839" providerId="ADAL" clId="{9B2768D1-DFDD-45FF-849C-23AD8ECAB483}" dt="2024-05-08T16:59:03.932" v="63643"/>
          <ac:spMkLst>
            <pc:docMk/>
            <pc:sldMk cId="2457840071" sldId="301"/>
            <ac:spMk id="12" creationId="{EF91471B-672D-6CC5-CF57-DA4811B37750}"/>
          </ac:spMkLst>
        </pc:spChg>
        <pc:spChg chg="mod">
          <ac:chgData name="Joelle Brehm" userId="a518f54c-6985-42c0-8041-2bb16a414839" providerId="ADAL" clId="{9B2768D1-DFDD-45FF-849C-23AD8ECAB483}" dt="2024-05-08T16:59:03.932" v="63644"/>
          <ac:spMkLst>
            <pc:docMk/>
            <pc:sldMk cId="2457840071" sldId="301"/>
            <ac:spMk id="13" creationId="{93D9A990-B724-217A-59C0-550353D722BC}"/>
          </ac:spMkLst>
        </pc:spChg>
        <pc:spChg chg="mod">
          <ac:chgData name="Joelle Brehm" userId="a518f54c-6985-42c0-8041-2bb16a414839" providerId="ADAL" clId="{9B2768D1-DFDD-45FF-849C-23AD8ECAB483}" dt="2024-05-08T16:59:03.931" v="63641"/>
          <ac:spMkLst>
            <pc:docMk/>
            <pc:sldMk cId="2457840071" sldId="301"/>
            <ac:spMk id="14" creationId="{01488B66-9E2B-C289-21D2-6006FA4EB02C}"/>
          </ac:spMkLst>
        </pc:spChg>
        <pc:spChg chg="mod">
          <ac:chgData name="Joelle Brehm" userId="a518f54c-6985-42c0-8041-2bb16a414839" providerId="ADAL" clId="{9B2768D1-DFDD-45FF-849C-23AD8ECAB483}" dt="2024-05-08T16:59:03.931" v="63642"/>
          <ac:spMkLst>
            <pc:docMk/>
            <pc:sldMk cId="2457840071" sldId="301"/>
            <ac:spMk id="15" creationId="{C9DB922C-D286-DBF0-0AE7-25DDB51ED935}"/>
          </ac:spMkLst>
        </pc:spChg>
        <pc:spChg chg="mod">
          <ac:chgData name="Joelle Brehm" userId="a518f54c-6985-42c0-8041-2bb16a414839" providerId="ADAL" clId="{9B2768D1-DFDD-45FF-849C-23AD8ECAB483}" dt="2024-05-08T16:59:03.932" v="63645"/>
          <ac:spMkLst>
            <pc:docMk/>
            <pc:sldMk cId="2457840071" sldId="301"/>
            <ac:spMk id="16" creationId="{EAF5C985-33B7-C144-D7D4-2F545640EB66}"/>
          </ac:spMkLst>
        </pc:spChg>
        <pc:spChg chg="mod">
          <ac:chgData name="Joelle Brehm" userId="a518f54c-6985-42c0-8041-2bb16a414839" providerId="ADAL" clId="{9B2768D1-DFDD-45FF-849C-23AD8ECAB483}" dt="2024-05-08T16:59:03.932" v="63646"/>
          <ac:spMkLst>
            <pc:docMk/>
            <pc:sldMk cId="2457840071" sldId="301"/>
            <ac:spMk id="17" creationId="{A74F232F-4C99-6217-DB6E-798BC722C290}"/>
          </ac:spMkLst>
        </pc:spChg>
        <pc:spChg chg="mod">
          <ac:chgData name="Joelle Brehm" userId="a518f54c-6985-42c0-8041-2bb16a414839" providerId="ADAL" clId="{9B2768D1-DFDD-45FF-849C-23AD8ECAB483}" dt="2024-05-08T16:59:03.932" v="63648"/>
          <ac:spMkLst>
            <pc:docMk/>
            <pc:sldMk cId="2457840071" sldId="301"/>
            <ac:spMk id="18" creationId="{31AF8F52-A343-80A2-1AAE-C847B4EC1C2F}"/>
          </ac:spMkLst>
        </pc:spChg>
        <pc:spChg chg="mod">
          <ac:chgData name="Joelle Brehm" userId="a518f54c-6985-42c0-8041-2bb16a414839" providerId="ADAL" clId="{9B2768D1-DFDD-45FF-849C-23AD8ECAB483}" dt="2024-05-08T16:59:03.933" v="63649"/>
          <ac:spMkLst>
            <pc:docMk/>
            <pc:sldMk cId="2457840071" sldId="301"/>
            <ac:spMk id="19" creationId="{C67B8F2C-387B-9309-6C26-DA14E7C7F2B3}"/>
          </ac:spMkLst>
        </pc:spChg>
        <pc:spChg chg="mod">
          <ac:chgData name="Joelle Brehm" userId="a518f54c-6985-42c0-8041-2bb16a414839" providerId="ADAL" clId="{9B2768D1-DFDD-45FF-849C-23AD8ECAB483}" dt="2024-05-08T16:59:03.933" v="63650"/>
          <ac:spMkLst>
            <pc:docMk/>
            <pc:sldMk cId="2457840071" sldId="301"/>
            <ac:spMk id="20" creationId="{A356996F-09E8-7E5E-06AD-FCA01C53425F}"/>
          </ac:spMkLst>
        </pc:spChg>
        <pc:spChg chg="mod">
          <ac:chgData name="Joelle Brehm" userId="a518f54c-6985-42c0-8041-2bb16a414839" providerId="ADAL" clId="{9B2768D1-DFDD-45FF-849C-23AD8ECAB483}" dt="2024-05-08T16:59:03.933" v="63651"/>
          <ac:spMkLst>
            <pc:docMk/>
            <pc:sldMk cId="2457840071" sldId="301"/>
            <ac:spMk id="21" creationId="{B99DEEA5-7788-7892-8278-B8A15BEE72BF}"/>
          </ac:spMkLst>
        </pc:spChg>
        <pc:spChg chg="mod">
          <ac:chgData name="Joelle Brehm" userId="a518f54c-6985-42c0-8041-2bb16a414839" providerId="ADAL" clId="{9B2768D1-DFDD-45FF-849C-23AD8ECAB483}" dt="2024-05-08T16:59:03.933" v="63652"/>
          <ac:spMkLst>
            <pc:docMk/>
            <pc:sldMk cId="2457840071" sldId="301"/>
            <ac:spMk id="22" creationId="{CC83DFED-CC12-B82A-CF88-46DCE7A285D0}"/>
          </ac:spMkLst>
        </pc:spChg>
        <pc:spChg chg="mod ord">
          <ac:chgData name="Joelle Brehm" userId="a518f54c-6985-42c0-8041-2bb16a414839" providerId="ADAL" clId="{9B2768D1-DFDD-45FF-849C-23AD8ECAB483}" dt="2024-05-08T16:59:03.934" v="63654"/>
          <ac:spMkLst>
            <pc:docMk/>
            <pc:sldMk cId="2457840071" sldId="301"/>
            <ac:spMk id="23" creationId="{388B9762-8B62-238C-4DAE-371D743789A7}"/>
          </ac:spMkLst>
        </pc:spChg>
        <pc:spChg chg="mod">
          <ac:chgData name="Joelle Brehm" userId="a518f54c-6985-42c0-8041-2bb16a414839" providerId="ADAL" clId="{9B2768D1-DFDD-45FF-849C-23AD8ECAB483}" dt="2024-05-08T16:59:03.935" v="63657"/>
          <ac:spMkLst>
            <pc:docMk/>
            <pc:sldMk cId="2457840071" sldId="301"/>
            <ac:spMk id="24" creationId="{08D99868-DFC5-7B57-ACE9-F10209C62F18}"/>
          </ac:spMkLst>
        </pc:spChg>
        <pc:spChg chg="mod">
          <ac:chgData name="Joelle Brehm" userId="a518f54c-6985-42c0-8041-2bb16a414839" providerId="ADAL" clId="{9B2768D1-DFDD-45FF-849C-23AD8ECAB483}" dt="2024-05-08T16:59:03.935" v="63659"/>
          <ac:spMkLst>
            <pc:docMk/>
            <pc:sldMk cId="2457840071" sldId="301"/>
            <ac:spMk id="25" creationId="{893D1401-ECA9-770C-685D-A99936A67292}"/>
          </ac:spMkLst>
        </pc:spChg>
        <pc:spChg chg="mod">
          <ac:chgData name="Joelle Brehm" userId="a518f54c-6985-42c0-8041-2bb16a414839" providerId="ADAL" clId="{9B2768D1-DFDD-45FF-849C-23AD8ECAB483}" dt="2024-05-08T16:59:03.935" v="63658"/>
          <ac:spMkLst>
            <pc:docMk/>
            <pc:sldMk cId="2457840071" sldId="301"/>
            <ac:spMk id="26" creationId="{8AE2212A-1DA5-F563-809B-F4152E79D85E}"/>
          </ac:spMkLst>
        </pc:spChg>
        <pc:spChg chg="mod">
          <ac:chgData name="Joelle Brehm" userId="a518f54c-6985-42c0-8041-2bb16a414839" providerId="ADAL" clId="{9B2768D1-DFDD-45FF-849C-23AD8ECAB483}" dt="2024-05-08T16:59:03.936" v="63662"/>
          <ac:spMkLst>
            <pc:docMk/>
            <pc:sldMk cId="2457840071" sldId="301"/>
            <ac:spMk id="27" creationId="{7566499B-08B1-834D-908F-AE1A9393F260}"/>
          </ac:spMkLst>
        </pc:spChg>
        <pc:spChg chg="mod">
          <ac:chgData name="Joelle Brehm" userId="a518f54c-6985-42c0-8041-2bb16a414839" providerId="ADAL" clId="{9B2768D1-DFDD-45FF-849C-23AD8ECAB483}" dt="2024-05-08T16:59:03.936" v="63663"/>
          <ac:spMkLst>
            <pc:docMk/>
            <pc:sldMk cId="2457840071" sldId="301"/>
            <ac:spMk id="28" creationId="{9A55B08D-DC70-EE69-55AD-11598C1C9B12}"/>
          </ac:spMkLst>
        </pc:spChg>
        <pc:spChg chg="mod">
          <ac:chgData name="Joelle Brehm" userId="a518f54c-6985-42c0-8041-2bb16a414839" providerId="ADAL" clId="{9B2768D1-DFDD-45FF-849C-23AD8ECAB483}" dt="2024-05-08T16:59:03.936" v="63661"/>
          <ac:spMkLst>
            <pc:docMk/>
            <pc:sldMk cId="2457840071" sldId="301"/>
            <ac:spMk id="29" creationId="{CF6E8C33-3094-B90B-55D8-884C79658463}"/>
          </ac:spMkLst>
        </pc:spChg>
        <pc:spChg chg="mod ord">
          <ac:chgData name="Joelle Brehm" userId="a518f54c-6985-42c0-8041-2bb16a414839" providerId="ADAL" clId="{9B2768D1-DFDD-45FF-849C-23AD8ECAB483}" dt="2024-05-08T16:59:03.937" v="63665"/>
          <ac:spMkLst>
            <pc:docMk/>
            <pc:sldMk cId="2457840071" sldId="301"/>
            <ac:spMk id="30" creationId="{F91A67B0-6455-465A-3588-978AE8BFE3CD}"/>
          </ac:spMkLst>
        </pc:spChg>
        <pc:spChg chg="add mod replST">
          <ac:chgData name="Joelle Brehm" userId="a518f54c-6985-42c0-8041-2bb16a414839" providerId="ADAL" clId="{9B2768D1-DFDD-45FF-849C-23AD8ECAB483}" dt="2024-05-08T16:59:03.942" v="63689"/>
          <ac:spMkLst>
            <pc:docMk/>
            <pc:sldMk cId="2457840071" sldId="301"/>
            <ac:spMk id="31" creationId="{2491D49C-C0F2-6BD9-0C16-A3A906A48BE2}"/>
          </ac:spMkLst>
        </pc:spChg>
        <pc:spChg chg="add mod replST">
          <ac:chgData name="Joelle Brehm" userId="a518f54c-6985-42c0-8041-2bb16a414839" providerId="ADAL" clId="{9B2768D1-DFDD-45FF-849C-23AD8ECAB483}" dt="2024-05-08T16:59:03.942" v="63690"/>
          <ac:spMkLst>
            <pc:docMk/>
            <pc:sldMk cId="2457840071" sldId="301"/>
            <ac:spMk id="32" creationId="{DBCA5BA9-1767-4AAE-3FEB-6BA5D5B87DF5}"/>
          </ac:spMkLst>
        </pc:spChg>
        <pc:spChg chg="add del mod modVis">
          <ac:chgData name="Joelle Brehm" userId="a518f54c-6985-42c0-8041-2bb16a414839" providerId="ADAL" clId="{9B2768D1-DFDD-45FF-849C-23AD8ECAB483}" dt="2024-05-08T16:40:57.272" v="62679"/>
          <ac:spMkLst>
            <pc:docMk/>
            <pc:sldMk cId="2457840071" sldId="301"/>
            <ac:spMk id="33" creationId="{E3DC12B2-6C8A-DD6B-B850-C642EDF3C1F4}"/>
          </ac:spMkLst>
        </pc:spChg>
        <pc:spChg chg="mod ord">
          <ac:chgData name="Joelle Brehm" userId="a518f54c-6985-42c0-8041-2bb16a414839" providerId="ADAL" clId="{9B2768D1-DFDD-45FF-849C-23AD8ECAB483}" dt="2024-05-08T16:59:03.934" v="63656"/>
          <ac:spMkLst>
            <pc:docMk/>
            <pc:sldMk cId="2457840071" sldId="301"/>
            <ac:spMk id="37" creationId="{AF100E2E-9AB7-93B9-D1F1-FCEDBF8C64D5}"/>
          </ac:spMkLst>
        </pc:spChg>
        <pc:spChg chg="add mod replST">
          <ac:chgData name="Joelle Brehm" userId="a518f54c-6985-42c0-8041-2bb16a414839" providerId="ADAL" clId="{9B2768D1-DFDD-45FF-849C-23AD8ECAB483}" dt="2024-05-08T16:59:03.938" v="63671"/>
          <ac:spMkLst>
            <pc:docMk/>
            <pc:sldMk cId="2457840071" sldId="301"/>
            <ac:spMk id="38" creationId="{8C30472D-64F3-41CA-E455-FDF3EEB3C801}"/>
          </ac:spMkLst>
        </pc:spChg>
        <pc:spChg chg="add del mod modVis">
          <ac:chgData name="Joelle Brehm" userId="a518f54c-6985-42c0-8041-2bb16a414839" providerId="ADAL" clId="{9B2768D1-DFDD-45FF-849C-23AD8ECAB483}" dt="2024-05-08T16:41:15.911" v="62958"/>
          <ac:spMkLst>
            <pc:docMk/>
            <pc:sldMk cId="2457840071" sldId="301"/>
            <ac:spMk id="39" creationId="{23441829-3485-7917-6F62-F1ACB16A266D}"/>
          </ac:spMkLst>
        </pc:spChg>
        <pc:spChg chg="mod">
          <ac:chgData name="Joelle Brehm" userId="a518f54c-6985-42c0-8041-2bb16a414839" providerId="ADAL" clId="{9B2768D1-DFDD-45FF-849C-23AD8ECAB483}" dt="2024-05-08T16:59:03.937" v="63669"/>
          <ac:spMkLst>
            <pc:docMk/>
            <pc:sldMk cId="2457840071" sldId="301"/>
            <ac:spMk id="40" creationId="{EAB3036D-6C58-106A-186C-AB3727D062D5}"/>
          </ac:spMkLst>
        </pc:spChg>
        <pc:spChg chg="add del mod modVis">
          <ac:chgData name="Joelle Brehm" userId="a518f54c-6985-42c0-8041-2bb16a414839" providerId="ADAL" clId="{9B2768D1-DFDD-45FF-849C-23AD8ECAB483}" dt="2024-05-08T16:41:17.895" v="63102"/>
          <ac:spMkLst>
            <pc:docMk/>
            <pc:sldMk cId="2457840071" sldId="301"/>
            <ac:spMk id="42" creationId="{D5CC5E5C-2EC4-05B6-DF97-88FBE7F77869}"/>
          </ac:spMkLst>
        </pc:spChg>
        <pc:spChg chg="add del mod modVis">
          <ac:chgData name="Joelle Brehm" userId="a518f54c-6985-42c0-8041-2bb16a414839" providerId="ADAL" clId="{9B2768D1-DFDD-45FF-849C-23AD8ECAB483}" dt="2024-05-08T16:41:20.554" v="63235"/>
          <ac:spMkLst>
            <pc:docMk/>
            <pc:sldMk cId="2457840071" sldId="301"/>
            <ac:spMk id="45" creationId="{9A561038-3A82-0684-0D3D-609451C7502B}"/>
          </ac:spMkLst>
        </pc:spChg>
        <pc:spChg chg="mod">
          <ac:chgData name="Joelle Brehm" userId="a518f54c-6985-42c0-8041-2bb16a414839" providerId="ADAL" clId="{9B2768D1-DFDD-45FF-849C-23AD8ECAB483}" dt="2024-05-08T16:59:03.938" v="63670"/>
          <ac:spMkLst>
            <pc:docMk/>
            <pc:sldMk cId="2457840071" sldId="301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9B2768D1-DFDD-45FF-849C-23AD8ECAB483}" dt="2024-05-08T16:41:24.767" v="63368"/>
          <ac:spMkLst>
            <pc:docMk/>
            <pc:sldMk cId="2457840071" sldId="301"/>
            <ac:spMk id="48" creationId="{4138CDD6-79AE-CF0D-24C7-52AAA2D59974}"/>
          </ac:spMkLst>
        </pc:spChg>
        <pc:spChg chg="mod">
          <ac:chgData name="Joelle Brehm" userId="a518f54c-6985-42c0-8041-2bb16a414839" providerId="ADAL" clId="{9B2768D1-DFDD-45FF-849C-23AD8ECAB483}" dt="2024-05-08T16:59:03.935" v="63660"/>
          <ac:spMkLst>
            <pc:docMk/>
            <pc:sldMk cId="2457840071" sldId="301"/>
            <ac:spMk id="74" creationId="{4F5B4CA8-2D45-2165-F89C-2248C44244DE}"/>
          </ac:spMkLst>
        </pc:spChg>
        <pc:spChg chg="mod ord">
          <ac:chgData name="Joelle Brehm" userId="a518f54c-6985-42c0-8041-2bb16a414839" providerId="ADAL" clId="{9B2768D1-DFDD-45FF-849C-23AD8ECAB483}" dt="2024-05-08T16:59:03.938" v="63673"/>
          <ac:spMkLst>
            <pc:docMk/>
            <pc:sldMk cId="2457840071" sldId="301"/>
            <ac:spMk id="78" creationId="{8693DA61-5E71-53E1-FED7-C350F1EBFA04}"/>
          </ac:spMkLst>
        </pc:spChg>
        <pc:spChg chg="mod ord">
          <ac:chgData name="Joelle Brehm" userId="a518f54c-6985-42c0-8041-2bb16a414839" providerId="ADAL" clId="{9B2768D1-DFDD-45FF-849C-23AD8ECAB483}" dt="2024-05-08T16:59:03.939" v="63675"/>
          <ac:spMkLst>
            <pc:docMk/>
            <pc:sldMk cId="2457840071" sldId="301"/>
            <ac:spMk id="79" creationId="{2510167D-D2B4-E764-EE5A-59C5D61DA230}"/>
          </ac:spMkLst>
        </pc:spChg>
        <pc:spChg chg="mod ord">
          <ac:chgData name="Joelle Brehm" userId="a518f54c-6985-42c0-8041-2bb16a414839" providerId="ADAL" clId="{9B2768D1-DFDD-45FF-849C-23AD8ECAB483}" dt="2024-05-08T16:59:03.939" v="63677"/>
          <ac:spMkLst>
            <pc:docMk/>
            <pc:sldMk cId="2457840071" sldId="301"/>
            <ac:spMk id="100" creationId="{0020504F-761A-2575-33E3-0FF9244E605B}"/>
          </ac:spMkLst>
        </pc:spChg>
        <pc:spChg chg="mod ord">
          <ac:chgData name="Joelle Brehm" userId="a518f54c-6985-42c0-8041-2bb16a414839" providerId="ADAL" clId="{9B2768D1-DFDD-45FF-849C-23AD8ECAB483}" dt="2024-05-08T16:59:03.940" v="63679"/>
          <ac:spMkLst>
            <pc:docMk/>
            <pc:sldMk cId="2457840071" sldId="301"/>
            <ac:spMk id="108" creationId="{D21D14B1-19CF-8F2B-4831-0B9DB368403B}"/>
          </ac:spMkLst>
        </pc:spChg>
        <pc:spChg chg="mod ord">
          <ac:chgData name="Joelle Brehm" userId="a518f54c-6985-42c0-8041-2bb16a414839" providerId="ADAL" clId="{9B2768D1-DFDD-45FF-849C-23AD8ECAB483}" dt="2024-05-08T16:59:03.940" v="63681"/>
          <ac:spMkLst>
            <pc:docMk/>
            <pc:sldMk cId="2457840071" sldId="301"/>
            <ac:spMk id="109" creationId="{CDDDEF1A-CB37-9452-AFDD-EBD68254CF6B}"/>
          </ac:spMkLst>
        </pc:spChg>
        <pc:spChg chg="mod ord">
          <ac:chgData name="Joelle Brehm" userId="a518f54c-6985-42c0-8041-2bb16a414839" providerId="ADAL" clId="{9B2768D1-DFDD-45FF-849C-23AD8ECAB483}" dt="2024-05-08T16:59:03.940" v="63683"/>
          <ac:spMkLst>
            <pc:docMk/>
            <pc:sldMk cId="2457840071" sldId="301"/>
            <ac:spMk id="110" creationId="{C956C2F4-5A3A-F475-4541-EC71F2A97D96}"/>
          </ac:spMkLst>
        </pc:spChg>
        <pc:spChg chg="mod">
          <ac:chgData name="Joelle Brehm" userId="a518f54c-6985-42c0-8041-2bb16a414839" providerId="ADAL" clId="{9B2768D1-DFDD-45FF-849C-23AD8ECAB483}" dt="2024-05-08T16:59:03.937" v="63668"/>
          <ac:spMkLst>
            <pc:docMk/>
            <pc:sldMk cId="2457840071" sldId="301"/>
            <ac:spMk id="127" creationId="{F5D06544-7B30-6FE8-2DD3-B45FB77A3FD1}"/>
          </ac:spMkLst>
        </pc:spChg>
        <pc:spChg chg="mod">
          <ac:chgData name="Joelle Brehm" userId="a518f54c-6985-42c0-8041-2bb16a414839" providerId="ADAL" clId="{9B2768D1-DFDD-45FF-849C-23AD8ECAB483}" dt="2024-05-08T16:59:03.941" v="63686"/>
          <ac:spMkLst>
            <pc:docMk/>
            <pc:sldMk cId="2457840071" sldId="301"/>
            <ac:spMk id="133" creationId="{D4931E33-6B1D-945A-5828-575D87F40680}"/>
          </ac:spMkLst>
        </pc:spChg>
        <pc:spChg chg="mod">
          <ac:chgData name="Joelle Brehm" userId="a518f54c-6985-42c0-8041-2bb16a414839" providerId="ADAL" clId="{9B2768D1-DFDD-45FF-849C-23AD8ECAB483}" dt="2024-05-08T16:59:03.942" v="63687"/>
          <ac:spMkLst>
            <pc:docMk/>
            <pc:sldMk cId="2457840071" sldId="301"/>
            <ac:spMk id="135" creationId="{5FC73E24-09AD-53E2-EC84-3C23A090452B}"/>
          </ac:spMkLst>
        </pc:spChg>
        <pc:graphicFrameChg chg="mod">
          <ac:chgData name="Joelle Brehm" userId="a518f54c-6985-42c0-8041-2bb16a414839" providerId="ADAL" clId="{9B2768D1-DFDD-45FF-849C-23AD8ECAB483}" dt="2024-05-08T16:59:03.954" v="63701"/>
          <ac:graphicFrameMkLst>
            <pc:docMk/>
            <pc:sldMk cId="2457840071" sldId="301"/>
            <ac:graphicFrameMk id="4" creationId="{A8C2E1CE-EA94-6389-63BB-78C59C5B663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9:03.931" v="63640"/>
          <ac:graphicFrameMkLst>
            <pc:docMk/>
            <pc:sldMk cId="2457840071" sldId="301"/>
            <ac:graphicFrameMk id="9" creationId="{71036DF3-2CDC-8CD3-F2A4-3D8906BC137E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1:00.576" v="62702"/>
          <ac:graphicFrameMkLst>
            <pc:docMk/>
            <pc:sldMk cId="2457840071" sldId="301"/>
            <ac:graphicFrameMk id="34" creationId="{753E81F0-37E5-C576-AE9B-0A2D5ACAE137}"/>
          </ac:graphicFrameMkLst>
        </pc:graphicFrameChg>
        <pc:graphicFrameChg chg="del">
          <ac:chgData name="Joelle Brehm" userId="a518f54c-6985-42c0-8041-2bb16a414839" providerId="ADAL" clId="{9B2768D1-DFDD-45FF-849C-23AD8ECAB483}" dt="2024-05-08T16:40:47.667" v="62368"/>
          <ac:graphicFrameMkLst>
            <pc:docMk/>
            <pc:sldMk cId="2457840071" sldId="301"/>
            <ac:graphicFrameMk id="35" creationId="{2F499E01-38B3-2A5F-149B-675DCADE4450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9:03.941" v="63685"/>
          <ac:graphicFrameMkLst>
            <pc:docMk/>
            <pc:sldMk cId="2457840071" sldId="301"/>
            <ac:graphicFrameMk id="36" creationId="{9309E15A-FA3C-1907-D8AD-C5DB473DF92C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1:17.839" v="63016"/>
          <ac:graphicFrameMkLst>
            <pc:docMk/>
            <pc:sldMk cId="2457840071" sldId="301"/>
            <ac:graphicFrameMk id="41" creationId="{2D6A9F24-D04B-2668-ABD7-4E6E5F92D011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1:20.501" v="63158"/>
          <ac:graphicFrameMkLst>
            <pc:docMk/>
            <pc:sldMk cId="2457840071" sldId="301"/>
            <ac:graphicFrameMk id="43" creationId="{1505EB28-79E8-1ABF-0F30-CE9C6B0476C7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40:57.170" v="62603"/>
          <ac:graphicFrameMkLst>
            <pc:docMk/>
            <pc:sldMk cId="2457840071" sldId="301"/>
            <ac:graphicFrameMk id="44" creationId="{96A336D2-2560-D0E8-9402-63B0DB510046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41:24.731" v="63291"/>
          <ac:graphicFrameMkLst>
            <pc:docMk/>
            <pc:sldMk cId="2457840071" sldId="301"/>
            <ac:graphicFrameMk id="46" creationId="{09264984-6FB5-D943-3E84-7B638B4482FD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8T16:59:03.937" v="63667"/>
          <ac:graphicFrameMkLst>
            <pc:docMk/>
            <pc:sldMk cId="2457840071" sldId="301"/>
            <ac:graphicFrameMk id="49" creationId="{C2378545-367E-5282-2A5A-AF3509EAFE36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41:15.804" v="62872"/>
          <ac:graphicFrameMkLst>
            <pc:docMk/>
            <pc:sldMk cId="2457840071" sldId="301"/>
            <ac:graphicFrameMk id="57" creationId="{4B90B076-ACE7-4B8E-11DF-B8575B7EB1C1}"/>
          </ac:graphicFrameMkLst>
        </pc:graphicFrameChg>
        <pc:picChg chg="add mod ord">
          <ac:chgData name="Joelle Brehm" userId="a518f54c-6985-42c0-8041-2bb16a414839" providerId="ADAL" clId="{9B2768D1-DFDD-45FF-849C-23AD8ECAB483}" dt="2024-05-08T16:59:03.928" v="63632"/>
          <ac:picMkLst>
            <pc:docMk/>
            <pc:sldMk cId="2457840071" sldId="301"/>
            <ac:picMk id="50" creationId="{3ECFAF3C-4A8C-1815-6437-FEBC7D2FEABE}"/>
          </ac:picMkLst>
        </pc:picChg>
        <pc:picChg chg="del mod ord">
          <ac:chgData name="Joelle Brehm" userId="a518f54c-6985-42c0-8041-2bb16a414839" providerId="ADAL" clId="{9B2768D1-DFDD-45FF-849C-23AD8ECAB483}" dt="2024-05-08T16:59:06.025" v="63703" actId="478"/>
          <ac:picMkLst>
            <pc:docMk/>
            <pc:sldMk cId="2457840071" sldId="301"/>
            <ac:picMk id="58" creationId="{3ABD9FF8-4AF3-A8F3-99B3-AF13CE58BC95}"/>
          </ac:picMkLst>
        </pc:picChg>
        <pc:picChg chg="mod ord">
          <ac:chgData name="Joelle Brehm" userId="a518f54c-6985-42c0-8041-2bb16a414839" providerId="ADAL" clId="{9B2768D1-DFDD-45FF-849C-23AD8ECAB483}" dt="2024-05-08T16:59:03.943" v="63692"/>
          <ac:picMkLst>
            <pc:docMk/>
            <pc:sldMk cId="2457840071" sldId="301"/>
            <ac:picMk id="185" creationId="{4FBF27C0-F642-0AEF-665E-15710A187E9A}"/>
          </ac:picMkLst>
        </pc:picChg>
        <pc:picChg chg="mod">
          <ac:chgData name="Joelle Brehm" userId="a518f54c-6985-42c0-8041-2bb16a414839" providerId="ADAL" clId="{9B2768D1-DFDD-45FF-849C-23AD8ECAB483}" dt="2024-05-08T16:59:03.944" v="63697"/>
          <ac:picMkLst>
            <pc:docMk/>
            <pc:sldMk cId="2457840071" sldId="301"/>
            <ac:picMk id="1028" creationId="{C972FDE0-A6CB-5FFF-4B39-39E437F22BA2}"/>
          </ac:picMkLst>
        </pc:picChg>
        <pc:cxnChg chg="mod ord">
          <ac:chgData name="Joelle Brehm" userId="a518f54c-6985-42c0-8041-2bb16a414839" providerId="ADAL" clId="{9B2768D1-DFDD-45FF-849C-23AD8ECAB483}" dt="2024-05-08T16:59:03.931" v="63638"/>
          <ac:cxnSpMkLst>
            <pc:docMk/>
            <pc:sldMk cId="2457840071" sldId="301"/>
            <ac:cxnSpMk id="7" creationId="{525B8DD7-1E59-E820-439B-D5FD08121ECB}"/>
          </ac:cxnSpMkLst>
        </pc:cxnChg>
      </pc:sldChg>
      <pc:sldChg chg="addSp delSp modSp mod">
        <pc:chgData name="Joelle Brehm" userId="a518f54c-6985-42c0-8041-2bb16a414839" providerId="ADAL" clId="{9B2768D1-DFDD-45FF-849C-23AD8ECAB483}" dt="2024-05-09T15:14:24.680" v="65482" actId="478"/>
        <pc:sldMkLst>
          <pc:docMk/>
          <pc:sldMk cId="1255354770" sldId="302"/>
        </pc:sldMkLst>
        <pc:spChg chg="add del mod">
          <ac:chgData name="Joelle Brehm" userId="a518f54c-6985-42c0-8041-2bb16a414839" providerId="ADAL" clId="{9B2768D1-DFDD-45FF-849C-23AD8ECAB483}" dt="2024-05-08T16:19:23.064" v="35926" actId="478"/>
          <ac:spMkLst>
            <pc:docMk/>
            <pc:sldMk cId="1255354770" sldId="302"/>
            <ac:spMk id="2" creationId="{2D9EEC1B-9B42-7467-0063-868B136AE4A6}"/>
          </ac:spMkLst>
        </pc:spChg>
        <pc:spChg chg="mod ord">
          <ac:chgData name="Joelle Brehm" userId="a518f54c-6985-42c0-8041-2bb16a414839" providerId="ADAL" clId="{9B2768D1-DFDD-45FF-849C-23AD8ECAB483}" dt="2024-05-09T15:14:23.342" v="65472"/>
          <ac:spMkLst>
            <pc:docMk/>
            <pc:sldMk cId="1255354770" sldId="302"/>
            <ac:spMk id="3" creationId="{E352B70C-7A9D-8F6C-4CE6-D440060FF1E2}"/>
          </ac:spMkLst>
        </pc:spChg>
        <pc:spChg chg="add del mod modVis">
          <ac:chgData name="Joelle Brehm" userId="a518f54c-6985-42c0-8041-2bb16a414839" providerId="ADAL" clId="{9B2768D1-DFDD-45FF-849C-23AD8ECAB483}" dt="2024-05-08T16:19:47.366" v="36124"/>
          <ac:spMkLst>
            <pc:docMk/>
            <pc:sldMk cId="1255354770" sldId="302"/>
            <ac:spMk id="5" creationId="{527FF575-809E-BB60-D00A-1ED0E1777420}"/>
          </ac:spMkLst>
        </pc:spChg>
        <pc:spChg chg="add del mod modVis">
          <ac:chgData name="Joelle Brehm" userId="a518f54c-6985-42c0-8041-2bb16a414839" providerId="ADAL" clId="{9B2768D1-DFDD-45FF-849C-23AD8ECAB483}" dt="2024-05-09T15:14:23.344" v="65479"/>
          <ac:spMkLst>
            <pc:docMk/>
            <pc:sldMk cId="1255354770" sldId="302"/>
            <ac:spMk id="5" creationId="{DAC905A7-614A-D771-8A20-1DE59161577E}"/>
          </ac:spMkLst>
        </pc:spChg>
        <pc:spChg chg="mod ord">
          <ac:chgData name="Joelle Brehm" userId="a518f54c-6985-42c0-8041-2bb16a414839" providerId="ADAL" clId="{9B2768D1-DFDD-45FF-849C-23AD8ECAB483}" dt="2024-05-09T15:14:23.327" v="65418"/>
          <ac:spMkLst>
            <pc:docMk/>
            <pc:sldMk cId="1255354770" sldId="302"/>
            <ac:spMk id="6" creationId="{37144386-4260-17AD-D649-2A9FECFC8E69}"/>
          </ac:spMkLst>
        </pc:spChg>
        <pc:spChg chg="mod">
          <ac:chgData name="Joelle Brehm" userId="a518f54c-6985-42c0-8041-2bb16a414839" providerId="ADAL" clId="{9B2768D1-DFDD-45FF-849C-23AD8ECAB483}" dt="2024-05-09T15:14:23.331" v="65429"/>
          <ac:spMkLst>
            <pc:docMk/>
            <pc:sldMk cId="1255354770" sldId="302"/>
            <ac:spMk id="11" creationId="{02BF5DC4-7E6B-48A3-B7C3-E226B893962E}"/>
          </ac:spMkLst>
        </pc:spChg>
        <pc:spChg chg="mod">
          <ac:chgData name="Joelle Brehm" userId="a518f54c-6985-42c0-8041-2bb16a414839" providerId="ADAL" clId="{9B2768D1-DFDD-45FF-849C-23AD8ECAB483}" dt="2024-05-09T15:14:23.330" v="65425"/>
          <ac:spMkLst>
            <pc:docMk/>
            <pc:sldMk cId="1255354770" sldId="302"/>
            <ac:spMk id="12" creationId="{716ACC36-D399-95B2-BCEC-AE9CB99DD50A}"/>
          </ac:spMkLst>
        </pc:spChg>
        <pc:spChg chg="mod">
          <ac:chgData name="Joelle Brehm" userId="a518f54c-6985-42c0-8041-2bb16a414839" providerId="ADAL" clId="{9B2768D1-DFDD-45FF-849C-23AD8ECAB483}" dt="2024-05-09T15:14:23.330" v="65426"/>
          <ac:spMkLst>
            <pc:docMk/>
            <pc:sldMk cId="1255354770" sldId="302"/>
            <ac:spMk id="13" creationId="{AD140D78-FDD5-695F-4A88-47F0D26CD5E1}"/>
          </ac:spMkLst>
        </pc:spChg>
        <pc:spChg chg="mod">
          <ac:chgData name="Joelle Brehm" userId="a518f54c-6985-42c0-8041-2bb16a414839" providerId="ADAL" clId="{9B2768D1-DFDD-45FF-849C-23AD8ECAB483}" dt="2024-05-09T15:14:23.329" v="65423"/>
          <ac:spMkLst>
            <pc:docMk/>
            <pc:sldMk cId="1255354770" sldId="302"/>
            <ac:spMk id="14" creationId="{CB87F016-E61D-A5A6-BCE4-6CD0F8DE5D43}"/>
          </ac:spMkLst>
        </pc:spChg>
        <pc:spChg chg="mod">
          <ac:chgData name="Joelle Brehm" userId="a518f54c-6985-42c0-8041-2bb16a414839" providerId="ADAL" clId="{9B2768D1-DFDD-45FF-849C-23AD8ECAB483}" dt="2024-05-09T15:14:23.329" v="65424"/>
          <ac:spMkLst>
            <pc:docMk/>
            <pc:sldMk cId="1255354770" sldId="302"/>
            <ac:spMk id="15" creationId="{50B6EFF4-ECF2-D261-34EF-07D689FDB03A}"/>
          </ac:spMkLst>
        </pc:spChg>
        <pc:spChg chg="mod">
          <ac:chgData name="Joelle Brehm" userId="a518f54c-6985-42c0-8041-2bb16a414839" providerId="ADAL" clId="{9B2768D1-DFDD-45FF-849C-23AD8ECAB483}" dt="2024-05-09T15:14:23.330" v="65427"/>
          <ac:spMkLst>
            <pc:docMk/>
            <pc:sldMk cId="1255354770" sldId="302"/>
            <ac:spMk id="16" creationId="{D980E975-E330-68EC-477F-60F48A87FAD8}"/>
          </ac:spMkLst>
        </pc:spChg>
        <pc:spChg chg="mod">
          <ac:chgData name="Joelle Brehm" userId="a518f54c-6985-42c0-8041-2bb16a414839" providerId="ADAL" clId="{9B2768D1-DFDD-45FF-849C-23AD8ECAB483}" dt="2024-05-09T15:14:23.331" v="65428"/>
          <ac:spMkLst>
            <pc:docMk/>
            <pc:sldMk cId="1255354770" sldId="302"/>
            <ac:spMk id="17" creationId="{D2BBB23C-0446-3CC4-77FA-286CB0F573C2}"/>
          </ac:spMkLst>
        </pc:spChg>
        <pc:spChg chg="mod">
          <ac:chgData name="Joelle Brehm" userId="a518f54c-6985-42c0-8041-2bb16a414839" providerId="ADAL" clId="{9B2768D1-DFDD-45FF-849C-23AD8ECAB483}" dt="2024-05-09T15:14:23.331" v="65430"/>
          <ac:spMkLst>
            <pc:docMk/>
            <pc:sldMk cId="1255354770" sldId="302"/>
            <ac:spMk id="18" creationId="{65495921-8928-9A1E-927A-65A293D208C7}"/>
          </ac:spMkLst>
        </pc:spChg>
        <pc:spChg chg="mod">
          <ac:chgData name="Joelle Brehm" userId="a518f54c-6985-42c0-8041-2bb16a414839" providerId="ADAL" clId="{9B2768D1-DFDD-45FF-849C-23AD8ECAB483}" dt="2024-05-09T15:14:23.332" v="65431"/>
          <ac:spMkLst>
            <pc:docMk/>
            <pc:sldMk cId="1255354770" sldId="302"/>
            <ac:spMk id="19" creationId="{CF683958-5957-5AC8-1047-E26BACAC97AD}"/>
          </ac:spMkLst>
        </pc:spChg>
        <pc:spChg chg="mod">
          <ac:chgData name="Joelle Brehm" userId="a518f54c-6985-42c0-8041-2bb16a414839" providerId="ADAL" clId="{9B2768D1-DFDD-45FF-849C-23AD8ECAB483}" dt="2024-05-09T15:14:23.332" v="65432"/>
          <ac:spMkLst>
            <pc:docMk/>
            <pc:sldMk cId="1255354770" sldId="302"/>
            <ac:spMk id="20" creationId="{99757F7C-687C-6778-5B80-6F5459DC2377}"/>
          </ac:spMkLst>
        </pc:spChg>
        <pc:spChg chg="mod">
          <ac:chgData name="Joelle Brehm" userId="a518f54c-6985-42c0-8041-2bb16a414839" providerId="ADAL" clId="{9B2768D1-DFDD-45FF-849C-23AD8ECAB483}" dt="2024-05-09T15:14:23.332" v="65433"/>
          <ac:spMkLst>
            <pc:docMk/>
            <pc:sldMk cId="1255354770" sldId="302"/>
            <ac:spMk id="21" creationId="{88662C75-372E-3172-0F30-2440B86A6E07}"/>
          </ac:spMkLst>
        </pc:spChg>
        <pc:spChg chg="mod">
          <ac:chgData name="Joelle Brehm" userId="a518f54c-6985-42c0-8041-2bb16a414839" providerId="ADAL" clId="{9B2768D1-DFDD-45FF-849C-23AD8ECAB483}" dt="2024-05-09T15:14:23.333" v="65434"/>
          <ac:spMkLst>
            <pc:docMk/>
            <pc:sldMk cId="1255354770" sldId="302"/>
            <ac:spMk id="22" creationId="{2D9142C4-67A0-25E1-D2CF-B2635DF32607}"/>
          </ac:spMkLst>
        </pc:spChg>
        <pc:spChg chg="mod ord">
          <ac:chgData name="Joelle Brehm" userId="a518f54c-6985-42c0-8041-2bb16a414839" providerId="ADAL" clId="{9B2768D1-DFDD-45FF-849C-23AD8ECAB483}" dt="2024-05-09T15:14:23.333" v="65436"/>
          <ac:spMkLst>
            <pc:docMk/>
            <pc:sldMk cId="1255354770" sldId="302"/>
            <ac:spMk id="23" creationId="{E55438EE-F637-2FA3-2C0E-B05EA6D8C1E8}"/>
          </ac:spMkLst>
        </pc:spChg>
        <pc:spChg chg="mod">
          <ac:chgData name="Joelle Brehm" userId="a518f54c-6985-42c0-8041-2bb16a414839" providerId="ADAL" clId="{9B2768D1-DFDD-45FF-849C-23AD8ECAB483}" dt="2024-05-09T15:14:23.333" v="65437"/>
          <ac:spMkLst>
            <pc:docMk/>
            <pc:sldMk cId="1255354770" sldId="302"/>
            <ac:spMk id="24" creationId="{F4D0BFA4-5AB2-BBC0-BC0F-1E4C03E222AF}"/>
          </ac:spMkLst>
        </pc:spChg>
        <pc:spChg chg="mod">
          <ac:chgData name="Joelle Brehm" userId="a518f54c-6985-42c0-8041-2bb16a414839" providerId="ADAL" clId="{9B2768D1-DFDD-45FF-849C-23AD8ECAB483}" dt="2024-05-09T15:14:23.334" v="65439"/>
          <ac:spMkLst>
            <pc:docMk/>
            <pc:sldMk cId="1255354770" sldId="302"/>
            <ac:spMk id="25" creationId="{5FD262B9-E4EE-5C5B-CBBE-842B5C267DD1}"/>
          </ac:spMkLst>
        </pc:spChg>
        <pc:spChg chg="mod">
          <ac:chgData name="Joelle Brehm" userId="a518f54c-6985-42c0-8041-2bb16a414839" providerId="ADAL" clId="{9B2768D1-DFDD-45FF-849C-23AD8ECAB483}" dt="2024-05-09T15:14:23.334" v="65438"/>
          <ac:spMkLst>
            <pc:docMk/>
            <pc:sldMk cId="1255354770" sldId="302"/>
            <ac:spMk id="26" creationId="{790670ED-11A2-E0D0-D7A5-53436D971104}"/>
          </ac:spMkLst>
        </pc:spChg>
        <pc:spChg chg="mod">
          <ac:chgData name="Joelle Brehm" userId="a518f54c-6985-42c0-8041-2bb16a414839" providerId="ADAL" clId="{9B2768D1-DFDD-45FF-849C-23AD8ECAB483}" dt="2024-05-09T15:14:23.335" v="65441"/>
          <ac:spMkLst>
            <pc:docMk/>
            <pc:sldMk cId="1255354770" sldId="302"/>
            <ac:spMk id="27" creationId="{074A3588-4A02-E75B-E640-8244EDF702A1}"/>
          </ac:spMkLst>
        </pc:spChg>
        <pc:spChg chg="mod">
          <ac:chgData name="Joelle Brehm" userId="a518f54c-6985-42c0-8041-2bb16a414839" providerId="ADAL" clId="{9B2768D1-DFDD-45FF-849C-23AD8ECAB483}" dt="2024-05-09T15:14:23.335" v="65442"/>
          <ac:spMkLst>
            <pc:docMk/>
            <pc:sldMk cId="1255354770" sldId="302"/>
            <ac:spMk id="28" creationId="{326C9293-A5D0-4EDC-4211-AC7D030AF457}"/>
          </ac:spMkLst>
        </pc:spChg>
        <pc:spChg chg="mod">
          <ac:chgData name="Joelle Brehm" userId="a518f54c-6985-42c0-8041-2bb16a414839" providerId="ADAL" clId="{9B2768D1-DFDD-45FF-849C-23AD8ECAB483}" dt="2024-05-09T15:14:23.334" v="65440"/>
          <ac:spMkLst>
            <pc:docMk/>
            <pc:sldMk cId="1255354770" sldId="302"/>
            <ac:spMk id="29" creationId="{E329C5DC-1864-0128-B1E2-CE87D618F8DF}"/>
          </ac:spMkLst>
        </pc:spChg>
        <pc:spChg chg="mod ord">
          <ac:chgData name="Joelle Brehm" userId="a518f54c-6985-42c0-8041-2bb16a414839" providerId="ADAL" clId="{9B2768D1-DFDD-45FF-849C-23AD8ECAB483}" dt="2024-05-09T15:14:23.335" v="65444"/>
          <ac:spMkLst>
            <pc:docMk/>
            <pc:sldMk cId="1255354770" sldId="302"/>
            <ac:spMk id="30" creationId="{DD13A74B-6D89-8AED-C069-E05CCAE360C9}"/>
          </ac:spMkLst>
        </pc:spChg>
        <pc:spChg chg="add del mod modVis">
          <ac:chgData name="Joelle Brehm" userId="a518f54c-6985-42c0-8041-2bb16a414839" providerId="ADAL" clId="{9B2768D1-DFDD-45FF-849C-23AD8ECAB483}" dt="2024-05-08T16:20:17.307" v="36402"/>
          <ac:spMkLst>
            <pc:docMk/>
            <pc:sldMk cId="1255354770" sldId="302"/>
            <ac:spMk id="31" creationId="{5DD656CF-2A35-2F57-57F5-4600306CBCC7}"/>
          </ac:spMkLst>
        </pc:spChg>
        <pc:spChg chg="mod">
          <ac:chgData name="Joelle Brehm" userId="a518f54c-6985-42c0-8041-2bb16a414839" providerId="ADAL" clId="{9B2768D1-DFDD-45FF-849C-23AD8ECAB483}" dt="2024-05-09T15:14:23.336" v="65448"/>
          <ac:spMkLst>
            <pc:docMk/>
            <pc:sldMk cId="1255354770" sldId="302"/>
            <ac:spMk id="33" creationId="{59B0E788-E20C-9C4C-D48E-6BD2D3D7A778}"/>
          </ac:spMkLst>
        </pc:spChg>
        <pc:spChg chg="add mod replST">
          <ac:chgData name="Joelle Brehm" userId="a518f54c-6985-42c0-8041-2bb16a414839" providerId="ADAL" clId="{9B2768D1-DFDD-45FF-849C-23AD8ECAB483}" dt="2024-05-09T15:14:23.336" v="65449"/>
          <ac:spMkLst>
            <pc:docMk/>
            <pc:sldMk cId="1255354770" sldId="302"/>
            <ac:spMk id="34" creationId="{2720A3E6-C9F0-6D4A-6BFC-8F57522E13BA}"/>
          </ac:spMkLst>
        </pc:spChg>
        <pc:spChg chg="add del mod modVis">
          <ac:chgData name="Joelle Brehm" userId="a518f54c-6985-42c0-8041-2bb16a414839" providerId="ADAL" clId="{9B2768D1-DFDD-45FF-849C-23AD8ECAB483}" dt="2024-05-08T16:20:25.791" v="36587"/>
          <ac:spMkLst>
            <pc:docMk/>
            <pc:sldMk cId="1255354770" sldId="302"/>
            <ac:spMk id="35" creationId="{F95A0E92-735D-1C84-412D-89D0960413A4}"/>
          </ac:spMkLst>
        </pc:spChg>
        <pc:spChg chg="add del mod modVis">
          <ac:chgData name="Joelle Brehm" userId="a518f54c-6985-42c0-8041-2bb16a414839" providerId="ADAL" clId="{9B2768D1-DFDD-45FF-849C-23AD8ECAB483}" dt="2024-05-08T16:20:31.548" v="36725"/>
          <ac:spMkLst>
            <pc:docMk/>
            <pc:sldMk cId="1255354770" sldId="302"/>
            <ac:spMk id="39" creationId="{1DC7E29B-BB1F-A8DB-47EA-AF8B1ECFAE40}"/>
          </ac:spMkLst>
        </pc:spChg>
        <pc:spChg chg="add del mod modVis">
          <ac:chgData name="Joelle Brehm" userId="a518f54c-6985-42c0-8041-2bb16a414839" providerId="ADAL" clId="{9B2768D1-DFDD-45FF-849C-23AD8ECAB483}" dt="2024-05-08T16:20:36.622" v="36834"/>
          <ac:spMkLst>
            <pc:docMk/>
            <pc:sldMk cId="1255354770" sldId="302"/>
            <ac:spMk id="41" creationId="{205F102B-CC86-31F8-84CF-2B8A499567B7}"/>
          </ac:spMkLst>
        </pc:spChg>
        <pc:spChg chg="add del mod modVis">
          <ac:chgData name="Joelle Brehm" userId="a518f54c-6985-42c0-8041-2bb16a414839" providerId="ADAL" clId="{9B2768D1-DFDD-45FF-849C-23AD8ECAB483}" dt="2024-05-08T16:20:40.465" v="36947"/>
          <ac:spMkLst>
            <pc:docMk/>
            <pc:sldMk cId="1255354770" sldId="302"/>
            <ac:spMk id="43" creationId="{2420CC2C-EEE4-F557-89CC-29949DAC25F2}"/>
          </ac:spMkLst>
        </pc:spChg>
        <pc:spChg chg="mod">
          <ac:chgData name="Joelle Brehm" userId="a518f54c-6985-42c0-8041-2bb16a414839" providerId="ADAL" clId="{9B2768D1-DFDD-45FF-849C-23AD8ECAB483}" dt="2024-05-09T15:14:23.336" v="65447"/>
          <ac:spMkLst>
            <pc:docMk/>
            <pc:sldMk cId="1255354770" sldId="302"/>
            <ac:spMk id="44" creationId="{6B978AFC-A986-0352-AEF6-422F66617A4E}"/>
          </ac:spMkLst>
        </pc:spChg>
        <pc:spChg chg="mod ord">
          <ac:chgData name="Joelle Brehm" userId="a518f54c-6985-42c0-8041-2bb16a414839" providerId="ADAL" clId="{9B2768D1-DFDD-45FF-849C-23AD8ECAB483}" dt="2024-05-09T15:14:23.337" v="65451"/>
          <ac:spMkLst>
            <pc:docMk/>
            <pc:sldMk cId="1255354770" sldId="302"/>
            <ac:spMk id="78" creationId="{98C90A5D-A6CB-ABB8-DC63-03278FBCB561}"/>
          </ac:spMkLst>
        </pc:spChg>
        <pc:spChg chg="mod ord">
          <ac:chgData name="Joelle Brehm" userId="a518f54c-6985-42c0-8041-2bb16a414839" providerId="ADAL" clId="{9B2768D1-DFDD-45FF-849C-23AD8ECAB483}" dt="2024-05-09T15:14:23.337" v="65453"/>
          <ac:spMkLst>
            <pc:docMk/>
            <pc:sldMk cId="1255354770" sldId="302"/>
            <ac:spMk id="79" creationId="{6462C443-5638-1A41-C459-2DF66B866EDA}"/>
          </ac:spMkLst>
        </pc:spChg>
        <pc:spChg chg="mod ord">
          <ac:chgData name="Joelle Brehm" userId="a518f54c-6985-42c0-8041-2bb16a414839" providerId="ADAL" clId="{9B2768D1-DFDD-45FF-849C-23AD8ECAB483}" dt="2024-05-09T15:14:23.338" v="65455"/>
          <ac:spMkLst>
            <pc:docMk/>
            <pc:sldMk cId="1255354770" sldId="302"/>
            <ac:spMk id="100" creationId="{7FC258AD-340F-DBAB-C9DB-CAF57178614D}"/>
          </ac:spMkLst>
        </pc:spChg>
        <pc:spChg chg="mod ord">
          <ac:chgData name="Joelle Brehm" userId="a518f54c-6985-42c0-8041-2bb16a414839" providerId="ADAL" clId="{9B2768D1-DFDD-45FF-849C-23AD8ECAB483}" dt="2024-05-09T15:14:23.338" v="65457"/>
          <ac:spMkLst>
            <pc:docMk/>
            <pc:sldMk cId="1255354770" sldId="302"/>
            <ac:spMk id="108" creationId="{606A0223-A506-3818-5143-A2CA029E3AF2}"/>
          </ac:spMkLst>
        </pc:spChg>
        <pc:spChg chg="mod ord">
          <ac:chgData name="Joelle Brehm" userId="a518f54c-6985-42c0-8041-2bb16a414839" providerId="ADAL" clId="{9B2768D1-DFDD-45FF-849C-23AD8ECAB483}" dt="2024-05-09T15:14:23.338" v="65459"/>
          <ac:spMkLst>
            <pc:docMk/>
            <pc:sldMk cId="1255354770" sldId="302"/>
            <ac:spMk id="109" creationId="{7BEDB0ED-D13E-1714-C6F0-A02EF316F132}"/>
          </ac:spMkLst>
        </pc:spChg>
        <pc:spChg chg="mod ord">
          <ac:chgData name="Joelle Brehm" userId="a518f54c-6985-42c0-8041-2bb16a414839" providerId="ADAL" clId="{9B2768D1-DFDD-45FF-849C-23AD8ECAB483}" dt="2024-05-09T15:14:23.339" v="65461"/>
          <ac:spMkLst>
            <pc:docMk/>
            <pc:sldMk cId="1255354770" sldId="302"/>
            <ac:spMk id="110" creationId="{06800A4A-BF98-F3CF-A472-BC9F58811EF4}"/>
          </ac:spMkLst>
        </pc:spChg>
        <pc:spChg chg="mod ord">
          <ac:chgData name="Joelle Brehm" userId="a518f54c-6985-42c0-8041-2bb16a414839" providerId="ADAL" clId="{9B2768D1-DFDD-45FF-849C-23AD8ECAB483}" dt="2024-05-09T15:14:23.342" v="65474"/>
          <ac:spMkLst>
            <pc:docMk/>
            <pc:sldMk cId="1255354770" sldId="302"/>
            <ac:spMk id="116" creationId="{1FE84FA0-510F-7B5C-864C-30121652B032}"/>
          </ac:spMkLst>
        </pc:spChg>
        <pc:spChg chg="mod">
          <ac:chgData name="Joelle Brehm" userId="a518f54c-6985-42c0-8041-2bb16a414839" providerId="ADAL" clId="{9B2768D1-DFDD-45FF-849C-23AD8ECAB483}" dt="2024-05-09T15:14:23.339" v="65464"/>
          <ac:spMkLst>
            <pc:docMk/>
            <pc:sldMk cId="1255354770" sldId="302"/>
            <ac:spMk id="133" creationId="{5424138A-AB7B-0F7B-15F3-FAA030115ECF}"/>
          </ac:spMkLst>
        </pc:spChg>
        <pc:spChg chg="mod">
          <ac:chgData name="Joelle Brehm" userId="a518f54c-6985-42c0-8041-2bb16a414839" providerId="ADAL" clId="{9B2768D1-DFDD-45FF-849C-23AD8ECAB483}" dt="2024-05-09T15:14:23.340" v="65465"/>
          <ac:spMkLst>
            <pc:docMk/>
            <pc:sldMk cId="1255354770" sldId="302"/>
            <ac:spMk id="135" creationId="{BA495C2F-E652-0B75-7A16-F6A1F64312BE}"/>
          </ac:spMkLst>
        </pc:spChg>
        <pc:spChg chg="mod">
          <ac:chgData name="Joelle Brehm" userId="a518f54c-6985-42c0-8041-2bb16a414839" providerId="ADAL" clId="{9B2768D1-DFDD-45FF-849C-23AD8ECAB483}" dt="2024-05-09T15:14:23.340" v="65466"/>
          <ac:spMkLst>
            <pc:docMk/>
            <pc:sldMk cId="1255354770" sldId="302"/>
            <ac:spMk id="136" creationId="{CB3283BC-69A1-DE36-1760-FDD3588B4CAD}"/>
          </ac:spMkLst>
        </pc:spChg>
        <pc:spChg chg="mod">
          <ac:chgData name="Joelle Brehm" userId="a518f54c-6985-42c0-8041-2bb16a414839" providerId="ADAL" clId="{9B2768D1-DFDD-45FF-849C-23AD8ECAB483}" dt="2024-05-09T15:14:23.340" v="65467"/>
          <ac:spMkLst>
            <pc:docMk/>
            <pc:sldMk cId="1255354770" sldId="302"/>
            <ac:spMk id="157" creationId="{E4B79A22-8103-94CD-F875-9827A05F8002}"/>
          </ac:spMkLst>
        </pc:spChg>
        <pc:spChg chg="mod">
          <ac:chgData name="Joelle Brehm" userId="a518f54c-6985-42c0-8041-2bb16a414839" providerId="ADAL" clId="{9B2768D1-DFDD-45FF-849C-23AD8ECAB483}" dt="2024-05-09T15:14:23.341" v="65468"/>
          <ac:spMkLst>
            <pc:docMk/>
            <pc:sldMk cId="1255354770" sldId="302"/>
            <ac:spMk id="158" creationId="{7A7BF95B-537C-2588-A4E4-756592017FC8}"/>
          </ac:spMkLst>
        </pc:spChg>
        <pc:graphicFrameChg chg="mod">
          <ac:chgData name="Joelle Brehm" userId="a518f54c-6985-42c0-8041-2bb16a414839" providerId="ADAL" clId="{9B2768D1-DFDD-45FF-849C-23AD8ECAB483}" dt="2024-05-09T15:14:23.355" v="65481"/>
          <ac:graphicFrameMkLst>
            <pc:docMk/>
            <pc:sldMk cId="1255354770" sldId="302"/>
            <ac:graphicFrameMk id="4" creationId="{419D2559-42BC-46AC-BFDB-B77F1539CB18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5:14:23.329" v="65422"/>
          <ac:graphicFrameMkLst>
            <pc:docMk/>
            <pc:sldMk cId="1255354770" sldId="302"/>
            <ac:graphicFrameMk id="8" creationId="{864E4A32-97E1-F0B0-ECC3-5754A2A7E9C4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0:25.735" v="36514"/>
          <ac:graphicFrameMkLst>
            <pc:docMk/>
            <pc:sldMk cId="1255354770" sldId="302"/>
            <ac:graphicFrameMk id="10" creationId="{4A557926-7775-8207-C0EA-0A6A3ADC5972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5:14:23.339" v="65463"/>
          <ac:graphicFrameMkLst>
            <pc:docMk/>
            <pc:sldMk cId="1255354770" sldId="302"/>
            <ac:graphicFrameMk id="32" creationId="{E5EF7063-742F-52B6-AD7A-EB50340C579A}"/>
          </ac:graphicFrameMkLst>
        </pc:graphicFrameChg>
        <pc:graphicFrameChg chg="del">
          <ac:chgData name="Joelle Brehm" userId="a518f54c-6985-42c0-8041-2bb16a414839" providerId="ADAL" clId="{9B2768D1-DFDD-45FF-849C-23AD8ECAB483}" dt="2024-05-08T16:19:47.285" v="36050"/>
          <ac:graphicFrameMkLst>
            <pc:docMk/>
            <pc:sldMk cId="1255354770" sldId="302"/>
            <ac:graphicFrameMk id="36" creationId="{FE6AC8B4-2643-7B2D-97C9-C295BF190FE9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0:31.480" v="36645"/>
          <ac:graphicFrameMkLst>
            <pc:docMk/>
            <pc:sldMk cId="1255354770" sldId="302"/>
            <ac:graphicFrameMk id="38" creationId="{B4C435D2-5CE2-ACFC-72F3-BABEB8FA362B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0:36.542" v="36763"/>
          <ac:graphicFrameMkLst>
            <pc:docMk/>
            <pc:sldMk cId="1255354770" sldId="302"/>
            <ac:graphicFrameMk id="40" creationId="{9CE3647A-CC2B-CAC0-FD75-AB3A490C5BCA}"/>
          </ac:graphicFrameMkLst>
        </pc:graphicFrameChg>
        <pc:graphicFrameChg chg="add del mod ord replST">
          <ac:chgData name="Joelle Brehm" userId="a518f54c-6985-42c0-8041-2bb16a414839" providerId="ADAL" clId="{9B2768D1-DFDD-45FF-849C-23AD8ECAB483}" dt="2024-05-08T16:20:40.429" v="36876"/>
          <ac:graphicFrameMkLst>
            <pc:docMk/>
            <pc:sldMk cId="1255354770" sldId="302"/>
            <ac:graphicFrameMk id="42" creationId="{37EA4875-1F36-2E3C-C1E6-12222BD53555}"/>
          </ac:graphicFrameMkLst>
        </pc:graphicFrameChg>
        <pc:graphicFrameChg chg="add mod ord replST">
          <ac:chgData name="Joelle Brehm" userId="a518f54c-6985-42c0-8041-2bb16a414839" providerId="ADAL" clId="{9B2768D1-DFDD-45FF-849C-23AD8ECAB483}" dt="2024-05-09T15:14:23.336" v="65446"/>
          <ac:graphicFrameMkLst>
            <pc:docMk/>
            <pc:sldMk cId="1255354770" sldId="302"/>
            <ac:graphicFrameMk id="45" creationId="{E39186C9-5881-CF93-4F30-15155A8EAEA4}"/>
          </ac:graphicFrameMkLst>
        </pc:graphicFrameChg>
        <pc:graphicFrameChg chg="del mod ord">
          <ac:chgData name="Joelle Brehm" userId="a518f54c-6985-42c0-8041-2bb16a414839" providerId="ADAL" clId="{9B2768D1-DFDD-45FF-849C-23AD8ECAB483}" dt="2024-05-08T16:20:17.218" v="36332"/>
          <ac:graphicFrameMkLst>
            <pc:docMk/>
            <pc:sldMk cId="1255354770" sldId="302"/>
            <ac:graphicFrameMk id="46" creationId="{B80D293D-B460-511B-7138-5BA3AE2A4CEA}"/>
          </ac:graphicFrameMkLst>
        </pc:graphicFrameChg>
        <pc:picChg chg="add mod ord">
          <ac:chgData name="Joelle Brehm" userId="a518f54c-6985-42c0-8041-2bb16a414839" providerId="ADAL" clId="{9B2768D1-DFDD-45FF-849C-23AD8ECAB483}" dt="2024-05-09T15:14:23.326" v="65414"/>
          <ac:picMkLst>
            <pc:docMk/>
            <pc:sldMk cId="1255354770" sldId="302"/>
            <ac:picMk id="2" creationId="{2732A307-7C77-0B77-006A-DEBE6477D299}"/>
          </ac:picMkLst>
        </pc:picChg>
        <pc:picChg chg="add del mod ord">
          <ac:chgData name="Joelle Brehm" userId="a518f54c-6985-42c0-8041-2bb16a414839" providerId="ADAL" clId="{9B2768D1-DFDD-45FF-849C-23AD8ECAB483}" dt="2024-05-09T15:14:24.680" v="65482" actId="478"/>
          <ac:picMkLst>
            <pc:docMk/>
            <pc:sldMk cId="1255354770" sldId="302"/>
            <ac:picMk id="9" creationId="{8062FF98-F5B6-D89B-7E3F-FF5D22DFAE83}"/>
          </ac:picMkLst>
        </pc:picChg>
        <pc:picChg chg="del mod ord">
          <ac:chgData name="Joelle Brehm" userId="a518f54c-6985-42c0-8041-2bb16a414839" providerId="ADAL" clId="{9B2768D1-DFDD-45FF-849C-23AD8ECAB483}" dt="2024-05-08T16:20:08.626" v="36201" actId="478"/>
          <ac:picMkLst>
            <pc:docMk/>
            <pc:sldMk cId="1255354770" sldId="302"/>
            <ac:picMk id="37" creationId="{0F4214BC-2F5E-D20D-EB9C-B78B075C26BE}"/>
          </ac:picMkLst>
        </pc:picChg>
        <pc:picChg chg="mod">
          <ac:chgData name="Joelle Brehm" userId="a518f54c-6985-42c0-8041-2bb16a414839" providerId="ADAL" clId="{9B2768D1-DFDD-45FF-849C-23AD8ECAB483}" dt="2024-05-09T15:14:23.342" v="65475"/>
          <ac:picMkLst>
            <pc:docMk/>
            <pc:sldMk cId="1255354770" sldId="302"/>
            <ac:picMk id="47" creationId="{55FEC4FA-31E0-6ED8-2D89-0BA8BBFD4CA9}"/>
          </ac:picMkLst>
        </pc:picChg>
        <pc:picChg chg="mod ord">
          <ac:chgData name="Joelle Brehm" userId="a518f54c-6985-42c0-8041-2bb16a414839" providerId="ADAL" clId="{9B2768D1-DFDD-45FF-849C-23AD8ECAB483}" dt="2024-05-09T15:14:23.341" v="65470"/>
          <ac:picMkLst>
            <pc:docMk/>
            <pc:sldMk cId="1255354770" sldId="302"/>
            <ac:picMk id="185" creationId="{9FFEEFE7-BA59-B86C-A215-C2885FAFB419}"/>
          </ac:picMkLst>
        </pc:picChg>
        <pc:cxnChg chg="mod ord">
          <ac:chgData name="Joelle Brehm" userId="a518f54c-6985-42c0-8041-2bb16a414839" providerId="ADAL" clId="{9B2768D1-DFDD-45FF-849C-23AD8ECAB483}" dt="2024-05-09T15:14:23.328" v="65420"/>
          <ac:cxnSpMkLst>
            <pc:docMk/>
            <pc:sldMk cId="1255354770" sldId="302"/>
            <ac:cxnSpMk id="7" creationId="{BB10A77B-1D7D-C192-4A0C-D5604924950E}"/>
          </ac:cxnSpMkLst>
        </pc:cxnChg>
      </pc:sldChg>
    </pc:docChg>
  </pc:docChgLst>
  <pc:docChgLst>
    <pc:chgData name="Joelle Brehm" userId="a518f54c-6985-42c0-8041-2bb16a414839" providerId="ADAL" clId="{5C7B1B84-DD23-48EC-A567-B295FAD2ABAF}"/>
    <pc:docChg chg="undo custSel addSld delSld modSld replTag">
      <pc:chgData name="Joelle Brehm" userId="a518f54c-6985-42c0-8041-2bb16a414839" providerId="ADAL" clId="{5C7B1B84-DD23-48EC-A567-B295FAD2ABAF}" dt="2023-11-08T22:34:57.731" v="57626" actId="20577"/>
      <pc:docMkLst>
        <pc:docMk/>
      </pc:docMkLst>
      <pc:sldChg chg="addSp delSp modSp mod">
        <pc:chgData name="Joelle Brehm" userId="a518f54c-6985-42c0-8041-2bb16a414839" providerId="ADAL" clId="{5C7B1B84-DD23-48EC-A567-B295FAD2ABAF}" dt="2023-11-08T19:52:26.569" v="51891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5C7B1B84-DD23-48EC-A567-B295FAD2ABAF}" dt="2023-11-08T19:50:40.843" v="51889" actId="478"/>
          <ac:spMkLst>
            <pc:docMk/>
            <pc:sldMk cId="3839614074" sldId="258"/>
            <ac:spMk id="2" creationId="{91FC83A2-8813-19A4-5CBC-CF4FDD9F49B9}"/>
          </ac:spMkLst>
        </pc:spChg>
        <pc:spChg chg="mod">
          <ac:chgData name="Joelle Brehm" userId="a518f54c-6985-42c0-8041-2bb16a414839" providerId="ADAL" clId="{5C7B1B84-DD23-48EC-A567-B295FAD2ABAF}" dt="2023-11-08T19:52:26.569" v="51891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5C7B1B84-DD23-48EC-A567-B295FAD2ABAF}" dt="2023-11-08T18:31:18.574" v="51547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5C7B1B84-DD23-48EC-A567-B295FAD2ABAF}" dt="2023-11-07T23:15:41.138" v="14711" actId="1038"/>
        <pc:sldMkLst>
          <pc:docMk/>
          <pc:sldMk cId="3798164587" sldId="259"/>
        </pc:sldMkLst>
        <pc:spChg chg="mod ord">
          <ac:chgData name="Joelle Brehm" userId="a518f54c-6985-42c0-8041-2bb16a414839" providerId="ADAL" clId="{5C7B1B84-DD23-48EC-A567-B295FAD2ABAF}" dt="2023-11-07T23:15:37.890" v="14702"/>
          <ac:spMkLst>
            <pc:docMk/>
            <pc:sldMk cId="3798164587" sldId="259"/>
            <ac:spMk id="2" creationId="{8EDF2A74-9587-4C1D-91CA-8D21248ED6E8}"/>
          </ac:spMkLst>
        </pc:spChg>
        <pc:spChg chg="add del mod">
          <ac:chgData name="Joelle Brehm" userId="a518f54c-6985-42c0-8041-2bb16a414839" providerId="ADAL" clId="{5C7B1B84-DD23-48EC-A567-B295FAD2ABAF}" dt="2023-11-07T23:09:09.648" v="12822" actId="478"/>
          <ac:spMkLst>
            <pc:docMk/>
            <pc:sldMk cId="3798164587" sldId="259"/>
            <ac:spMk id="3" creationId="{0115092F-F6B6-334C-6F84-6D349900FF92}"/>
          </ac:spMkLst>
        </pc:spChg>
        <pc:spChg chg="mod ord">
          <ac:chgData name="Joelle Brehm" userId="a518f54c-6985-42c0-8041-2bb16a414839" providerId="ADAL" clId="{5C7B1B84-DD23-48EC-A567-B295FAD2ABAF}" dt="2023-11-07T23:15:37.858" v="14620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5C7B1B84-DD23-48EC-A567-B295FAD2ABAF}" dt="2023-11-07T23:09:16.083" v="13066"/>
          <ac:spMkLst>
            <pc:docMk/>
            <pc:sldMk cId="3798164587" sldId="259"/>
            <ac:spMk id="8" creationId="{2854B174-8376-AD70-7C9E-78F4AB528517}"/>
          </ac:spMkLst>
        </pc:spChg>
        <pc:spChg chg="add del mod modVis">
          <ac:chgData name="Joelle Brehm" userId="a518f54c-6985-42c0-8041-2bb16a414839" providerId="ADAL" clId="{5C7B1B84-DD23-48EC-A567-B295FAD2ABAF}" dt="2023-11-07T23:15:37.890" v="14706"/>
          <ac:spMkLst>
            <pc:docMk/>
            <pc:sldMk cId="3798164587" sldId="259"/>
            <ac:spMk id="8" creationId="{67F32678-87A4-726B-00A3-504BECB80521}"/>
          </ac:spMkLst>
        </pc:spChg>
        <pc:spChg chg="mod">
          <ac:chgData name="Joelle Brehm" userId="a518f54c-6985-42c0-8041-2bb16a414839" providerId="ADAL" clId="{5C7B1B84-DD23-48EC-A567-B295FAD2ABAF}" dt="2023-11-07T23:15:37.874" v="14631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15:37.858" v="14627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15:37.858" v="14628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15:37.858" v="14625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15:37.858" v="14626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15:37.874" v="14629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15:37.874" v="14630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15:37.874" v="14632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15:37.874" v="14633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15:37.874" v="14634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15:37.874" v="14635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15:37.874" v="14636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15:37.874" v="14638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15:37.874" v="14639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15:37.874" v="14641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15:37.874" v="14640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15:37.874" v="14643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15:37.874" v="14644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15:37.874" v="14642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15:37.874" v="14646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15:37.874" v="14673"/>
          <ac:spMkLst>
            <pc:docMk/>
            <pc:sldMk cId="3798164587" sldId="259"/>
            <ac:spMk id="32" creationId="{2EFC59B1-C208-1816-2539-FFF2F0D2CED4}"/>
          </ac:spMkLst>
        </pc:spChg>
        <pc:spChg chg="mod">
          <ac:chgData name="Joelle Brehm" userId="a518f54c-6985-42c0-8041-2bb16a414839" providerId="ADAL" clId="{5C7B1B84-DD23-48EC-A567-B295FAD2ABAF}" dt="2023-11-07T23:15:37.874" v="14669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5C7B1B84-DD23-48EC-A567-B295FAD2ABAF}" dt="2023-11-07T23:15:37.874" v="14668"/>
          <ac:spMkLst>
            <pc:docMk/>
            <pc:sldMk cId="3798164587" sldId="259"/>
            <ac:spMk id="35" creationId="{1ACE69F8-F1AC-EF80-230F-4DB2F50E9D36}"/>
          </ac:spMkLst>
        </pc:spChg>
        <pc:spChg chg="add mod replST">
          <ac:chgData name="Joelle Brehm" userId="a518f54c-6985-42c0-8041-2bb16a414839" providerId="ADAL" clId="{5C7B1B84-DD23-48EC-A567-B295FAD2ABAF}" dt="2023-11-07T23:15:37.874" v="14679"/>
          <ac:spMkLst>
            <pc:docMk/>
            <pc:sldMk cId="3798164587" sldId="259"/>
            <ac:spMk id="36" creationId="{24FD96C4-2F4A-AA43-27EB-B5B3270F9A1D}"/>
          </ac:spMkLst>
        </pc:spChg>
        <pc:spChg chg="mod">
          <ac:chgData name="Joelle Brehm" userId="a518f54c-6985-42c0-8041-2bb16a414839" providerId="ADAL" clId="{5C7B1B84-DD23-48EC-A567-B295FAD2ABAF}" dt="2023-11-07T23:15:37.874" v="14672"/>
          <ac:spMkLst>
            <pc:docMk/>
            <pc:sldMk cId="3798164587" sldId="259"/>
            <ac:spMk id="37" creationId="{E3EAC238-37CE-FE97-F754-1E4E04FB6278}"/>
          </ac:spMkLst>
        </pc:spChg>
        <pc:spChg chg="del mod">
          <ac:chgData name="Joelle Brehm" userId="a518f54c-6985-42c0-8041-2bb16a414839" providerId="ADAL" clId="{5C7B1B84-DD23-48EC-A567-B295FAD2ABAF}" dt="2023-11-07T23:09:49.241" v="13755"/>
          <ac:spMkLst>
            <pc:docMk/>
            <pc:sldMk cId="3798164587" sldId="259"/>
            <ac:spMk id="38" creationId="{F9718545-2C79-73C0-B314-2B5D8CF60E56}"/>
          </ac:spMkLst>
        </pc:spChg>
        <pc:spChg chg="add mod replST">
          <ac:chgData name="Joelle Brehm" userId="a518f54c-6985-42c0-8041-2bb16a414839" providerId="ADAL" clId="{5C7B1B84-DD23-48EC-A567-B295FAD2ABAF}" dt="2023-11-07T23:15:37.874" v="14678"/>
          <ac:spMkLst>
            <pc:docMk/>
            <pc:sldMk cId="3798164587" sldId="259"/>
            <ac:spMk id="39" creationId="{D4D13DFD-8B8D-47B0-DF09-93358F670D14}"/>
          </ac:spMkLst>
        </pc:spChg>
        <pc:spChg chg="mod">
          <ac:chgData name="Joelle Brehm" userId="a518f54c-6985-42c0-8041-2bb16a414839" providerId="ADAL" clId="{5C7B1B84-DD23-48EC-A567-B295FAD2ABAF}" dt="2023-11-07T23:15:37.874" v="14671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5C7B1B84-DD23-48EC-A567-B295FAD2ABAF}" dt="2023-11-07T23:15:37.874" v="14670"/>
          <ac:spMkLst>
            <pc:docMk/>
            <pc:sldMk cId="3798164587" sldId="259"/>
            <ac:spMk id="41" creationId="{AAEA4991-6EDC-4585-53B3-43FCB8287F41}"/>
          </ac:spMkLst>
        </pc:spChg>
        <pc:spChg chg="mod">
          <ac:chgData name="Joelle Brehm" userId="a518f54c-6985-42c0-8041-2bb16a414839" providerId="ADAL" clId="{5C7B1B84-DD23-48EC-A567-B295FAD2ABAF}" dt="2023-11-07T23:15:37.874" v="14656"/>
          <ac:spMkLst>
            <pc:docMk/>
            <pc:sldMk cId="3798164587" sldId="259"/>
            <ac:spMk id="42" creationId="{17E5CF1F-B68A-803E-7A46-9E4C2586B04A}"/>
          </ac:spMkLst>
        </pc:spChg>
        <pc:spChg chg="mod">
          <ac:chgData name="Joelle Brehm" userId="a518f54c-6985-42c0-8041-2bb16a414839" providerId="ADAL" clId="{5C7B1B84-DD23-48EC-A567-B295FAD2ABAF}" dt="2023-11-07T23:15:37.874" v="14658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5C7B1B84-DD23-48EC-A567-B295FAD2ABAF}" dt="2023-11-07T23:15:37.874" v="14660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5C7B1B84-DD23-48EC-A567-B295FAD2ABAF}" dt="2023-11-07T23:15:37.874" v="14649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55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53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5C7B1B84-DD23-48EC-A567-B295FAD2ABAF}" dt="2023-11-07T23:15:37.874" v="14664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5C7B1B84-DD23-48EC-A567-B295FAD2ABAF}" dt="2023-11-07T23:15:37.874" v="14666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5C7B1B84-DD23-48EC-A567-B295FAD2ABAF}" dt="2023-11-07T23:15:37.874" v="14662"/>
          <ac:spMkLst>
            <pc:docMk/>
            <pc:sldMk cId="3798164587" sldId="259"/>
            <ac:spMk id="50" creationId="{6E0EEE28-854C-B3D5-8CC6-BD69B0BE61B8}"/>
          </ac:spMkLst>
        </pc:spChg>
        <pc:spChg chg="mod">
          <ac:chgData name="Joelle Brehm" userId="a518f54c-6985-42c0-8041-2bb16a414839" providerId="ADAL" clId="{5C7B1B84-DD23-48EC-A567-B295FAD2ABAF}" dt="2023-11-07T23:15:37.874" v="14675"/>
          <ac:spMkLst>
            <pc:docMk/>
            <pc:sldMk cId="3798164587" sldId="259"/>
            <ac:spMk id="51" creationId="{3CCC5AEF-7BB6-2440-B43E-35D020EB1B82}"/>
          </ac:spMkLst>
        </pc:spChg>
        <pc:spChg chg="mod">
          <ac:chgData name="Joelle Brehm" userId="a518f54c-6985-42c0-8041-2bb16a414839" providerId="ADAL" clId="{5C7B1B84-DD23-48EC-A567-B295FAD2ABAF}" dt="2023-11-07T23:15:37.874" v="14674"/>
          <ac:spMkLst>
            <pc:docMk/>
            <pc:sldMk cId="3798164587" sldId="259"/>
            <ac:spMk id="52" creationId="{D8EE27B5-3F46-02AD-6192-2B83C625A7E3}"/>
          </ac:spMkLst>
        </pc:spChg>
        <pc:spChg chg="mod">
          <ac:chgData name="Joelle Brehm" userId="a518f54c-6985-42c0-8041-2bb16a414839" providerId="ADAL" clId="{5C7B1B84-DD23-48EC-A567-B295FAD2ABAF}" dt="2023-11-07T23:15:37.874" v="14677"/>
          <ac:spMkLst>
            <pc:docMk/>
            <pc:sldMk cId="3798164587" sldId="259"/>
            <ac:spMk id="54" creationId="{2CEA7E2C-E3CA-7941-ACCF-262308344C45}"/>
          </ac:spMkLst>
        </pc:spChg>
        <pc:spChg chg="mod">
          <ac:chgData name="Joelle Brehm" userId="a518f54c-6985-42c0-8041-2bb16a414839" providerId="ADAL" clId="{5C7B1B84-DD23-48EC-A567-B295FAD2ABAF}" dt="2023-11-07T23:15:37.874" v="14676"/>
          <ac:spMkLst>
            <pc:docMk/>
            <pc:sldMk cId="3798164587" sldId="259"/>
            <ac:spMk id="55" creationId="{02AD7D81-8D13-B15E-2594-BD31882D675C}"/>
          </ac:spMkLst>
        </pc:spChg>
        <pc:spChg chg="add del mod modVis">
          <ac:chgData name="Joelle Brehm" userId="a518f54c-6985-42c0-8041-2bb16a414839" providerId="ADAL" clId="{5C7B1B84-DD23-48EC-A567-B295FAD2ABAF}" dt="2023-11-07T23:09:45.190" v="13554"/>
          <ac:spMkLst>
            <pc:docMk/>
            <pc:sldMk cId="3798164587" sldId="259"/>
            <ac:spMk id="56" creationId="{40C2598F-F319-0DEA-AC9D-823B0BCDA4D1}"/>
          </ac:spMkLst>
        </pc:spChg>
        <pc:spChg chg="add del mod modVis">
          <ac:chgData name="Joelle Brehm" userId="a518f54c-6985-42c0-8041-2bb16a414839" providerId="ADAL" clId="{5C7B1B84-DD23-48EC-A567-B295FAD2ABAF}" dt="2023-11-07T23:09:47.291" v="13752"/>
          <ac:spMkLst>
            <pc:docMk/>
            <pc:sldMk cId="3798164587" sldId="259"/>
            <ac:spMk id="58" creationId="{C5C93A57-7C8D-EE1A-0CD0-B8EE25EB8016}"/>
          </ac:spMkLst>
        </pc:spChg>
        <pc:spChg chg="add del mod modVis">
          <ac:chgData name="Joelle Brehm" userId="a518f54c-6985-42c0-8041-2bb16a414839" providerId="ADAL" clId="{5C7B1B84-DD23-48EC-A567-B295FAD2ABAF}" dt="2023-11-07T23:09:49.403" v="13991"/>
          <ac:spMkLst>
            <pc:docMk/>
            <pc:sldMk cId="3798164587" sldId="259"/>
            <ac:spMk id="60" creationId="{AD4CD59E-F998-A15A-25B4-6DD5EC80CD0B}"/>
          </ac:spMkLst>
        </pc:spChg>
        <pc:spChg chg="mod">
          <ac:chgData name="Joelle Brehm" userId="a518f54c-6985-42c0-8041-2bb16a414839" providerId="ADAL" clId="{5C7B1B84-DD23-48EC-A567-B295FAD2ABAF}" dt="2023-11-07T23:15:37.874" v="14650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5C7B1B84-DD23-48EC-A567-B295FAD2ABAF}" dt="2023-11-07T23:15:37.874" v="14651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5C7B1B84-DD23-48EC-A567-B295FAD2ABAF}" dt="2023-11-07T23:15:37.874" v="14652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5C7B1B84-DD23-48EC-A567-B295FAD2ABAF}" dt="2023-11-07T23:10:01.897" v="14208"/>
          <ac:spMkLst>
            <pc:docMk/>
            <pc:sldMk cId="3798164587" sldId="259"/>
            <ac:spMk id="65" creationId="{6AFBA729-4CDE-4F3C-C6A0-7495276BAFA1}"/>
          </ac:spMkLst>
        </pc:spChg>
        <pc:spChg chg="mod ord">
          <ac:chgData name="Joelle Brehm" userId="a518f54c-6985-42c0-8041-2bb16a414839" providerId="ADAL" clId="{5C7B1B84-DD23-48EC-A567-B295FAD2ABAF}" dt="2023-11-07T23:15:37.874" v="14681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15:37.890" v="14683"/>
          <ac:spMkLst>
            <pc:docMk/>
            <pc:sldMk cId="3798164587" sldId="259"/>
            <ac:spMk id="79" creationId="{F1476AC4-694B-4D83-BFD8-8DCAA4BB1923}"/>
          </ac:spMkLst>
        </pc:spChg>
        <pc:spChg chg="del mod">
          <ac:chgData name="Joelle Brehm" userId="a518f54c-6985-42c0-8041-2bb16a414839" providerId="ADAL" clId="{5C7B1B84-DD23-48EC-A567-B295FAD2ABAF}" dt="2023-11-07T23:09:49.242" v="13756"/>
          <ac:spMkLst>
            <pc:docMk/>
            <pc:sldMk cId="3798164587" sldId="259"/>
            <ac:spMk id="8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57"/>
          <ac:spMkLst>
            <pc:docMk/>
            <pc:sldMk cId="3798164587" sldId="259"/>
            <ac:spMk id="89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59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54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61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63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74" v="14665"/>
          <ac:spMkLst>
            <pc:docMk/>
            <pc:sldMk cId="3798164587" sldId="259"/>
            <ac:spMk id="95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3:15:37.890" v="14685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5C7B1B84-DD23-48EC-A567-B295FAD2ABAF}" dt="2023-11-07T23:15:37.874" v="14667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3:15:37.890" v="14687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15:37.890" v="14689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15:37.890" v="14691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15:37.890" v="14694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90" v="14695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90" v="14696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5:37.890" v="14697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15:37.890" v="14698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15:37.921" v="14708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5:37.858" v="14624"/>
          <ac:graphicFrameMkLst>
            <pc:docMk/>
            <pc:sldMk cId="3798164587" sldId="259"/>
            <ac:graphicFrameMk id="9" creationId="{F3D83393-07AC-6FFD-A26E-028F1D869C1A}"/>
          </ac:graphicFrameMkLst>
        </pc:graphicFrameChg>
        <pc:graphicFrameChg chg="del">
          <ac:chgData name="Joelle Brehm" userId="a518f54c-6985-42c0-8041-2bb16a414839" providerId="ADAL" clId="{5C7B1B84-DD23-48EC-A567-B295FAD2ABAF}" dt="2023-11-07T23:09:15.977" v="12956"/>
          <ac:graphicFrameMkLst>
            <pc:docMk/>
            <pc:sldMk cId="3798164587" sldId="259"/>
            <ac:graphicFrameMk id="10" creationId="{BD6FBAC1-F01A-B74A-3FB0-AB5DCDB0A859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0:01.851" v="14110"/>
          <ac:graphicFrameMkLst>
            <pc:docMk/>
            <pc:sldMk cId="3798164587" sldId="259"/>
            <ac:graphicFrameMk id="53" creationId="{0C5655C0-5E56-2174-6EBE-834B5631FB1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09:47.214" v="13652"/>
          <ac:graphicFrameMkLst>
            <pc:docMk/>
            <pc:sldMk cId="3798164587" sldId="259"/>
            <ac:graphicFrameMk id="57" creationId="{B3E700F3-A5AF-7039-8183-A0D02847551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09:49.339" v="13893"/>
          <ac:graphicFrameMkLst>
            <pc:docMk/>
            <pc:sldMk cId="3798164587" sldId="259"/>
            <ac:graphicFrameMk id="59" creationId="{DEB7FA73-485D-5479-3EF7-495E7C10C232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5:37.874" v="14648"/>
          <ac:graphicFrameMkLst>
            <pc:docMk/>
            <pc:sldMk cId="3798164587" sldId="259"/>
            <ac:graphicFrameMk id="63" creationId="{25C30A40-36C8-0C26-7A37-1B37454EB3CB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09:45.105" v="13454"/>
          <ac:graphicFrameMkLst>
            <pc:docMk/>
            <pc:sldMk cId="3798164587" sldId="259"/>
            <ac:graphicFrameMk id="66" creationId="{AC537ADB-2671-1CB1-E193-68DA029AE04F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5:37.890" v="14693"/>
          <ac:graphicFrameMkLst>
            <pc:docMk/>
            <pc:sldMk cId="3798164587" sldId="259"/>
            <ac:graphicFrameMk id="67" creationId="{96D52700-F196-3C83-BDEC-161DE39F7850}"/>
          </ac:graphicFrameMkLst>
        </pc:graphicFrameChg>
        <pc:picChg chg="add mod ord">
          <ac:chgData name="Joelle Brehm" userId="a518f54c-6985-42c0-8041-2bb16a414839" providerId="ADAL" clId="{5C7B1B84-DD23-48EC-A567-B295FAD2ABAF}" dt="2023-11-07T23:15:41.138" v="14711" actId="1038"/>
          <ac:picMkLst>
            <pc:docMk/>
            <pc:sldMk cId="3798164587" sldId="259"/>
            <ac:picMk id="3" creationId="{9171AA75-F3B7-1A49-46C2-DAC4B5F982F8}"/>
          </ac:picMkLst>
        </pc:picChg>
        <pc:picChg chg="mod ord">
          <ac:chgData name="Joelle Brehm" userId="a518f54c-6985-42c0-8041-2bb16a414839" providerId="ADAL" clId="{5C7B1B84-DD23-48EC-A567-B295FAD2ABAF}" dt="2023-11-07T23:15:37.858" v="14618"/>
          <ac:picMkLst>
            <pc:docMk/>
            <pc:sldMk cId="3798164587" sldId="259"/>
            <ac:picMk id="5" creationId="{8F4A2CF4-0CF3-47E4-B23B-AC49D50CFFA1}"/>
          </ac:picMkLst>
        </pc:picChg>
        <pc:picChg chg="del mod ord">
          <ac:chgData name="Joelle Brehm" userId="a518f54c-6985-42c0-8041-2bb16a414839" providerId="ADAL" clId="{5C7B1B84-DD23-48EC-A567-B295FAD2ABAF}" dt="2023-11-07T23:09:37.632" v="13173" actId="478"/>
          <ac:picMkLst>
            <pc:docMk/>
            <pc:sldMk cId="3798164587" sldId="259"/>
            <ac:picMk id="31" creationId="{546A8B7D-66B3-8F80-8908-98BD8704BCC1}"/>
          </ac:picMkLst>
        </pc:picChg>
        <pc:picChg chg="add del mod ord">
          <ac:chgData name="Joelle Brehm" userId="a518f54c-6985-42c0-8041-2bb16a414839" providerId="ADAL" clId="{5C7B1B84-DD23-48EC-A567-B295FAD2ABAF}" dt="2023-11-07T23:10:56.591" v="14576" actId="478"/>
          <ac:picMkLst>
            <pc:docMk/>
            <pc:sldMk cId="3798164587" sldId="259"/>
            <ac:picMk id="33" creationId="{D49B00B7-502E-A0FD-EE0A-8EC503BDD80A}"/>
          </ac:picMkLst>
        </pc:picChg>
        <pc:picChg chg="add del mod ord">
          <ac:chgData name="Joelle Brehm" userId="a518f54c-6985-42c0-8041-2bb16a414839" providerId="ADAL" clId="{5C7B1B84-DD23-48EC-A567-B295FAD2ABAF}" dt="2023-11-07T23:15:39.374" v="14709" actId="478"/>
          <ac:picMkLst>
            <pc:docMk/>
            <pc:sldMk cId="3798164587" sldId="259"/>
            <ac:picMk id="68" creationId="{B32083D4-DF91-2334-111F-1935AA248E70}"/>
          </ac:picMkLst>
        </pc:picChg>
        <pc:picChg chg="mod ord">
          <ac:chgData name="Joelle Brehm" userId="a518f54c-6985-42c0-8041-2bb16a414839" providerId="ADAL" clId="{5C7B1B84-DD23-48EC-A567-B295FAD2ABAF}" dt="2023-11-07T23:15:37.890" v="14700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15:37.858" v="14622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5C7B1B84-DD23-48EC-A567-B295FAD2ABAF}" dt="2023-11-06T16:14:57.267" v="6" actId="20577"/>
        <pc:sldMkLst>
          <pc:docMk/>
          <pc:sldMk cId="4090961396" sldId="260"/>
        </pc:sldMkLst>
        <pc:spChg chg="mod">
          <ac:chgData name="Joelle Brehm" userId="a518f54c-6985-42c0-8041-2bb16a414839" providerId="ADAL" clId="{5C7B1B84-DD23-48EC-A567-B295FAD2ABAF}" dt="2023-11-06T16:14:57.267" v="6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5C7B1B84-DD23-48EC-A567-B295FAD2ABAF}" dt="2023-11-08T18:43:36.480" v="51697" actId="113"/>
        <pc:sldMkLst>
          <pc:docMk/>
          <pc:sldMk cId="2525895214" sldId="262"/>
        </pc:sldMkLst>
        <pc:spChg chg="add del mod">
          <ac:chgData name="Joelle Brehm" userId="a518f54c-6985-42c0-8041-2bb16a414839" providerId="ADAL" clId="{5C7B1B84-DD23-48EC-A567-B295FAD2ABAF}" dt="2023-11-08T18:37:29.975" v="51549" actId="478"/>
          <ac:spMkLst>
            <pc:docMk/>
            <pc:sldMk cId="2525895214" sldId="262"/>
            <ac:spMk id="3" creationId="{67E14B74-B770-2D17-F5EA-1145D133D7ED}"/>
          </ac:spMkLst>
        </pc:spChg>
        <pc:graphicFrameChg chg="mod modGraphic">
          <ac:chgData name="Joelle Brehm" userId="a518f54c-6985-42c0-8041-2bb16a414839" providerId="ADAL" clId="{5C7B1B84-DD23-48EC-A567-B295FAD2ABAF}" dt="2023-11-08T18:43:36.480" v="51697" actId="113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5C7B1B84-DD23-48EC-A567-B295FAD2ABAF}" dt="2023-11-06T21:17:42.440" v="435" actId="1037"/>
        <pc:sldMkLst>
          <pc:docMk/>
          <pc:sldMk cId="3980989934" sldId="263"/>
        </pc:sldMkLst>
        <pc:spChg chg="mod ord">
          <ac:chgData name="Joelle Brehm" userId="a518f54c-6985-42c0-8041-2bb16a414839" providerId="ADAL" clId="{5C7B1B84-DD23-48EC-A567-B295FAD2ABAF}" dt="2023-11-06T21:17:37.126" v="425"/>
          <ac:spMkLst>
            <pc:docMk/>
            <pc:sldMk cId="3980989934" sldId="263"/>
            <ac:spMk id="2" creationId="{75C72E1E-661F-4997-A353-2798333F5BE3}"/>
          </ac:spMkLst>
        </pc:spChg>
        <pc:spChg chg="add del mod ord">
          <ac:chgData name="Joelle Brehm" userId="a518f54c-6985-42c0-8041-2bb16a414839" providerId="ADAL" clId="{5C7B1B84-DD23-48EC-A567-B295FAD2ABAF}" dt="2023-11-06T21:17:14.312" v="137" actId="478"/>
          <ac:spMkLst>
            <pc:docMk/>
            <pc:sldMk cId="3980989934" sldId="263"/>
            <ac:spMk id="3" creationId="{7AB949B2-BAD9-4CAE-285E-17992B24A3C8}"/>
          </ac:spMkLst>
        </pc:spChg>
        <pc:spChg chg="mod ord">
          <ac:chgData name="Joelle Brehm" userId="a518f54c-6985-42c0-8041-2bb16a414839" providerId="ADAL" clId="{5C7B1B84-DD23-48EC-A567-B295FAD2ABAF}" dt="2023-11-06T21:17:37.117" v="400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5C7B1B84-DD23-48EC-A567-B295FAD2ABAF}" dt="2023-11-06T21:17:37.119" v="409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5C7B1B84-DD23-48EC-A567-B295FAD2ABAF}" dt="2023-11-06T21:17:37.118" v="405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5C7B1B84-DD23-48EC-A567-B295FAD2ABAF}" dt="2023-11-06T21:17:37.118" v="403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5C7B1B84-DD23-48EC-A567-B295FAD2ABAF}" dt="2023-11-06T21:17:37.118" v="404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5C7B1B84-DD23-48EC-A567-B295FAD2ABAF}" dt="2023-11-06T21:17:37.118" v="406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5C7B1B84-DD23-48EC-A567-B295FAD2ABAF}" dt="2023-11-06T21:17:37.122" v="412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5C7B1B84-DD23-48EC-A567-B295FAD2ABAF}" dt="2023-11-06T21:17:37.119" v="407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5C7B1B84-DD23-48EC-A567-B295FAD2ABAF}" dt="2023-11-06T21:17:37.120" v="410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5C7B1B84-DD23-48EC-A567-B295FAD2ABAF}" dt="2023-11-06T21:17:37.119" v="408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5C7B1B84-DD23-48EC-A567-B295FAD2ABAF}" dt="2023-11-06T21:17:37.121" v="411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5C7B1B84-DD23-48EC-A567-B295FAD2ABAF}" dt="2023-11-06T21:17:37.122" v="413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5C7B1B84-DD23-48EC-A567-B295FAD2ABAF}" dt="2023-11-06T21:17:37.122" v="414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5C7B1B84-DD23-48EC-A567-B295FAD2ABAF}" dt="2023-11-06T21:17:37.123" v="416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5C7B1B84-DD23-48EC-A567-B295FAD2ABAF}" dt="2023-11-06T21:17:37.124" v="418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5C7B1B84-DD23-48EC-A567-B295FAD2ABAF}" dt="2023-11-06T21:17:21.771" v="387"/>
          <ac:spMkLst>
            <pc:docMk/>
            <pc:sldMk cId="3980989934" sldId="263"/>
            <ac:spMk id="23" creationId="{AB4B613D-A0F3-A7AF-B91C-FEE1111C1F78}"/>
          </ac:spMkLst>
        </pc:spChg>
        <pc:spChg chg="mod ord">
          <ac:chgData name="Joelle Brehm" userId="a518f54c-6985-42c0-8041-2bb16a414839" providerId="ADAL" clId="{5C7B1B84-DD23-48EC-A567-B295FAD2ABAF}" dt="2023-11-06T21:17:37.126" v="427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5C7B1B84-DD23-48EC-A567-B295FAD2ABAF}" dt="2023-11-06T21:17:37.124" v="420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5C7B1B84-DD23-48EC-A567-B295FAD2ABAF}" dt="2023-11-06T21:17:37.125" v="422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5C7B1B84-DD23-48EC-A567-B295FAD2ABAF}" dt="2023-11-06T21:17:37.135" v="431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6T21:17:37.117" v="402"/>
          <ac:graphicFrameMkLst>
            <pc:docMk/>
            <pc:sldMk cId="3980989934" sldId="263"/>
            <ac:graphicFrameMk id="24" creationId="{6B0225BC-B28F-7127-ED2E-6DD6E319A82B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6T21:17:21.722" v="344"/>
          <ac:graphicFrameMkLst>
            <pc:docMk/>
            <pc:sldMk cId="3980989934" sldId="263"/>
            <ac:graphicFrameMk id="25" creationId="{7748D1F0-F143-FE74-45EC-BB2DB2A1E989}"/>
          </ac:graphicFrameMkLst>
        </pc:graphicFrameChg>
        <pc:picChg chg="del mod ord">
          <ac:chgData name="Joelle Brehm" userId="a518f54c-6985-42c0-8041-2bb16a414839" providerId="ADAL" clId="{5C7B1B84-DD23-48EC-A567-B295FAD2ABAF}" dt="2023-11-06T21:16:37.716" v="136" actId="478"/>
          <ac:picMkLst>
            <pc:docMk/>
            <pc:sldMk cId="3980989934" sldId="263"/>
            <ac:picMk id="6" creationId="{28656ACD-C276-1E37-7D66-7758F71AB875}"/>
          </ac:picMkLst>
        </pc:picChg>
        <pc:picChg chg="add mod ord">
          <ac:chgData name="Joelle Brehm" userId="a518f54c-6985-42c0-8041-2bb16a414839" providerId="ADAL" clId="{5C7B1B84-DD23-48EC-A567-B295FAD2ABAF}" dt="2023-11-06T21:17:37.116" v="396"/>
          <ac:picMkLst>
            <pc:docMk/>
            <pc:sldMk cId="3980989934" sldId="263"/>
            <ac:picMk id="7" creationId="{D654EFF0-EAB9-A6ED-364C-6ACA343B11F5}"/>
          </ac:picMkLst>
        </pc:picChg>
        <pc:picChg chg="del mod ord">
          <ac:chgData name="Joelle Brehm" userId="a518f54c-6985-42c0-8041-2bb16a414839" providerId="ADAL" clId="{5C7B1B84-DD23-48EC-A567-B295FAD2ABAF}" dt="2023-11-06T21:17:38.564" v="432" actId="478"/>
          <ac:picMkLst>
            <pc:docMk/>
            <pc:sldMk cId="3980989934" sldId="263"/>
            <ac:picMk id="22" creationId="{6300EF9F-41E7-FC57-4A02-30277E2D4BEF}"/>
          </ac:picMkLst>
        </pc:picChg>
        <pc:picChg chg="add mod ord">
          <ac:chgData name="Joelle Brehm" userId="a518f54c-6985-42c0-8041-2bb16a414839" providerId="ADAL" clId="{5C7B1B84-DD23-48EC-A567-B295FAD2ABAF}" dt="2023-11-06T21:17:42.440" v="435" actId="1037"/>
          <ac:picMkLst>
            <pc:docMk/>
            <pc:sldMk cId="3980989934" sldId="263"/>
            <ac:picMk id="26" creationId="{C1F31723-C1B9-E391-486B-CC9BC850DA09}"/>
          </ac:picMkLst>
        </pc:picChg>
        <pc:picChg chg="mod">
          <ac:chgData name="Joelle Brehm" userId="a518f54c-6985-42c0-8041-2bb16a414839" providerId="ADAL" clId="{5C7B1B84-DD23-48EC-A567-B295FAD2ABAF}" dt="2023-11-06T21:17:37.125" v="423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5C7B1B84-DD23-48EC-A567-B295FAD2ABAF}" dt="2023-11-07T22:13:07.746" v="12821"/>
        <pc:sldMkLst>
          <pc:docMk/>
          <pc:sldMk cId="1450446987" sldId="264"/>
        </pc:sldMkLst>
        <pc:spChg chg="add del mod">
          <ac:chgData name="Joelle Brehm" userId="a518f54c-6985-42c0-8041-2bb16a414839" providerId="ADAL" clId="{5C7B1B84-DD23-48EC-A567-B295FAD2ABAF}" dt="2023-11-07T21:42:28.845" v="6528" actId="478"/>
          <ac:spMkLst>
            <pc:docMk/>
            <pc:sldMk cId="1450446987" sldId="264"/>
            <ac:spMk id="2" creationId="{5DE45613-908C-6051-ED77-15B3EC7B0105}"/>
          </ac:spMkLst>
        </pc:spChg>
        <pc:spChg chg="mod ord">
          <ac:chgData name="Joelle Brehm" userId="a518f54c-6985-42c0-8041-2bb16a414839" providerId="ADAL" clId="{5C7B1B84-DD23-48EC-A567-B295FAD2ABAF}" dt="2023-11-07T22:13:05.325" v="12647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5C7B1B84-DD23-48EC-A567-B295FAD2ABAF}" dt="2023-11-07T22:13:05.357" v="12716"/>
          <ac:spMkLst>
            <pc:docMk/>
            <pc:sldMk cId="1450446987" sldId="264"/>
            <ac:spMk id="7" creationId="{DE57A07F-6746-6404-6ACC-31B88A8A6B3A}"/>
          </ac:spMkLst>
        </pc:spChg>
        <pc:spChg chg="add del mod modVis">
          <ac:chgData name="Joelle Brehm" userId="a518f54c-6985-42c0-8041-2bb16a414839" providerId="ADAL" clId="{5C7B1B84-DD23-48EC-A567-B295FAD2ABAF}" dt="2023-11-07T21:45:13.875" v="6701"/>
          <ac:spMkLst>
            <pc:docMk/>
            <pc:sldMk cId="1450446987" sldId="264"/>
            <ac:spMk id="8" creationId="{13F3A3D0-0A66-D120-2FE1-5FBBAF206222}"/>
          </ac:spMkLst>
        </pc:spChg>
        <pc:spChg chg="del mod">
          <ac:chgData name="Joelle Brehm" userId="a518f54c-6985-42c0-8041-2bb16a414839" providerId="ADAL" clId="{5C7B1B84-DD23-48EC-A567-B295FAD2ABAF}" dt="2023-11-07T22:07:56.426" v="10180"/>
          <ac:spMkLst>
            <pc:docMk/>
            <pc:sldMk cId="1450446987" sldId="264"/>
            <ac:spMk id="9" creationId="{A42B53DE-B1C5-8D0E-D036-2DF5C8FBC8A0}"/>
          </ac:spMkLst>
        </pc:spChg>
        <pc:spChg chg="del mod">
          <ac:chgData name="Joelle Brehm" userId="a518f54c-6985-42c0-8041-2bb16a414839" providerId="ADAL" clId="{5C7B1B84-DD23-48EC-A567-B295FAD2ABAF}" dt="2023-11-07T21:45:36.095" v="7030"/>
          <ac:spMkLst>
            <pc:docMk/>
            <pc:sldMk cId="1450446987" sldId="264"/>
            <ac:spMk id="10" creationId="{0B5A57DD-7EDA-25CF-0BB0-3E0418CFBDB6}"/>
          </ac:spMkLst>
        </pc:spChg>
        <pc:spChg chg="add mod replST">
          <ac:chgData name="Joelle Brehm" userId="a518f54c-6985-42c0-8041-2bb16a414839" providerId="ADAL" clId="{5C7B1B84-DD23-48EC-A567-B295FAD2ABAF}" dt="2023-11-07T22:13:05.357" v="12717"/>
          <ac:spMkLst>
            <pc:docMk/>
            <pc:sldMk cId="1450446987" sldId="264"/>
            <ac:spMk id="11" creationId="{D34BD6AF-79B7-0201-A9E6-DEFEE9B380F3}"/>
          </ac:spMkLst>
        </pc:spChg>
        <pc:spChg chg="mod">
          <ac:chgData name="Joelle Brehm" userId="a518f54c-6985-42c0-8041-2bb16a414839" providerId="ADAL" clId="{5C7B1B84-DD23-48EC-A567-B295FAD2ABAF}" dt="2023-11-07T22:13:05.357" v="12710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5C7B1B84-DD23-48EC-A567-B295FAD2ABAF}" dt="2023-11-07T22:13:05.357" v="12706"/>
          <ac:spMkLst>
            <pc:docMk/>
            <pc:sldMk cId="1450446987" sldId="264"/>
            <ac:spMk id="13" creationId="{ADECDCFA-1E1B-DA79-857B-6C2FA278DB11}"/>
          </ac:spMkLst>
        </pc:spChg>
        <pc:spChg chg="add del mod modVis">
          <ac:chgData name="Joelle Brehm" userId="a518f54c-6985-42c0-8041-2bb16a414839" providerId="ADAL" clId="{5C7B1B84-DD23-48EC-A567-B295FAD2ABAF}" dt="2023-11-07T21:45:31.661" v="7026"/>
          <ac:spMkLst>
            <pc:docMk/>
            <pc:sldMk cId="1450446987" sldId="264"/>
            <ac:spMk id="14" creationId="{25F6FA33-9239-C4A9-A691-5A4608F76655}"/>
          </ac:spMkLst>
        </pc:spChg>
        <pc:spChg chg="mod ord">
          <ac:chgData name="Joelle Brehm" userId="a518f54c-6985-42c0-8041-2bb16a414839" providerId="ADAL" clId="{5C7B1B84-DD23-48EC-A567-B295FAD2ABAF}" dt="2023-11-07T22:13:07.730" v="12813"/>
          <ac:spMkLst>
            <pc:docMk/>
            <pc:sldMk cId="1450446987" sldId="264"/>
            <ac:spMk id="16" creationId="{0F83DE65-1B4F-815C-7155-32FC819C40A5}"/>
          </ac:spMkLst>
        </pc:spChg>
        <pc:spChg chg="del mod">
          <ac:chgData name="Joelle Brehm" userId="a518f54c-6985-42c0-8041-2bb16a414839" providerId="ADAL" clId="{5C7B1B84-DD23-48EC-A567-B295FAD2ABAF}" dt="2023-11-07T21:45:36.095" v="7029"/>
          <ac:spMkLst>
            <pc:docMk/>
            <pc:sldMk cId="1450446987" sldId="264"/>
            <ac:spMk id="17" creationId="{9F3E8293-6A80-77D9-FC6A-6EEAEB0893E2}"/>
          </ac:spMkLst>
        </pc:spChg>
        <pc:spChg chg="mod">
          <ac:chgData name="Joelle Brehm" userId="a518f54c-6985-42c0-8041-2bb16a414839" providerId="ADAL" clId="{5C7B1B84-DD23-48EC-A567-B295FAD2ABAF}" dt="2023-11-07T22:13:05.381" v="12761"/>
          <ac:spMkLst>
            <pc:docMk/>
            <pc:sldMk cId="1450446987" sldId="264"/>
            <ac:spMk id="18" creationId="{7CE63A35-6A90-6D8B-CF40-7241933EF0EF}"/>
          </ac:spMkLst>
        </pc:spChg>
        <pc:spChg chg="mod">
          <ac:chgData name="Joelle Brehm" userId="a518f54c-6985-42c0-8041-2bb16a414839" providerId="ADAL" clId="{5C7B1B84-DD23-48EC-A567-B295FAD2ABAF}" dt="2023-11-07T22:13:05.357" v="12718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5C7B1B84-DD23-48EC-A567-B295FAD2ABAF}" dt="2023-11-07T22:13:05.357" v="12708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5C7B1B84-DD23-48EC-A567-B295FAD2ABAF}" dt="2023-11-07T22:13:05.385" v="12772"/>
          <ac:spMkLst>
            <pc:docMk/>
            <pc:sldMk cId="1450446987" sldId="264"/>
            <ac:spMk id="22" creationId="{B45231BA-E7B8-18D3-4011-260830A47021}"/>
          </ac:spMkLst>
        </pc:spChg>
        <pc:spChg chg="add mod replST">
          <ac:chgData name="Joelle Brehm" userId="a518f54c-6985-42c0-8041-2bb16a414839" providerId="ADAL" clId="{5C7B1B84-DD23-48EC-A567-B295FAD2ABAF}" dt="2023-11-07T22:13:05.373" v="12729"/>
          <ac:spMkLst>
            <pc:docMk/>
            <pc:sldMk cId="1450446987" sldId="264"/>
            <ac:spMk id="23" creationId="{ECE85BCC-DA74-38B9-C409-63F89574AA2B}"/>
          </ac:spMkLst>
        </pc:spChg>
        <pc:spChg chg="del mod">
          <ac:chgData name="Joelle Brehm" userId="a518f54c-6985-42c0-8041-2bb16a414839" providerId="ADAL" clId="{5C7B1B84-DD23-48EC-A567-B295FAD2ABAF}" dt="2023-11-07T22:05:24.695" v="7799"/>
          <ac:spMkLst>
            <pc:docMk/>
            <pc:sldMk cId="1450446987" sldId="264"/>
            <ac:spMk id="24" creationId="{033E07CF-73C8-D4DB-8DB3-DC68E9322327}"/>
          </ac:spMkLst>
        </pc:spChg>
        <pc:spChg chg="mod">
          <ac:chgData name="Joelle Brehm" userId="a518f54c-6985-42c0-8041-2bb16a414839" providerId="ADAL" clId="{5C7B1B84-DD23-48EC-A567-B295FAD2ABAF}" dt="2023-11-07T22:13:05.357" v="12711"/>
          <ac:spMkLst>
            <pc:docMk/>
            <pc:sldMk cId="1450446987" sldId="264"/>
            <ac:spMk id="25" creationId="{DDCB9CFD-6336-9FEE-8109-046E7B1EDE09}"/>
          </ac:spMkLst>
        </pc:spChg>
        <pc:spChg chg="add del mod modVis">
          <ac:chgData name="Joelle Brehm" userId="a518f54c-6985-42c0-8041-2bb16a414839" providerId="ADAL" clId="{5C7B1B84-DD23-48EC-A567-B295FAD2ABAF}" dt="2023-11-07T21:45:43.734" v="7467"/>
          <ac:spMkLst>
            <pc:docMk/>
            <pc:sldMk cId="1450446987" sldId="264"/>
            <ac:spMk id="26" creationId="{DA73DC59-88A4-DB30-22E8-2F24A782B01D}"/>
          </ac:spMkLst>
        </pc:spChg>
        <pc:spChg chg="mod">
          <ac:chgData name="Joelle Brehm" userId="a518f54c-6985-42c0-8041-2bb16a414839" providerId="ADAL" clId="{5C7B1B84-DD23-48EC-A567-B295FAD2ABAF}" dt="2023-11-07T22:13:05.357" v="12707"/>
          <ac:spMkLst>
            <pc:docMk/>
            <pc:sldMk cId="1450446987" sldId="264"/>
            <ac:spMk id="27" creationId="{7F5EB4C1-D71D-BF03-066C-3EB62DE130E1}"/>
          </ac:spMkLst>
        </pc:spChg>
        <pc:spChg chg="del mod">
          <ac:chgData name="Joelle Brehm" userId="a518f54c-6985-42c0-8041-2bb16a414839" providerId="ADAL" clId="{5C7B1B84-DD23-48EC-A567-B295FAD2ABAF}" dt="2023-11-07T22:05:24.695" v="7798"/>
          <ac:spMkLst>
            <pc:docMk/>
            <pc:sldMk cId="1450446987" sldId="264"/>
            <ac:spMk id="28" creationId="{CCA5008F-57EC-C24D-08AD-B7F154B6F4E7}"/>
          </ac:spMkLst>
        </pc:spChg>
        <pc:spChg chg="mod">
          <ac:chgData name="Joelle Brehm" userId="a518f54c-6985-42c0-8041-2bb16a414839" providerId="ADAL" clId="{5C7B1B84-DD23-48EC-A567-B295FAD2ABAF}" dt="2023-11-07T22:13:05.341" v="12654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5C7B1B84-DD23-48EC-A567-B295FAD2ABAF}" dt="2023-11-07T22:13:05.357" v="12720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5C7B1B84-DD23-48EC-A567-B295FAD2ABAF}" dt="2023-11-07T22:13:05.357" v="12712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5C7B1B84-DD23-48EC-A567-B295FAD2ABAF}" dt="2023-11-07T22:13:05.341" v="12666"/>
          <ac:spMkLst>
            <pc:docMk/>
            <pc:sldMk cId="1450446987" sldId="264"/>
            <ac:spMk id="32" creationId="{AA10C851-A6B4-C67A-2815-80E945AB6CF4}"/>
          </ac:spMkLst>
        </pc:spChg>
        <pc:spChg chg="mod">
          <ac:chgData name="Joelle Brehm" userId="a518f54c-6985-42c0-8041-2bb16a414839" providerId="ADAL" clId="{5C7B1B84-DD23-48EC-A567-B295FAD2ABAF}" dt="2023-11-07T22:13:05.357" v="12723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5C7B1B84-DD23-48EC-A567-B295FAD2ABAF}" dt="2023-11-07T22:13:05.357" v="12722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5C7B1B84-DD23-48EC-A567-B295FAD2ABAF}" dt="2023-11-07T22:13:05.357" v="12728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5C7B1B84-DD23-48EC-A567-B295FAD2ABAF}" dt="2023-11-07T22:13:05.357" v="12724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5C7B1B84-DD23-48EC-A567-B295FAD2ABAF}" dt="2023-11-07T22:13:05.357" v="12719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5C7B1B84-DD23-48EC-A567-B295FAD2ABAF}" dt="2023-11-07T22:13:05.341" v="12656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5C7B1B84-DD23-48EC-A567-B295FAD2ABAF}" dt="2023-11-07T22:13:05.357" v="12709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5C7B1B84-DD23-48EC-A567-B295FAD2ABAF}" dt="2023-11-07T22:13:05.341" v="12692"/>
          <ac:spMkLst>
            <pc:docMk/>
            <pc:sldMk cId="1450446987" sldId="264"/>
            <ac:spMk id="41" creationId="{17283985-5541-D643-07F1-12A6C1BB03BE}"/>
          </ac:spMkLst>
        </pc:spChg>
        <pc:spChg chg="mod">
          <ac:chgData name="Joelle Brehm" userId="a518f54c-6985-42c0-8041-2bb16a414839" providerId="ADAL" clId="{5C7B1B84-DD23-48EC-A567-B295FAD2ABAF}" dt="2023-11-07T22:13:05.357" v="12713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5C7B1B84-DD23-48EC-A567-B295FAD2ABAF}" dt="2023-11-07T22:13:05.341" v="12659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5C7B1B84-DD23-48EC-A567-B295FAD2ABAF}" dt="2023-11-07T22:13:05.341" v="12668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5C7B1B84-DD23-48EC-A567-B295FAD2ABAF}" dt="2023-11-07T22:13:05.357" v="12721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5C7B1B84-DD23-48EC-A567-B295FAD2ABAF}" dt="2023-11-07T22:13:05.341" v="12655"/>
          <ac:spMkLst>
            <pc:docMk/>
            <pc:sldMk cId="1450446987" sldId="264"/>
            <ac:spMk id="46" creationId="{42ABD060-FEE1-EDE0-E99B-69A399E6BFE4}"/>
          </ac:spMkLst>
        </pc:spChg>
        <pc:spChg chg="add mod replST">
          <ac:chgData name="Joelle Brehm" userId="a518f54c-6985-42c0-8041-2bb16a414839" providerId="ADAL" clId="{5C7B1B84-DD23-48EC-A567-B295FAD2ABAF}" dt="2023-11-07T22:13:05.341" v="12665"/>
          <ac:spMkLst>
            <pc:docMk/>
            <pc:sldMk cId="1450446987" sldId="264"/>
            <ac:spMk id="47" creationId="{6D64FB34-D8B2-66AB-BCB4-DA6A0216CA2C}"/>
          </ac:spMkLst>
        </pc:spChg>
        <pc:spChg chg="add del mod modVis">
          <ac:chgData name="Joelle Brehm" userId="a518f54c-6985-42c0-8041-2bb16a414839" providerId="ADAL" clId="{5C7B1B84-DD23-48EC-A567-B295FAD2ABAF}" dt="2023-11-07T22:05:22.534" v="7795"/>
          <ac:spMkLst>
            <pc:docMk/>
            <pc:sldMk cId="1450446987" sldId="264"/>
            <ac:spMk id="48" creationId="{7483FB52-E1B0-3115-A031-6AFB643F3E33}"/>
          </ac:spMkLst>
        </pc:spChg>
        <pc:spChg chg="mod">
          <ac:chgData name="Joelle Brehm" userId="a518f54c-6985-42c0-8041-2bb16a414839" providerId="ADAL" clId="{5C7B1B84-DD23-48EC-A567-B295FAD2ABAF}" dt="2023-11-07T22:13:05.357" v="12714"/>
          <ac:spMkLst>
            <pc:docMk/>
            <pc:sldMk cId="1450446987" sldId="264"/>
            <ac:spMk id="50" creationId="{5FE9258F-A945-F4FF-832B-478FD9BAC76D}"/>
          </ac:spMkLst>
        </pc:spChg>
        <pc:spChg chg="mod">
          <ac:chgData name="Joelle Brehm" userId="a518f54c-6985-42c0-8041-2bb16a414839" providerId="ADAL" clId="{5C7B1B84-DD23-48EC-A567-B295FAD2ABAF}" dt="2023-11-07T22:13:05.341" v="12667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5C7B1B84-DD23-48EC-A567-B295FAD2ABAF}" dt="2023-11-07T22:13:05.381" v="12760"/>
          <ac:spMkLst>
            <pc:docMk/>
            <pc:sldMk cId="1450446987" sldId="264"/>
            <ac:spMk id="52" creationId="{35E94CE7-373A-9E4A-3654-13C7C305FD02}"/>
          </ac:spMkLst>
        </pc:spChg>
        <pc:spChg chg="mod">
          <ac:chgData name="Joelle Brehm" userId="a518f54c-6985-42c0-8041-2bb16a414839" providerId="ADAL" clId="{5C7B1B84-DD23-48EC-A567-B295FAD2ABAF}" dt="2023-11-07T22:13:05.341" v="12671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5C7B1B84-DD23-48EC-A567-B295FAD2ABAF}" dt="2023-11-07T22:13:05.341" v="12657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5C7B1B84-DD23-48EC-A567-B295FAD2ABAF}" dt="2023-11-07T22:13:05.385" v="12771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5C7B1B84-DD23-48EC-A567-B295FAD2ABAF}" dt="2023-11-07T22:13:05.341" v="12658"/>
          <ac:spMkLst>
            <pc:docMk/>
            <pc:sldMk cId="1450446987" sldId="264"/>
            <ac:spMk id="57" creationId="{691D1289-3B15-0AD2-5838-E87715C40325}"/>
          </ac:spMkLst>
        </pc:spChg>
        <pc:spChg chg="add mod replST">
          <ac:chgData name="Joelle Brehm" userId="a518f54c-6985-42c0-8041-2bb16a414839" providerId="ADAL" clId="{5C7B1B84-DD23-48EC-A567-B295FAD2ABAF}" dt="2023-11-07T22:13:05.341" v="12677"/>
          <ac:spMkLst>
            <pc:docMk/>
            <pc:sldMk cId="1450446987" sldId="264"/>
            <ac:spMk id="58" creationId="{998C3F37-48B7-D5CB-D2DD-2BF1FE08D1D9}"/>
          </ac:spMkLst>
        </pc:spChg>
        <pc:spChg chg="mod">
          <ac:chgData name="Joelle Brehm" userId="a518f54c-6985-42c0-8041-2bb16a414839" providerId="ADAL" clId="{5C7B1B84-DD23-48EC-A567-B295FAD2ABAF}" dt="2023-11-07T22:13:05.341" v="12660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5C7B1B84-DD23-48EC-A567-B295FAD2ABAF}" dt="2023-11-07T22:13:05.374" v="12731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5C7B1B84-DD23-48EC-A567-B295FAD2ABAF}" dt="2023-11-07T22:13:05.374" v="12733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5C7B1B84-DD23-48EC-A567-B295FAD2ABAF}" dt="2023-11-07T22:13:05.375" v="12735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5C7B1B84-DD23-48EC-A567-B295FAD2ABAF}" dt="2023-11-07T22:13:05.341" v="12682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5C7B1B84-DD23-48EC-A567-B295FAD2ABAF}" dt="2023-11-07T22:13:05.357" v="12725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5C7B1B84-DD23-48EC-A567-B295FAD2ABAF}" dt="2023-11-07T22:13:05.341" v="12669"/>
          <ac:spMkLst>
            <pc:docMk/>
            <pc:sldMk cId="1450446987" sldId="264"/>
            <ac:spMk id="65" creationId="{3157109A-3120-04A6-D693-60F57F766A08}"/>
          </ac:spMkLst>
        </pc:spChg>
        <pc:spChg chg="add del mod modVis">
          <ac:chgData name="Joelle Brehm" userId="a518f54c-6985-42c0-8041-2bb16a414839" providerId="ADAL" clId="{5C7B1B84-DD23-48EC-A567-B295FAD2ABAF}" dt="2023-11-07T22:05:31.144" v="8258"/>
          <ac:spMkLst>
            <pc:docMk/>
            <pc:sldMk cId="1450446987" sldId="264"/>
            <ac:spMk id="66" creationId="{629BE830-2125-0D00-E989-E3F43AD039B2}"/>
          </ac:spMkLst>
        </pc:spChg>
        <pc:spChg chg="mod">
          <ac:chgData name="Joelle Brehm" userId="a518f54c-6985-42c0-8041-2bb16a414839" providerId="ADAL" clId="{5C7B1B84-DD23-48EC-A567-B295FAD2ABAF}" dt="2023-11-07T22:13:05.357" v="12694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5C7B1B84-DD23-48EC-A567-B295FAD2ABAF}" dt="2023-11-07T22:13:05.341" v="12670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5C7B1B84-DD23-48EC-A567-B295FAD2ABAF}" dt="2023-11-07T22:13:05.385" v="12763"/>
          <ac:spMkLst>
            <pc:docMk/>
            <pc:sldMk cId="1450446987" sldId="264"/>
            <ac:spMk id="69" creationId="{DE2291CF-E337-7DDA-5968-40B109D88D57}"/>
          </ac:spMkLst>
        </pc:spChg>
        <pc:spChg chg="del mod">
          <ac:chgData name="Joelle Brehm" userId="a518f54c-6985-42c0-8041-2bb16a414839" providerId="ADAL" clId="{5C7B1B84-DD23-48EC-A567-B295FAD2ABAF}" dt="2023-11-07T22:08:06.288" v="10650"/>
          <ac:spMkLst>
            <pc:docMk/>
            <pc:sldMk cId="1450446987" sldId="264"/>
            <ac:spMk id="70" creationId="{7CAA3B95-4C78-4122-BECA-B5FB0F3F3764}"/>
          </ac:spMkLst>
        </pc:spChg>
        <pc:spChg chg="add mod replST">
          <ac:chgData name="Joelle Brehm" userId="a518f54c-6985-42c0-8041-2bb16a414839" providerId="ADAL" clId="{5C7B1B84-DD23-48EC-A567-B295FAD2ABAF}" dt="2023-11-07T22:13:05.385" v="12769"/>
          <ac:spMkLst>
            <pc:docMk/>
            <pc:sldMk cId="1450446987" sldId="264"/>
            <ac:spMk id="72" creationId="{083CFBB9-44A9-ECE4-4C8E-DC2ED54DB4C5}"/>
          </ac:spMkLst>
        </pc:spChg>
        <pc:spChg chg="mod">
          <ac:chgData name="Joelle Brehm" userId="a518f54c-6985-42c0-8041-2bb16a414839" providerId="ADAL" clId="{5C7B1B84-DD23-48EC-A567-B295FAD2ABAF}" dt="2023-11-07T22:13:05.341" v="12683"/>
          <ac:spMkLst>
            <pc:docMk/>
            <pc:sldMk cId="1450446987" sldId="264"/>
            <ac:spMk id="73" creationId="{9222FB5E-7628-BAAE-A4E4-E9F13F9B74EE}"/>
          </ac:spMkLst>
        </pc:spChg>
        <pc:spChg chg="del mod">
          <ac:chgData name="Joelle Brehm" userId="a518f54c-6985-42c0-8041-2bb16a414839" providerId="ADAL" clId="{5C7B1B84-DD23-48EC-A567-B295FAD2ABAF}" dt="2023-11-07T22:06:12.039" v="9729"/>
          <ac:spMkLst>
            <pc:docMk/>
            <pc:sldMk cId="1450446987" sldId="264"/>
            <ac:spMk id="74" creationId="{F958F86A-808B-E798-783E-1A1F613E0728}"/>
          </ac:spMkLst>
        </pc:spChg>
        <pc:spChg chg="add del mod modVis">
          <ac:chgData name="Joelle Brehm" userId="a518f54c-6985-42c0-8041-2bb16a414839" providerId="ADAL" clId="{5C7B1B84-DD23-48EC-A567-B295FAD2ABAF}" dt="2023-11-07T22:05:38.442" v="8525"/>
          <ac:spMkLst>
            <pc:docMk/>
            <pc:sldMk cId="1450446987" sldId="264"/>
            <ac:spMk id="75" creationId="{6C214DEC-1F62-3E68-EA3E-DE6B087EAD18}"/>
          </ac:spMkLst>
        </pc:spChg>
        <pc:spChg chg="mod">
          <ac:chgData name="Joelle Brehm" userId="a518f54c-6985-42c0-8041-2bb16a414839" providerId="ADAL" clId="{5C7B1B84-DD23-48EC-A567-B295FAD2ABAF}" dt="2023-11-07T22:13:05.341" v="12672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5C7B1B84-DD23-48EC-A567-B295FAD2ABAF}" dt="2023-11-07T22:13:05.376" v="12742"/>
          <ac:spMkLst>
            <pc:docMk/>
            <pc:sldMk cId="1450446987" sldId="264"/>
            <ac:spMk id="77" creationId="{60F97E40-1529-395D-816D-8834F0F881FD}"/>
          </ac:spMkLst>
        </pc:spChg>
        <pc:spChg chg="del mod">
          <ac:chgData name="Joelle Brehm" userId="a518f54c-6985-42c0-8041-2bb16a414839" providerId="ADAL" clId="{5C7B1B84-DD23-48EC-A567-B295FAD2ABAF}" dt="2023-11-07T22:06:12.039" v="9728"/>
          <ac:spMkLst>
            <pc:docMk/>
            <pc:sldMk cId="1450446987" sldId="264"/>
            <ac:spMk id="79" creationId="{7839083A-6222-21DF-942E-D412CB0A038D}"/>
          </ac:spMkLst>
        </pc:spChg>
        <pc:spChg chg="mod">
          <ac:chgData name="Joelle Brehm" userId="a518f54c-6985-42c0-8041-2bb16a414839" providerId="ADAL" clId="{5C7B1B84-DD23-48EC-A567-B295FAD2ABAF}" dt="2023-11-07T22:13:05.385" v="12774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5C7B1B84-DD23-48EC-A567-B295FAD2ABAF}" dt="2023-11-07T22:13:05.357" v="12695"/>
          <ac:spMkLst>
            <pc:docMk/>
            <pc:sldMk cId="1450446987" sldId="264"/>
            <ac:spMk id="81" creationId="{6F4C96C8-F30F-B7F9-162B-D0B13BC90C2B}"/>
          </ac:spMkLst>
        </pc:spChg>
        <pc:spChg chg="add mod replST">
          <ac:chgData name="Joelle Brehm" userId="a518f54c-6985-42c0-8041-2bb16a414839" providerId="ADAL" clId="{5C7B1B84-DD23-48EC-A567-B295FAD2ABAF}" dt="2023-11-07T22:13:05.385" v="12780"/>
          <ac:spMkLst>
            <pc:docMk/>
            <pc:sldMk cId="1450446987" sldId="264"/>
            <ac:spMk id="83" creationId="{A21D7036-40FA-BB0C-4CA6-E61688467FC8}"/>
          </ac:spMkLst>
        </pc:spChg>
        <pc:spChg chg="mod">
          <ac:chgData name="Joelle Brehm" userId="a518f54c-6985-42c0-8041-2bb16a414839" providerId="ADAL" clId="{5C7B1B84-DD23-48EC-A567-B295FAD2ABAF}" dt="2023-11-07T22:13:05.385" v="12762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5C7B1B84-DD23-48EC-A567-B295FAD2ABAF}" dt="2023-11-07T22:13:05.341" v="12661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5C7B1B84-DD23-48EC-A567-B295FAD2ABAF}" dt="2023-11-07T22:13:05.341" v="12685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5C7B1B84-DD23-48EC-A567-B295FAD2ABAF}" dt="2023-11-07T22:13:05.357" v="12726"/>
          <ac:spMkLst>
            <pc:docMk/>
            <pc:sldMk cId="1450446987" sldId="264"/>
            <ac:spMk id="87" creationId="{06946997-7AFB-6327-F61E-B25533F6C115}"/>
          </ac:spMkLst>
        </pc:spChg>
        <pc:spChg chg="add del mod modVis">
          <ac:chgData name="Joelle Brehm" userId="a518f54c-6985-42c0-8041-2bb16a414839" providerId="ADAL" clId="{5C7B1B84-DD23-48EC-A567-B295FAD2ABAF}" dt="2023-11-07T22:05:50.483" v="8963"/>
          <ac:spMkLst>
            <pc:docMk/>
            <pc:sldMk cId="1450446987" sldId="264"/>
            <ac:spMk id="88" creationId="{2889B683-7E89-0C82-A965-14EB0703A9C8}"/>
          </ac:spMkLst>
        </pc:spChg>
        <pc:spChg chg="mod">
          <ac:chgData name="Joelle Brehm" userId="a518f54c-6985-42c0-8041-2bb16a414839" providerId="ADAL" clId="{5C7B1B84-DD23-48EC-A567-B295FAD2ABAF}" dt="2023-11-07T22:13:05.385" v="12773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5C7B1B84-DD23-48EC-A567-B295FAD2ABAF}" dt="2023-11-07T22:13:05.357" v="12697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5C7B1B84-DD23-48EC-A567-B295FAD2ABAF}" dt="2023-11-07T22:13:05.385" v="12764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5C7B1B84-DD23-48EC-A567-B295FAD2ABAF}" dt="2023-11-07T22:13:05.381" v="12759"/>
          <ac:spMkLst>
            <pc:docMk/>
            <pc:sldMk cId="1450446987" sldId="264"/>
            <ac:spMk id="93" creationId="{E3535E8F-2FE1-602D-1DEE-9C3D3425F046}"/>
          </ac:spMkLst>
        </pc:spChg>
        <pc:spChg chg="mod">
          <ac:chgData name="Joelle Brehm" userId="a518f54c-6985-42c0-8041-2bb16a414839" providerId="ADAL" clId="{5C7B1B84-DD23-48EC-A567-B295FAD2ABAF}" dt="2023-11-07T22:13:05.341" v="12662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5C7B1B84-DD23-48EC-A567-B295FAD2ABAF}" dt="2023-11-07T22:13:05.341" v="12673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5C7B1B84-DD23-48EC-A567-B295FAD2ABAF}" dt="2023-11-07T22:13:05.376" v="12737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5C7B1B84-DD23-48EC-A567-B295FAD2ABAF}" dt="2023-11-07T22:13:05.376" v="12739"/>
          <ac:spMkLst>
            <pc:docMk/>
            <pc:sldMk cId="1450446987" sldId="264"/>
            <ac:spMk id="97" creationId="{64B2B8D7-E8A8-4757-99A4-69F1EAA48321}"/>
          </ac:spMkLst>
        </pc:spChg>
        <pc:spChg chg="mod">
          <ac:chgData name="Joelle Brehm" userId="a518f54c-6985-42c0-8041-2bb16a414839" providerId="ADAL" clId="{5C7B1B84-DD23-48EC-A567-B295FAD2ABAF}" dt="2023-11-07T22:13:05.385" v="12775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5C7B1B84-DD23-48EC-A567-B295FAD2ABAF}" dt="2023-11-07T22:05:54.431" v="9208"/>
          <ac:spMkLst>
            <pc:docMk/>
            <pc:sldMk cId="1450446987" sldId="264"/>
            <ac:spMk id="100" creationId="{4BAE11FF-C1C2-5E41-2140-A212D5BE6676}"/>
          </ac:spMkLst>
        </pc:spChg>
        <pc:spChg chg="add mod replST">
          <ac:chgData name="Joelle Brehm" userId="a518f54c-6985-42c0-8041-2bb16a414839" providerId="ADAL" clId="{5C7B1B84-DD23-48EC-A567-B295FAD2ABAF}" dt="2023-11-07T22:13:05.341" v="12691"/>
          <ac:spMkLst>
            <pc:docMk/>
            <pc:sldMk cId="1450446987" sldId="264"/>
            <ac:spMk id="102" creationId="{6333F09A-AE56-74E1-7B04-F4A5E3860BA0}"/>
          </ac:spMkLst>
        </pc:spChg>
        <pc:spChg chg="add del mod replST">
          <ac:chgData name="Joelle Brehm" userId="a518f54c-6985-42c0-8041-2bb16a414839" providerId="ADAL" clId="{5C7B1B84-DD23-48EC-A567-B295FAD2ABAF}" dt="2023-11-07T22:06:09.546" v="9498"/>
          <ac:spMkLst>
            <pc:docMk/>
            <pc:sldMk cId="1450446987" sldId="264"/>
            <ac:spMk id="103" creationId="{98AFC050-CA0E-E9E1-5F1C-73612CD34D0E}"/>
          </ac:spMkLst>
        </pc:spChg>
        <pc:spChg chg="mod">
          <ac:chgData name="Joelle Brehm" userId="a518f54c-6985-42c0-8041-2bb16a414839" providerId="ADAL" clId="{5C7B1B84-DD23-48EC-A567-B295FAD2ABAF}" dt="2023-11-07T22:13:05.341" v="12684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5C7B1B84-DD23-48EC-A567-B295FAD2ABAF}" dt="2023-11-07T22:13:05.385" v="12765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5C7B1B84-DD23-48EC-A567-B295FAD2ABAF}" dt="2023-11-07T22:13:05.325" v="12649"/>
          <ac:spMkLst>
            <pc:docMk/>
            <pc:sldMk cId="1450446987" sldId="264"/>
            <ac:spMk id="106" creationId="{58013157-8B72-4777-A1DA-B9BACD5A28D4}"/>
          </ac:spMkLst>
        </pc:spChg>
        <pc:spChg chg="add del mod modVis">
          <ac:chgData name="Joelle Brehm" userId="a518f54c-6985-42c0-8041-2bb16a414839" providerId="ADAL" clId="{5C7B1B84-DD23-48EC-A567-B295FAD2ABAF}" dt="2023-11-07T22:06:08.122" v="9495"/>
          <ac:spMkLst>
            <pc:docMk/>
            <pc:sldMk cId="1450446987" sldId="264"/>
            <ac:spMk id="107" creationId="{FF7C0EAD-5537-971D-2842-69DF37B6CBB1}"/>
          </ac:spMkLst>
        </pc:spChg>
        <pc:spChg chg="mod">
          <ac:chgData name="Joelle Brehm" userId="a518f54c-6985-42c0-8041-2bb16a414839" providerId="ADAL" clId="{5C7B1B84-DD23-48EC-A567-B295FAD2ABAF}" dt="2023-11-07T22:13:05.357" v="12696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5C7B1B84-DD23-48EC-A567-B295FAD2ABAF}" dt="2023-11-07T22:13:05.341" v="12686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5C7B1B84-DD23-48EC-A567-B295FAD2ABAF}" dt="2023-11-07T22:13:05.341" v="12674"/>
          <ac:spMkLst>
            <pc:docMk/>
            <pc:sldMk cId="1450446987" sldId="264"/>
            <ac:spMk id="110" creationId="{3E9DFF71-BC3D-F5AB-9F34-2E7EB64B1AD3}"/>
          </ac:spMkLst>
        </pc:spChg>
        <pc:spChg chg="mod">
          <ac:chgData name="Joelle Brehm" userId="a518f54c-6985-42c0-8041-2bb16a414839" providerId="ADAL" clId="{5C7B1B84-DD23-48EC-A567-B295FAD2ABAF}" dt="2023-11-07T22:13:07.722" v="12793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5C7B1B84-DD23-48EC-A567-B295FAD2ABAF}" dt="2023-11-07T22:13:05.357" v="12698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5C7B1B84-DD23-48EC-A567-B295FAD2ABAF}" dt="2023-11-07T22:13:07.722" v="12797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5C7B1B84-DD23-48EC-A567-B295FAD2ABAF}" dt="2023-11-07T22:13:05.385" v="12776"/>
          <ac:spMkLst>
            <pc:docMk/>
            <pc:sldMk cId="1450446987" sldId="264"/>
            <ac:spMk id="116" creationId="{E6B2D068-E691-A10D-15D8-F8578EFD4C29}"/>
          </ac:spMkLst>
        </pc:spChg>
        <pc:spChg chg="add mod replST">
          <ac:chgData name="Joelle Brehm" userId="a518f54c-6985-42c0-8041-2bb16a414839" providerId="ADAL" clId="{5C7B1B84-DD23-48EC-A567-B295FAD2ABAF}" dt="2023-11-07T22:13:05.357" v="12703"/>
          <ac:spMkLst>
            <pc:docMk/>
            <pc:sldMk cId="1450446987" sldId="264"/>
            <ac:spMk id="118" creationId="{64C7D22E-FE71-8346-6A8B-BCCE734C030C}"/>
          </ac:spMkLst>
        </pc:spChg>
        <pc:spChg chg="mod">
          <ac:chgData name="Joelle Brehm" userId="a518f54c-6985-42c0-8041-2bb16a414839" providerId="ADAL" clId="{5C7B1B84-DD23-48EC-A567-B295FAD2ABAF}" dt="2023-11-07T22:13:05.376" v="12746"/>
          <ac:spMkLst>
            <pc:docMk/>
            <pc:sldMk cId="1450446987" sldId="264"/>
            <ac:spMk id="119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2:06:17.129" v="10168"/>
          <ac:spMkLst>
            <pc:docMk/>
            <pc:sldMk cId="1450446987" sldId="264"/>
            <ac:spMk id="120" creationId="{B8643B96-7BD4-8AC3-866D-E7E742985955}"/>
          </ac:spMkLst>
        </pc:spChg>
        <pc:spChg chg="add del mod modVis">
          <ac:chgData name="Joelle Brehm" userId="a518f54c-6985-42c0-8041-2bb16a414839" providerId="ADAL" clId="{5C7B1B84-DD23-48EC-A567-B295FAD2ABAF}" dt="2023-11-07T22:07:56.610" v="10442"/>
          <ac:spMkLst>
            <pc:docMk/>
            <pc:sldMk cId="1450446987" sldId="264"/>
            <ac:spMk id="122" creationId="{2FD17F5A-FAF0-7C6F-15D8-D33155B4471C}"/>
          </ac:spMkLst>
        </pc:spChg>
        <pc:spChg chg="mod">
          <ac:chgData name="Joelle Brehm" userId="a518f54c-6985-42c0-8041-2bb16a414839" providerId="ADAL" clId="{5C7B1B84-DD23-48EC-A567-B295FAD2ABAF}" dt="2023-11-07T22:13:05.341" v="12687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5C7B1B84-DD23-48EC-A567-B295FAD2ABAF}" dt="2023-11-07T22:13:05.385" v="12766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5C7B1B84-DD23-48EC-A567-B295FAD2ABAF}" dt="2023-11-07T22:13:05.341" v="12664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5C7B1B84-DD23-48EC-A567-B295FAD2ABAF}" dt="2023-11-07T22:13:05.357" v="12699"/>
          <ac:spMkLst>
            <pc:docMk/>
            <pc:sldMk cId="1450446987" sldId="264"/>
            <ac:spMk id="127" creationId="{2CF9A986-1E95-AE1A-FD0F-F8AD045E4589}"/>
          </ac:spMkLst>
        </pc:spChg>
        <pc:spChg chg="mod">
          <ac:chgData name="Joelle Brehm" userId="a518f54c-6985-42c0-8041-2bb16a414839" providerId="ADAL" clId="{5C7B1B84-DD23-48EC-A567-B295FAD2ABAF}" dt="2023-11-07T22:13:05.341" v="12676"/>
          <ac:spMkLst>
            <pc:docMk/>
            <pc:sldMk cId="1450446987" sldId="264"/>
            <ac:spMk id="130" creationId="{DB0A6969-9BE6-DD88-9511-7F8FD934DA11}"/>
          </ac:spMkLst>
        </pc:spChg>
        <pc:spChg chg="add del mod modVis">
          <ac:chgData name="Joelle Brehm" userId="a518f54c-6985-42c0-8041-2bb16a414839" providerId="ADAL" clId="{5C7B1B84-DD23-48EC-A567-B295FAD2ABAF}" dt="2023-11-07T22:08:06.362" v="10798"/>
          <ac:spMkLst>
            <pc:docMk/>
            <pc:sldMk cId="1450446987" sldId="264"/>
            <ac:spMk id="131" creationId="{5AF65479-A84A-D95D-7D08-629FE35644A4}"/>
          </ac:spMkLst>
        </pc:spChg>
        <pc:spChg chg="mod">
          <ac:chgData name="Joelle Brehm" userId="a518f54c-6985-42c0-8041-2bb16a414839" providerId="ADAL" clId="{5C7B1B84-DD23-48EC-A567-B295FAD2ABAF}" dt="2023-11-07T22:13:05.385" v="12777"/>
          <ac:spMkLst>
            <pc:docMk/>
            <pc:sldMk cId="1450446987" sldId="264"/>
            <ac:spMk id="132" creationId="{8E856E10-A2C3-3BD4-C02F-F3D2D343989C}"/>
          </ac:spMkLst>
        </pc:spChg>
        <pc:spChg chg="mod">
          <ac:chgData name="Joelle Brehm" userId="a518f54c-6985-42c0-8041-2bb16a414839" providerId="ADAL" clId="{5C7B1B84-DD23-48EC-A567-B295FAD2ABAF}" dt="2023-11-07T22:13:05.357" v="12715"/>
          <ac:spMkLst>
            <pc:docMk/>
            <pc:sldMk cId="1450446987" sldId="264"/>
            <ac:spMk id="134" creationId="{4B21D98E-CBDB-7AFB-94BD-6B7A23D60EC2}"/>
          </ac:spMkLst>
        </pc:spChg>
        <pc:spChg chg="add mod replST">
          <ac:chgData name="Joelle Brehm" userId="a518f54c-6985-42c0-8041-2bb16a414839" providerId="ADAL" clId="{5C7B1B84-DD23-48EC-A567-B295FAD2ABAF}" dt="2023-11-07T22:13:07.730" v="12805"/>
          <ac:spMkLst>
            <pc:docMk/>
            <pc:sldMk cId="1450446987" sldId="264"/>
            <ac:spMk id="135" creationId="{005E4CB4-2A31-DB1F-88CB-2FBBBD0C091B}"/>
          </ac:spMkLst>
        </pc:spChg>
        <pc:spChg chg="mod">
          <ac:chgData name="Joelle Brehm" userId="a518f54c-6985-42c0-8041-2bb16a414839" providerId="ADAL" clId="{5C7B1B84-DD23-48EC-A567-B295FAD2ABAF}" dt="2023-11-07T22:13:05.376" v="12744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5C7B1B84-DD23-48EC-A567-B295FAD2ABAF}" dt="2023-11-07T22:13:05.385" v="12768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5C7B1B84-DD23-48EC-A567-B295FAD2ABAF}" dt="2023-11-07T22:13:05.341" v="12688"/>
          <ac:spMkLst>
            <pc:docMk/>
            <pc:sldMk cId="1450446987" sldId="264"/>
            <ac:spMk id="139" creationId="{90D6C27A-2B60-467B-C5C7-9CCE43964040}"/>
          </ac:spMkLst>
        </pc:spChg>
        <pc:spChg chg="add del mod modVis">
          <ac:chgData name="Joelle Brehm" userId="a518f54c-6985-42c0-8041-2bb16a414839" providerId="ADAL" clId="{5C7B1B84-DD23-48EC-A567-B295FAD2ABAF}" dt="2023-11-07T22:08:30.452" v="11007"/>
          <ac:spMkLst>
            <pc:docMk/>
            <pc:sldMk cId="1450446987" sldId="264"/>
            <ac:spMk id="140" creationId="{8794405C-7BF7-3ACB-C534-1B5A83B2D3BE}"/>
          </ac:spMkLst>
        </pc:spChg>
        <pc:spChg chg="mod">
          <ac:chgData name="Joelle Brehm" userId="a518f54c-6985-42c0-8041-2bb16a414839" providerId="ADAL" clId="{5C7B1B84-DD23-48EC-A567-B295FAD2ABAF}" dt="2023-11-07T22:13:05.357" v="12727"/>
          <ac:spMkLst>
            <pc:docMk/>
            <pc:sldMk cId="1450446987" sldId="264"/>
            <ac:spMk id="141" creationId="{E36F4C8D-EC2C-AF10-792A-6324A776E04A}"/>
          </ac:spMkLst>
        </pc:spChg>
        <pc:spChg chg="mod">
          <ac:chgData name="Joelle Brehm" userId="a518f54c-6985-42c0-8041-2bb16a414839" providerId="ADAL" clId="{5C7B1B84-DD23-48EC-A567-B295FAD2ABAF}" dt="2023-11-07T22:13:05.357" v="12700"/>
          <ac:spMkLst>
            <pc:docMk/>
            <pc:sldMk cId="1450446987" sldId="264"/>
            <ac:spMk id="143" creationId="{8B4F9978-6CBD-ADA8-09AB-786FD14471F8}"/>
          </ac:spMkLst>
        </pc:spChg>
        <pc:spChg chg="add mod replST">
          <ac:chgData name="Joelle Brehm" userId="a518f54c-6985-42c0-8041-2bb16a414839" providerId="ADAL" clId="{5C7B1B84-DD23-48EC-A567-B295FAD2ABAF}" dt="2023-11-07T22:13:07.730" v="12801"/>
          <ac:spMkLst>
            <pc:docMk/>
            <pc:sldMk cId="1450446987" sldId="264"/>
            <ac:spMk id="144" creationId="{5181FAC4-6DC3-041D-2CC1-374608CD8D5F}"/>
          </ac:spMkLst>
        </pc:spChg>
        <pc:spChg chg="add del mod modVis">
          <ac:chgData name="Joelle Brehm" userId="a518f54c-6985-42c0-8041-2bb16a414839" providerId="ADAL" clId="{5C7B1B84-DD23-48EC-A567-B295FAD2ABAF}" dt="2023-11-07T22:09:58.734" v="11204"/>
          <ac:spMkLst>
            <pc:docMk/>
            <pc:sldMk cId="1450446987" sldId="264"/>
            <ac:spMk id="145" creationId="{C43F8A01-DBAB-B3BA-A362-44C5DCA1DBD5}"/>
          </ac:spMkLst>
        </pc:spChg>
        <pc:spChg chg="mod">
          <ac:chgData name="Joelle Brehm" userId="a518f54c-6985-42c0-8041-2bb16a414839" providerId="ADAL" clId="{5C7B1B84-DD23-48EC-A567-B295FAD2ABAF}" dt="2023-11-07T22:13:05.385" v="12779"/>
          <ac:spMkLst>
            <pc:docMk/>
            <pc:sldMk cId="1450446987" sldId="264"/>
            <ac:spMk id="146" creationId="{6414DE83-49A9-C649-08EC-1FB84B54E2EA}"/>
          </ac:spMkLst>
        </pc:spChg>
        <pc:spChg chg="mod">
          <ac:chgData name="Joelle Brehm" userId="a518f54c-6985-42c0-8041-2bb16a414839" providerId="ADAL" clId="{5C7B1B84-DD23-48EC-A567-B295FAD2ABAF}" dt="2023-11-07T22:13:05.341" v="12663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5C7B1B84-DD23-48EC-A567-B295FAD2ABAF}" dt="2023-11-07T22:13:05.341" v="12675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5C7B1B84-DD23-48EC-A567-B295FAD2ABAF}" dt="2023-11-07T22:09:59.400" v="11394"/>
          <ac:spMkLst>
            <pc:docMk/>
            <pc:sldMk cId="1450446987" sldId="264"/>
            <ac:spMk id="150" creationId="{E403E3BD-9EA2-9280-6E3F-2C49C150C55E}"/>
          </ac:spMkLst>
        </pc:spChg>
        <pc:spChg chg="del mod">
          <ac:chgData name="Joelle Brehm" userId="a518f54c-6985-42c0-8041-2bb16a414839" providerId="ADAL" clId="{5C7B1B84-DD23-48EC-A567-B295FAD2ABAF}" dt="2023-11-07T22:05:40.614" v="8528"/>
          <ac:spMkLst>
            <pc:docMk/>
            <pc:sldMk cId="1450446987" sldId="264"/>
            <ac:spMk id="151" creationId="{7EF7CCB6-B417-DC51-1AB2-68262CB2FA75}"/>
          </ac:spMkLst>
        </pc:spChg>
        <pc:spChg chg="mod">
          <ac:chgData name="Joelle Brehm" userId="a518f54c-6985-42c0-8041-2bb16a414839" providerId="ADAL" clId="{5C7B1B84-DD23-48EC-A567-B295FAD2ABAF}" dt="2023-11-07T22:13:05.381" v="12758"/>
          <ac:spMkLst>
            <pc:docMk/>
            <pc:sldMk cId="1450446987" sldId="264"/>
            <ac:spMk id="152" creationId="{DA6FB46B-FE82-345B-FD6E-877AEF916054}"/>
          </ac:spMkLst>
        </pc:spChg>
        <pc:spChg chg="mod">
          <ac:chgData name="Joelle Brehm" userId="a518f54c-6985-42c0-8041-2bb16a414839" providerId="ADAL" clId="{5C7B1B84-DD23-48EC-A567-B295FAD2ABAF}" dt="2023-11-07T22:13:05.341" v="12690"/>
          <ac:spMkLst>
            <pc:docMk/>
            <pc:sldMk cId="1450446987" sldId="264"/>
            <ac:spMk id="154" creationId="{A61E4EE9-FC3E-9FF2-7995-0C75440B927B}"/>
          </ac:spMkLst>
        </pc:spChg>
        <pc:spChg chg="add del mod modVis">
          <ac:chgData name="Joelle Brehm" userId="a518f54c-6985-42c0-8041-2bb16a414839" providerId="ADAL" clId="{5C7B1B84-DD23-48EC-A567-B295FAD2ABAF}" dt="2023-11-07T22:10:08.096" v="11595"/>
          <ac:spMkLst>
            <pc:docMk/>
            <pc:sldMk cId="1450446987" sldId="264"/>
            <ac:spMk id="156" creationId="{6EE5F031-9863-D79D-08A2-72E082AE0B0B}"/>
          </ac:spMkLst>
        </pc:spChg>
        <pc:spChg chg="mod">
          <ac:chgData name="Joelle Brehm" userId="a518f54c-6985-42c0-8041-2bb16a414839" providerId="ADAL" clId="{5C7B1B84-DD23-48EC-A567-B295FAD2ABAF}" dt="2023-11-07T22:13:05.341" v="12689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5C7B1B84-DD23-48EC-A567-B295FAD2ABAF}" dt="2023-11-07T22:13:05.357" v="12701"/>
          <ac:spMkLst>
            <pc:docMk/>
            <pc:sldMk cId="1450446987" sldId="264"/>
            <ac:spMk id="158" creationId="{5B6F19F9-65BC-D043-328A-0D4F88644681}"/>
          </ac:spMkLst>
        </pc:spChg>
        <pc:spChg chg="mod">
          <ac:chgData name="Joelle Brehm" userId="a518f54c-6985-42c0-8041-2bb16a414839" providerId="ADAL" clId="{5C7B1B84-DD23-48EC-A567-B295FAD2ABAF}" dt="2023-11-07T22:13:05.376" v="12743"/>
          <ac:spMkLst>
            <pc:docMk/>
            <pc:sldMk cId="1450446987" sldId="264"/>
            <ac:spMk id="160" creationId="{07C3E5D2-7583-63D0-37B6-7B151A712896}"/>
          </ac:spMkLst>
        </pc:spChg>
        <pc:spChg chg="add del mod modVis">
          <ac:chgData name="Joelle Brehm" userId="a518f54c-6985-42c0-8041-2bb16a414839" providerId="ADAL" clId="{5C7B1B84-DD23-48EC-A567-B295FAD2ABAF}" dt="2023-11-07T22:12:42.539" v="11849"/>
          <ac:spMkLst>
            <pc:docMk/>
            <pc:sldMk cId="1450446987" sldId="264"/>
            <ac:spMk id="161" creationId="{03C8069F-52B7-22AE-0E88-CE7396484BF5}"/>
          </ac:spMkLst>
        </pc:spChg>
        <pc:spChg chg="mod">
          <ac:chgData name="Joelle Brehm" userId="a518f54c-6985-42c0-8041-2bb16a414839" providerId="ADAL" clId="{5C7B1B84-DD23-48EC-A567-B295FAD2ABAF}" dt="2023-11-07T22:13:07.730" v="12817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5C7B1B84-DD23-48EC-A567-B295FAD2ABAF}" dt="2023-11-07T22:13:05.357" v="12702"/>
          <ac:spMkLst>
            <pc:docMk/>
            <pc:sldMk cId="1450446987" sldId="264"/>
            <ac:spMk id="163" creationId="{B4BF5702-9B69-493D-938D-23FA87022A8B}"/>
          </ac:spMkLst>
        </pc:spChg>
        <pc:spChg chg="add mod replST">
          <ac:chgData name="Joelle Brehm" userId="a518f54c-6985-42c0-8041-2bb16a414839" providerId="ADAL" clId="{5C7B1B84-DD23-48EC-A567-B295FAD2ABAF}" dt="2023-11-07T22:13:05.376" v="12745"/>
          <ac:spMkLst>
            <pc:docMk/>
            <pc:sldMk cId="1450446987" sldId="264"/>
            <ac:spMk id="16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2:13:05.385" v="12767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5C7B1B84-DD23-48EC-A567-B295FAD2ABAF}" dt="2023-11-07T22:13:05.385" v="12778"/>
          <ac:spMkLst>
            <pc:docMk/>
            <pc:sldMk cId="1450446987" sldId="264"/>
            <ac:spMk id="167" creationId="{F4E87B54-979D-3FF4-CD65-15E354C7960B}"/>
          </ac:spMkLst>
        </pc:spChg>
        <pc:spChg chg="add del mod modVis">
          <ac:chgData name="Joelle Brehm" userId="a518f54c-6985-42c0-8041-2bb16a414839" providerId="ADAL" clId="{5C7B1B84-DD23-48EC-A567-B295FAD2ABAF}" dt="2023-11-07T22:12:43.214" v="12050"/>
          <ac:spMkLst>
            <pc:docMk/>
            <pc:sldMk cId="1450446987" sldId="264"/>
            <ac:spMk id="170" creationId="{2AD82CEE-528D-3BDB-EE5D-F3E0BA8836BE}"/>
          </ac:spMkLst>
        </pc:spChg>
        <pc:spChg chg="add del mod modVis">
          <ac:chgData name="Joelle Brehm" userId="a518f54c-6985-42c0-8041-2bb16a414839" providerId="ADAL" clId="{5C7B1B84-DD23-48EC-A567-B295FAD2ABAF}" dt="2023-11-07T22:12:56.748" v="12582"/>
          <ac:spMkLst>
            <pc:docMk/>
            <pc:sldMk cId="1450446987" sldId="264"/>
            <ac:spMk id="173" creationId="{E048D7B5-82B0-BDED-371E-3CB31417DFF7}"/>
          </ac:spMkLst>
        </pc:spChg>
        <pc:spChg chg="mod">
          <ac:chgData name="Joelle Brehm" userId="a518f54c-6985-42c0-8041-2bb16a414839" providerId="ADAL" clId="{5C7B1B84-DD23-48EC-A567-B295FAD2ABAF}" dt="2023-11-07T22:13:05.385" v="12770"/>
          <ac:spMkLst>
            <pc:docMk/>
            <pc:sldMk cId="1450446987" sldId="264"/>
            <ac:spMk id="183" creationId="{AF9B10EE-106F-F48F-396B-6E0A5755F50A}"/>
          </ac:spMkLst>
        </pc:spChg>
        <pc:spChg chg="del mod">
          <ac:chgData name="Joelle Brehm" userId="a518f54c-6985-42c0-8041-2bb16a414839" providerId="ADAL" clId="{5C7B1B84-DD23-48EC-A567-B295FAD2ABAF}" dt="2023-11-07T22:08:01.527" v="10445"/>
          <ac:spMkLst>
            <pc:docMk/>
            <pc:sldMk cId="1450446987" sldId="264"/>
            <ac:spMk id="188" creationId="{3EAD5544-D356-497E-99A8-A208C0CDD275}"/>
          </ac:spMkLst>
        </pc:spChg>
        <pc:spChg chg="mod">
          <ac:chgData name="Joelle Brehm" userId="a518f54c-6985-42c0-8041-2bb16a414839" providerId="ADAL" clId="{5C7B1B84-DD23-48EC-A567-B295FAD2ABAF}" dt="2023-11-07T22:13:05.341" v="12680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5C7B1B84-DD23-48EC-A567-B295FAD2ABAF}" dt="2023-11-07T22:13:05.341" v="12681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5C7B1B84-DD23-48EC-A567-B295FAD2ABAF}" dt="2023-11-07T22:13:05.357" v="12693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5C7B1B84-DD23-48EC-A567-B295FAD2ABAF}" dt="2023-11-07T22:13:05.381" v="12755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5C7B1B84-DD23-48EC-A567-B295FAD2ABAF}" dt="2023-11-07T22:13:05.385" v="12782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5C7B1B84-DD23-48EC-A567-B295FAD2ABAF}" dt="2023-11-07T22:13:07.746" v="12821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45:36.148" v="7103"/>
          <ac:graphicFrameMkLst>
            <pc:docMk/>
            <pc:sldMk cId="1450446987" sldId="264"/>
            <ac:graphicFrameMk id="15" creationId="{B5B6CB3A-9376-1713-045E-4E7670EE3DA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45:43.675" v="7319"/>
          <ac:graphicFrameMkLst>
            <pc:docMk/>
            <pc:sldMk cId="1450446987" sldId="264"/>
            <ac:graphicFrameMk id="19" creationId="{3AABA73B-FE42-CEF5-B79E-D5228381ADC8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2:13:05.357" v="12705"/>
          <ac:graphicFrameMkLst>
            <pc:docMk/>
            <pc:sldMk cId="1450446987" sldId="264"/>
            <ac:graphicFrameMk id="33" creationId="{145BB362-0CED-62F3-6D13-71262579EEC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5:24.749" v="7894"/>
          <ac:graphicFrameMkLst>
            <pc:docMk/>
            <pc:sldMk cId="1450446987" sldId="264"/>
            <ac:graphicFrameMk id="49" creationId="{08B48711-D666-A1F4-9C6E-11258D28131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5:31.075" v="8110"/>
          <ac:graphicFrameMkLst>
            <pc:docMk/>
            <pc:sldMk cId="1450446987" sldId="264"/>
            <ac:graphicFrameMk id="53" creationId="{04CFED3B-F9B8-449D-F020-92532F18C10A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2:13:05.341" v="12653"/>
          <ac:graphicFrameMkLst>
            <pc:docMk/>
            <pc:sldMk cId="1450446987" sldId="264"/>
            <ac:graphicFrameMk id="71" creationId="{60BF22D4-46D2-ACEB-3518-267369F2968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5:40.645" v="8598"/>
          <ac:graphicFrameMkLst>
            <pc:docMk/>
            <pc:sldMk cId="1450446987" sldId="264"/>
            <ac:graphicFrameMk id="78" creationId="{345244AA-703B-04E3-1117-081E569C02A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5:50.399" v="8814"/>
          <ac:graphicFrameMkLst>
            <pc:docMk/>
            <pc:sldMk cId="1450446987" sldId="264"/>
            <ac:graphicFrameMk id="82" creationId="{2BAF3E64-AA0E-2077-E1C3-F7DD9E78B064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2:13:05.381" v="12757"/>
          <ac:graphicFrameMkLst>
            <pc:docMk/>
            <pc:sldMk cId="1450446987" sldId="264"/>
            <ac:graphicFrameMk id="92" creationId="{74ECDF7E-033E-B260-7B68-1E5F83BD2BEF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2:07:56.536" v="10284"/>
          <ac:graphicFrameMkLst>
            <pc:docMk/>
            <pc:sldMk cId="1450446987" sldId="264"/>
            <ac:graphicFrameMk id="98" creationId="{E4330C6A-7C84-015A-D75F-78E375E17F5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6:08.038" v="9344"/>
          <ac:graphicFrameMkLst>
            <pc:docMk/>
            <pc:sldMk cId="1450446987" sldId="264"/>
            <ac:graphicFrameMk id="101" creationId="{C7549886-1C3A-2981-DBAC-2EB5E266A0F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6:09.595" v="9577"/>
          <ac:graphicFrameMkLst>
            <pc:docMk/>
            <pc:sldMk cId="1450446987" sldId="264"/>
            <ac:graphicFrameMk id="111" creationId="{0957A75D-EF4A-4064-29FD-B955E4C240A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6:12.071" v="9802"/>
          <ac:graphicFrameMkLst>
            <pc:docMk/>
            <pc:sldMk cId="1450446987" sldId="264"/>
            <ac:graphicFrameMk id="114" creationId="{F46B7D37-4F55-DF31-4E36-95308711E6B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6:17.038" v="10019"/>
          <ac:graphicFrameMkLst>
            <pc:docMk/>
            <pc:sldMk cId="1450446987" sldId="264"/>
            <ac:graphicFrameMk id="117" creationId="{0AF9CD6A-0067-034B-50B2-83CE03EE6C2A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2:13:05.341" v="12679"/>
          <ac:graphicFrameMkLst>
            <pc:docMk/>
            <pc:sldMk cId="1450446987" sldId="264"/>
            <ac:graphicFrameMk id="121" creationId="{CD347950-ECB4-09B4-D5D3-1679A514831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1:45:31.591" v="6877"/>
          <ac:graphicFrameMkLst>
            <pc:docMk/>
            <pc:sldMk cId="1450446987" sldId="264"/>
            <ac:graphicFrameMk id="123" creationId="{176B01E5-7BB0-E33D-D82C-FC3F6250B95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8:01.543" v="10464"/>
          <ac:graphicFrameMkLst>
            <pc:docMk/>
            <pc:sldMk cId="1450446987" sldId="264"/>
            <ac:graphicFrameMk id="128" creationId="{14B23C44-6D9B-65A1-CC18-CE231B93555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8:06.288" v="10652"/>
          <ac:graphicFrameMkLst>
            <pc:docMk/>
            <pc:sldMk cId="1450446987" sldId="264"/>
            <ac:graphicFrameMk id="129" creationId="{957BC7E8-96D3-13B6-9128-7CA07406F35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8:30.368" v="10843"/>
          <ac:graphicFrameMkLst>
            <pc:docMk/>
            <pc:sldMk cId="1450446987" sldId="264"/>
            <ac:graphicFrameMk id="133" creationId="{6005E693-8342-0466-F919-6E225692B837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2:05:22.455" v="7646"/>
          <ac:graphicFrameMkLst>
            <pc:docMk/>
            <pc:sldMk cId="1450446987" sldId="264"/>
            <ac:graphicFrameMk id="137" creationId="{8462B2D5-8857-5A6C-3E18-27F5DD4CC6B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9:58.634" v="11056"/>
          <ac:graphicFrameMkLst>
            <pc:docMk/>
            <pc:sldMk cId="1450446987" sldId="264"/>
            <ac:graphicFrameMk id="142" creationId="{2FAC2458-A8C1-5C25-787A-163BC799626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09:59.316" v="11246"/>
          <ac:graphicFrameMkLst>
            <pc:docMk/>
            <pc:sldMk cId="1450446987" sldId="264"/>
            <ac:graphicFrameMk id="147" creationId="{4A21477F-C6AB-D24F-7A2C-CB9BC96C611A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2:05:38.350" v="8376"/>
          <ac:graphicFrameMkLst>
            <pc:docMk/>
            <pc:sldMk cId="1450446987" sldId="264"/>
            <ac:graphicFrameMk id="153" creationId="{BC7EF866-BB0F-2F8C-2622-CADCE0A9B0D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10:08.028" v="11447"/>
          <ac:graphicFrameMkLst>
            <pc:docMk/>
            <pc:sldMk cId="1450446987" sldId="264"/>
            <ac:graphicFrameMk id="155" creationId="{8421C675-3920-1F45-B676-D76865ECEBE7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12:42.470" v="11700"/>
          <ac:graphicFrameMkLst>
            <pc:docMk/>
            <pc:sldMk cId="1450446987" sldId="264"/>
            <ac:graphicFrameMk id="159" creationId="{3CF06FD0-1A27-0389-C17F-42F5B53EB4A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12:43.134" v="11901"/>
          <ac:graphicFrameMkLst>
            <pc:docMk/>
            <pc:sldMk cId="1450446987" sldId="264"/>
            <ac:graphicFrameMk id="165" creationId="{06706A6A-E7A1-22F2-A735-5A7D425465B4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2:05:54.367" v="9059"/>
          <ac:graphicFrameMkLst>
            <pc:docMk/>
            <pc:sldMk cId="1450446987" sldId="264"/>
            <ac:graphicFrameMk id="168" creationId="{C9CD5985-6C4B-5D15-5B4F-D95E10E7AC3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12:56.648" v="12405"/>
          <ac:graphicFrameMkLst>
            <pc:docMk/>
            <pc:sldMk cId="1450446987" sldId="264"/>
            <ac:graphicFrameMk id="171" creationId="{E713AFA0-E04A-882A-D123-A95EE322B5FB}"/>
          </ac:graphicFrameMkLst>
        </pc:graphicFrameChg>
        <pc:graphicFrameChg chg="add mod ord replST delST">
          <ac:chgData name="Joelle Brehm" userId="a518f54c-6985-42c0-8041-2bb16a414839" providerId="ADAL" clId="{5C7B1B84-DD23-48EC-A567-B295FAD2ABAF}" dt="2023-11-07T22:12:51.777" v="12308"/>
          <ac:graphicFrameMkLst>
            <pc:docMk/>
            <pc:sldMk cId="1450446987" sldId="264"/>
            <ac:graphicFrameMk id="172" creationId="{E54F4FF6-8352-0AFD-1F63-1FF6A32AFC0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2:13:05.306" v="12623"/>
          <ac:graphicFrameMkLst>
            <pc:docMk/>
            <pc:sldMk cId="1450446987" sldId="264"/>
            <ac:graphicFrameMk id="174" creationId="{5BDCC060-B494-FD9D-2E05-726D3E4E7308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2:13:05.376" v="12741"/>
          <ac:graphicFrameMkLst>
            <pc:docMk/>
            <pc:sldMk cId="1450446987" sldId="264"/>
            <ac:graphicFrameMk id="175" creationId="{53C772D1-BF37-A1E2-8FD7-FEB010A88694}"/>
          </ac:graphicFrameMkLst>
        </pc:graphicFrameChg>
        <pc:picChg chg="mod ord">
          <ac:chgData name="Joelle Brehm" userId="a518f54c-6985-42c0-8041-2bb16a414839" providerId="ADAL" clId="{5C7B1B84-DD23-48EC-A567-B295FAD2ABAF}" dt="2023-11-07T22:13:05.341" v="12651"/>
          <ac:picMkLst>
            <pc:docMk/>
            <pc:sldMk cId="1450446987" sldId="264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5C7B1B84-DD23-48EC-A567-B295FAD2ABAF}" dt="2023-11-07T22:13:05.325" v="12645"/>
          <ac:picMkLst>
            <pc:docMk/>
            <pc:sldMk cId="1450446987" sldId="264"/>
            <ac:picMk id="6" creationId="{E557CB13-36FB-7632-2EEA-C49250FED1FD}"/>
          </ac:picMkLst>
        </pc:picChg>
        <pc:picChg chg="del mod ord">
          <ac:chgData name="Joelle Brehm" userId="a518f54c-6985-42c0-8041-2bb16a414839" providerId="ADAL" clId="{5C7B1B84-DD23-48EC-A567-B295FAD2ABAF}" dt="2023-11-07T21:45:15.565" v="6704" actId="478"/>
          <ac:picMkLst>
            <pc:docMk/>
            <pc:sldMk cId="1450446987" sldId="264"/>
            <ac:picMk id="169" creationId="{DADE924F-8C5E-DC57-5E03-CC0ED0AAAC6B}"/>
          </ac:picMkLst>
        </pc:picChg>
      </pc:sldChg>
      <pc:sldChg chg="addSp delSp modSp mod">
        <pc:chgData name="Joelle Brehm" userId="a518f54c-6985-42c0-8041-2bb16a414839" providerId="ADAL" clId="{5C7B1B84-DD23-48EC-A567-B295FAD2ABAF}" dt="2023-11-07T23:18:04.933" v="17488"/>
        <pc:sldMkLst>
          <pc:docMk/>
          <pc:sldMk cId="3436037945" sldId="265"/>
        </pc:sldMkLst>
        <pc:spChg chg="mod ord">
          <ac:chgData name="Joelle Brehm" userId="a518f54c-6985-42c0-8041-2bb16a414839" providerId="ADAL" clId="{5C7B1B84-DD23-48EC-A567-B295FAD2ABAF}" dt="2023-11-07T23:18:04.916" v="17482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5C7B1B84-DD23-48EC-A567-B295FAD2ABAF}" dt="2023-11-07T23:17:19.748" v="16128" actId="478"/>
          <ac:spMkLst>
            <pc:docMk/>
            <pc:sldMk cId="3436037945" sldId="265"/>
            <ac:spMk id="3" creationId="{C2818321-7E8F-2DFD-C755-C8823E45D51C}"/>
          </ac:spMkLst>
        </pc:spChg>
        <pc:spChg chg="add del mod modVis">
          <ac:chgData name="Joelle Brehm" userId="a518f54c-6985-42c0-8041-2bb16a414839" providerId="ADAL" clId="{5C7B1B84-DD23-48EC-A567-B295FAD2ABAF}" dt="2023-11-07T23:17:23.308" v="16351"/>
          <ac:spMkLst>
            <pc:docMk/>
            <pc:sldMk cId="3436037945" sldId="265"/>
            <ac:spMk id="5" creationId="{4AE02579-4696-6022-3E74-DC178E409C75}"/>
          </ac:spMkLst>
        </pc:spChg>
        <pc:spChg chg="mod ord">
          <ac:chgData name="Joelle Brehm" userId="a518f54c-6985-42c0-8041-2bb16a414839" providerId="ADAL" clId="{5C7B1B84-DD23-48EC-A567-B295FAD2ABAF}" dt="2023-11-07T23:18:04.901" v="17417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18:04.901" v="17448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5C7B1B84-DD23-48EC-A567-B295FAD2ABAF}" dt="2023-11-07T23:18:04.901" v="17428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18:04.901" v="17424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18:04.901" v="17425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18:04.901" v="17422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18:04.901" v="17423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18:04.901" v="17426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18:04.901" v="17427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18:04.901" v="17429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18:04.901" v="17430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18:04.901" v="17431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18:04.901" v="17432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18:04.901" v="17433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18:04.901" v="17435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18:04.901" v="17438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18:04.901" v="17436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18:04.901" v="17437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18:04.901" v="17440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18:04.901" v="17439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18:04.901" v="17441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18:04.901" v="17443"/>
          <ac:spMkLst>
            <pc:docMk/>
            <pc:sldMk cId="3436037945" sldId="265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5C7B1B84-DD23-48EC-A567-B295FAD2ABAF}" dt="2023-11-07T23:18:04.901" v="17457"/>
          <ac:spMkLst>
            <pc:docMk/>
            <pc:sldMk cId="3436037945" sldId="265"/>
            <ac:spMk id="33" creationId="{88A51C86-CC1A-E0E0-4190-57AF874D78E8}"/>
          </ac:spMkLst>
        </pc:spChg>
        <pc:spChg chg="del mod">
          <ac:chgData name="Joelle Brehm" userId="a518f54c-6985-42c0-8041-2bb16a414839" providerId="ADAL" clId="{5C7B1B84-DD23-48EC-A567-B295FAD2ABAF}" dt="2023-11-07T23:17:46.534" v="16975"/>
          <ac:spMkLst>
            <pc:docMk/>
            <pc:sldMk cId="3436037945" sldId="265"/>
            <ac:spMk id="34" creationId="{A7A9CC08-35FC-512B-D6D9-BC2ABCCAD648}"/>
          </ac:spMkLst>
        </pc:spChg>
        <pc:spChg chg="mod">
          <ac:chgData name="Joelle Brehm" userId="a518f54c-6985-42c0-8041-2bb16a414839" providerId="ADAL" clId="{5C7B1B84-DD23-48EC-A567-B295FAD2ABAF}" dt="2023-11-07T23:18:04.901" v="17446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5C7B1B84-DD23-48EC-A567-B295FAD2ABAF}" dt="2023-11-07T23:18:04.901" v="17447"/>
          <ac:spMkLst>
            <pc:docMk/>
            <pc:sldMk cId="3436037945" sldId="265"/>
            <ac:spMk id="36" creationId="{0BBAC582-1932-357A-D778-84237C43CF05}"/>
          </ac:spMkLst>
        </pc:spChg>
        <pc:spChg chg="add del mod modVis">
          <ac:chgData name="Joelle Brehm" userId="a518f54c-6985-42c0-8041-2bb16a414839" providerId="ADAL" clId="{5C7B1B84-DD23-48EC-A567-B295FAD2ABAF}" dt="2023-11-07T23:17:42.879" v="16801"/>
          <ac:spMkLst>
            <pc:docMk/>
            <pc:sldMk cId="3436037945" sldId="265"/>
            <ac:spMk id="37" creationId="{543F5883-BA09-4764-5C24-FEC4D686FE62}"/>
          </ac:spMkLst>
        </pc:spChg>
        <pc:spChg chg="mod">
          <ac:chgData name="Joelle Brehm" userId="a518f54c-6985-42c0-8041-2bb16a414839" providerId="ADAL" clId="{5C7B1B84-DD23-48EC-A567-B295FAD2ABAF}" dt="2023-11-07T23:18:04.901" v="17449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5C7B1B84-DD23-48EC-A567-B295FAD2ABAF}" dt="2023-11-07T23:18:04.901" v="17450"/>
          <ac:spMkLst>
            <pc:docMk/>
            <pc:sldMk cId="3436037945" sldId="265"/>
            <ac:spMk id="39" creationId="{D3B6923F-EF2F-5CB1-1EC9-23DAFECD1AD3}"/>
          </ac:spMkLst>
        </pc:spChg>
        <pc:spChg chg="mod">
          <ac:chgData name="Joelle Brehm" userId="a518f54c-6985-42c0-8041-2bb16a414839" providerId="ADAL" clId="{5C7B1B84-DD23-48EC-A567-B295FAD2ABAF}" dt="2023-11-07T23:18:04.901" v="17454"/>
          <ac:spMkLst>
            <pc:docMk/>
            <pc:sldMk cId="3436037945" sldId="265"/>
            <ac:spMk id="41" creationId="{16B778E2-8712-DA55-C5AD-4A641096111C}"/>
          </ac:spMkLst>
        </pc:spChg>
        <pc:spChg chg="mod">
          <ac:chgData name="Joelle Brehm" userId="a518f54c-6985-42c0-8041-2bb16a414839" providerId="ADAL" clId="{5C7B1B84-DD23-48EC-A567-B295FAD2ABAF}" dt="2023-11-07T23:18:04.901" v="17451"/>
          <ac:spMkLst>
            <pc:docMk/>
            <pc:sldMk cId="3436037945" sldId="265"/>
            <ac:spMk id="42" creationId="{C3432236-FD50-8E13-A648-6A2FCA3BBBAE}"/>
          </ac:spMkLst>
        </pc:spChg>
        <pc:spChg chg="mod">
          <ac:chgData name="Joelle Brehm" userId="a518f54c-6985-42c0-8041-2bb16a414839" providerId="ADAL" clId="{5C7B1B84-DD23-48EC-A567-B295FAD2ABAF}" dt="2023-11-07T23:18:04.901" v="17455"/>
          <ac:spMkLst>
            <pc:docMk/>
            <pc:sldMk cId="3436037945" sldId="265"/>
            <ac:spMk id="43" creationId="{75C463B6-6FC6-0A00-1C57-A6F7C4BD145A}"/>
          </ac:spMkLst>
        </pc:spChg>
        <pc:spChg chg="mod">
          <ac:chgData name="Joelle Brehm" userId="a518f54c-6985-42c0-8041-2bb16a414839" providerId="ADAL" clId="{5C7B1B84-DD23-48EC-A567-B295FAD2ABAF}" dt="2023-11-07T23:18:04.901" v="17452"/>
          <ac:spMkLst>
            <pc:docMk/>
            <pc:sldMk cId="3436037945" sldId="265"/>
            <ac:spMk id="44" creationId="{16F84182-CECA-3CD8-7D89-52B39ECEBFE4}"/>
          </ac:spMkLst>
        </pc:spChg>
        <pc:spChg chg="mod">
          <ac:chgData name="Joelle Brehm" userId="a518f54c-6985-42c0-8041-2bb16a414839" providerId="ADAL" clId="{5C7B1B84-DD23-48EC-A567-B295FAD2ABAF}" dt="2023-11-07T23:18:04.901" v="17456"/>
          <ac:spMkLst>
            <pc:docMk/>
            <pc:sldMk cId="3436037945" sldId="265"/>
            <ac:spMk id="45" creationId="{790AE0EA-D2B0-6BC1-21FA-449B7C18A555}"/>
          </ac:spMkLst>
        </pc:spChg>
        <pc:spChg chg="mod">
          <ac:chgData name="Joelle Brehm" userId="a518f54c-6985-42c0-8041-2bb16a414839" providerId="ADAL" clId="{5C7B1B84-DD23-48EC-A567-B295FAD2ABAF}" dt="2023-11-07T23:18:04.901" v="17453"/>
          <ac:spMkLst>
            <pc:docMk/>
            <pc:sldMk cId="3436037945" sldId="265"/>
            <ac:spMk id="47" creationId="{DA382430-2E3A-48A8-BD50-8227787BBF7B}"/>
          </ac:spMkLst>
        </pc:spChg>
        <pc:spChg chg="add del mod modVis">
          <ac:chgData name="Joelle Brehm" userId="a518f54c-6985-42c0-8041-2bb16a414839" providerId="ADAL" clId="{5C7B1B84-DD23-48EC-A567-B295FAD2ABAF}" dt="2023-11-07T23:17:44.412" v="16972"/>
          <ac:spMkLst>
            <pc:docMk/>
            <pc:sldMk cId="3436037945" sldId="265"/>
            <ac:spMk id="48" creationId="{DDF17804-A6E0-24E0-5C30-1EBFC806AECB}"/>
          </ac:spMkLst>
        </pc:spChg>
        <pc:spChg chg="add del mod modVis">
          <ac:chgData name="Joelle Brehm" userId="a518f54c-6985-42c0-8041-2bb16a414839" providerId="ADAL" clId="{5C7B1B84-DD23-48EC-A567-B295FAD2ABAF}" dt="2023-11-07T23:17:46.753" v="17150"/>
          <ac:spMkLst>
            <pc:docMk/>
            <pc:sldMk cId="3436037945" sldId="265"/>
            <ac:spMk id="50" creationId="{CB9E1C1F-2F8A-8789-4138-DCAE1F9688EC}"/>
          </ac:spMkLst>
        </pc:spChg>
        <pc:spChg chg="add del mod modVis">
          <ac:chgData name="Joelle Brehm" userId="a518f54c-6985-42c0-8041-2bb16a414839" providerId="ADAL" clId="{5C7B1B84-DD23-48EC-A567-B295FAD2ABAF}" dt="2023-11-07T23:17:57.454" v="17362"/>
          <ac:spMkLst>
            <pc:docMk/>
            <pc:sldMk cId="3436037945" sldId="265"/>
            <ac:spMk id="52" creationId="{7804B139-9FFB-E6F8-F9F1-A0A572F1A98E}"/>
          </ac:spMkLst>
        </pc:spChg>
        <pc:spChg chg="add del mod modVis">
          <ac:chgData name="Joelle Brehm" userId="a518f54c-6985-42c0-8041-2bb16a414839" providerId="ADAL" clId="{5C7B1B84-DD23-48EC-A567-B295FAD2ABAF}" dt="2023-11-07T23:18:04.916" v="17486"/>
          <ac:spMkLst>
            <pc:docMk/>
            <pc:sldMk cId="3436037945" sldId="265"/>
            <ac:spMk id="54" creationId="{3E6EB9CB-756D-4772-E0A4-336BE8297FC3}"/>
          </ac:spMkLst>
        </pc:spChg>
        <pc:spChg chg="mod ord">
          <ac:chgData name="Joelle Brehm" userId="a518f54c-6985-42c0-8041-2bb16a414839" providerId="ADAL" clId="{5C7B1B84-DD23-48EC-A567-B295FAD2ABAF}" dt="2023-11-07T23:18:04.901" v="17459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18:04.901" v="17461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7T23:18:04.901" v="17463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18:04.901" v="17465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18:04.901" v="17467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18:04.916" v="17469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5C7B1B84-DD23-48EC-A567-B295FAD2ABAF}" dt="2023-11-07T23:18:04.916" v="17480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5C7B1B84-DD23-48EC-A567-B295FAD2ABAF}" dt="2023-11-07T23:18:04.916" v="17472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8:04.916" v="17473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8:04.916" v="17474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8:04.916" v="17475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18:04.916" v="17476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18:04.933" v="17488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7T23:17:23.248" v="16260"/>
          <ac:graphicFrameMkLst>
            <pc:docMk/>
            <pc:sldMk cId="3436037945" sldId="265"/>
            <ac:graphicFrameMk id="8" creationId="{5E7AC01A-44A6-81EA-A7F0-F69506A2259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8:04.901" v="17421"/>
          <ac:graphicFrameMkLst>
            <pc:docMk/>
            <pc:sldMk cId="3436037945" sldId="265"/>
            <ac:graphicFrameMk id="31" creationId="{AE901E4E-281D-A096-8C45-0872674ED09A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7:57.375" v="17283"/>
          <ac:graphicFrameMkLst>
            <pc:docMk/>
            <pc:sldMk cId="3436037945" sldId="265"/>
            <ac:graphicFrameMk id="40" creationId="{810C4B93-5377-6C26-8CA5-005289EC672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7:44.332" v="16879"/>
          <ac:graphicFrameMkLst>
            <pc:docMk/>
            <pc:sldMk cId="3436037945" sldId="265"/>
            <ac:graphicFrameMk id="46" creationId="{DE44E3C1-5156-A355-4CEF-11E89638B19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7:46.688" v="17071"/>
          <ac:graphicFrameMkLst>
            <pc:docMk/>
            <pc:sldMk cId="3436037945" sldId="265"/>
            <ac:graphicFrameMk id="49" creationId="{FBD4D3C5-238D-EAA2-2DB6-8DB737D23E4A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8:04.901" v="17445"/>
          <ac:graphicFrameMkLst>
            <pc:docMk/>
            <pc:sldMk cId="3436037945" sldId="265"/>
            <ac:graphicFrameMk id="51" creationId="{4D67B10E-CF4A-13CA-B53A-92A2BAFB8AF7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8:04.870" v="17407"/>
          <ac:graphicFrameMkLst>
            <pc:docMk/>
            <pc:sldMk cId="3436037945" sldId="265"/>
            <ac:graphicFrameMk id="53" creationId="{7471D762-0DDF-01EB-48C5-FFD8E6C2723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8:04.916" v="17471"/>
          <ac:graphicFrameMkLst>
            <pc:docMk/>
            <pc:sldMk cId="3436037945" sldId="265"/>
            <ac:graphicFrameMk id="55" creationId="{C94C8A2F-0C1B-9730-7F58-63D1E9E16E0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7:42.831" v="16708"/>
          <ac:graphicFrameMkLst>
            <pc:docMk/>
            <pc:sldMk cId="3436037945" sldId="265"/>
            <ac:graphicFrameMk id="60" creationId="{9CED2354-5555-0061-AD38-54998B0883FF}"/>
          </ac:graphicFrameMkLst>
        </pc:graphicFrameChg>
        <pc:picChg chg="del mod ord">
          <ac:chgData name="Joelle Brehm" userId="a518f54c-6985-42c0-8041-2bb16a414839" providerId="ADAL" clId="{5C7B1B84-DD23-48EC-A567-B295FAD2ABAF}" dt="2023-11-07T23:17:36.458" v="16437" actId="478"/>
          <ac:picMkLst>
            <pc:docMk/>
            <pc:sldMk cId="3436037945" sldId="265"/>
            <ac:picMk id="10" creationId="{169332F5-BB87-172F-3320-5E3D4AEDAF0A}"/>
          </ac:picMkLst>
        </pc:picChg>
        <pc:picChg chg="add mod ord">
          <ac:chgData name="Joelle Brehm" userId="a518f54c-6985-42c0-8041-2bb16a414839" providerId="ADAL" clId="{5C7B1B84-DD23-48EC-A567-B295FAD2ABAF}" dt="2023-11-07T23:18:04.901" v="17415"/>
          <ac:picMkLst>
            <pc:docMk/>
            <pc:sldMk cId="3436037945" sldId="265"/>
            <ac:picMk id="32" creationId="{D5797C76-56AC-6F1B-5D58-2453D2899F33}"/>
          </ac:picMkLst>
        </pc:picChg>
        <pc:picChg chg="mod ord">
          <ac:chgData name="Joelle Brehm" userId="a518f54c-6985-42c0-8041-2bb16a414839" providerId="ADAL" clId="{5C7B1B84-DD23-48EC-A567-B295FAD2ABAF}" dt="2023-11-07T23:18:04.916" v="17478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18:04.901" v="17419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16:56.167" v="16127"/>
        <pc:sldMkLst>
          <pc:docMk/>
          <pc:sldMk cId="2057745716" sldId="266"/>
        </pc:sldMkLst>
        <pc:spChg chg="mod ord">
          <ac:chgData name="Joelle Brehm" userId="a518f54c-6985-42c0-8041-2bb16a414839" providerId="ADAL" clId="{5C7B1B84-DD23-48EC-A567-B295FAD2ABAF}" dt="2023-11-07T23:16:56.149" v="16121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5C7B1B84-DD23-48EC-A567-B295FAD2ABAF}" dt="2023-11-07T23:10:22.206" v="14211" actId="478"/>
          <ac:spMkLst>
            <pc:docMk/>
            <pc:sldMk cId="2057745716" sldId="266"/>
            <ac:spMk id="3" creationId="{118B3D77-6D8B-F5CC-EC3D-2ED5D707772D}"/>
          </ac:spMkLst>
        </pc:spChg>
        <pc:spChg chg="add del mod modVis">
          <ac:chgData name="Joelle Brehm" userId="a518f54c-6985-42c0-8041-2bb16a414839" providerId="ADAL" clId="{5C7B1B84-DD23-48EC-A567-B295FAD2ABAF}" dt="2023-11-07T23:10:25.431" v="14468"/>
          <ac:spMkLst>
            <pc:docMk/>
            <pc:sldMk cId="2057745716" sldId="266"/>
            <ac:spMk id="5" creationId="{36DED1D8-F06F-1713-1A26-EED12F51D953}"/>
          </ac:spMkLst>
        </pc:spChg>
        <pc:spChg chg="add del mod modVis">
          <ac:chgData name="Joelle Brehm" userId="a518f54c-6985-42c0-8041-2bb16a414839" providerId="ADAL" clId="{5C7B1B84-DD23-48EC-A567-B295FAD2ABAF}" dt="2023-11-07T23:16:09.844" v="14882"/>
          <ac:spMkLst>
            <pc:docMk/>
            <pc:sldMk cId="2057745716" sldId="266"/>
            <ac:spMk id="5" creationId="{525564DF-F115-BF89-05AE-763E0988499E}"/>
          </ac:spMkLst>
        </pc:spChg>
        <pc:spChg chg="mod ord">
          <ac:chgData name="Joelle Brehm" userId="a518f54c-6985-42c0-8041-2bb16a414839" providerId="ADAL" clId="{5C7B1B84-DD23-48EC-A567-B295FAD2ABAF}" dt="2023-11-07T23:16:56.113" v="16039"/>
          <ac:spMkLst>
            <pc:docMk/>
            <pc:sldMk cId="2057745716" sldId="26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5C7B1B84-DD23-48EC-A567-B295FAD2ABAF}" dt="2023-11-07T23:16:18.796" v="15013"/>
          <ac:spMkLst>
            <pc:docMk/>
            <pc:sldMk cId="2057745716" sldId="266"/>
            <ac:spMk id="9" creationId="{F0037DFF-8171-FB9C-82A9-7146EB460A64}"/>
          </ac:spMkLst>
        </pc:spChg>
        <pc:spChg chg="mod">
          <ac:chgData name="Joelle Brehm" userId="a518f54c-6985-42c0-8041-2bb16a414839" providerId="ADAL" clId="{5C7B1B84-DD23-48EC-A567-B295FAD2ABAF}" dt="2023-11-07T23:16:56.131" v="16076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5C7B1B84-DD23-48EC-A567-B295FAD2ABAF}" dt="2023-11-07T23:16:56.113" v="16050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16:56.113" v="16046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16:56.113" v="16047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16:56.113" v="16044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16:56.113" v="16045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16:56.113" v="16048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16:56.113" v="16049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16:56.113" v="16051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16:56.113" v="16052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16:56.113" v="16053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16:56.113" v="16054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16:56.113" v="16055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16:56.113" v="16057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16:56.113" v="16058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16:56.113" v="16060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16:56.113" v="16059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16:56.113" v="16062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16:56.113" v="16063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16:56.113" v="16061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16:56.113" v="16065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16:56.133" v="16084"/>
          <ac:spMkLst>
            <pc:docMk/>
            <pc:sldMk cId="2057745716" sldId="266"/>
            <ac:spMk id="32" creationId="{7BFC1003-AE20-B81B-EFAF-D183C4696E4C}"/>
          </ac:spMkLst>
        </pc:spChg>
        <pc:spChg chg="add mod replST">
          <ac:chgData name="Joelle Brehm" userId="a518f54c-6985-42c0-8041-2bb16a414839" providerId="ADAL" clId="{5C7B1B84-DD23-48EC-A567-B295FAD2ABAF}" dt="2023-11-07T23:16:56.138" v="16095"/>
          <ac:spMkLst>
            <pc:docMk/>
            <pc:sldMk cId="2057745716" sldId="266"/>
            <ac:spMk id="33" creationId="{4776A783-F061-E03D-5F78-B2DE3144370E}"/>
          </ac:spMkLst>
        </pc:spChg>
        <pc:spChg chg="add del mod modVis">
          <ac:chgData name="Joelle Brehm" userId="a518f54c-6985-42c0-8041-2bb16a414839" providerId="ADAL" clId="{5C7B1B84-DD23-48EC-A567-B295FAD2ABAF}" dt="2023-11-07T23:16:36.790" v="15354"/>
          <ac:spMkLst>
            <pc:docMk/>
            <pc:sldMk cId="2057745716" sldId="266"/>
            <ac:spMk id="34" creationId="{ACE018E5-2F25-19D5-308C-E7BE079146BE}"/>
          </ac:spMkLst>
        </pc:spChg>
        <pc:spChg chg="del mod">
          <ac:chgData name="Joelle Brehm" userId="a518f54c-6985-42c0-8041-2bb16a414839" providerId="ADAL" clId="{5C7B1B84-DD23-48EC-A567-B295FAD2ABAF}" dt="2023-11-07T23:16:43.080" v="15564"/>
          <ac:spMkLst>
            <pc:docMk/>
            <pc:sldMk cId="2057745716" sldId="266"/>
            <ac:spMk id="36" creationId="{5C57A8EA-9071-29F4-B24C-235140A0F3D6}"/>
          </ac:spMkLst>
        </pc:spChg>
        <pc:spChg chg="del mod">
          <ac:chgData name="Joelle Brehm" userId="a518f54c-6985-42c0-8041-2bb16a414839" providerId="ADAL" clId="{5C7B1B84-DD23-48EC-A567-B295FAD2ABAF}" dt="2023-11-07T23:16:43.080" v="15563"/>
          <ac:spMkLst>
            <pc:docMk/>
            <pc:sldMk cId="2057745716" sldId="266"/>
            <ac:spMk id="37" creationId="{597526D1-0B00-BB9B-B8E0-3CF7DA66C023}"/>
          </ac:spMkLst>
        </pc:spChg>
        <pc:spChg chg="mod">
          <ac:chgData name="Joelle Brehm" userId="a518f54c-6985-42c0-8041-2bb16a414839" providerId="ADAL" clId="{5C7B1B84-DD23-48EC-A567-B295FAD2ABAF}" dt="2023-11-07T23:16:56.130" v="16074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5C7B1B84-DD23-48EC-A567-B295FAD2ABAF}" dt="2023-11-07T23:16:56.130" v="16075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5C7B1B84-DD23-48EC-A567-B295FAD2ABAF}" dt="2023-11-07T23:16:56.133" v="16082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5C7B1B84-DD23-48EC-A567-B295FAD2ABAF}" dt="2023-11-07T23:16:56.130" v="16073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5C7B1B84-DD23-48EC-A567-B295FAD2ABAF}" dt="2023-11-07T23:16:56.132" v="16078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5C7B1B84-DD23-48EC-A567-B295FAD2ABAF}" dt="2023-11-07T23:16:56.132" v="16080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5C7B1B84-DD23-48EC-A567-B295FAD2ABAF}" dt="2023-11-07T23:16:56.132" v="16081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5C7B1B84-DD23-48EC-A567-B295FAD2ABAF}" dt="2023-11-07T23:16:56.131" v="16077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5C7B1B84-DD23-48EC-A567-B295FAD2ABAF}" dt="2023-11-07T23:16:56.132" v="16079"/>
          <ac:spMkLst>
            <pc:docMk/>
            <pc:sldMk cId="2057745716" sldId="266"/>
            <ac:spMk id="47" creationId="{1C4FAF95-E411-B780-08E1-4E3B3EA052A3}"/>
          </ac:spMkLst>
        </pc:spChg>
        <pc:spChg chg="add mod replST">
          <ac:chgData name="Joelle Brehm" userId="a518f54c-6985-42c0-8041-2bb16a414839" providerId="ADAL" clId="{5C7B1B84-DD23-48EC-A567-B295FAD2ABAF}" dt="2023-11-07T23:16:56.139" v="16096"/>
          <ac:spMkLst>
            <pc:docMk/>
            <pc:sldMk cId="2057745716" sldId="266"/>
            <ac:spMk id="48" creationId="{83D70FB8-70C1-9516-ECF9-CBF5EA76AE37}"/>
          </ac:spMkLst>
        </pc:spChg>
        <pc:spChg chg="mod">
          <ac:chgData name="Joelle Brehm" userId="a518f54c-6985-42c0-8041-2bb16a414839" providerId="ADAL" clId="{5C7B1B84-DD23-48EC-A567-B295FAD2ABAF}" dt="2023-11-07T23:16:56.133" v="16083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5C7B1B84-DD23-48EC-A567-B295FAD2ABAF}" dt="2023-11-07T23:16:56.134" v="16086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5C7B1B84-DD23-48EC-A567-B295FAD2ABAF}" dt="2023-11-07T23:16:56.134" v="16085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5C7B1B84-DD23-48EC-A567-B295FAD2ABAF}" dt="2023-11-07T23:16:56.137" v="16092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5C7B1B84-DD23-48EC-A567-B295FAD2ABAF}" dt="2023-11-07T23:16:56.137" v="16091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5C7B1B84-DD23-48EC-A567-B295FAD2ABAF}" dt="2023-11-07T23:16:56.135" v="16088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5C7B1B84-DD23-48EC-A567-B295FAD2ABAF}" dt="2023-11-07T23:16:56.134" v="16087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5C7B1B84-DD23-48EC-A567-B295FAD2ABAF}" dt="2023-11-07T23:16:56.135" v="16090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5C7B1B84-DD23-48EC-A567-B295FAD2ABAF}" dt="2023-11-07T23:16:56.135" v="16089"/>
          <ac:spMkLst>
            <pc:docMk/>
            <pc:sldMk cId="2057745716" sldId="266"/>
            <ac:spMk id="57" creationId="{5B53372F-C271-7F94-7100-D104F06C3037}"/>
          </ac:spMkLst>
        </pc:spChg>
        <pc:spChg chg="mod">
          <ac:chgData name="Joelle Brehm" userId="a518f54c-6985-42c0-8041-2bb16a414839" providerId="ADAL" clId="{5C7B1B84-DD23-48EC-A567-B295FAD2ABAF}" dt="2023-11-07T23:16:56.138" v="16094"/>
          <ac:spMkLst>
            <pc:docMk/>
            <pc:sldMk cId="2057745716" sldId="266"/>
            <ac:spMk id="58" creationId="{DAA22F52-9C0E-72DF-927C-E34B49E164A2}"/>
          </ac:spMkLst>
        </pc:spChg>
        <pc:spChg chg="add del mod modVis">
          <ac:chgData name="Joelle Brehm" userId="a518f54c-6985-42c0-8041-2bb16a414839" providerId="ADAL" clId="{5C7B1B84-DD23-48EC-A567-B295FAD2ABAF}" dt="2023-11-07T23:16:40.425" v="15560"/>
          <ac:spMkLst>
            <pc:docMk/>
            <pc:sldMk cId="2057745716" sldId="266"/>
            <ac:spMk id="59" creationId="{947E2DDD-A2FD-CEB9-97D4-5D11729B9207}"/>
          </ac:spMkLst>
        </pc:spChg>
        <pc:spChg chg="mod ord">
          <ac:chgData name="Joelle Brehm" userId="a518f54c-6985-42c0-8041-2bb16a414839" providerId="ADAL" clId="{5C7B1B84-DD23-48EC-A567-B295FAD2ABAF}" dt="2023-11-07T23:16:56.138" v="16093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5C7B1B84-DD23-48EC-A567-B295FAD2ABAF}" dt="2023-11-07T23:16:43.250" v="15794"/>
          <ac:spMkLst>
            <pc:docMk/>
            <pc:sldMk cId="2057745716" sldId="266"/>
            <ac:spMk id="62" creationId="{7DBBA432-100C-42A0-A5AA-8A1426AE9322}"/>
          </ac:spMkLst>
        </pc:spChg>
        <pc:spChg chg="add del mod modVis">
          <ac:chgData name="Joelle Brehm" userId="a518f54c-6985-42c0-8041-2bb16a414839" providerId="ADAL" clId="{5C7B1B84-DD23-48EC-A567-B295FAD2ABAF}" dt="2023-11-07T23:16:47.591" v="15966"/>
          <ac:spMkLst>
            <pc:docMk/>
            <pc:sldMk cId="2057745716" sldId="266"/>
            <ac:spMk id="64" creationId="{CC289D7B-450C-F63A-7DEB-30E3F7446D04}"/>
          </ac:spMkLst>
        </pc:spChg>
        <pc:spChg chg="add del mod modVis">
          <ac:chgData name="Joelle Brehm" userId="a518f54c-6985-42c0-8041-2bb16a414839" providerId="ADAL" clId="{5C7B1B84-DD23-48EC-A567-B295FAD2ABAF}" dt="2023-11-07T23:16:56.152" v="16125"/>
          <ac:spMkLst>
            <pc:docMk/>
            <pc:sldMk cId="2057745716" sldId="266"/>
            <ac:spMk id="66" creationId="{FEF68E54-424F-439D-8427-CB3CFD6134AE}"/>
          </ac:spMkLst>
        </pc:spChg>
        <pc:spChg chg="mod ord">
          <ac:chgData name="Joelle Brehm" userId="a518f54c-6985-42c0-8041-2bb16a414839" providerId="ADAL" clId="{5C7B1B84-DD23-48EC-A567-B295FAD2ABAF}" dt="2023-11-07T23:16:56.140" v="16098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16:56.140" v="16100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5C7B1B84-DD23-48EC-A567-B295FAD2ABAF}" dt="2023-11-07T23:16:56.130" v="16072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3:16:56.140" v="16102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16:56.142" v="16104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16:56.142" v="16106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16:56.143" v="16108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16:56.129" v="16069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6:56.129" v="16070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6:56.130" v="16071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6:56.113" v="16068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6:56.145" v="16111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6:56.145" v="16112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6:56.145" v="16113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6:56.145" v="16114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16:56.146" v="16115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16:56.167" v="16127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6:56.113" v="16043"/>
          <ac:graphicFrameMkLst>
            <pc:docMk/>
            <pc:sldMk cId="2057745716" sldId="266"/>
            <ac:graphicFrameMk id="8" creationId="{FBCA92D7-35D6-EAAC-07A3-00DEEBA6523C}"/>
          </ac:graphicFrameMkLst>
        </pc:graphicFrameChg>
        <pc:graphicFrameChg chg="del">
          <ac:chgData name="Joelle Brehm" userId="a518f54c-6985-42c0-8041-2bb16a414839" providerId="ADAL" clId="{5C7B1B84-DD23-48EC-A567-B295FAD2ABAF}" dt="2023-11-07T23:10:25.345" v="14358"/>
          <ac:graphicFrameMkLst>
            <pc:docMk/>
            <pc:sldMk cId="2057745716" sldId="266"/>
            <ac:graphicFrameMk id="9" creationId="{48D07286-2F65-6D71-F426-2D3896EBBF4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6:40.342" v="15461"/>
          <ac:graphicFrameMkLst>
            <pc:docMk/>
            <pc:sldMk cId="2057745716" sldId="266"/>
            <ac:graphicFrameMk id="35" creationId="{C7FBDF82-44BA-E88A-294C-AF748C56216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6:56.094" v="16029"/>
          <ac:graphicFrameMkLst>
            <pc:docMk/>
            <pc:sldMk cId="2057745716" sldId="266"/>
            <ac:graphicFrameMk id="46" creationId="{DACE3199-C700-922B-D751-EF06CAE7EAE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6:43.182" v="15697"/>
          <ac:graphicFrameMkLst>
            <pc:docMk/>
            <pc:sldMk cId="2057745716" sldId="266"/>
            <ac:graphicFrameMk id="60" creationId="{AF369083-70A3-41DB-BFC5-6BF7176E783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6:47.542" v="15870"/>
          <ac:graphicFrameMkLst>
            <pc:docMk/>
            <pc:sldMk cId="2057745716" sldId="266"/>
            <ac:graphicFrameMk id="63" creationId="{F7ECC5D2-B06F-5B90-9712-8BF6A211F6E9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6:56.113" v="16067"/>
          <ac:graphicFrameMkLst>
            <pc:docMk/>
            <pc:sldMk cId="2057745716" sldId="266"/>
            <ac:graphicFrameMk id="65" creationId="{93AF9B94-0BFF-333E-7ADE-0036DF1CEB4B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6:36.733" v="15257"/>
          <ac:graphicFrameMkLst>
            <pc:docMk/>
            <pc:sldMk cId="2057745716" sldId="266"/>
            <ac:graphicFrameMk id="67" creationId="{9F12112A-ABF4-428C-1919-E5AEB3784B82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6:56.143" v="16110"/>
          <ac:graphicFrameMkLst>
            <pc:docMk/>
            <pc:sldMk cId="2057745716" sldId="266"/>
            <ac:graphicFrameMk id="68" creationId="{2A3EA189-8CC9-1FC9-D27B-C21AB0C95CFE}"/>
          </ac:graphicFrameMkLst>
        </pc:graphicFrameChg>
        <pc:picChg chg="add mod ord">
          <ac:chgData name="Joelle Brehm" userId="a518f54c-6985-42c0-8041-2bb16a414839" providerId="ADAL" clId="{5C7B1B84-DD23-48EC-A567-B295FAD2ABAF}" dt="2023-11-07T23:16:56.113" v="16037"/>
          <ac:picMkLst>
            <pc:docMk/>
            <pc:sldMk cId="2057745716" sldId="266"/>
            <ac:picMk id="3" creationId="{91CF8103-4311-B434-DCDF-0C3844DDDEFD}"/>
          </ac:picMkLst>
        </pc:picChg>
        <pc:picChg chg="add del mod ord">
          <ac:chgData name="Joelle Brehm" userId="a518f54c-6985-42c0-8041-2bb16a414839" providerId="ADAL" clId="{5C7B1B84-DD23-48EC-A567-B295FAD2ABAF}" dt="2023-11-07T23:16:20.188" v="15016" actId="478"/>
          <ac:picMkLst>
            <pc:docMk/>
            <pc:sldMk cId="2057745716" sldId="266"/>
            <ac:picMk id="31" creationId="{7A86978B-5973-3208-D613-05A79C5E2FFF}"/>
          </ac:picMkLst>
        </pc:picChg>
        <pc:picChg chg="mod ord">
          <ac:chgData name="Joelle Brehm" userId="a518f54c-6985-42c0-8041-2bb16a414839" providerId="ADAL" clId="{5C7B1B84-DD23-48EC-A567-B295FAD2ABAF}" dt="2023-11-07T23:16:56.148" v="16119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5C7B1B84-DD23-48EC-A567-B295FAD2ABAF}" dt="2023-11-07T23:16:56.147" v="16117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16:56.113" v="16041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19:00.122" v="18962"/>
        <pc:sldMkLst>
          <pc:docMk/>
          <pc:sldMk cId="3795966898" sldId="267"/>
        </pc:sldMkLst>
        <pc:spChg chg="mod ord">
          <ac:chgData name="Joelle Brehm" userId="a518f54c-6985-42c0-8041-2bb16a414839" providerId="ADAL" clId="{5C7B1B84-DD23-48EC-A567-B295FAD2ABAF}" dt="2023-11-07T23:19:00.101" v="18956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5C7B1B84-DD23-48EC-A567-B295FAD2ABAF}" dt="2023-11-07T23:18:20.037" v="17489" actId="478"/>
          <ac:spMkLst>
            <pc:docMk/>
            <pc:sldMk cId="3795966898" sldId="267"/>
            <ac:spMk id="3" creationId="{5A3C9371-453D-7938-8E87-BB9D9F08A696}"/>
          </ac:spMkLst>
        </pc:spChg>
        <pc:spChg chg="add del mod modVis">
          <ac:chgData name="Joelle Brehm" userId="a518f54c-6985-42c0-8041-2bb16a414839" providerId="ADAL" clId="{5C7B1B84-DD23-48EC-A567-B295FAD2ABAF}" dt="2023-11-07T23:18:24.333" v="17716"/>
          <ac:spMkLst>
            <pc:docMk/>
            <pc:sldMk cId="3795966898" sldId="267"/>
            <ac:spMk id="5" creationId="{BB860F06-8A01-01A9-365F-0F5BCE4D5A88}"/>
          </ac:spMkLst>
        </pc:spChg>
        <pc:spChg chg="mod ord">
          <ac:chgData name="Joelle Brehm" userId="a518f54c-6985-42c0-8041-2bb16a414839" providerId="ADAL" clId="{5C7B1B84-DD23-48EC-A567-B295FAD2ABAF}" dt="2023-11-07T23:19:00.069" v="18891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19:00.069" v="18902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19:00.069" v="18898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19:00.069" v="18899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19:00.069" v="18896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19:00.069" v="18897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19:00.069" v="18900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19:00.069" v="18901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19:00.069" v="18903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19:00.069" v="18904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19:00.069" v="18905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19:00.069" v="18906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19:00.069" v="18907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19:00.069" v="18909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19:00.085" v="18912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19:00.069" v="18910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19:00.085" v="18911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19:00.085" v="18914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19:00.085" v="18913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19:00.085" v="18915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19:00.085" v="18917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19:00.085" v="18928"/>
          <ac:spMkLst>
            <pc:docMk/>
            <pc:sldMk cId="3795966898" sldId="267"/>
            <ac:spMk id="32" creationId="{D88A5B48-AEEB-61CD-49C8-685CA2FA5FCC}"/>
          </ac:spMkLst>
        </pc:spChg>
        <pc:spChg chg="del mod">
          <ac:chgData name="Joelle Brehm" userId="a518f54c-6985-42c0-8041-2bb16a414839" providerId="ADAL" clId="{5C7B1B84-DD23-48EC-A567-B295FAD2ABAF}" dt="2023-11-07T23:18:47.187" v="18434"/>
          <ac:spMkLst>
            <pc:docMk/>
            <pc:sldMk cId="3795966898" sldId="267"/>
            <ac:spMk id="33" creationId="{0AF17994-2A88-B5A9-1960-3D49D7A5E286}"/>
          </ac:spMkLst>
        </pc:spChg>
        <pc:spChg chg="mod">
          <ac:chgData name="Joelle Brehm" userId="a518f54c-6985-42c0-8041-2bb16a414839" providerId="ADAL" clId="{5C7B1B84-DD23-48EC-A567-B295FAD2ABAF}" dt="2023-11-07T23:19:00.085" v="18921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5C7B1B84-DD23-48EC-A567-B295FAD2ABAF}" dt="2023-11-07T23:19:00.085" v="18922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5C7B1B84-DD23-48EC-A567-B295FAD2ABAF}" dt="2023-11-07T23:19:00.085" v="18923"/>
          <ac:spMkLst>
            <pc:docMk/>
            <pc:sldMk cId="3795966898" sldId="267"/>
            <ac:spMk id="36" creationId="{BAFFFD22-3E5D-2D34-E227-9C27ADEC8FDF}"/>
          </ac:spMkLst>
        </pc:spChg>
        <pc:spChg chg="add mod replST">
          <ac:chgData name="Joelle Brehm" userId="a518f54c-6985-42c0-8041-2bb16a414839" providerId="ADAL" clId="{5C7B1B84-DD23-48EC-A567-B295FAD2ABAF}" dt="2023-11-07T23:19:00.085" v="18931"/>
          <ac:spMkLst>
            <pc:docMk/>
            <pc:sldMk cId="3795966898" sldId="267"/>
            <ac:spMk id="37" creationId="{0A296482-73A5-3697-F8D4-5A660F4A5947}"/>
          </ac:spMkLst>
        </pc:spChg>
        <pc:spChg chg="mod">
          <ac:chgData name="Joelle Brehm" userId="a518f54c-6985-42c0-8041-2bb16a414839" providerId="ADAL" clId="{5C7B1B84-DD23-48EC-A567-B295FAD2ABAF}" dt="2023-11-07T23:19:00.085" v="18924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5C7B1B84-DD23-48EC-A567-B295FAD2ABAF}" dt="2023-11-07T23:19:00.085" v="18920"/>
          <ac:spMkLst>
            <pc:docMk/>
            <pc:sldMk cId="3795966898" sldId="267"/>
            <ac:spMk id="39" creationId="{83832067-25B3-AFCE-E78B-F25DBF661146}"/>
          </ac:spMkLst>
        </pc:spChg>
        <pc:spChg chg="mod">
          <ac:chgData name="Joelle Brehm" userId="a518f54c-6985-42c0-8041-2bb16a414839" providerId="ADAL" clId="{5C7B1B84-DD23-48EC-A567-B295FAD2ABAF}" dt="2023-11-07T23:19:00.085" v="18926"/>
          <ac:spMkLst>
            <pc:docMk/>
            <pc:sldMk cId="3795966898" sldId="267"/>
            <ac:spMk id="40" creationId="{E572EFC5-A7FD-69F6-5C31-AAA859CEB992}"/>
          </ac:spMkLst>
        </pc:spChg>
        <pc:spChg chg="add del mod modVis">
          <ac:chgData name="Joelle Brehm" userId="a518f54c-6985-42c0-8041-2bb16a414839" providerId="ADAL" clId="{5C7B1B84-DD23-48EC-A567-B295FAD2ABAF}" dt="2023-11-07T23:18:43.202" v="18257"/>
          <ac:spMkLst>
            <pc:docMk/>
            <pc:sldMk cId="3795966898" sldId="267"/>
            <ac:spMk id="41" creationId="{0EE515C5-DD70-7EC0-F034-B6EDE68AB062}"/>
          </ac:spMkLst>
        </pc:spChg>
        <pc:spChg chg="mod">
          <ac:chgData name="Joelle Brehm" userId="a518f54c-6985-42c0-8041-2bb16a414839" providerId="ADAL" clId="{5C7B1B84-DD23-48EC-A567-B295FAD2ABAF}" dt="2023-11-07T23:19:00.085" v="18925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5C7B1B84-DD23-48EC-A567-B295FAD2ABAF}" dt="2023-11-07T23:19:00.085" v="18929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5C7B1B84-DD23-48EC-A567-B295FAD2ABAF}" dt="2023-11-07T23:19:00.085" v="18927"/>
          <ac:spMkLst>
            <pc:docMk/>
            <pc:sldMk cId="3795966898" sldId="267"/>
            <ac:spMk id="44" creationId="{40B65240-400F-5791-7F3E-FCB0C3838579}"/>
          </ac:spMkLst>
        </pc:spChg>
        <pc:spChg chg="mod">
          <ac:chgData name="Joelle Brehm" userId="a518f54c-6985-42c0-8041-2bb16a414839" providerId="ADAL" clId="{5C7B1B84-DD23-48EC-A567-B295FAD2ABAF}" dt="2023-11-07T23:19:00.085" v="18930"/>
          <ac:spMkLst>
            <pc:docMk/>
            <pc:sldMk cId="3795966898" sldId="267"/>
            <ac:spMk id="46" creationId="{2B2E11F0-202F-7C08-CDCD-D9021CA2670F}"/>
          </ac:spMkLst>
        </pc:spChg>
        <pc:spChg chg="add del mod ord replST">
          <ac:chgData name="Joelle Brehm" userId="a518f54c-6985-42c0-8041-2bb16a414839" providerId="ADAL" clId="{5C7B1B84-DD23-48EC-A567-B295FAD2ABAF}" dt="2023-11-07T23:18:51.250" v="18672"/>
          <ac:spMkLst>
            <pc:docMk/>
            <pc:sldMk cId="3795966898" sldId="267"/>
            <ac:spMk id="4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9:00.085" v="18948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5C7B1B84-DD23-48EC-A567-B295FAD2ABAF}" dt="2023-11-07T23:18:45.099" v="18431"/>
          <ac:spMkLst>
            <pc:docMk/>
            <pc:sldMk cId="3795966898" sldId="267"/>
            <ac:spMk id="50" creationId="{DEBAD114-DA7B-9E88-00EC-95920308EEA7}"/>
          </ac:spMkLst>
        </pc:spChg>
        <pc:spChg chg="add del mod modVis">
          <ac:chgData name="Joelle Brehm" userId="a518f54c-6985-42c0-8041-2bb16a414839" providerId="ADAL" clId="{5C7B1B84-DD23-48EC-A567-B295FAD2ABAF}" dt="2023-11-07T23:18:47.299" v="18614"/>
          <ac:spMkLst>
            <pc:docMk/>
            <pc:sldMk cId="3795966898" sldId="267"/>
            <ac:spMk id="52" creationId="{2CD42EA4-AEC2-F9DD-A938-77D4395F99C5}"/>
          </ac:spMkLst>
        </pc:spChg>
        <pc:spChg chg="add del mod modVis">
          <ac:chgData name="Joelle Brehm" userId="a518f54c-6985-42c0-8041-2bb16a414839" providerId="ADAL" clId="{5C7B1B84-DD23-48EC-A567-B295FAD2ABAF}" dt="2023-11-07T23:18:51.297" v="18753"/>
          <ac:spMkLst>
            <pc:docMk/>
            <pc:sldMk cId="3795966898" sldId="267"/>
            <ac:spMk id="54" creationId="{65C24ED8-B8C6-17F7-10C7-5B85F445DEE1}"/>
          </ac:spMkLst>
        </pc:spChg>
        <pc:spChg chg="add del mod modVis">
          <ac:chgData name="Joelle Brehm" userId="a518f54c-6985-42c0-8041-2bb16a414839" providerId="ADAL" clId="{5C7B1B84-DD23-48EC-A567-B295FAD2ABAF}" dt="2023-11-07T23:19:00.101" v="18960"/>
          <ac:spMkLst>
            <pc:docMk/>
            <pc:sldMk cId="3795966898" sldId="267"/>
            <ac:spMk id="56" creationId="{AA667AEA-C7D6-D120-D141-E6ED079ABD74}"/>
          </ac:spMkLst>
        </pc:spChg>
        <pc:spChg chg="mod ord">
          <ac:chgData name="Joelle Brehm" userId="a518f54c-6985-42c0-8041-2bb16a414839" providerId="ADAL" clId="{5C7B1B84-DD23-48EC-A567-B295FAD2ABAF}" dt="2023-11-07T23:19:00.085" v="18933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19:00.085" v="18935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7T23:19:00.085" v="18937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19:00.101" v="18954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5C7B1B84-DD23-48EC-A567-B295FAD2ABAF}" dt="2023-11-07T23:19:00.085" v="18939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19:00.085" v="18941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19:00.085" v="18943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19:00.085" v="18946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9:00.085" v="18947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19:00.085" v="18949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19:00.101" v="18950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19:00.122" v="18962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7T23:18:24.269" v="17625"/>
          <ac:graphicFrameMkLst>
            <pc:docMk/>
            <pc:sldMk cId="3795966898" sldId="267"/>
            <ac:graphicFrameMk id="8" creationId="{72D9773E-ACE3-0D59-B2A8-0536A80FA1DB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9:00.069" v="18895"/>
          <ac:graphicFrameMkLst>
            <pc:docMk/>
            <pc:sldMk cId="3795966898" sldId="267"/>
            <ac:graphicFrameMk id="9" creationId="{5298B2B0-5B94-8343-0859-62CFC4B4294D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9:00.021" v="18881"/>
          <ac:graphicFrameMkLst>
            <pc:docMk/>
            <pc:sldMk cId="3795966898" sldId="267"/>
            <ac:graphicFrameMk id="45" creationId="{8821FA0D-06F9-B7F6-3491-B9778159298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8:44.992" v="18338"/>
          <ac:graphicFrameMkLst>
            <pc:docMk/>
            <pc:sldMk cId="3795966898" sldId="267"/>
            <ac:graphicFrameMk id="49" creationId="{AD248FD6-E59C-7A1D-1700-C9A6D6E3FCB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8:47.268" v="18533"/>
          <ac:graphicFrameMkLst>
            <pc:docMk/>
            <pc:sldMk cId="3795966898" sldId="267"/>
            <ac:graphicFrameMk id="51" creationId="{4692F9BF-8DE5-7E92-CAB1-B9707EA81292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8:51.250" v="18674"/>
          <ac:graphicFrameMkLst>
            <pc:docMk/>
            <pc:sldMk cId="3795966898" sldId="267"/>
            <ac:graphicFrameMk id="53" creationId="{A0327B8E-59DA-C4D8-6C86-76D7C52A3E3C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9:00.085" v="18919"/>
          <ac:graphicFrameMkLst>
            <pc:docMk/>
            <pc:sldMk cId="3795966898" sldId="267"/>
            <ac:graphicFrameMk id="55" creationId="{5240FDFB-0398-D331-9A9F-2708F5A8F01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19:00.085" v="18945"/>
          <ac:graphicFrameMkLst>
            <pc:docMk/>
            <pc:sldMk cId="3795966898" sldId="267"/>
            <ac:graphicFrameMk id="57" creationId="{86816EAB-56DA-48FA-CDBB-7D1F88E9E079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8:43.138" v="18169"/>
          <ac:graphicFrameMkLst>
            <pc:docMk/>
            <pc:sldMk cId="3795966898" sldId="267"/>
            <ac:graphicFrameMk id="67" creationId="{3A0ED5BD-1602-DD2D-FC68-2846CA478AA6}"/>
          </ac:graphicFrameMkLst>
        </pc:graphicFrameChg>
        <pc:picChg chg="del mod ord">
          <ac:chgData name="Joelle Brehm" userId="a518f54c-6985-42c0-8041-2bb16a414839" providerId="ADAL" clId="{5C7B1B84-DD23-48EC-A567-B295FAD2ABAF}" dt="2023-11-07T23:18:36.905" v="17799" actId="478"/>
          <ac:picMkLst>
            <pc:docMk/>
            <pc:sldMk cId="3795966898" sldId="267"/>
            <ac:picMk id="10" creationId="{499617B1-B7F1-55BE-5140-531D883F6430}"/>
          </ac:picMkLst>
        </pc:picChg>
        <pc:picChg chg="add mod ord">
          <ac:chgData name="Joelle Brehm" userId="a518f54c-6985-42c0-8041-2bb16a414839" providerId="ADAL" clId="{5C7B1B84-DD23-48EC-A567-B295FAD2ABAF}" dt="2023-11-07T23:19:00.069" v="18889"/>
          <ac:picMkLst>
            <pc:docMk/>
            <pc:sldMk cId="3795966898" sldId="267"/>
            <ac:picMk id="31" creationId="{806A25DA-C35F-82B0-74B3-5FC0A3847DF6}"/>
          </ac:picMkLst>
        </pc:picChg>
        <pc:picChg chg="mod ord">
          <ac:chgData name="Joelle Brehm" userId="a518f54c-6985-42c0-8041-2bb16a414839" providerId="ADAL" clId="{5C7B1B84-DD23-48EC-A567-B295FAD2ABAF}" dt="2023-11-07T23:19:00.101" v="18952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19:00.069" v="18893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20:12.106" v="20534"/>
        <pc:sldMkLst>
          <pc:docMk/>
          <pc:sldMk cId="622078465" sldId="269"/>
        </pc:sldMkLst>
        <pc:spChg chg="add del mod">
          <ac:chgData name="Joelle Brehm" userId="a518f54c-6985-42c0-8041-2bb16a414839" providerId="ADAL" clId="{5C7B1B84-DD23-48EC-A567-B295FAD2ABAF}" dt="2023-11-07T23:19:15.586" v="18963" actId="478"/>
          <ac:spMkLst>
            <pc:docMk/>
            <pc:sldMk cId="622078465" sldId="269"/>
            <ac:spMk id="2" creationId="{7094EDCD-59B3-03AD-657F-5C17F2A3E2B1}"/>
          </ac:spMkLst>
        </pc:spChg>
        <pc:spChg chg="mod ord">
          <ac:chgData name="Joelle Brehm" userId="a518f54c-6985-42c0-8041-2bb16a414839" providerId="ADAL" clId="{5C7B1B84-DD23-48EC-A567-B295FAD2ABAF}" dt="2023-11-07T23:20:12.091" v="20530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5C7B1B84-DD23-48EC-A567-B295FAD2ABAF}" dt="2023-11-07T23:19:18.524" v="19198"/>
          <ac:spMkLst>
            <pc:docMk/>
            <pc:sldMk cId="622078465" sldId="269"/>
            <ac:spMk id="5" creationId="{48A08625-8097-C3A3-55DE-187D249B6C2B}"/>
          </ac:spMkLst>
        </pc:spChg>
        <pc:spChg chg="mod ord">
          <ac:chgData name="Joelle Brehm" userId="a518f54c-6985-42c0-8041-2bb16a414839" providerId="ADAL" clId="{5C7B1B84-DD23-48EC-A567-B295FAD2ABAF}" dt="2023-11-07T23:20:12.057" v="20465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20:12.073" v="20501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5C7B1B84-DD23-48EC-A567-B295FAD2ABAF}" dt="2023-11-07T23:20:12.057" v="20476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20:12.057" v="20472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20:12.057" v="20473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20:12.057" v="20470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20:12.057" v="20471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20:12.057" v="20474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20:12.057" v="20475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20:12.057" v="20477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20:12.057" v="20478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20:12.057" v="20479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20:12.057" v="20480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20:12.057" v="20481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20:12.057" v="20483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20:12.057" v="20486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20:12.057" v="20484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20:12.057" v="20485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20:12.057" v="20488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20:12.057" v="20487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20:12.057" v="20489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20:12.057" v="20491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20:12.073" v="20499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5C7B1B84-DD23-48EC-A567-B295FAD2ABAF}" dt="2023-11-07T23:20:12.073" v="20500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5C7B1B84-DD23-48EC-A567-B295FAD2ABAF}" dt="2023-11-07T23:20:12.073" v="20498"/>
          <ac:spMkLst>
            <pc:docMk/>
            <pc:sldMk cId="622078465" sldId="269"/>
            <ac:spMk id="34" creationId="{361A309D-582A-9EF2-AAA6-D0365E1E80AF}"/>
          </ac:spMkLst>
        </pc:spChg>
        <pc:spChg chg="add mod replST">
          <ac:chgData name="Joelle Brehm" userId="a518f54c-6985-42c0-8041-2bb16a414839" providerId="ADAL" clId="{5C7B1B84-DD23-48EC-A567-B295FAD2ABAF}" dt="2023-11-07T23:20:12.073" v="20505"/>
          <ac:spMkLst>
            <pc:docMk/>
            <pc:sldMk cId="622078465" sldId="269"/>
            <ac:spMk id="36" creationId="{68733CF5-8A2C-4045-0CB9-423CA4B0F6E1}"/>
          </ac:spMkLst>
        </pc:spChg>
        <pc:spChg chg="mod">
          <ac:chgData name="Joelle Brehm" userId="a518f54c-6985-42c0-8041-2bb16a414839" providerId="ADAL" clId="{5C7B1B84-DD23-48EC-A567-B295FAD2ABAF}" dt="2023-11-07T23:20:12.073" v="20502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5C7B1B84-DD23-48EC-A567-B295FAD2ABAF}" dt="2023-11-07T23:20:12.073" v="20503"/>
          <ac:spMkLst>
            <pc:docMk/>
            <pc:sldMk cId="622078465" sldId="269"/>
            <ac:spMk id="38" creationId="{81A34C8B-3AB7-1E3C-EABE-00492913B3D2}"/>
          </ac:spMkLst>
        </pc:spChg>
        <pc:spChg chg="mod">
          <ac:chgData name="Joelle Brehm" userId="a518f54c-6985-42c0-8041-2bb16a414839" providerId="ADAL" clId="{5C7B1B84-DD23-48EC-A567-B295FAD2ABAF}" dt="2023-11-07T23:20:12.073" v="20504"/>
          <ac:spMkLst>
            <pc:docMk/>
            <pc:sldMk cId="622078465" sldId="269"/>
            <ac:spMk id="40" creationId="{88D90EFE-E362-B516-8CB5-42E8A0F19B96}"/>
          </ac:spMkLst>
        </pc:spChg>
        <pc:spChg chg="add del mod modVis">
          <ac:chgData name="Joelle Brehm" userId="a518f54c-6985-42c0-8041-2bb16a414839" providerId="ADAL" clId="{5C7B1B84-DD23-48EC-A567-B295FAD2ABAF}" dt="2023-11-07T23:19:49.700" v="19613"/>
          <ac:spMkLst>
            <pc:docMk/>
            <pc:sldMk cId="622078465" sldId="269"/>
            <ac:spMk id="41" creationId="{7A850C04-69EB-7E46-579C-52C3DEBDAD58}"/>
          </ac:spMkLst>
        </pc:spChg>
        <pc:spChg chg="add del mod modVis">
          <ac:chgData name="Joelle Brehm" userId="a518f54c-6985-42c0-8041-2bb16a414839" providerId="ADAL" clId="{5C7B1B84-DD23-48EC-A567-B295FAD2ABAF}" dt="2023-11-07T23:19:51.051" v="19784"/>
          <ac:spMkLst>
            <pc:docMk/>
            <pc:sldMk cId="622078465" sldId="269"/>
            <ac:spMk id="43" creationId="{5C9A5F65-C7B0-D579-417E-80ED854E8D6E}"/>
          </ac:spMkLst>
        </pc:spChg>
        <pc:spChg chg="add del mod modVis">
          <ac:chgData name="Joelle Brehm" userId="a518f54c-6985-42c0-8041-2bb16a414839" providerId="ADAL" clId="{5C7B1B84-DD23-48EC-A567-B295FAD2ABAF}" dt="2023-11-07T23:19:53.086" v="19962"/>
          <ac:spMkLst>
            <pc:docMk/>
            <pc:sldMk cId="622078465" sldId="269"/>
            <ac:spMk id="45" creationId="{7610037B-7F38-668C-C5C2-5A7795F806D5}"/>
          </ac:spMkLst>
        </pc:spChg>
        <pc:spChg chg="add del mod modVis">
          <ac:chgData name="Joelle Brehm" userId="a518f54c-6985-42c0-8041-2bb16a414839" providerId="ADAL" clId="{5C7B1B84-DD23-48EC-A567-B295FAD2ABAF}" dt="2023-11-07T23:19:55.929" v="20120"/>
          <ac:spMkLst>
            <pc:docMk/>
            <pc:sldMk cId="622078465" sldId="269"/>
            <ac:spMk id="48" creationId="{8491500F-5E12-FB2B-6AFE-ADAF0DC376A9}"/>
          </ac:spMkLst>
        </pc:spChg>
        <pc:spChg chg="add mod replST">
          <ac:chgData name="Joelle Brehm" userId="a518f54c-6985-42c0-8041-2bb16a414839" providerId="ADAL" clId="{5C7B1B84-DD23-48EC-A567-B295FAD2ABAF}" dt="2023-11-07T23:20:12.073" v="20524"/>
          <ac:spMkLst>
            <pc:docMk/>
            <pc:sldMk cId="622078465" sldId="269"/>
            <ac:spMk id="50" creationId="{69BAD6A3-FF64-4C04-1D02-164463F908A1}"/>
          </ac:spMkLst>
        </pc:spChg>
        <pc:spChg chg="add del mod modVis">
          <ac:chgData name="Joelle Brehm" userId="a518f54c-6985-42c0-8041-2bb16a414839" providerId="ADAL" clId="{5C7B1B84-DD23-48EC-A567-B295FAD2ABAF}" dt="2023-11-07T23:20:01.539" v="20309"/>
          <ac:spMkLst>
            <pc:docMk/>
            <pc:sldMk cId="622078465" sldId="269"/>
            <ac:spMk id="51" creationId="{77FEC0BF-91C2-8CDF-065F-E9207B1C5734}"/>
          </ac:spMkLst>
        </pc:spChg>
        <pc:spChg chg="add del mod modVis">
          <ac:chgData name="Joelle Brehm" userId="a518f54c-6985-42c0-8041-2bb16a414839" providerId="ADAL" clId="{5C7B1B84-DD23-48EC-A567-B295FAD2ABAF}" dt="2023-11-07T23:20:08.518" v="20433"/>
          <ac:spMkLst>
            <pc:docMk/>
            <pc:sldMk cId="622078465" sldId="269"/>
            <ac:spMk id="53" creationId="{2FD5B921-BE06-26BD-1014-E4A6ACB2856A}"/>
          </ac:spMkLst>
        </pc:spChg>
        <pc:spChg chg="mod ord">
          <ac:chgData name="Joelle Brehm" userId="a518f54c-6985-42c0-8041-2bb16a414839" providerId="ADAL" clId="{5C7B1B84-DD23-48EC-A567-B295FAD2ABAF}" dt="2023-11-07T23:20:12.090" v="20528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5C7B1B84-DD23-48EC-A567-B295FAD2ABAF}" dt="2023-11-07T23:20:12.073" v="20507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20:12.073" v="20509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5C7B1B84-DD23-48EC-A567-B295FAD2ABAF}" dt="2023-11-07T23:19:52.972" v="19787"/>
          <ac:spMkLst>
            <pc:docMk/>
            <pc:sldMk cId="622078465" sldId="269"/>
            <ac:spMk id="8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0:12.073" v="20494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0:12.073" v="20495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0:12.073" v="20496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0:12.073" v="20497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3:20:12.073" v="20511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20:12.073" v="20513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20:12.073" v="20515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20:12.073" v="20517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20:12.073" v="20520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0:12.073" v="20521"/>
          <ac:spMkLst>
            <pc:docMk/>
            <pc:sldMk cId="622078465" sldId="269"/>
            <ac:spMk id="135" creationId="{7CAA3B95-4C78-4122-BECA-B5FB0F3F3764}"/>
          </ac:spMkLst>
        </pc:spChg>
        <pc:spChg chg="del mod">
          <ac:chgData name="Joelle Brehm" userId="a518f54c-6985-42c0-8041-2bb16a414839" providerId="ADAL" clId="{5C7B1B84-DD23-48EC-A567-B295FAD2ABAF}" dt="2023-11-07T23:20:00.997" v="20123"/>
          <ac:spMkLst>
            <pc:docMk/>
            <pc:sldMk cId="622078465" sldId="269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0:12.073" v="20522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20:12.073" v="20523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20:12.106" v="20534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7T23:19:18.429" v="19109"/>
          <ac:graphicFrameMkLst>
            <pc:docMk/>
            <pc:sldMk cId="622078465" sldId="269"/>
            <ac:graphicFrameMk id="8" creationId="{C8DDE316-4C2D-93B4-36EC-9BE212A4C0A3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0:12.057" v="20469"/>
          <ac:graphicFrameMkLst>
            <pc:docMk/>
            <pc:sldMk cId="622078465" sldId="269"/>
            <ac:graphicFrameMk id="9" creationId="{97F03435-C130-66DB-3A5E-6D25299BE92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0:01.359" v="20230"/>
          <ac:graphicFrameMkLst>
            <pc:docMk/>
            <pc:sldMk cId="622078465" sldId="269"/>
            <ac:graphicFrameMk id="39" creationId="{69A441A0-5B37-440B-2809-4CADC9F235E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9:50.966" v="19691"/>
          <ac:graphicFrameMkLst>
            <pc:docMk/>
            <pc:sldMk cId="622078465" sldId="269"/>
            <ac:graphicFrameMk id="42" creationId="{418FC03E-DCD6-EBF3-0170-83AF9B3D6D7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9:53.038" v="19883"/>
          <ac:graphicFrameMkLst>
            <pc:docMk/>
            <pc:sldMk cId="622078465" sldId="269"/>
            <ac:graphicFrameMk id="44" creationId="{6402B28D-EDF7-0CD1-60F0-3281B9B901B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19:49.636" v="19525"/>
          <ac:graphicFrameMkLst>
            <pc:docMk/>
            <pc:sldMk cId="622078465" sldId="269"/>
            <ac:graphicFrameMk id="46" creationId="{63D8D318-BA49-7D5C-5C76-94218AB9DF25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19:55.898" v="20041"/>
          <ac:graphicFrameMkLst>
            <pc:docMk/>
            <pc:sldMk cId="622078465" sldId="269"/>
            <ac:graphicFrameMk id="47" creationId="{D4FF56A4-3939-7F66-9E65-240D28FD3E0C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0:12.057" v="20493"/>
          <ac:graphicFrameMkLst>
            <pc:docMk/>
            <pc:sldMk cId="622078465" sldId="269"/>
            <ac:graphicFrameMk id="49" creationId="{EB4C4B58-5513-EDE1-5055-F714F596011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0:08.404" v="20354"/>
          <ac:graphicFrameMkLst>
            <pc:docMk/>
            <pc:sldMk cId="622078465" sldId="269"/>
            <ac:graphicFrameMk id="52" creationId="{9BF1A95F-C5E7-9558-492C-54DA54BFBF8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0:12.024" v="20455"/>
          <ac:graphicFrameMkLst>
            <pc:docMk/>
            <pc:sldMk cId="622078465" sldId="269"/>
            <ac:graphicFrameMk id="54" creationId="{0F02BC61-14E2-89E4-BC25-06B7E4466BAB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0:12.073" v="20519"/>
          <ac:graphicFrameMkLst>
            <pc:docMk/>
            <pc:sldMk cId="622078465" sldId="269"/>
            <ac:graphicFrameMk id="55" creationId="{A5733A45-2DDC-0311-5513-99ED10ED8773}"/>
          </ac:graphicFrameMkLst>
        </pc:graphicFrameChg>
        <pc:picChg chg="del mod ord">
          <ac:chgData name="Joelle Brehm" userId="a518f54c-6985-42c0-8041-2bb16a414839" providerId="ADAL" clId="{5C7B1B84-DD23-48EC-A567-B295FAD2ABAF}" dt="2023-11-07T23:19:35.603" v="19281" actId="478"/>
          <ac:picMkLst>
            <pc:docMk/>
            <pc:sldMk cId="622078465" sldId="269"/>
            <ac:picMk id="31" creationId="{2DAD4B82-034C-23D0-B73B-6EB0DFF9BBC8}"/>
          </ac:picMkLst>
        </pc:picChg>
        <pc:picChg chg="add mod ord">
          <ac:chgData name="Joelle Brehm" userId="a518f54c-6985-42c0-8041-2bb16a414839" providerId="ADAL" clId="{5C7B1B84-DD23-48EC-A567-B295FAD2ABAF}" dt="2023-11-07T23:20:12.057" v="20463"/>
          <ac:picMkLst>
            <pc:docMk/>
            <pc:sldMk cId="622078465" sldId="269"/>
            <ac:picMk id="35" creationId="{4DF34143-6B5D-1804-1EF4-1CD8749E91BD}"/>
          </ac:picMkLst>
        </pc:picChg>
        <pc:picChg chg="mod ord">
          <ac:chgData name="Joelle Brehm" userId="a518f54c-6985-42c0-8041-2bb16a414839" providerId="ADAL" clId="{5C7B1B84-DD23-48EC-A567-B295FAD2ABAF}" dt="2023-11-07T23:20:12.073" v="20526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20:12.057" v="20467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6:11:10.532" v="35114"/>
        <pc:sldMkLst>
          <pc:docMk/>
          <pc:sldMk cId="1002023985" sldId="270"/>
        </pc:sldMkLst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5C7B1B84-DD23-48EC-A567-B295FAD2ABAF}" dt="2023-11-08T16:09:42.031" v="34411" actId="478"/>
          <ac:spMkLst>
            <pc:docMk/>
            <pc:sldMk cId="1002023985" sldId="270"/>
            <ac:spMk id="3" creationId="{81153848-88B8-3192-D81E-3FF425F7ED38}"/>
          </ac:spMkLst>
        </pc:spChg>
        <pc:spChg chg="add del mod modVis">
          <ac:chgData name="Joelle Brehm" userId="a518f54c-6985-42c0-8041-2bb16a414839" providerId="ADAL" clId="{5C7B1B84-DD23-48EC-A567-B295FAD2ABAF}" dt="2023-11-08T16:10:13.695" v="34668"/>
          <ac:spMkLst>
            <pc:docMk/>
            <pc:sldMk cId="1002023985" sldId="270"/>
            <ac:spMk id="5" creationId="{2AC72661-1941-784C-15C4-E226E5B3F404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6:11:04.041" v="35039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5C7B1B84-DD23-48EC-A567-B295FAD2ABAF}" dt="2023-11-08T16:11:04.027" v="35001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6:11:04.026" v="34997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6:11:04.027" v="34998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6:11:04.025" v="34995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6:11:04.026" v="34996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6:11:04.027" v="34999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6:11:04.027" v="35000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6:11:04.027" v="35002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6:11:04.028" v="35003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6:11:04.029" v="35004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6:11:04.029" v="35005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6:11:04.029" v="35006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6:11:04.031" v="35011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6:11:04.031" v="35009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6:11:04.031" v="35010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6:11:04.032" v="35015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6:11:04.032" v="35014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6:11:04.033" v="35016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5C7B1B84-DD23-48EC-A567-B295FAD2ABAF}" dt="2023-11-08T16:10:14.636" v="34820"/>
          <ac:spMkLst>
            <pc:docMk/>
            <pc:sldMk cId="1002023985" sldId="270"/>
            <ac:spMk id="32" creationId="{C2BDA5C8-CE47-B7F2-F9B1-EF547941861F}"/>
          </ac:spMkLst>
        </pc:spChg>
        <pc:spChg chg="mod">
          <ac:chgData name="Joelle Brehm" userId="a518f54c-6985-42c0-8041-2bb16a414839" providerId="ADAL" clId="{5C7B1B84-DD23-48EC-A567-B295FAD2ABAF}" dt="2023-11-08T16:11:04.041" v="35038"/>
          <ac:spMkLst>
            <pc:docMk/>
            <pc:sldMk cId="1002023985" sldId="270"/>
            <ac:spMk id="33" creationId="{F76D64DC-4154-E4CF-EF48-9A68CB6317E4}"/>
          </ac:spMkLst>
        </pc:spChg>
        <pc:spChg chg="add del mod modVis">
          <ac:chgData name="Joelle Brehm" userId="a518f54c-6985-42c0-8041-2bb16a414839" providerId="ADAL" clId="{5C7B1B84-DD23-48EC-A567-B295FAD2ABAF}" dt="2023-11-08T16:10:20.451" v="34972"/>
          <ac:spMkLst>
            <pc:docMk/>
            <pc:sldMk cId="1002023985" sldId="270"/>
            <ac:spMk id="35" creationId="{74C6A3A4-AD0C-30D8-0F8E-C7B876CD70F4}"/>
          </ac:spMkLst>
        </pc:spChg>
        <pc:spChg chg="mod">
          <ac:chgData name="Joelle Brehm" userId="a518f54c-6985-42c0-8041-2bb16a414839" providerId="ADAL" clId="{5C7B1B84-DD23-48EC-A567-B295FAD2ABAF}" dt="2023-11-08T16:11:04.039" v="35031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5C7B1B84-DD23-48EC-A567-B295FAD2ABAF}" dt="2023-11-08T16:11:04.038" v="35030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5C7B1B84-DD23-48EC-A567-B295FAD2ABAF}" dt="2023-11-08T16:11:04.039" v="35033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5C7B1B84-DD23-48EC-A567-B295FAD2ABAF}" dt="2023-11-08T16:11:04.039" v="35032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5C7B1B84-DD23-48EC-A567-B295FAD2ABAF}" dt="2023-11-08T16:11:04.040" v="35035"/>
          <ac:spMkLst>
            <pc:docMk/>
            <pc:sldMk cId="1002023985" sldId="270"/>
            <ac:spMk id="41" creationId="{51DF5FF8-D483-FA48-6208-139CC6F687D3}"/>
          </ac:spMkLst>
        </pc:spChg>
        <pc:spChg chg="mod">
          <ac:chgData name="Joelle Brehm" userId="a518f54c-6985-42c0-8041-2bb16a414839" providerId="ADAL" clId="{5C7B1B84-DD23-48EC-A567-B295FAD2ABAF}" dt="2023-11-08T16:11:04.040" v="35034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5C7B1B84-DD23-48EC-A567-B295FAD2ABAF}" dt="2023-11-08T16:11:04.041" v="35037"/>
          <ac:spMkLst>
            <pc:docMk/>
            <pc:sldMk cId="1002023985" sldId="270"/>
            <ac:spMk id="43" creationId="{29357330-070C-17EC-0CAB-CAD445419341}"/>
          </ac:spMkLst>
        </pc:spChg>
        <pc:spChg chg="mod">
          <ac:chgData name="Joelle Brehm" userId="a518f54c-6985-42c0-8041-2bb16a414839" providerId="ADAL" clId="{5C7B1B84-DD23-48EC-A567-B295FAD2ABAF}" dt="2023-11-08T16:11:04.040" v="35036"/>
          <ac:spMkLst>
            <pc:docMk/>
            <pc:sldMk cId="1002023985" sldId="270"/>
            <ac:spMk id="44" creationId="{D21335E5-EBC4-9286-DD2D-7735A09D41EB}"/>
          </ac:spMkLst>
        </pc:spChg>
        <pc:spChg chg="mod">
          <ac:chgData name="Joelle Brehm" userId="a518f54c-6985-42c0-8041-2bb16a414839" providerId="ADAL" clId="{5C7B1B84-DD23-48EC-A567-B295FAD2ABAF}" dt="2023-11-08T16:11:04.044" v="35047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5C7B1B84-DD23-48EC-A567-B295FAD2ABAF}" dt="2023-11-08T16:11:04.045" v="35049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5C7B1B84-DD23-48EC-A567-B295FAD2ABAF}" dt="2023-11-08T16:11:04.044" v="35046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5C7B1B84-DD23-48EC-A567-B295FAD2ABAF}" dt="2023-11-08T16:11:04.044" v="35048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5C7B1B84-DD23-48EC-A567-B295FAD2ABAF}" dt="2023-11-08T16:11:04.043" v="35043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5C7B1B84-DD23-48EC-A567-B295FAD2ABAF}" dt="2023-11-08T16:11:04.042" v="35041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5C7B1B84-DD23-48EC-A567-B295FAD2ABAF}" dt="2023-11-08T16:11:04.042" v="35042"/>
          <ac:spMkLst>
            <pc:docMk/>
            <pc:sldMk cId="1002023985" sldId="270"/>
            <ac:spMk id="52" creationId="{CDAA8CD8-B796-5FFD-8D34-2773F7AB7F1D}"/>
          </ac:spMkLst>
        </pc:spChg>
        <pc:spChg chg="mod">
          <ac:chgData name="Joelle Brehm" userId="a518f54c-6985-42c0-8041-2bb16a414839" providerId="ADAL" clId="{5C7B1B84-DD23-48EC-A567-B295FAD2ABAF}" dt="2023-11-08T16:11:04.046" v="35053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5C7B1B84-DD23-48EC-A567-B295FAD2ABAF}" dt="2023-11-08T16:11:04.045" v="35051"/>
          <ac:spMkLst>
            <pc:docMk/>
            <pc:sldMk cId="1002023985" sldId="270"/>
            <ac:spMk id="55" creationId="{E5519A9A-9BE6-DCEA-87DD-CC3F6748DE83}"/>
          </ac:spMkLst>
        </pc:spChg>
        <pc:spChg chg="mod">
          <ac:chgData name="Joelle Brehm" userId="a518f54c-6985-42c0-8041-2bb16a414839" providerId="ADAL" clId="{5C7B1B84-DD23-48EC-A567-B295FAD2ABAF}" dt="2023-11-08T16:11:04.042" v="35040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5C7B1B84-DD23-48EC-A567-B295FAD2ABAF}" dt="2023-11-08T16:11:04.043" v="35045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5C7B1B84-DD23-48EC-A567-B295FAD2ABAF}" dt="2023-11-08T16:11:04.043" v="35044"/>
          <ac:spMkLst>
            <pc:docMk/>
            <pc:sldMk cId="1002023985" sldId="270"/>
            <ac:spMk id="59" creationId="{15DED5C0-8834-6FCE-242E-76495D4381EE}"/>
          </ac:spMkLst>
        </pc:spChg>
        <pc:spChg chg="mod">
          <ac:chgData name="Joelle Brehm" userId="a518f54c-6985-42c0-8041-2bb16a414839" providerId="ADAL" clId="{5C7B1B84-DD23-48EC-A567-B295FAD2ABAF}" dt="2023-11-08T16:11:04.045" v="35050"/>
          <ac:spMkLst>
            <pc:docMk/>
            <pc:sldMk cId="1002023985" sldId="270"/>
            <ac:spMk id="60" creationId="{0C74CE89-8513-C13D-30DC-F81C311B717E}"/>
          </ac:spMkLst>
        </pc:spChg>
        <pc:spChg chg="mod">
          <ac:chgData name="Joelle Brehm" userId="a518f54c-6985-42c0-8041-2bb16a414839" providerId="ADAL" clId="{5C7B1B84-DD23-48EC-A567-B295FAD2ABAF}" dt="2023-11-08T16:11:04.035" v="35022"/>
          <ac:spMkLst>
            <pc:docMk/>
            <pc:sldMk cId="1002023985" sldId="270"/>
            <ac:spMk id="6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46" v="35052"/>
          <ac:spMkLst>
            <pc:docMk/>
            <pc:sldMk cId="1002023985" sldId="270"/>
            <ac:spMk id="64" creationId="{41EAF63A-0EB0-1655-3104-FBA53C392892}"/>
          </ac:spMkLst>
        </pc:spChg>
        <pc:spChg chg="mod">
          <ac:chgData name="Joelle Brehm" userId="a518f54c-6985-42c0-8041-2bb16a414839" providerId="ADAL" clId="{5C7B1B84-DD23-48EC-A567-B295FAD2ABAF}" dt="2023-11-08T16:11:04.035" v="35023"/>
          <ac:spMkLst>
            <pc:docMk/>
            <pc:sldMk cId="1002023985" sldId="270"/>
            <ac:spMk id="68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36" v="35024"/>
          <ac:spMkLst>
            <pc:docMk/>
            <pc:sldMk cId="1002023985" sldId="270"/>
            <ac:spMk id="69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37" v="35025"/>
          <ac:spMkLst>
            <pc:docMk/>
            <pc:sldMk cId="1002023985" sldId="270"/>
            <ac:spMk id="70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37" v="35026"/>
          <ac:spMkLst>
            <pc:docMk/>
            <pc:sldMk cId="1002023985" sldId="270"/>
            <ac:spMk id="71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38" v="35028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38" v="35029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33" v="35017"/>
          <ac:spMkLst>
            <pc:docMk/>
            <pc:sldMk cId="1002023985" sldId="270"/>
            <ac:spMk id="74" creationId="{1E5392BC-349C-45B4-8F81-52F83DA74F43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6:11:08.235" v="35107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6:11:04.051" v="35068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51" v="35069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51" v="35070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1:04.052" v="35071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6:11:04.052" v="35072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5C7B1B84-DD23-48EC-A567-B295FAD2ABAF}" dt="2023-11-08T16:11:04.037" v="35027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5C7B1B84-DD23-48EC-A567-B295FAD2ABAF}" dt="2023-11-08T16:11:08.789" v="35110" actId="1076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0:14.491" v="34718"/>
          <ac:graphicFrameMkLst>
            <pc:docMk/>
            <pc:sldMk cId="1002023985" sldId="270"/>
            <ac:graphicFrameMk id="8" creationId="{9310BF38-7889-3673-F9CD-9DED99104AE9}"/>
          </ac:graphicFrameMkLst>
        </pc:graphicFrameChg>
        <pc:graphicFrameChg chg="del">
          <ac:chgData name="Joelle Brehm" userId="a518f54c-6985-42c0-8041-2bb16a414839" providerId="ADAL" clId="{5C7B1B84-DD23-48EC-A567-B295FAD2ABAF}" dt="2023-11-08T16:10:13.539" v="34542"/>
          <ac:graphicFrameMkLst>
            <pc:docMk/>
            <pc:sldMk cId="1002023985" sldId="270"/>
            <ac:graphicFrameMk id="9" creationId="{4C6FCD69-9084-ECAA-1054-0DBE7348803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0:20.354" v="34870"/>
          <ac:graphicFrameMkLst>
            <pc:docMk/>
            <pc:sldMk cId="1002023985" sldId="270"/>
            <ac:graphicFrameMk id="34" creationId="{1CBF8878-D985-4C3B-75E2-30137C8314CC}"/>
          </ac:graphicFrameMkLst>
        </pc:graphicFrameChg>
        <pc:graphicFrameChg chg="mod ord">
          <ac:chgData name="Joelle Brehm" userId="a518f54c-6985-42c0-8041-2bb16a414839" providerId="ADAL" clId="{5C7B1B84-DD23-48EC-A567-B295FAD2ABAF}" dt="2023-11-08T16:11:08.235" v="35107"/>
          <ac:graphicFrameMkLst>
            <pc:docMk/>
            <pc:sldMk cId="1002023985" sldId="270"/>
            <ac:graphicFrameMk id="45" creationId="{DDB87E63-E413-1EF9-E1AE-5CC542DF797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1:08.235" v="35107"/>
          <ac:graphicFrameMkLst>
            <pc:docMk/>
            <pc:sldMk cId="1002023985" sldId="270"/>
            <ac:graphicFrameMk id="53" creationId="{24A6FEA7-4EAA-49BF-F010-E7B24FBA216F}"/>
          </ac:graphicFrameMkLst>
        </pc:graphicFrameChg>
        <pc:graphicFrameChg chg="mod ord">
          <ac:chgData name="Joelle Brehm" userId="a518f54c-6985-42c0-8041-2bb16a414839" providerId="ADAL" clId="{5C7B1B84-DD23-48EC-A567-B295FAD2ABAF}" dt="2023-11-08T16:11:08.235" v="35107"/>
          <ac:graphicFrameMkLst>
            <pc:docMk/>
            <pc:sldMk cId="1002023985" sldId="270"/>
            <ac:graphicFrameMk id="81" creationId="{90FA4388-1C76-25B8-0C95-9E4E5BC3D8CD}"/>
          </ac:graphicFrameMkLst>
        </pc:graphicFrameChg>
        <pc:picChg chg="add del mod ord">
          <ac:chgData name="Joelle Brehm" userId="a518f54c-6985-42c0-8041-2bb16a414839" providerId="ADAL" clId="{5C7B1B84-DD23-48EC-A567-B295FAD2ABAF}" dt="2023-11-08T16:11:08.235" v="35107"/>
          <ac:picMkLst>
            <pc:docMk/>
            <pc:sldMk cId="1002023985" sldId="270"/>
            <ac:picMk id="31" creationId="{75A18656-958F-F3DD-D683-EBEA8954CBBE}"/>
          </ac:picMkLst>
        </pc:picChg>
        <pc:picChg chg="mod ord">
          <ac:chgData name="Joelle Brehm" userId="a518f54c-6985-42c0-8041-2bb16a414839" providerId="ADAL" clId="{5C7B1B84-DD23-48EC-A567-B295FAD2ABAF}" dt="2023-11-08T16:11:08.235" v="35107"/>
          <ac:picMkLst>
            <pc:docMk/>
            <pc:sldMk cId="1002023985" sldId="270"/>
            <ac:picMk id="58" creationId="{5A47B146-1888-48D9-9547-6A3C215BE1D4}"/>
          </ac:picMkLst>
        </pc:picChg>
        <pc:picChg chg="add del mod ord">
          <ac:chgData name="Joelle Brehm" userId="a518f54c-6985-42c0-8041-2bb16a414839" providerId="ADAL" clId="{5C7B1B84-DD23-48EC-A567-B295FAD2ABAF}" dt="2023-11-08T16:11:10.532" v="35114"/>
          <ac:picMkLst>
            <pc:docMk/>
            <pc:sldMk cId="1002023985" sldId="270"/>
            <ac:picMk id="61" creationId="{A18532A1-E824-2477-E3D4-424942C196D1}"/>
          </ac:picMkLst>
        </pc:picChg>
        <pc:picChg chg="mod ord">
          <ac:chgData name="Joelle Brehm" userId="a518f54c-6985-42c0-8041-2bb16a414839" providerId="ADAL" clId="{5C7B1B84-DD23-48EC-A567-B295FAD2ABAF}" dt="2023-11-08T16:11:08.235" v="35107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6:11:08.235" v="35107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21:25.983" v="22330"/>
        <pc:sldMkLst>
          <pc:docMk/>
          <pc:sldMk cId="2815334483" sldId="271"/>
        </pc:sldMkLst>
        <pc:spChg chg="add del mod">
          <ac:chgData name="Joelle Brehm" userId="a518f54c-6985-42c0-8041-2bb16a414839" providerId="ADAL" clId="{5C7B1B84-DD23-48EC-A567-B295FAD2ABAF}" dt="2023-11-07T23:20:17.469" v="20535" actId="478"/>
          <ac:spMkLst>
            <pc:docMk/>
            <pc:sldMk cId="2815334483" sldId="271"/>
            <ac:spMk id="2" creationId="{3DF06EAF-C445-5173-3A07-004610ED22FE}"/>
          </ac:spMkLst>
        </pc:spChg>
        <pc:spChg chg="mod ord">
          <ac:chgData name="Joelle Brehm" userId="a518f54c-6985-42c0-8041-2bb16a414839" providerId="ADAL" clId="{5C7B1B84-DD23-48EC-A567-B295FAD2ABAF}" dt="2023-11-07T23:21:25.967" v="22326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5C7B1B84-DD23-48EC-A567-B295FAD2ABAF}" dt="2023-11-07T23:20:32.882" v="20766"/>
          <ac:spMkLst>
            <pc:docMk/>
            <pc:sldMk cId="2815334483" sldId="271"/>
            <ac:spMk id="5" creationId="{A47A8017-D37A-0AA2-5A06-8EC1B441A450}"/>
          </ac:spMkLst>
        </pc:spChg>
        <pc:spChg chg="mod ord">
          <ac:chgData name="Joelle Brehm" userId="a518f54c-6985-42c0-8041-2bb16a414839" providerId="ADAL" clId="{5C7B1B84-DD23-48EC-A567-B295FAD2ABAF}" dt="2023-11-07T23:21:25.951" v="22261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21:25.951" v="22293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5C7B1B84-DD23-48EC-A567-B295FAD2ABAF}" dt="2023-11-07T23:21:25.951" v="22272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21:25.951" v="22268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21:25.951" v="22269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21:25.951" v="22266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21:25.951" v="22267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21:25.951" v="22270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21:25.951" v="22271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21:25.951" v="22273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21:25.951" v="22274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21:25.951" v="22275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21:25.951" v="22276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21:25.951" v="22277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21:25.951" v="22279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21:25.951" v="22282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21:25.951" v="22280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21:25.951" v="22281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21:25.951" v="22284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21:25.951" v="22283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21:25.951" v="22285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21:25.951" v="22287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21:25.967" v="22296"/>
          <ac:spMkLst>
            <pc:docMk/>
            <pc:sldMk cId="2815334483" sldId="271"/>
            <ac:spMk id="32" creationId="{8777249A-D943-16C1-E900-269856ADE995}"/>
          </ac:spMkLst>
        </pc:spChg>
        <pc:spChg chg="del mod">
          <ac:chgData name="Joelle Brehm" userId="a518f54c-6985-42c0-8041-2bb16a414839" providerId="ADAL" clId="{5C7B1B84-DD23-48EC-A567-B295FAD2ABAF}" dt="2023-11-07T23:21:08.505" v="21568"/>
          <ac:spMkLst>
            <pc:docMk/>
            <pc:sldMk cId="2815334483" sldId="271"/>
            <ac:spMk id="34" creationId="{316D5F01-433D-33E2-C79F-6FBFCD17CB7D}"/>
          </ac:spMkLst>
        </pc:spChg>
        <pc:spChg chg="mod">
          <ac:chgData name="Joelle Brehm" userId="a518f54c-6985-42c0-8041-2bb16a414839" providerId="ADAL" clId="{5C7B1B84-DD23-48EC-A567-B295FAD2ABAF}" dt="2023-11-07T23:21:25.951" v="22290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5C7B1B84-DD23-48EC-A567-B295FAD2ABAF}" dt="2023-11-07T23:21:25.951" v="22291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5C7B1B84-DD23-48EC-A567-B295FAD2ABAF}" dt="2023-11-07T23:21:25.951" v="22292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5C7B1B84-DD23-48EC-A567-B295FAD2ABAF}" dt="2023-11-07T23:21:25.967" v="22317"/>
          <ac:spMkLst>
            <pc:docMk/>
            <pc:sldMk cId="2815334483" sldId="271"/>
            <ac:spMk id="38" creationId="{CC5FA94A-B8E0-E7C9-DB9D-BB5C4E4406D1}"/>
          </ac:spMkLst>
        </pc:spChg>
        <pc:spChg chg="add mod replST">
          <ac:chgData name="Joelle Brehm" userId="a518f54c-6985-42c0-8041-2bb16a414839" providerId="ADAL" clId="{5C7B1B84-DD23-48EC-A567-B295FAD2ABAF}" dt="2023-11-07T23:21:25.967" v="22301"/>
          <ac:spMkLst>
            <pc:docMk/>
            <pc:sldMk cId="2815334483" sldId="271"/>
            <ac:spMk id="39" creationId="{3FE8D96F-1EA9-E112-7607-E4758CD02F39}"/>
          </ac:spMkLst>
        </pc:spChg>
        <pc:spChg chg="mod">
          <ac:chgData name="Joelle Brehm" userId="a518f54c-6985-42c0-8041-2bb16a414839" providerId="ADAL" clId="{5C7B1B84-DD23-48EC-A567-B295FAD2ABAF}" dt="2023-11-07T23:21:25.967" v="22318"/>
          <ac:spMkLst>
            <pc:docMk/>
            <pc:sldMk cId="2815334483" sldId="271"/>
            <ac:spMk id="40" creationId="{B3CE3016-99B3-974F-1EC7-6BAAE2BADCD1}"/>
          </ac:spMkLst>
        </pc:spChg>
        <pc:spChg chg="mod">
          <ac:chgData name="Joelle Brehm" userId="a518f54c-6985-42c0-8041-2bb16a414839" providerId="ADAL" clId="{5C7B1B84-DD23-48EC-A567-B295FAD2ABAF}" dt="2023-11-07T23:21:25.967" v="22297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5C7B1B84-DD23-48EC-A567-B295FAD2ABAF}" dt="2023-11-07T23:21:25.951" v="22294"/>
          <ac:spMkLst>
            <pc:docMk/>
            <pc:sldMk cId="2815334483" sldId="271"/>
            <ac:spMk id="42" creationId="{6259DA9A-2854-0028-25DD-8E34BDEB2937}"/>
          </ac:spMkLst>
        </pc:spChg>
        <pc:spChg chg="add del mod modVis">
          <ac:chgData name="Joelle Brehm" userId="a518f54c-6985-42c0-8041-2bb16a414839" providerId="ADAL" clId="{5C7B1B84-DD23-48EC-A567-B295FAD2ABAF}" dt="2023-11-07T23:21:04.556" v="21392"/>
          <ac:spMkLst>
            <pc:docMk/>
            <pc:sldMk cId="2815334483" sldId="271"/>
            <ac:spMk id="43" creationId="{A9A6A53E-5063-32B2-71CD-61DB0697F982}"/>
          </ac:spMkLst>
        </pc:spChg>
        <pc:spChg chg="mod">
          <ac:chgData name="Joelle Brehm" userId="a518f54c-6985-42c0-8041-2bb16a414839" providerId="ADAL" clId="{5C7B1B84-DD23-48EC-A567-B295FAD2ABAF}" dt="2023-11-07T23:21:25.967" v="22298"/>
          <ac:spMkLst>
            <pc:docMk/>
            <pc:sldMk cId="2815334483" sldId="271"/>
            <ac:spMk id="44" creationId="{2A226A46-FF6E-9786-3934-AE547CB60305}"/>
          </ac:spMkLst>
        </pc:spChg>
        <pc:spChg chg="add del mod ord replST">
          <ac:chgData name="Joelle Brehm" userId="a518f54c-6985-42c0-8041-2bb16a414839" providerId="ADAL" clId="{5C7B1B84-DD23-48EC-A567-B295FAD2ABAF}" dt="2023-11-07T23:21:08.505" v="21567"/>
          <ac:spMkLst>
            <pc:docMk/>
            <pc:sldMk cId="2815334483" sldId="271"/>
            <ac:spMk id="4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1:25.967" v="22299"/>
          <ac:spMkLst>
            <pc:docMk/>
            <pc:sldMk cId="2815334483" sldId="271"/>
            <ac:spMk id="46" creationId="{930ECC5A-4534-E4CB-B946-9975134BC620}"/>
          </ac:spMkLst>
        </pc:spChg>
        <pc:spChg chg="add del mod ord replST">
          <ac:chgData name="Joelle Brehm" userId="a518f54c-6985-42c0-8041-2bb16a414839" providerId="ADAL" clId="{5C7B1B84-DD23-48EC-A567-B295FAD2ABAF}" dt="2023-11-07T23:21:11.306" v="21796"/>
          <ac:spMkLst>
            <pc:docMk/>
            <pc:sldMk cId="2815334483" sldId="271"/>
            <ac:spMk id="4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1:25.951" v="22295"/>
          <ac:spMkLst>
            <pc:docMk/>
            <pc:sldMk cId="2815334483" sldId="271"/>
            <ac:spMk id="48" creationId="{E51CFCE3-4E32-6059-9327-A1EFC827F040}"/>
          </ac:spMkLst>
        </pc:spChg>
        <pc:spChg chg="add del mod modVis">
          <ac:chgData name="Joelle Brehm" userId="a518f54c-6985-42c0-8041-2bb16a414839" providerId="ADAL" clId="{5C7B1B84-DD23-48EC-A567-B295FAD2ABAF}" dt="2023-11-07T23:21:05.867" v="21563"/>
          <ac:spMkLst>
            <pc:docMk/>
            <pc:sldMk cId="2815334483" sldId="271"/>
            <ac:spMk id="50" creationId="{89632ED8-AD1C-8EAE-C121-56B7481A22AC}"/>
          </ac:spMkLst>
        </pc:spChg>
        <pc:spChg chg="add del mod modVis">
          <ac:chgData name="Joelle Brehm" userId="a518f54c-6985-42c0-8041-2bb16a414839" providerId="ADAL" clId="{5C7B1B84-DD23-48EC-A567-B295FAD2ABAF}" dt="2023-11-07T23:21:08.615" v="21742"/>
          <ac:spMkLst>
            <pc:docMk/>
            <pc:sldMk cId="2815334483" sldId="271"/>
            <ac:spMk id="52" creationId="{3C27B3A0-5698-59CF-B23F-8DF2E78A0838}"/>
          </ac:spMkLst>
        </pc:spChg>
        <pc:spChg chg="mod">
          <ac:chgData name="Joelle Brehm" userId="a518f54c-6985-42c0-8041-2bb16a414839" providerId="ADAL" clId="{5C7B1B84-DD23-48EC-A567-B295FAD2ABAF}" dt="2023-11-07T23:21:25.967" v="22300"/>
          <ac:spMkLst>
            <pc:docMk/>
            <pc:sldMk cId="2815334483" sldId="271"/>
            <ac:spMk id="54" creationId="{040A7AC0-BA49-481C-2E93-53505ECC740A}"/>
          </ac:spMkLst>
        </pc:spChg>
        <pc:spChg chg="add del mod modVis">
          <ac:chgData name="Joelle Brehm" userId="a518f54c-6985-42c0-8041-2bb16a414839" providerId="ADAL" clId="{5C7B1B84-DD23-48EC-A567-B295FAD2ABAF}" dt="2023-11-07T23:21:11.353" v="21875"/>
          <ac:spMkLst>
            <pc:docMk/>
            <pc:sldMk cId="2815334483" sldId="271"/>
            <ac:spMk id="56" creationId="{5C67D4BE-AF9E-5326-4A77-CE91860436AE}"/>
          </ac:spMkLst>
        </pc:spChg>
        <pc:spChg chg="mod ord">
          <ac:chgData name="Joelle Brehm" userId="a518f54c-6985-42c0-8041-2bb16a414839" providerId="ADAL" clId="{5C7B1B84-DD23-48EC-A567-B295FAD2ABAF}" dt="2023-11-07T23:21:25.967" v="22324"/>
          <ac:spMkLst>
            <pc:docMk/>
            <pc:sldMk cId="2815334483" sldId="271"/>
            <ac:spMk id="58" creationId="{13D3C19C-081E-48C7-8BE2-5EF3E8A1DEEB}"/>
          </ac:spMkLst>
        </pc:spChg>
        <pc:spChg chg="add mod replST">
          <ac:chgData name="Joelle Brehm" userId="a518f54c-6985-42c0-8041-2bb16a414839" providerId="ADAL" clId="{5C7B1B84-DD23-48EC-A567-B295FAD2ABAF}" dt="2023-11-07T23:21:25.967" v="22319"/>
          <ac:spMkLst>
            <pc:docMk/>
            <pc:sldMk cId="2815334483" sldId="271"/>
            <ac:spMk id="59" creationId="{49EE5BBF-498B-527B-A37A-653D0B0482BD}"/>
          </ac:spMkLst>
        </pc:spChg>
        <pc:spChg chg="add mod replST">
          <ac:chgData name="Joelle Brehm" userId="a518f54c-6985-42c0-8041-2bb16a414839" providerId="ADAL" clId="{5C7B1B84-DD23-48EC-A567-B295FAD2ABAF}" dt="2023-11-07T23:21:25.967" v="22320"/>
          <ac:spMkLst>
            <pc:docMk/>
            <pc:sldMk cId="2815334483" sldId="271"/>
            <ac:spMk id="60" creationId="{D4B8985C-4680-260D-A11B-1E04CD36EDB2}"/>
          </ac:spMkLst>
        </pc:spChg>
        <pc:spChg chg="add del mod modVis">
          <ac:chgData name="Joelle Brehm" userId="a518f54c-6985-42c0-8041-2bb16a414839" providerId="ADAL" clId="{5C7B1B84-DD23-48EC-A567-B295FAD2ABAF}" dt="2023-11-07T23:21:16.607" v="22130"/>
          <ac:spMkLst>
            <pc:docMk/>
            <pc:sldMk cId="2815334483" sldId="271"/>
            <ac:spMk id="61" creationId="{53A9D1D7-7E92-6D42-EA6C-018DBA9F3DB7}"/>
          </ac:spMkLst>
        </pc:spChg>
        <pc:spChg chg="mod ord">
          <ac:chgData name="Joelle Brehm" userId="a518f54c-6985-42c0-8041-2bb16a414839" providerId="ADAL" clId="{5C7B1B84-DD23-48EC-A567-B295FAD2ABAF}" dt="2023-11-07T23:21:25.967" v="22303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21:25.967" v="22305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7T23:21:25.967" v="22307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21:25.967" v="22309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21:25.967" v="22311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21:25.967" v="22313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21:25.967" v="22316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21:25.983" v="22330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7T23:20:32.816" v="20671"/>
          <ac:graphicFrameMkLst>
            <pc:docMk/>
            <pc:sldMk cId="2815334483" sldId="271"/>
            <ac:graphicFrameMk id="8" creationId="{6B774E0E-68F4-792B-F275-9A8C659C1E73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1:25.951" v="22265"/>
          <ac:graphicFrameMkLst>
            <pc:docMk/>
            <pc:sldMk cId="2815334483" sldId="271"/>
            <ac:graphicFrameMk id="9" creationId="{7A90B6BF-CAEE-35BA-519F-463310F242F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1:05.819" v="21470"/>
          <ac:graphicFrameMkLst>
            <pc:docMk/>
            <pc:sldMk cId="2815334483" sldId="271"/>
            <ac:graphicFrameMk id="49" creationId="{DCA87D06-26C8-EBDD-0E20-862DC36AA5F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1:08.562" v="21663"/>
          <ac:graphicFrameMkLst>
            <pc:docMk/>
            <pc:sldMk cId="2815334483" sldId="271"/>
            <ac:graphicFrameMk id="51" creationId="{EEA691A8-5FD0-3C46-D47D-DADD13DD6150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1:16.528" v="22051"/>
          <ac:graphicFrameMkLst>
            <pc:docMk/>
            <pc:sldMk cId="2815334483" sldId="271"/>
            <ac:graphicFrameMk id="53" creationId="{A9925CB1-CE42-1EF3-7F19-BEFE8608219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1:11.306" v="21798"/>
          <ac:graphicFrameMkLst>
            <pc:docMk/>
            <pc:sldMk cId="2815334483" sldId="271"/>
            <ac:graphicFrameMk id="55" creationId="{73C3E779-2AA1-364F-C8B3-A1ADCE232F6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1:25.951" v="22289"/>
          <ac:graphicFrameMkLst>
            <pc:docMk/>
            <pc:sldMk cId="2815334483" sldId="271"/>
            <ac:graphicFrameMk id="57" creationId="{41B16FE2-CF6A-77F5-3EA8-3D9EB97A3AF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1:20.866" v="22152"/>
          <ac:graphicFrameMkLst>
            <pc:docMk/>
            <pc:sldMk cId="2815334483" sldId="271"/>
            <ac:graphicFrameMk id="62" creationId="{8F8BAB3B-8681-277B-25A0-E17E08ABDA3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1:25.922" v="22251"/>
          <ac:graphicFrameMkLst>
            <pc:docMk/>
            <pc:sldMk cId="2815334483" sldId="271"/>
            <ac:graphicFrameMk id="63" creationId="{B641FFE8-7BF4-BF7E-2885-F4741387C91F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1:25.967" v="22315"/>
          <ac:graphicFrameMkLst>
            <pc:docMk/>
            <pc:sldMk cId="2815334483" sldId="271"/>
            <ac:graphicFrameMk id="64" creationId="{DAC0745D-15A5-D49F-B7F2-67FCE269C45A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1:04.486" v="21304"/>
          <ac:graphicFrameMkLst>
            <pc:docMk/>
            <pc:sldMk cId="2815334483" sldId="271"/>
            <ac:graphicFrameMk id="66" creationId="{30B3BE04-7DE8-06A8-3512-B46FE600D3CB}"/>
          </ac:graphicFrameMkLst>
        </pc:graphicFrameChg>
        <pc:picChg chg="del mod ord">
          <ac:chgData name="Joelle Brehm" userId="a518f54c-6985-42c0-8041-2bb16a414839" providerId="ADAL" clId="{5C7B1B84-DD23-48EC-A567-B295FAD2ABAF}" dt="2023-11-07T23:20:49.945" v="20852" actId="478"/>
          <ac:picMkLst>
            <pc:docMk/>
            <pc:sldMk cId="2815334483" sldId="271"/>
            <ac:picMk id="31" creationId="{20A1B263-E474-8C3F-E0E1-C28893D2D217}"/>
          </ac:picMkLst>
        </pc:picChg>
        <pc:picChg chg="add mod ord">
          <ac:chgData name="Joelle Brehm" userId="a518f54c-6985-42c0-8041-2bb16a414839" providerId="ADAL" clId="{5C7B1B84-DD23-48EC-A567-B295FAD2ABAF}" dt="2023-11-07T23:21:25.951" v="22259"/>
          <ac:picMkLst>
            <pc:docMk/>
            <pc:sldMk cId="2815334483" sldId="271"/>
            <ac:picMk id="33" creationId="{C243DE61-881F-E84A-E146-A39CDB818CF8}"/>
          </ac:picMkLst>
        </pc:picChg>
        <pc:picChg chg="mod ord">
          <ac:chgData name="Joelle Brehm" userId="a518f54c-6985-42c0-8041-2bb16a414839" providerId="ADAL" clId="{5C7B1B84-DD23-48EC-A567-B295FAD2ABAF}" dt="2023-11-07T23:21:25.967" v="22322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21:25.951" v="22263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22:55.581" v="23632"/>
        <pc:sldMkLst>
          <pc:docMk/>
          <pc:sldMk cId="1407012127" sldId="272"/>
        </pc:sldMkLst>
        <pc:spChg chg="mod ord">
          <ac:chgData name="Joelle Brehm" userId="a518f54c-6985-42c0-8041-2bb16a414839" providerId="ADAL" clId="{5C7B1B84-DD23-48EC-A567-B295FAD2ABAF}" dt="2023-11-07T23:22:55.547" v="23626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5C7B1B84-DD23-48EC-A567-B295FAD2ABAF}" dt="2023-11-07T23:21:40.957" v="22331" actId="478"/>
          <ac:spMkLst>
            <pc:docMk/>
            <pc:sldMk cId="1407012127" sldId="272"/>
            <ac:spMk id="3" creationId="{68BFDDA2-41A2-4061-89F3-145F52AA9F57}"/>
          </ac:spMkLst>
        </pc:spChg>
        <pc:spChg chg="add del mod modVis">
          <ac:chgData name="Joelle Brehm" userId="a518f54c-6985-42c0-8041-2bb16a414839" providerId="ADAL" clId="{5C7B1B84-DD23-48EC-A567-B295FAD2ABAF}" dt="2023-11-07T23:22:07.978" v="22550"/>
          <ac:spMkLst>
            <pc:docMk/>
            <pc:sldMk cId="1407012127" sldId="272"/>
            <ac:spMk id="5" creationId="{58136B64-1CF0-3D35-3324-1F5A9973A5E5}"/>
          </ac:spMkLst>
        </pc:spChg>
        <pc:spChg chg="mod ord">
          <ac:chgData name="Joelle Brehm" userId="a518f54c-6985-42c0-8041-2bb16a414839" providerId="ADAL" clId="{5C7B1B84-DD23-48EC-A567-B295FAD2ABAF}" dt="2023-11-07T23:22:55.517" v="23561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22:55.522" v="23572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22:55.520" v="23568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22:55.521" v="23569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22:55.519" v="23566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22:55.520" v="23567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22:55.521" v="23570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22:55.522" v="23571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22:55.523" v="23573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22:55.524" v="23574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22:55.524" v="23575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22:55.525" v="23576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22:55.525" v="23577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22:55.526" v="23579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22:55.528" v="23582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22:55.527" v="23580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22:55.527" v="23581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22:55.528" v="23584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22:55.528" v="23583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22:55.529" v="23585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22:55.530" v="23587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22:55.534" v="23598"/>
          <ac:spMkLst>
            <pc:docMk/>
            <pc:sldMk cId="1407012127" sldId="272"/>
            <ac:spMk id="31" creationId="{12D405BD-09A7-5DE2-D31C-098B6254BA48}"/>
          </ac:spMkLst>
        </pc:spChg>
        <pc:spChg chg="del mod">
          <ac:chgData name="Joelle Brehm" userId="a518f54c-6985-42c0-8041-2bb16a414839" providerId="ADAL" clId="{5C7B1B84-DD23-48EC-A567-B295FAD2ABAF}" dt="2023-11-07T23:22:41.394" v="23270"/>
          <ac:spMkLst>
            <pc:docMk/>
            <pc:sldMk cId="1407012127" sldId="272"/>
            <ac:spMk id="33" creationId="{FA851268-0C57-C1F8-D85D-FE1413AC1777}"/>
          </ac:spMkLst>
        </pc:spChg>
        <pc:spChg chg="mod">
          <ac:chgData name="Joelle Brehm" userId="a518f54c-6985-42c0-8041-2bb16a414839" providerId="ADAL" clId="{5C7B1B84-DD23-48EC-A567-B295FAD2ABAF}" dt="2023-11-07T23:22:55.531" v="23590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5C7B1B84-DD23-48EC-A567-B295FAD2ABAF}" dt="2023-11-07T23:22:55.531" v="23591"/>
          <ac:spMkLst>
            <pc:docMk/>
            <pc:sldMk cId="1407012127" sldId="272"/>
            <ac:spMk id="35" creationId="{4B6310D6-23E5-0588-F042-388EAC57E1DA}"/>
          </ac:spMkLst>
        </pc:spChg>
        <pc:spChg chg="mod">
          <ac:chgData name="Joelle Brehm" userId="a518f54c-6985-42c0-8041-2bb16a414839" providerId="ADAL" clId="{5C7B1B84-DD23-48EC-A567-B295FAD2ABAF}" dt="2023-11-07T23:22:55.534" v="23600"/>
          <ac:spMkLst>
            <pc:docMk/>
            <pc:sldMk cId="1407012127" sldId="272"/>
            <ac:spMk id="36" creationId="{C8D3E2C2-3C12-3A42-5737-E5E3D3EAF8EA}"/>
          </ac:spMkLst>
        </pc:spChg>
        <pc:spChg chg="mod">
          <ac:chgData name="Joelle Brehm" userId="a518f54c-6985-42c0-8041-2bb16a414839" providerId="ADAL" clId="{5C7B1B84-DD23-48EC-A567-B295FAD2ABAF}" dt="2023-11-07T23:22:55.531" v="23592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5C7B1B84-DD23-48EC-A567-B295FAD2ABAF}" dt="2023-11-07T23:22:55.532" v="23593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5C7B1B84-DD23-48EC-A567-B295FAD2ABAF}" dt="2023-11-07T23:22:55.533" v="23595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5C7B1B84-DD23-48EC-A567-B295FAD2ABAF}" dt="2023-11-07T23:22:55.533" v="23597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5C7B1B84-DD23-48EC-A567-B295FAD2ABAF}" dt="2023-11-07T23:22:55.532" v="23594"/>
          <ac:spMkLst>
            <pc:docMk/>
            <pc:sldMk cId="1407012127" sldId="272"/>
            <ac:spMk id="41" creationId="{3B0A3A52-5D18-7245-58AE-791EE368F68D}"/>
          </ac:spMkLst>
        </pc:spChg>
        <pc:spChg chg="add mod replST">
          <ac:chgData name="Joelle Brehm" userId="a518f54c-6985-42c0-8041-2bb16a414839" providerId="ADAL" clId="{5C7B1B84-DD23-48EC-A567-B295FAD2ABAF}" dt="2023-11-07T23:22:55.535" v="23601"/>
          <ac:spMkLst>
            <pc:docMk/>
            <pc:sldMk cId="1407012127" sldId="272"/>
            <ac:spMk id="42" creationId="{1CCE2CD3-9785-B79A-EAFB-8C7C97C912CB}"/>
          </ac:spMkLst>
        </pc:spChg>
        <pc:spChg chg="mod">
          <ac:chgData name="Joelle Brehm" userId="a518f54c-6985-42c0-8041-2bb16a414839" providerId="ADAL" clId="{5C7B1B84-DD23-48EC-A567-B295FAD2ABAF}" dt="2023-11-07T23:22:55.533" v="23596"/>
          <ac:spMkLst>
            <pc:docMk/>
            <pc:sldMk cId="1407012127" sldId="272"/>
            <ac:spMk id="43" creationId="{FB4FB43F-D084-EE9C-5BF8-B064116032D0}"/>
          </ac:spMkLst>
        </pc:spChg>
        <pc:spChg chg="mod">
          <ac:chgData name="Joelle Brehm" userId="a518f54c-6985-42c0-8041-2bb16a414839" providerId="ADAL" clId="{5C7B1B84-DD23-48EC-A567-B295FAD2ABAF}" dt="2023-11-07T23:22:55.534" v="23599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5C7B1B84-DD23-48EC-A567-B295FAD2ABAF}" dt="2023-11-07T23:22:38.282" v="23095"/>
          <ac:spMkLst>
            <pc:docMk/>
            <pc:sldMk cId="1407012127" sldId="272"/>
            <ac:spMk id="45" creationId="{47AFBE05-7AAE-5018-7795-531F2C0E2B7A}"/>
          </ac:spMkLst>
        </pc:spChg>
        <pc:spChg chg="add del mod ord replST">
          <ac:chgData name="Joelle Brehm" userId="a518f54c-6985-42c0-8041-2bb16a414839" providerId="ADAL" clId="{5C7B1B84-DD23-48EC-A567-B295FAD2ABAF}" dt="2023-11-07T23:22:41.458" v="23355"/>
          <ac:spMkLst>
            <pc:docMk/>
            <pc:sldMk cId="1407012127" sldId="272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3:22:39.710" v="23267"/>
          <ac:spMkLst>
            <pc:docMk/>
            <pc:sldMk cId="1407012127" sldId="272"/>
            <ac:spMk id="48" creationId="{B90DCC8D-EDF2-A728-D2A0-CF2320F45E49}"/>
          </ac:spMkLst>
        </pc:spChg>
        <pc:spChg chg="add del mod modVis">
          <ac:chgData name="Joelle Brehm" userId="a518f54c-6985-42c0-8041-2bb16a414839" providerId="ADAL" clId="{5C7B1B84-DD23-48EC-A567-B295FAD2ABAF}" dt="2023-11-07T23:22:41.507" v="23446"/>
          <ac:spMkLst>
            <pc:docMk/>
            <pc:sldMk cId="1407012127" sldId="272"/>
            <ac:spMk id="50" creationId="{E57743C0-454D-75DF-34E7-60F35DEB5197}"/>
          </ac:spMkLst>
        </pc:spChg>
        <pc:spChg chg="add del mod modVis">
          <ac:chgData name="Joelle Brehm" userId="a518f54c-6985-42c0-8041-2bb16a414839" providerId="ADAL" clId="{5C7B1B84-DD23-48EC-A567-B295FAD2ABAF}" dt="2023-11-07T23:22:55.549" v="23630"/>
          <ac:spMkLst>
            <pc:docMk/>
            <pc:sldMk cId="1407012127" sldId="272"/>
            <ac:spMk id="54" creationId="{CF75FD4F-CC07-DDD1-5AF3-8C1703A443B0}"/>
          </ac:spMkLst>
        </pc:spChg>
        <pc:spChg chg="mod ord">
          <ac:chgData name="Joelle Brehm" userId="a518f54c-6985-42c0-8041-2bb16a414839" providerId="ADAL" clId="{5C7B1B84-DD23-48EC-A567-B295FAD2ABAF}" dt="2023-11-07T23:22:55.545" v="23624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5C7B1B84-DD23-48EC-A567-B295FAD2ABAF}" dt="2023-11-07T23:22:55.536" v="23603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22:55.536" v="23605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7T23:22:55.537" v="23607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22:55.539" v="23609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22:55.540" v="23611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22:55.541" v="23613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22:55.542" v="23616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2:55.543" v="23617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2:55.543" v="23618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2:55.544" v="23619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22:55.544" v="23620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22:55.581" v="23632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7T23:22:07.913" v="22459"/>
          <ac:graphicFrameMkLst>
            <pc:docMk/>
            <pc:sldMk cId="1407012127" sldId="272"/>
            <ac:graphicFrameMk id="8" creationId="{94CBB695-A0E3-5208-B83B-0A6CF85F07BC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2:55.519" v="23565"/>
          <ac:graphicFrameMkLst>
            <pc:docMk/>
            <pc:sldMk cId="1407012127" sldId="272"/>
            <ac:graphicFrameMk id="9" creationId="{C1975965-690B-8227-92D6-1EEF0118F02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2:39.644" v="23172"/>
          <ac:graphicFrameMkLst>
            <pc:docMk/>
            <pc:sldMk cId="1407012127" sldId="272"/>
            <ac:graphicFrameMk id="47" creationId="{D7DE500F-7BA5-C972-2B2E-A62F432C9B6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2:41.458" v="23367"/>
          <ac:graphicFrameMkLst>
            <pc:docMk/>
            <pc:sldMk cId="1407012127" sldId="272"/>
            <ac:graphicFrameMk id="49" creationId="{56293DB6-1693-B245-B480-828F87B528F7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2:38.235" v="23005"/>
          <ac:graphicFrameMkLst>
            <pc:docMk/>
            <pc:sldMk cId="1407012127" sldId="272"/>
            <ac:graphicFrameMk id="51" creationId="{E6E5E00E-E11A-680A-9160-53C06F152BF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2:55.530" v="23589"/>
          <ac:graphicFrameMkLst>
            <pc:docMk/>
            <pc:sldMk cId="1407012127" sldId="272"/>
            <ac:graphicFrameMk id="52" creationId="{5B6DFC2B-BC85-C14A-1F5E-7A395738BE68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2:55.465" v="23551"/>
          <ac:graphicFrameMkLst>
            <pc:docMk/>
            <pc:sldMk cId="1407012127" sldId="272"/>
            <ac:graphicFrameMk id="53" creationId="{7208E04E-E9F2-9CF2-4CD5-101DD4465A32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2:55.542" v="23615"/>
          <ac:graphicFrameMkLst>
            <pc:docMk/>
            <pc:sldMk cId="1407012127" sldId="272"/>
            <ac:graphicFrameMk id="55" creationId="{8969D31D-A40D-12EC-B317-E4F08772A6E7}"/>
          </ac:graphicFrameMkLst>
        </pc:graphicFrameChg>
        <pc:picChg chg="del mod ord">
          <ac:chgData name="Joelle Brehm" userId="a518f54c-6985-42c0-8041-2bb16a414839" providerId="ADAL" clId="{5C7B1B84-DD23-48EC-A567-B295FAD2ABAF}" dt="2023-11-07T23:22:31.145" v="22640" actId="478"/>
          <ac:picMkLst>
            <pc:docMk/>
            <pc:sldMk cId="1407012127" sldId="272"/>
            <ac:picMk id="10" creationId="{C4D75DA8-90FF-F69E-FFBD-AAD572F4FF9D}"/>
          </ac:picMkLst>
        </pc:picChg>
        <pc:picChg chg="add mod ord">
          <ac:chgData name="Joelle Brehm" userId="a518f54c-6985-42c0-8041-2bb16a414839" providerId="ADAL" clId="{5C7B1B84-DD23-48EC-A567-B295FAD2ABAF}" dt="2023-11-07T23:22:55.516" v="23559"/>
          <ac:picMkLst>
            <pc:docMk/>
            <pc:sldMk cId="1407012127" sldId="272"/>
            <ac:picMk id="32" creationId="{C4A19C48-0A89-0C5F-6AC0-5E03108CB7D1}"/>
          </ac:picMkLst>
        </pc:picChg>
        <pc:picChg chg="mod ord">
          <ac:chgData name="Joelle Brehm" userId="a518f54c-6985-42c0-8041-2bb16a414839" providerId="ADAL" clId="{5C7B1B84-DD23-48EC-A567-B295FAD2ABAF}" dt="2023-11-07T23:22:55.545" v="23622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22:55.518" v="23563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24:01.685" v="24862"/>
        <pc:sldMkLst>
          <pc:docMk/>
          <pc:sldMk cId="4005475890" sldId="273"/>
        </pc:sldMkLst>
        <pc:spChg chg="mod ord">
          <ac:chgData name="Joelle Brehm" userId="a518f54c-6985-42c0-8041-2bb16a414839" providerId="ADAL" clId="{5C7B1B84-DD23-48EC-A567-B295FAD2ABAF}" dt="2023-11-07T23:24:01.662" v="24856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5C7B1B84-DD23-48EC-A567-B295FAD2ABAF}" dt="2023-11-07T23:23:13.731" v="23633" actId="478"/>
          <ac:spMkLst>
            <pc:docMk/>
            <pc:sldMk cId="4005475890" sldId="273"/>
            <ac:spMk id="3" creationId="{6E34502F-BD2F-BB94-7D08-382AED03A782}"/>
          </ac:spMkLst>
        </pc:spChg>
        <pc:spChg chg="add del mod modVis">
          <ac:chgData name="Joelle Brehm" userId="a518f54c-6985-42c0-8041-2bb16a414839" providerId="ADAL" clId="{5C7B1B84-DD23-48EC-A567-B295FAD2ABAF}" dt="2023-11-07T23:23:17.486" v="23858"/>
          <ac:spMkLst>
            <pc:docMk/>
            <pc:sldMk cId="4005475890" sldId="273"/>
            <ac:spMk id="5" creationId="{C744D284-B70F-C2A0-C283-2987549979F0}"/>
          </ac:spMkLst>
        </pc:spChg>
        <pc:spChg chg="mod ord">
          <ac:chgData name="Joelle Brehm" userId="a518f54c-6985-42c0-8041-2bb16a414839" providerId="ADAL" clId="{5C7B1B84-DD23-48EC-A567-B295FAD2ABAF}" dt="2023-11-07T23:24:01.639" v="24791"/>
          <ac:spMkLst>
            <pc:docMk/>
            <pc:sldMk cId="4005475890" sldId="273"/>
            <ac:spMk id="6" creationId="{B47CE71D-7819-4857-B121-737A3BD39B4D}"/>
          </ac:spMkLst>
        </pc:spChg>
        <pc:spChg chg="add mod replST">
          <ac:chgData name="Joelle Brehm" userId="a518f54c-6985-42c0-8041-2bb16a414839" providerId="ADAL" clId="{5C7B1B84-DD23-48EC-A567-B295FAD2ABAF}" dt="2023-11-07T23:24:01.653" v="24831"/>
          <ac:spMkLst>
            <pc:docMk/>
            <pc:sldMk cId="4005475890" sldId="273"/>
            <ac:spMk id="10" creationId="{F4526B17-4D9D-5E61-CE0E-B2D48C5D6FAD}"/>
          </ac:spMkLst>
        </pc:spChg>
        <pc:spChg chg="mod">
          <ac:chgData name="Joelle Brehm" userId="a518f54c-6985-42c0-8041-2bb16a414839" providerId="ADAL" clId="{5C7B1B84-DD23-48EC-A567-B295FAD2ABAF}" dt="2023-11-07T23:24:01.642" v="24802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24:01.641" v="24798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24:01.641" v="24799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24:01.640" v="24796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24:01.641" v="24797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24:01.641" v="24800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24:01.642" v="24801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24:01.642" v="24803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24:01.642" v="24804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24:01.643" v="24805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24:01.643" v="24806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24:01.643" v="24807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24:01.643" v="24809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24:01.644" v="24812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24:01.644" v="24810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24:01.644" v="24811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24:01.645" v="24814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24:01.644" v="24813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24:01.645" v="24815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24:01.645" v="24817"/>
          <ac:spMkLst>
            <pc:docMk/>
            <pc:sldMk cId="4005475890" sldId="273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5C7B1B84-DD23-48EC-A567-B295FAD2ABAF}" dt="2023-11-07T23:23:46.616" v="24324"/>
          <ac:spMkLst>
            <pc:docMk/>
            <pc:sldMk cId="4005475890" sldId="273"/>
            <ac:spMk id="31" creationId="{A6379651-949D-06CD-5B88-FFE0EC71173B}"/>
          </ac:spMkLst>
        </pc:spChg>
        <pc:spChg chg="mod">
          <ac:chgData name="Joelle Brehm" userId="a518f54c-6985-42c0-8041-2bb16a414839" providerId="ADAL" clId="{5C7B1B84-DD23-48EC-A567-B295FAD2ABAF}" dt="2023-11-07T23:24:01.651" v="24826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5C7B1B84-DD23-48EC-A567-B295FAD2ABAF}" dt="2023-11-07T23:24:01.652" v="24827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5C7B1B84-DD23-48EC-A567-B295FAD2ABAF}" dt="2023-11-07T23:24:01.649" v="24824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5C7B1B84-DD23-48EC-A567-B295FAD2ABAF}" dt="2023-11-07T23:24:01.650" v="24825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5C7B1B84-DD23-48EC-A567-B295FAD2ABAF}" dt="2023-11-07T23:24:01.652" v="24828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5C7B1B84-DD23-48EC-A567-B295FAD2ABAF}" dt="2023-11-07T23:24:01.652" v="24829"/>
          <ac:spMkLst>
            <pc:docMk/>
            <pc:sldMk cId="4005475890" sldId="273"/>
            <ac:spMk id="38" creationId="{8B5BCAB4-60F8-4FD5-A40F-97245FABCE9A}"/>
          </ac:spMkLst>
        </pc:spChg>
        <pc:spChg chg="add del mod modVis">
          <ac:chgData name="Joelle Brehm" userId="a518f54c-6985-42c0-8041-2bb16a414839" providerId="ADAL" clId="{5C7B1B84-DD23-48EC-A567-B295FAD2ABAF}" dt="2023-11-07T23:23:48.063" v="24495"/>
          <ac:spMkLst>
            <pc:docMk/>
            <pc:sldMk cId="4005475890" sldId="273"/>
            <ac:spMk id="39" creationId="{2DFC29B7-C2FB-CBD0-59A3-3AC7513AC977}"/>
          </ac:spMkLst>
        </pc:spChg>
        <pc:spChg chg="mod">
          <ac:chgData name="Joelle Brehm" userId="a518f54c-6985-42c0-8041-2bb16a414839" providerId="ADAL" clId="{5C7B1B84-DD23-48EC-A567-B295FAD2ABAF}" dt="2023-11-07T23:24:01.653" v="24830"/>
          <ac:spMkLst>
            <pc:docMk/>
            <pc:sldMk cId="4005475890" sldId="273"/>
            <ac:spMk id="40" creationId="{6DF186F3-D7BB-E35B-BC5F-B5541CDFEBC5}"/>
          </ac:spMkLst>
        </pc:spChg>
        <pc:spChg chg="add del mod modVis">
          <ac:chgData name="Joelle Brehm" userId="a518f54c-6985-42c0-8041-2bb16a414839" providerId="ADAL" clId="{5C7B1B84-DD23-48EC-A567-B295FAD2ABAF}" dt="2023-11-07T23:23:50.215" v="24673"/>
          <ac:spMkLst>
            <pc:docMk/>
            <pc:sldMk cId="4005475890" sldId="273"/>
            <ac:spMk id="42" creationId="{E4980AB4-F2FC-3C4A-C841-362B8239592F}"/>
          </ac:spMkLst>
        </pc:spChg>
        <pc:spChg chg="add del mod modVis">
          <ac:chgData name="Joelle Brehm" userId="a518f54c-6985-42c0-8041-2bb16a414839" providerId="ADAL" clId="{5C7B1B84-DD23-48EC-A567-B295FAD2ABAF}" dt="2023-11-07T23:24:01.663" v="24860"/>
          <ac:spMkLst>
            <pc:docMk/>
            <pc:sldMk cId="4005475890" sldId="273"/>
            <ac:spMk id="44" creationId="{943A3AFF-EAFF-87AC-38D1-2E6798C6204D}"/>
          </ac:spMkLst>
        </pc:spChg>
        <pc:spChg chg="mod ord">
          <ac:chgData name="Joelle Brehm" userId="a518f54c-6985-42c0-8041-2bb16a414839" providerId="ADAL" clId="{5C7B1B84-DD23-48EC-A567-B295FAD2ABAF}" dt="2023-11-07T23:24:01.661" v="24854"/>
          <ac:spMkLst>
            <pc:docMk/>
            <pc:sldMk cId="4005475890" sldId="273"/>
            <ac:spMk id="58" creationId="{FEC487CB-3123-46A1-8350-8669839FA870}"/>
          </ac:spMkLst>
        </pc:spChg>
        <pc:spChg chg="mod ord">
          <ac:chgData name="Joelle Brehm" userId="a518f54c-6985-42c0-8041-2bb16a414839" providerId="ADAL" clId="{5C7B1B84-DD23-48EC-A567-B295FAD2ABAF}" dt="2023-11-07T23:24:01.654" v="24833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24:01.655" v="24835"/>
          <ac:spMkLst>
            <pc:docMk/>
            <pc:sldMk cId="4005475890" sldId="273"/>
            <ac:spMk id="79" creationId="{F1476AC4-694B-4D83-BFD8-8DCAA4BB1923}"/>
          </ac:spMkLst>
        </pc:spChg>
        <pc:spChg chg="del mod">
          <ac:chgData name="Joelle Brehm" userId="a518f54c-6985-42c0-8041-2bb16a414839" providerId="ADAL" clId="{5C7B1B84-DD23-48EC-A567-B295FAD2ABAF}" dt="2023-11-07T23:23:50.098" v="24498"/>
          <ac:spMkLst>
            <pc:docMk/>
            <pc:sldMk cId="4005475890" sldId="273"/>
            <ac:spMk id="8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4:01.646" v="24820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4:01.646" v="24821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4:01.647" v="24822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4:01.649" v="24823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3:24:01.656" v="24837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24:01.656" v="24839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24:01.657" v="24841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24:01.659" v="24843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24:01.659" v="24846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4:01.660" v="24847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4:01.660" v="24848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4:01.660" v="24849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24:01.660" v="24850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24:01.685" v="24862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4:01.640" v="24795"/>
          <ac:graphicFrameMkLst>
            <pc:docMk/>
            <pc:sldMk cId="4005475890" sldId="273"/>
            <ac:graphicFrameMk id="8" creationId="{D3917094-CD7A-D206-C780-2CD131BD401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3:47.986" v="24402"/>
          <ac:graphicFrameMkLst>
            <pc:docMk/>
            <pc:sldMk cId="4005475890" sldId="273"/>
            <ac:graphicFrameMk id="35" creationId="{8F801D7A-67F5-0436-AD6D-753CB98D6D0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3:50.166" v="24594"/>
          <ac:graphicFrameMkLst>
            <pc:docMk/>
            <pc:sldMk cId="4005475890" sldId="273"/>
            <ac:graphicFrameMk id="41" creationId="{AD0B4623-4153-ED56-8FB3-850EDC7F238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4:01.646" v="24819"/>
          <ac:graphicFrameMkLst>
            <pc:docMk/>
            <pc:sldMk cId="4005475890" sldId="273"/>
            <ac:graphicFrameMk id="43" creationId="{D85EFFC9-5E63-0CFB-4B65-DCF8A51CEC63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4:01.659" v="24845"/>
          <ac:graphicFrameMkLst>
            <pc:docMk/>
            <pc:sldMk cId="4005475890" sldId="273"/>
            <ac:graphicFrameMk id="45" creationId="{CABE77DD-BFFE-37CA-3A45-26B69B2F2B13}"/>
          </ac:graphicFrameMkLst>
        </pc:graphicFrameChg>
        <pc:graphicFrameChg chg="del">
          <ac:chgData name="Joelle Brehm" userId="a518f54c-6985-42c0-8041-2bb16a414839" providerId="ADAL" clId="{5C7B1B84-DD23-48EC-A567-B295FAD2ABAF}" dt="2023-11-07T23:23:17.398" v="23765"/>
          <ac:graphicFrameMkLst>
            <pc:docMk/>
            <pc:sldMk cId="4005475890" sldId="273"/>
            <ac:graphicFrameMk id="53" creationId="{188A4A74-C8D3-0530-C3F1-41EDC087D60A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4:01.603" v="24781"/>
          <ac:graphicFrameMkLst>
            <pc:docMk/>
            <pc:sldMk cId="4005475890" sldId="273"/>
            <ac:graphicFrameMk id="56" creationId="{E859342D-0999-3B76-0B63-5F323B48883A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3:46.567" v="24236"/>
          <ac:graphicFrameMkLst>
            <pc:docMk/>
            <pc:sldMk cId="4005475890" sldId="273"/>
            <ac:graphicFrameMk id="59" creationId="{586BA077-3D5F-1F60-A07B-00494A80D557}"/>
          </ac:graphicFrameMkLst>
        </pc:graphicFrameChg>
        <pc:picChg chg="add mod ord">
          <ac:chgData name="Joelle Brehm" userId="a518f54c-6985-42c0-8041-2bb16a414839" providerId="ADAL" clId="{5C7B1B84-DD23-48EC-A567-B295FAD2ABAF}" dt="2023-11-07T23:24:01.639" v="24789"/>
          <ac:picMkLst>
            <pc:docMk/>
            <pc:sldMk cId="4005475890" sldId="273"/>
            <ac:picMk id="9" creationId="{7E0EAB1C-861D-88A2-47A6-FBBDB9E33FF9}"/>
          </ac:picMkLst>
        </pc:picChg>
        <pc:picChg chg="del mod ord">
          <ac:chgData name="Joelle Brehm" userId="a518f54c-6985-42c0-8041-2bb16a414839" providerId="ADAL" clId="{5C7B1B84-DD23-48EC-A567-B295FAD2ABAF}" dt="2023-11-07T23:23:41.234" v="23951" actId="478"/>
          <ac:picMkLst>
            <pc:docMk/>
            <pc:sldMk cId="4005475890" sldId="273"/>
            <ac:picMk id="54" creationId="{0075A831-24A6-8855-2D1D-A2E90600781A}"/>
          </ac:picMkLst>
        </pc:picChg>
        <pc:picChg chg="mod ord">
          <ac:chgData name="Joelle Brehm" userId="a518f54c-6985-42c0-8041-2bb16a414839" providerId="ADAL" clId="{5C7B1B84-DD23-48EC-A567-B295FAD2ABAF}" dt="2023-11-07T23:24:01.661" v="24852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24:01.640" v="24793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25:26.186" v="26564"/>
        <pc:sldMkLst>
          <pc:docMk/>
          <pc:sldMk cId="3374649050" sldId="274"/>
        </pc:sldMkLst>
        <pc:spChg chg="mod ord">
          <ac:chgData name="Joelle Brehm" userId="a518f54c-6985-42c0-8041-2bb16a414839" providerId="ADAL" clId="{5C7B1B84-DD23-48EC-A567-B295FAD2ABAF}" dt="2023-11-07T23:25:26.170" v="26558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5C7B1B84-DD23-48EC-A567-B295FAD2ABAF}" dt="2023-11-07T23:24:15.524" v="24863" actId="478"/>
          <ac:spMkLst>
            <pc:docMk/>
            <pc:sldMk cId="3374649050" sldId="274"/>
            <ac:spMk id="3" creationId="{93929B5B-7872-D921-2982-4DDAB41C9E78}"/>
          </ac:spMkLst>
        </pc:spChg>
        <pc:spChg chg="add del mod modVis">
          <ac:chgData name="Joelle Brehm" userId="a518f54c-6985-42c0-8041-2bb16a414839" providerId="ADAL" clId="{5C7B1B84-DD23-48EC-A567-B295FAD2ABAF}" dt="2023-11-07T23:24:18.898" v="25088"/>
          <ac:spMkLst>
            <pc:docMk/>
            <pc:sldMk cId="3374649050" sldId="274"/>
            <ac:spMk id="5" creationId="{85482B74-6D42-E8DB-8905-A823CF2CCA53}"/>
          </ac:spMkLst>
        </pc:spChg>
        <pc:spChg chg="mod ord">
          <ac:chgData name="Joelle Brehm" userId="a518f54c-6985-42c0-8041-2bb16a414839" providerId="ADAL" clId="{5C7B1B84-DD23-48EC-A567-B295FAD2ABAF}" dt="2023-11-07T23:25:26.154" v="26493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25:26.158" v="26504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25:26.157" v="26500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25:26.157" v="26501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25:26.156" v="26498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25:26.156" v="26499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25:26.157" v="26502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25:26.157" v="26503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25:26.158" v="26505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25:26.158" v="26506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25:26.158" v="26507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25:26.158" v="26508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25:26.158" v="26509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25:26.159" v="26511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25:26.160" v="26514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25:26.159" v="26512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25:26.159" v="26513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25:26.160" v="26516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25:26.160" v="26515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25:26.160" v="26517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25:26.161" v="26519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25:26.163" v="26529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5C7B1B84-DD23-48EC-A567-B295FAD2ABAF}" dt="2023-11-07T23:25:26.162" v="26526"/>
          <ac:spMkLst>
            <pc:docMk/>
            <pc:sldMk cId="3374649050" sldId="274"/>
            <ac:spMk id="33" creationId="{8A5C4479-0363-6F13-F887-8871FD03F34C}"/>
          </ac:spMkLst>
        </pc:spChg>
        <pc:spChg chg="add del mod modVis">
          <ac:chgData name="Joelle Brehm" userId="a518f54c-6985-42c0-8041-2bb16a414839" providerId="ADAL" clId="{5C7B1B84-DD23-48EC-A567-B295FAD2ABAF}" dt="2023-11-07T23:25:10.934" v="25469"/>
          <ac:spMkLst>
            <pc:docMk/>
            <pc:sldMk cId="3374649050" sldId="274"/>
            <ac:spMk id="34" creationId="{94E72C09-2EC4-879E-F42C-8338598B0171}"/>
          </ac:spMkLst>
        </pc:spChg>
        <pc:spChg chg="mod">
          <ac:chgData name="Joelle Brehm" userId="a518f54c-6985-42c0-8041-2bb16a414839" providerId="ADAL" clId="{5C7B1B84-DD23-48EC-A567-B295FAD2ABAF}" dt="2023-11-07T23:25:26.163" v="26528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5C7B1B84-DD23-48EC-A567-B295FAD2ABAF}" dt="2023-11-07T23:25:26.163" v="26530"/>
          <ac:spMkLst>
            <pc:docMk/>
            <pc:sldMk cId="3374649050" sldId="274"/>
            <ac:spMk id="36" creationId="{88575725-6998-54DE-FE5F-DCCF247F6A3F}"/>
          </ac:spMkLst>
        </pc:spChg>
        <pc:spChg chg="mod">
          <ac:chgData name="Joelle Brehm" userId="a518f54c-6985-42c0-8041-2bb16a414839" providerId="ADAL" clId="{5C7B1B84-DD23-48EC-A567-B295FAD2ABAF}" dt="2023-11-07T23:25:26.163" v="26527"/>
          <ac:spMkLst>
            <pc:docMk/>
            <pc:sldMk cId="3374649050" sldId="274"/>
            <ac:spMk id="38" creationId="{1995B1DD-126C-92BA-1668-3B87C2F5B1E5}"/>
          </ac:spMkLst>
        </pc:spChg>
        <pc:spChg chg="mod">
          <ac:chgData name="Joelle Brehm" userId="a518f54c-6985-42c0-8041-2bb16a414839" providerId="ADAL" clId="{5C7B1B84-DD23-48EC-A567-B295FAD2ABAF}" dt="2023-11-07T23:25:26.163" v="26531"/>
          <ac:spMkLst>
            <pc:docMk/>
            <pc:sldMk cId="3374649050" sldId="274"/>
            <ac:spMk id="40" creationId="{8BA31CDF-8D43-74CD-D3E4-26F103CC0D3B}"/>
          </ac:spMkLst>
        </pc:spChg>
        <pc:spChg chg="mod">
          <ac:chgData name="Joelle Brehm" userId="a518f54c-6985-42c0-8041-2bb16a414839" providerId="ADAL" clId="{5C7B1B84-DD23-48EC-A567-B295FAD2ABAF}" dt="2023-11-07T23:25:26.164" v="26532"/>
          <ac:spMkLst>
            <pc:docMk/>
            <pc:sldMk cId="3374649050" sldId="274"/>
            <ac:spMk id="41" creationId="{B7AB9DCF-AEC0-1EB4-2709-C783258EE0AF}"/>
          </ac:spMkLst>
        </pc:spChg>
        <pc:spChg chg="add mod replST">
          <ac:chgData name="Joelle Brehm" userId="a518f54c-6985-42c0-8041-2bb16a414839" providerId="ADAL" clId="{5C7B1B84-DD23-48EC-A567-B295FAD2ABAF}" dt="2023-11-07T23:25:26.164" v="26533"/>
          <ac:spMkLst>
            <pc:docMk/>
            <pc:sldMk cId="3374649050" sldId="274"/>
            <ac:spMk id="42" creationId="{41583D19-C077-7FD0-6F5A-DBE565BC62CF}"/>
          </ac:spMkLst>
        </pc:spChg>
        <pc:spChg chg="mod">
          <ac:chgData name="Joelle Brehm" userId="a518f54c-6985-42c0-8041-2bb16a414839" providerId="ADAL" clId="{5C7B1B84-DD23-48EC-A567-B295FAD2ABAF}" dt="2023-11-07T23:25:26.167" v="26548"/>
          <ac:spMkLst>
            <pc:docMk/>
            <pc:sldMk cId="3374649050" sldId="274"/>
            <ac:spMk id="43" creationId="{71A50278-0560-C951-1F18-CA11BF2F6494}"/>
          </ac:spMkLst>
        </pc:spChg>
        <pc:spChg chg="add del mod modVis">
          <ac:chgData name="Joelle Brehm" userId="a518f54c-6985-42c0-8041-2bb16a414839" providerId="ADAL" clId="{5C7B1B84-DD23-48EC-A567-B295FAD2ABAF}" dt="2023-11-07T23:25:14.728" v="25814"/>
          <ac:spMkLst>
            <pc:docMk/>
            <pc:sldMk cId="3374649050" sldId="274"/>
            <ac:spMk id="44" creationId="{63463D3C-E7B6-692C-487B-34A010550EA5}"/>
          </ac:spMkLst>
        </pc:spChg>
        <pc:spChg chg="add del mod ord replST">
          <ac:chgData name="Joelle Brehm" userId="a518f54c-6985-42c0-8041-2bb16a414839" providerId="ADAL" clId="{5C7B1B84-DD23-48EC-A567-B295FAD2ABAF}" dt="2023-11-07T23:25:17.327" v="25872"/>
          <ac:spMkLst>
            <pc:docMk/>
            <pc:sldMk cId="3374649050" sldId="274"/>
            <ac:spMk id="45" creationId="{7CAA3B95-4C78-4122-BECA-B5FB0F3F3764}"/>
          </ac:spMkLst>
        </pc:spChg>
        <pc:spChg chg="add del mod ord replST">
          <ac:chgData name="Joelle Brehm" userId="a518f54c-6985-42c0-8041-2bb16a414839" providerId="ADAL" clId="{5C7B1B84-DD23-48EC-A567-B295FAD2ABAF}" dt="2023-11-07T23:25:17.330" v="25879"/>
          <ac:spMkLst>
            <pc:docMk/>
            <pc:sldMk cId="3374649050" sldId="274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3:25:17.398" v="25998"/>
          <ac:spMkLst>
            <pc:docMk/>
            <pc:sldMk cId="3374649050" sldId="274"/>
            <ac:spMk id="48" creationId="{69BC5DA8-8FA5-EFB1-B38F-647E3B789623}"/>
          </ac:spMkLst>
        </pc:spChg>
        <pc:spChg chg="add del mod modVis">
          <ac:chgData name="Joelle Brehm" userId="a518f54c-6985-42c0-8041-2bb16a414839" providerId="ADAL" clId="{5C7B1B84-DD23-48EC-A567-B295FAD2ABAF}" dt="2023-11-07T23:25:19.962" v="26213"/>
          <ac:spMkLst>
            <pc:docMk/>
            <pc:sldMk cId="3374649050" sldId="274"/>
            <ac:spMk id="50" creationId="{0D1B8968-15B9-511E-D92E-1707A25DAA3C}"/>
          </ac:spMkLst>
        </pc:spChg>
        <pc:spChg chg="add del mod ord replST">
          <ac:chgData name="Joelle Brehm" userId="a518f54c-6985-42c0-8041-2bb16a414839" providerId="ADAL" clId="{5C7B1B84-DD23-48EC-A567-B295FAD2ABAF}" dt="2023-11-07T23:25:26.131" v="26481"/>
          <ac:spMkLst>
            <pc:docMk/>
            <pc:sldMk cId="3374649050" sldId="274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3:25:23.216" v="26425"/>
          <ac:spMkLst>
            <pc:docMk/>
            <pc:sldMk cId="3374649050" sldId="274"/>
            <ac:spMk id="54" creationId="{19E47E50-2D94-F54E-B16B-50CD78CB98AE}"/>
          </ac:spMkLst>
        </pc:spChg>
        <pc:spChg chg="add del mod modVis">
          <ac:chgData name="Joelle Brehm" userId="a518f54c-6985-42c0-8041-2bb16a414839" providerId="ADAL" clId="{5C7B1B84-DD23-48EC-A567-B295FAD2ABAF}" dt="2023-11-07T23:25:26.171" v="26562"/>
          <ac:spMkLst>
            <pc:docMk/>
            <pc:sldMk cId="3374649050" sldId="274"/>
            <ac:spMk id="56" creationId="{8A2BF42E-2111-921F-4B1A-74DB0F2F8C3B}"/>
          </ac:spMkLst>
        </pc:spChg>
        <pc:spChg chg="mod ord">
          <ac:chgData name="Joelle Brehm" userId="a518f54c-6985-42c0-8041-2bb16a414839" providerId="ADAL" clId="{5C7B1B84-DD23-48EC-A567-B295FAD2ABAF}" dt="2023-11-07T23:25:26.169" v="26556"/>
          <ac:spMkLst>
            <pc:docMk/>
            <pc:sldMk cId="3374649050" sldId="274"/>
            <ac:spMk id="58" creationId="{5BBF118A-F952-4AA1-8B74-92A00B5F6171}"/>
          </ac:spMkLst>
        </pc:spChg>
        <pc:spChg chg="mod ord">
          <ac:chgData name="Joelle Brehm" userId="a518f54c-6985-42c0-8041-2bb16a414839" providerId="ADAL" clId="{5C7B1B84-DD23-48EC-A567-B295FAD2ABAF}" dt="2023-11-07T23:25:26.164" v="26535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25:26.165" v="26537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5C7B1B84-DD23-48EC-A567-B295FAD2ABAF}" dt="2023-11-07T23:25:17.272" v="25817"/>
          <ac:spMkLst>
            <pc:docMk/>
            <pc:sldMk cId="3374649050" sldId="274"/>
            <ac:spMk id="8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5:26.161" v="26522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5:26.162" v="26523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5:26.162" v="26524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5:26.162" v="26525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3:25:26.165" v="26539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25:26.166" v="26541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25:26.166" v="26543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25:26.167" v="26545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25:26.168" v="26549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5:26.168" v="26550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5:26.168" v="26551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25:26.168" v="26552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25:26.186" v="26564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7T23:24:18.808" v="24995"/>
          <ac:graphicFrameMkLst>
            <pc:docMk/>
            <pc:sldMk cId="3374649050" sldId="274"/>
            <ac:graphicFrameMk id="8" creationId="{66E911F4-557C-F8FB-0363-5B421D7595CF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5:26.156" v="26497"/>
          <ac:graphicFrameMkLst>
            <pc:docMk/>
            <pc:sldMk cId="3374649050" sldId="274"/>
            <ac:graphicFrameMk id="10" creationId="{1E98D54F-8D4B-BB6A-56D0-CCB777D6E2B5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5:23.138" v="26344"/>
          <ac:graphicFrameMkLst>
            <pc:docMk/>
            <pc:sldMk cId="3374649050" sldId="274"/>
            <ac:graphicFrameMk id="37" creationId="{2F6BADA4-123F-34BF-2B62-79C71E94CE0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5:14.664" v="25719"/>
          <ac:graphicFrameMkLst>
            <pc:docMk/>
            <pc:sldMk cId="3374649050" sldId="274"/>
            <ac:graphicFrameMk id="39" creationId="{9E805183-6663-3919-AB66-B8865358260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5:17.346" v="25919"/>
          <ac:graphicFrameMkLst>
            <pc:docMk/>
            <pc:sldMk cId="3374649050" sldId="274"/>
            <ac:graphicFrameMk id="47" creationId="{167457CB-A813-8DA9-4F1E-AD073265EBA2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5:19.886" v="26121"/>
          <ac:graphicFrameMkLst>
            <pc:docMk/>
            <pc:sldMk cId="3374649050" sldId="274"/>
            <ac:graphicFrameMk id="49" creationId="{1E0F2C6E-FDA7-5E47-9AFF-B6D057D3792D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5:10.880" v="25386"/>
          <ac:graphicFrameMkLst>
            <pc:docMk/>
            <pc:sldMk cId="3374649050" sldId="274"/>
            <ac:graphicFrameMk id="51" creationId="{C07C5B01-43C5-C2C5-26EF-9F6C0938EE32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5:26.132" v="26483"/>
          <ac:graphicFrameMkLst>
            <pc:docMk/>
            <pc:sldMk cId="3374649050" sldId="274"/>
            <ac:graphicFrameMk id="53" creationId="{EC573958-1722-7206-FE73-F988ED93FB37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5:26.167" v="26547"/>
          <ac:graphicFrameMkLst>
            <pc:docMk/>
            <pc:sldMk cId="3374649050" sldId="274"/>
            <ac:graphicFrameMk id="55" creationId="{110EA48B-7759-F1FB-92ED-CA0D362B1D3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5:26.161" v="26521"/>
          <ac:graphicFrameMkLst>
            <pc:docMk/>
            <pc:sldMk cId="3374649050" sldId="274"/>
            <ac:graphicFrameMk id="57" creationId="{EB1A9C6B-181C-17F7-2858-CF3D10FE364F}"/>
          </ac:graphicFrameMkLst>
        </pc:graphicFrameChg>
        <pc:picChg chg="del mod ord">
          <ac:chgData name="Joelle Brehm" userId="a518f54c-6985-42c0-8041-2bb16a414839" providerId="ADAL" clId="{5C7B1B84-DD23-48EC-A567-B295FAD2ABAF}" dt="2023-11-07T23:24:45.043" v="25179" actId="478"/>
          <ac:picMkLst>
            <pc:docMk/>
            <pc:sldMk cId="3374649050" sldId="274"/>
            <ac:picMk id="9" creationId="{5A17104C-B8AE-7BB0-BF4C-B47A409039F6}"/>
          </ac:picMkLst>
        </pc:picChg>
        <pc:picChg chg="add mod ord">
          <ac:chgData name="Joelle Brehm" userId="a518f54c-6985-42c0-8041-2bb16a414839" providerId="ADAL" clId="{5C7B1B84-DD23-48EC-A567-B295FAD2ABAF}" dt="2023-11-07T23:25:26.154" v="26491"/>
          <ac:picMkLst>
            <pc:docMk/>
            <pc:sldMk cId="3374649050" sldId="274"/>
            <ac:picMk id="31" creationId="{B37218C4-FA5F-C457-75AD-8EAE6010EC9B}"/>
          </ac:picMkLst>
        </pc:picChg>
        <pc:picChg chg="mod ord">
          <ac:chgData name="Joelle Brehm" userId="a518f54c-6985-42c0-8041-2bb16a414839" providerId="ADAL" clId="{5C7B1B84-DD23-48EC-A567-B295FAD2ABAF}" dt="2023-11-07T23:25:26.169" v="26554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25:26.154" v="26495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26:34.908" v="28072"/>
        <pc:sldMkLst>
          <pc:docMk/>
          <pc:sldMk cId="592117244" sldId="275"/>
        </pc:sldMkLst>
        <pc:spChg chg="add del mod">
          <ac:chgData name="Joelle Brehm" userId="a518f54c-6985-42c0-8041-2bb16a414839" providerId="ADAL" clId="{5C7B1B84-DD23-48EC-A567-B295FAD2ABAF}" dt="2023-11-07T23:25:36.363" v="26565" actId="478"/>
          <ac:spMkLst>
            <pc:docMk/>
            <pc:sldMk cId="592117244" sldId="275"/>
            <ac:spMk id="2" creationId="{DA2C166F-DA99-F86B-3903-FC83340A2C19}"/>
          </ac:spMkLst>
        </pc:spChg>
        <pc:spChg chg="mod ord">
          <ac:chgData name="Joelle Brehm" userId="a518f54c-6985-42c0-8041-2bb16a414839" providerId="ADAL" clId="{5C7B1B84-DD23-48EC-A567-B295FAD2ABAF}" dt="2023-11-07T23:26:34.894" v="28068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5C7B1B84-DD23-48EC-A567-B295FAD2ABAF}" dt="2023-11-07T23:25:48.835" v="26792"/>
          <ac:spMkLst>
            <pc:docMk/>
            <pc:sldMk cId="592117244" sldId="275"/>
            <ac:spMk id="5" creationId="{AEA0ED90-6F22-7EBC-346F-A38577C1AA73}"/>
          </ac:spMkLst>
        </pc:spChg>
        <pc:spChg chg="mod ord">
          <ac:chgData name="Joelle Brehm" userId="a518f54c-6985-42c0-8041-2bb16a414839" providerId="ADAL" clId="{5C7B1B84-DD23-48EC-A567-B295FAD2ABAF}" dt="2023-11-07T23:26:34.879" v="28003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26:34.881" v="28014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26:34.880" v="28010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26:34.880" v="28011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26:34.880" v="28008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26:34.880" v="28009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26:34.881" v="28012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26:34.881" v="28013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26:34.881" v="28015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26:34.882" v="28016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26:34.882" v="28017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26:34.882" v="28018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26:34.882" v="28019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26:34.883" v="28021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26:34.883" v="28024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26:34.883" v="28022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26:34.883" v="28023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26:34.884" v="28026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26:34.884" v="28025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26:34.884" v="28027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26:34.885" v="28029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26:34.887" v="28038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5C7B1B84-DD23-48EC-A567-B295FAD2ABAF}" dt="2023-11-07T23:26:34.887" v="28039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5C7B1B84-DD23-48EC-A567-B295FAD2ABAF}" dt="2023-11-07T23:26:34.887" v="28041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5C7B1B84-DD23-48EC-A567-B295FAD2ABAF}" dt="2023-11-07T23:26:34.887" v="28040"/>
          <ac:spMkLst>
            <pc:docMk/>
            <pc:sldMk cId="592117244" sldId="275"/>
            <ac:spMk id="35" creationId="{8A659545-7F46-0F9C-1180-4340FFF52971}"/>
          </ac:spMkLst>
        </pc:spChg>
        <pc:spChg chg="add mod replST">
          <ac:chgData name="Joelle Brehm" userId="a518f54c-6985-42c0-8041-2bb16a414839" providerId="ADAL" clId="{5C7B1B84-DD23-48EC-A567-B295FAD2ABAF}" dt="2023-11-07T23:26:34.888" v="28043"/>
          <ac:spMkLst>
            <pc:docMk/>
            <pc:sldMk cId="592117244" sldId="275"/>
            <ac:spMk id="36" creationId="{C43BE2CA-3914-FB60-BCFB-2D4A26000593}"/>
          </ac:spMkLst>
        </pc:spChg>
        <pc:spChg chg="mod">
          <ac:chgData name="Joelle Brehm" userId="a518f54c-6985-42c0-8041-2bb16a414839" providerId="ADAL" clId="{5C7B1B84-DD23-48EC-A567-B295FAD2ABAF}" dt="2023-11-07T23:26:34.887" v="28037"/>
          <ac:spMkLst>
            <pc:docMk/>
            <pc:sldMk cId="592117244" sldId="275"/>
            <ac:spMk id="37" creationId="{90FA8FF8-BF43-F8ED-7D69-4D34F348E5E1}"/>
          </ac:spMkLst>
        </pc:spChg>
        <pc:spChg chg="mod">
          <ac:chgData name="Joelle Brehm" userId="a518f54c-6985-42c0-8041-2bb16a414839" providerId="ADAL" clId="{5C7B1B84-DD23-48EC-A567-B295FAD2ABAF}" dt="2023-11-07T23:26:34.886" v="28036"/>
          <ac:spMkLst>
            <pc:docMk/>
            <pc:sldMk cId="592117244" sldId="275"/>
            <ac:spMk id="39" creationId="{1EFCB791-16E1-BC87-1C92-0DDD24DA7D5F}"/>
          </ac:spMkLst>
        </pc:spChg>
        <pc:spChg chg="mod">
          <ac:chgData name="Joelle Brehm" userId="a518f54c-6985-42c0-8041-2bb16a414839" providerId="ADAL" clId="{5C7B1B84-DD23-48EC-A567-B295FAD2ABAF}" dt="2023-11-07T23:26:34.888" v="28042"/>
          <ac:spMkLst>
            <pc:docMk/>
            <pc:sldMk cId="592117244" sldId="275"/>
            <ac:spMk id="40" creationId="{EA684AFB-C218-2E57-6C22-6AF81611FBE3}"/>
          </ac:spMkLst>
        </pc:spChg>
        <pc:spChg chg="add del mod modVis">
          <ac:chgData name="Joelle Brehm" userId="a518f54c-6985-42c0-8041-2bb16a414839" providerId="ADAL" clId="{5C7B1B84-DD23-48EC-A567-B295FAD2ABAF}" dt="2023-11-07T23:26:22.493" v="27311"/>
          <ac:spMkLst>
            <pc:docMk/>
            <pc:sldMk cId="592117244" sldId="275"/>
            <ac:spMk id="41" creationId="{F755FB21-7E58-6BC4-E0E9-B8D80D0A77C4}"/>
          </ac:spMkLst>
        </pc:spChg>
        <pc:spChg chg="add del mod ord replST">
          <ac:chgData name="Joelle Brehm" userId="a518f54c-6985-42c0-8041-2bb16a414839" providerId="ADAL" clId="{5C7B1B84-DD23-48EC-A567-B295FAD2ABAF}" dt="2023-11-07T23:26:25.712" v="27579"/>
          <ac:spMkLst>
            <pc:docMk/>
            <pc:sldMk cId="592117244" sldId="275"/>
            <ac:spMk id="42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3:26:23.502" v="27481"/>
          <ac:spMkLst>
            <pc:docMk/>
            <pc:sldMk cId="592117244" sldId="275"/>
            <ac:spMk id="44" creationId="{B9173D0E-2CD7-488D-628B-8C61BF92B858}"/>
          </ac:spMkLst>
        </pc:spChg>
        <pc:spChg chg="add del mod modVis">
          <ac:chgData name="Joelle Brehm" userId="a518f54c-6985-42c0-8041-2bb16a414839" providerId="ADAL" clId="{5C7B1B84-DD23-48EC-A567-B295FAD2ABAF}" dt="2023-11-07T23:26:25.840" v="27660"/>
          <ac:spMkLst>
            <pc:docMk/>
            <pc:sldMk cId="592117244" sldId="275"/>
            <ac:spMk id="46" creationId="{577E8DAD-A66A-7584-BEB5-1C1B4EADC61A}"/>
          </ac:spMkLst>
        </pc:spChg>
        <pc:spChg chg="add del mod modVis">
          <ac:chgData name="Joelle Brehm" userId="a518f54c-6985-42c0-8041-2bb16a414839" providerId="ADAL" clId="{5C7B1B84-DD23-48EC-A567-B295FAD2ABAF}" dt="2023-11-07T23:26:30.353" v="27872"/>
          <ac:spMkLst>
            <pc:docMk/>
            <pc:sldMk cId="592117244" sldId="275"/>
            <ac:spMk id="49" creationId="{B3848AAB-B4B5-3A84-5CC8-D743547B10CC}"/>
          </ac:spMkLst>
        </pc:spChg>
        <pc:spChg chg="mod ord">
          <ac:chgData name="Joelle Brehm" userId="a518f54c-6985-42c0-8041-2bb16a414839" providerId="ADAL" clId="{5C7B1B84-DD23-48EC-A567-B295FAD2ABAF}" dt="2023-11-07T23:26:34.893" v="28066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5C7B1B84-DD23-48EC-A567-B295FAD2ABAF}" dt="2023-11-07T23:26:34.888" v="28045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26:34.889" v="28047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5C7B1B84-DD23-48EC-A567-B295FAD2ABAF}" dt="2023-11-07T23:26:25.539" v="27484"/>
          <ac:spMkLst>
            <pc:docMk/>
            <pc:sldMk cId="592117244" sldId="275"/>
            <ac:spMk id="8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6:34.885" v="28032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6:34.886" v="28033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6:34.886" v="28034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6:34.886" v="28035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3:26:34.889" v="28049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26:34.890" v="28051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26:34.890" v="28053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26:34.891" v="28055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26:34.891" v="28058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6:34.892" v="28059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6:34.892" v="28060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6:34.892" v="28061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7T23:26:34.892" v="28062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7T23:26:34.908" v="28072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6:34.880" v="28007"/>
          <ac:graphicFrameMkLst>
            <pc:docMk/>
            <pc:sldMk cId="592117244" sldId="275"/>
            <ac:graphicFrameMk id="8" creationId="{447D923D-73CC-FEEA-AADB-B51D03D36C2C}"/>
          </ac:graphicFrameMkLst>
        </pc:graphicFrameChg>
        <pc:graphicFrameChg chg="del">
          <ac:chgData name="Joelle Brehm" userId="a518f54c-6985-42c0-8041-2bb16a414839" providerId="ADAL" clId="{5C7B1B84-DD23-48EC-A567-B295FAD2ABAF}" dt="2023-11-07T23:25:48.697" v="26701"/>
          <ac:graphicFrameMkLst>
            <pc:docMk/>
            <pc:sldMk cId="592117244" sldId="275"/>
            <ac:graphicFrameMk id="9" creationId="{4A752C6F-7F75-634E-D00D-BC888E6C00AC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6:30.282" v="27793"/>
          <ac:graphicFrameMkLst>
            <pc:docMk/>
            <pc:sldMk cId="592117244" sldId="275"/>
            <ac:graphicFrameMk id="38" creationId="{9220E454-7164-84AF-1342-EA6DA14E7AF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6:23.434" v="27388"/>
          <ac:graphicFrameMkLst>
            <pc:docMk/>
            <pc:sldMk cId="592117244" sldId="275"/>
            <ac:graphicFrameMk id="43" creationId="{1EF619BB-C81A-6872-6336-0B1298780C1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6:25.714" v="27581"/>
          <ac:graphicFrameMkLst>
            <pc:docMk/>
            <pc:sldMk cId="592117244" sldId="275"/>
            <ac:graphicFrameMk id="45" creationId="{FE80B1C8-F683-5A1F-A19F-FDBC615E11EE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6:34.885" v="28031"/>
          <ac:graphicFrameMkLst>
            <pc:docMk/>
            <pc:sldMk cId="592117244" sldId="275"/>
            <ac:graphicFrameMk id="47" creationId="{5146C9D6-FDCE-B550-0DF4-F1460DECB76C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6:22.435" v="27223"/>
          <ac:graphicFrameMkLst>
            <pc:docMk/>
            <pc:sldMk cId="592117244" sldId="275"/>
            <ac:graphicFrameMk id="48" creationId="{98BB25AA-41EB-503F-D3BE-8CC5E229F0D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6:33.721" v="27894"/>
          <ac:graphicFrameMkLst>
            <pc:docMk/>
            <pc:sldMk cId="592117244" sldId="275"/>
            <ac:graphicFrameMk id="50" creationId="{F61CFDB4-BB1D-11FC-F9EC-71607837D19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6:34.848" v="27993"/>
          <ac:graphicFrameMkLst>
            <pc:docMk/>
            <pc:sldMk cId="592117244" sldId="275"/>
            <ac:graphicFrameMk id="51" creationId="{221DB8CA-9E5B-7BB1-1B57-420C27F3AC15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6:34.891" v="28057"/>
          <ac:graphicFrameMkLst>
            <pc:docMk/>
            <pc:sldMk cId="592117244" sldId="275"/>
            <ac:graphicFrameMk id="52" creationId="{68B6EF25-3BF2-F374-DB7A-A90679F798A1}"/>
          </ac:graphicFrameMkLst>
        </pc:graphicFrameChg>
        <pc:picChg chg="del mod ord">
          <ac:chgData name="Joelle Brehm" userId="a518f54c-6985-42c0-8041-2bb16a414839" providerId="ADAL" clId="{5C7B1B84-DD23-48EC-A567-B295FAD2ABAF}" dt="2023-11-07T23:26:08.907" v="26878" actId="478"/>
          <ac:picMkLst>
            <pc:docMk/>
            <pc:sldMk cId="592117244" sldId="275"/>
            <ac:picMk id="10" creationId="{F37CE858-0E8C-EBA9-66C3-70B1CD6E3453}"/>
          </ac:picMkLst>
        </pc:picChg>
        <pc:picChg chg="add mod ord">
          <ac:chgData name="Joelle Brehm" userId="a518f54c-6985-42c0-8041-2bb16a414839" providerId="ADAL" clId="{5C7B1B84-DD23-48EC-A567-B295FAD2ABAF}" dt="2023-11-07T23:26:34.878" v="28001"/>
          <ac:picMkLst>
            <pc:docMk/>
            <pc:sldMk cId="592117244" sldId="275"/>
            <ac:picMk id="31" creationId="{EAE47032-BB3F-55A6-7B27-F4A15F8D151F}"/>
          </ac:picMkLst>
        </pc:picChg>
        <pc:picChg chg="mod ord">
          <ac:chgData name="Joelle Brehm" userId="a518f54c-6985-42c0-8041-2bb16a414839" providerId="ADAL" clId="{5C7B1B84-DD23-48EC-A567-B295FAD2ABAF}" dt="2023-11-07T23:26:34.893" v="28064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26:34.879" v="28005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7T23:27:58.516" v="29745"/>
        <pc:sldMkLst>
          <pc:docMk/>
          <pc:sldMk cId="3358644479" sldId="276"/>
        </pc:sldMkLst>
        <pc:spChg chg="mod ord">
          <ac:chgData name="Joelle Brehm" userId="a518f54c-6985-42c0-8041-2bb16a414839" providerId="ADAL" clId="{5C7B1B84-DD23-48EC-A567-B295FAD2ABAF}" dt="2023-11-07T23:27:58.504" v="29741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5C7B1B84-DD23-48EC-A567-B295FAD2ABAF}" dt="2023-11-07T23:26:50.739" v="28073" actId="478"/>
          <ac:spMkLst>
            <pc:docMk/>
            <pc:sldMk cId="3358644479" sldId="276"/>
            <ac:spMk id="3" creationId="{899B69AD-F182-BB6B-BECB-5AA9B98F562F}"/>
          </ac:spMkLst>
        </pc:spChg>
        <pc:spChg chg="add del mod modVis">
          <ac:chgData name="Joelle Brehm" userId="a518f54c-6985-42c0-8041-2bb16a414839" providerId="ADAL" clId="{5C7B1B84-DD23-48EC-A567-B295FAD2ABAF}" dt="2023-11-07T23:27:07.072" v="28282"/>
          <ac:spMkLst>
            <pc:docMk/>
            <pc:sldMk cId="3358644479" sldId="276"/>
            <ac:spMk id="5" creationId="{082D5183-BE98-89C6-A873-458E8DE9C71E}"/>
          </ac:spMkLst>
        </pc:spChg>
        <pc:spChg chg="mod ord">
          <ac:chgData name="Joelle Brehm" userId="a518f54c-6985-42c0-8041-2bb16a414839" providerId="ADAL" clId="{5C7B1B84-DD23-48EC-A567-B295FAD2ABAF}" dt="2023-11-07T23:27:58.488" v="29676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7T23:27:58.496" v="29710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5C7B1B84-DD23-48EC-A567-B295FAD2ABAF}" dt="2023-11-07T23:27:58.490" v="29687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7T23:27:58.489" v="29683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7T23:27:58.490" v="29684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7T23:27:58.489" v="29681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7T23:27:58.489" v="29682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7T23:27:58.490" v="29685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7T23:27:58.490" v="29686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7T23:27:58.491" v="29688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7T23:27:58.491" v="29689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7T23:27:58.491" v="29690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7T23:27:58.491" v="29691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7T23:27:58.491" v="29692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7T23:27:58.492" v="29694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7T23:27:58.492" v="29697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7T23:27:58.492" v="29695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7T23:27:58.492" v="29696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7T23:27:58.493" v="29699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7T23:27:58.493" v="29698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7T23:27:58.493" v="29700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7T23:27:58.494" v="29702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7T23:27:58.495" v="29707"/>
          <ac:spMkLst>
            <pc:docMk/>
            <pc:sldMk cId="3358644479" sldId="276"/>
            <ac:spMk id="32" creationId="{8D25BC14-41C5-8647-5CC0-BE12A57BA555}"/>
          </ac:spMkLst>
        </pc:spChg>
        <pc:spChg chg="del mod">
          <ac:chgData name="Joelle Brehm" userId="a518f54c-6985-42c0-8041-2bb16a414839" providerId="ADAL" clId="{5C7B1B84-DD23-48EC-A567-B295FAD2ABAF}" dt="2023-11-07T23:27:37.410" v="28991"/>
          <ac:spMkLst>
            <pc:docMk/>
            <pc:sldMk cId="3358644479" sldId="276"/>
            <ac:spMk id="34" creationId="{2EC784B5-4DDF-6FD0-D462-50F110303F01}"/>
          </ac:spMkLst>
        </pc:spChg>
        <pc:spChg chg="mod">
          <ac:chgData name="Joelle Brehm" userId="a518f54c-6985-42c0-8041-2bb16a414839" providerId="ADAL" clId="{5C7B1B84-DD23-48EC-A567-B295FAD2ABAF}" dt="2023-11-07T23:27:58.495" v="29705"/>
          <ac:spMkLst>
            <pc:docMk/>
            <pc:sldMk cId="3358644479" sldId="276"/>
            <ac:spMk id="35" creationId="{F6E5A8F3-72AC-F44C-CACB-ED952FD27440}"/>
          </ac:spMkLst>
        </pc:spChg>
        <pc:spChg chg="add mod replST">
          <ac:chgData name="Joelle Brehm" userId="a518f54c-6985-42c0-8041-2bb16a414839" providerId="ADAL" clId="{5C7B1B84-DD23-48EC-A567-B295FAD2ABAF}" dt="2023-11-07T23:27:58.497" v="29716"/>
          <ac:spMkLst>
            <pc:docMk/>
            <pc:sldMk cId="3358644479" sldId="276"/>
            <ac:spMk id="36" creationId="{4467CB91-DB37-223E-6BCD-75143BB1B4BC}"/>
          </ac:spMkLst>
        </pc:spChg>
        <pc:spChg chg="mod">
          <ac:chgData name="Joelle Brehm" userId="a518f54c-6985-42c0-8041-2bb16a414839" providerId="ADAL" clId="{5C7B1B84-DD23-48EC-A567-B295FAD2ABAF}" dt="2023-11-07T23:27:58.495" v="29706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5C7B1B84-DD23-48EC-A567-B295FAD2ABAF}" dt="2023-11-07T23:27:58.495" v="29708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5C7B1B84-DD23-48EC-A567-B295FAD2ABAF}" dt="2023-11-07T23:27:58.502" v="29733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5C7B1B84-DD23-48EC-A567-B295FAD2ABAF}" dt="2023-11-07T23:27:58.502" v="29734"/>
          <ac:spMkLst>
            <pc:docMk/>
            <pc:sldMk cId="3358644479" sldId="276"/>
            <ac:spMk id="40" creationId="{BF422452-141B-CCA7-F304-DD7C41C4B026}"/>
          </ac:spMkLst>
        </pc:spChg>
        <pc:spChg chg="mod">
          <ac:chgData name="Joelle Brehm" userId="a518f54c-6985-42c0-8041-2bb16a414839" providerId="ADAL" clId="{5C7B1B84-DD23-48EC-A567-B295FAD2ABAF}" dt="2023-11-07T23:27:58.496" v="29713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5C7B1B84-DD23-48EC-A567-B295FAD2ABAF}" dt="2023-11-07T23:27:58.496" v="29711"/>
          <ac:spMkLst>
            <pc:docMk/>
            <pc:sldMk cId="3358644479" sldId="276"/>
            <ac:spMk id="42" creationId="{14A59D3D-0E04-F038-E831-1425EC648002}"/>
          </ac:spMkLst>
        </pc:spChg>
        <pc:spChg chg="add del mod modVis">
          <ac:chgData name="Joelle Brehm" userId="a518f54c-6985-42c0-8041-2bb16a414839" providerId="ADAL" clId="{5C7B1B84-DD23-48EC-A567-B295FAD2ABAF}" dt="2023-11-07T23:27:34.242" v="28818"/>
          <ac:spMkLst>
            <pc:docMk/>
            <pc:sldMk cId="3358644479" sldId="276"/>
            <ac:spMk id="43" creationId="{B3DD558E-F857-FD45-75C5-76E5AC5680D0}"/>
          </ac:spMkLst>
        </pc:spChg>
        <pc:spChg chg="mod">
          <ac:chgData name="Joelle Brehm" userId="a518f54c-6985-42c0-8041-2bb16a414839" providerId="ADAL" clId="{5C7B1B84-DD23-48EC-A567-B295FAD2ABAF}" dt="2023-11-07T23:27:58.495" v="29709"/>
          <ac:spMkLst>
            <pc:docMk/>
            <pc:sldMk cId="3358644479" sldId="276"/>
            <ac:spMk id="44" creationId="{5C64EA04-B56C-CC91-D9A7-8AB0C80D5C79}"/>
          </ac:spMkLst>
        </pc:spChg>
        <pc:spChg chg="mod">
          <ac:chgData name="Joelle Brehm" userId="a518f54c-6985-42c0-8041-2bb16a414839" providerId="ADAL" clId="{5C7B1B84-DD23-48EC-A567-B295FAD2ABAF}" dt="2023-11-07T23:27:58.497" v="29714"/>
          <ac:spMkLst>
            <pc:docMk/>
            <pc:sldMk cId="3358644479" sldId="276"/>
            <ac:spMk id="45" creationId="{E2BF77D0-7FDB-BE38-6486-446042D2E6CA}"/>
          </ac:spMkLst>
        </pc:spChg>
        <pc:spChg chg="add del mod ord replST">
          <ac:chgData name="Joelle Brehm" userId="a518f54c-6985-42c0-8041-2bb16a414839" providerId="ADAL" clId="{5C7B1B84-DD23-48EC-A567-B295FAD2ABAF}" dt="2023-11-07T23:27:37.512" v="29072"/>
          <ac:spMkLst>
            <pc:docMk/>
            <pc:sldMk cId="3358644479" sldId="276"/>
            <ac:spMk id="4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7:58.496" v="29712"/>
          <ac:spMkLst>
            <pc:docMk/>
            <pc:sldMk cId="3358644479" sldId="276"/>
            <ac:spMk id="49" creationId="{D4F90E1C-EAB9-BF7D-5820-940E92571336}"/>
          </ac:spMkLst>
        </pc:spChg>
        <pc:spChg chg="mod">
          <ac:chgData name="Joelle Brehm" userId="a518f54c-6985-42c0-8041-2bb16a414839" providerId="ADAL" clId="{5C7B1B84-DD23-48EC-A567-B295FAD2ABAF}" dt="2023-11-07T23:27:58.497" v="29715"/>
          <ac:spMkLst>
            <pc:docMk/>
            <pc:sldMk cId="3358644479" sldId="276"/>
            <ac:spMk id="50" creationId="{EBF57C44-6BCA-2A9E-015B-FE2A2654B397}"/>
          </ac:spMkLst>
        </pc:spChg>
        <pc:spChg chg="add del mod modVis">
          <ac:chgData name="Joelle Brehm" userId="a518f54c-6985-42c0-8041-2bb16a414839" providerId="ADAL" clId="{5C7B1B84-DD23-48EC-A567-B295FAD2ABAF}" dt="2023-11-07T23:27:35.339" v="28988"/>
          <ac:spMkLst>
            <pc:docMk/>
            <pc:sldMk cId="3358644479" sldId="276"/>
            <ac:spMk id="51" creationId="{0187F617-9EE6-BB1E-D9D2-7F0F0AC28E50}"/>
          </ac:spMkLst>
        </pc:spChg>
        <pc:spChg chg="add del mod modVis">
          <ac:chgData name="Joelle Brehm" userId="a518f54c-6985-42c0-8041-2bb16a414839" providerId="ADAL" clId="{5C7B1B84-DD23-48EC-A567-B295FAD2ABAF}" dt="2023-11-07T23:27:37.597" v="29167"/>
          <ac:spMkLst>
            <pc:docMk/>
            <pc:sldMk cId="3358644479" sldId="276"/>
            <ac:spMk id="53" creationId="{EC6D7EB7-171D-3823-D9DB-EADCCFA9240C}"/>
          </ac:spMkLst>
        </pc:spChg>
        <pc:spChg chg="add del mod modVis">
          <ac:chgData name="Joelle Brehm" userId="a518f54c-6985-42c0-8041-2bb16a414839" providerId="ADAL" clId="{5C7B1B84-DD23-48EC-A567-B295FAD2ABAF}" dt="2023-11-07T23:27:41.960" v="29299"/>
          <ac:spMkLst>
            <pc:docMk/>
            <pc:sldMk cId="3358644479" sldId="276"/>
            <ac:spMk id="55" creationId="{87788270-0134-B463-D93E-B36853B1F954}"/>
          </ac:spMkLst>
        </pc:spChg>
        <pc:spChg chg="add del mod modVis">
          <ac:chgData name="Joelle Brehm" userId="a518f54c-6985-42c0-8041-2bb16a414839" providerId="ADAL" clId="{5C7B1B84-DD23-48EC-A567-B295FAD2ABAF}" dt="2023-11-07T23:27:45.980" v="29520"/>
          <ac:spMkLst>
            <pc:docMk/>
            <pc:sldMk cId="3358644479" sldId="276"/>
            <ac:spMk id="57" creationId="{4FB8D657-5ED5-D9B8-E957-7514682EDD7B}"/>
          </ac:spMkLst>
        </pc:spChg>
        <pc:spChg chg="mod ord">
          <ac:chgData name="Joelle Brehm" userId="a518f54c-6985-42c0-8041-2bb16a414839" providerId="ADAL" clId="{5C7B1B84-DD23-48EC-A567-B295FAD2ABAF}" dt="2023-11-07T23:27:58.503" v="29739"/>
          <ac:spMkLst>
            <pc:docMk/>
            <pc:sldMk cId="3358644479" sldId="276"/>
            <ac:spMk id="58" creationId="{0CB06D1E-8664-4C1B-9ACF-854D6C46B776}"/>
          </ac:spMkLst>
        </pc:spChg>
        <pc:spChg chg="mod">
          <ac:chgData name="Joelle Brehm" userId="a518f54c-6985-42c0-8041-2bb16a414839" providerId="ADAL" clId="{5C7B1B84-DD23-48EC-A567-B295FAD2ABAF}" dt="2023-11-07T23:27:58.502" v="29735"/>
          <ac:spMkLst>
            <pc:docMk/>
            <pc:sldMk cId="3358644479" sldId="276"/>
            <ac:spMk id="59" creationId="{5164D3E0-C681-43D3-E345-132BB4AD109F}"/>
          </ac:spMkLst>
        </pc:spChg>
        <pc:spChg chg="add del mod modVis">
          <ac:chgData name="Joelle Brehm" userId="a518f54c-6985-42c0-8041-2bb16a414839" providerId="ADAL" clId="{5C7B1B84-DD23-48EC-A567-B295FAD2ABAF}" dt="2023-11-07T23:27:52.974" v="29644"/>
          <ac:spMkLst>
            <pc:docMk/>
            <pc:sldMk cId="3358644479" sldId="276"/>
            <ac:spMk id="61" creationId="{97E8B2E3-56C5-2A33-4264-573A1D86D2E9}"/>
          </ac:spMkLst>
        </pc:spChg>
        <pc:spChg chg="mod ord">
          <ac:chgData name="Joelle Brehm" userId="a518f54c-6985-42c0-8041-2bb16a414839" providerId="ADAL" clId="{5C7B1B84-DD23-48EC-A567-B295FAD2ABAF}" dt="2023-11-07T23:27:58.497" v="29718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7T23:27:58.499" v="29720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7T23:27:58.499" v="29722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7T23:27:58.500" v="29724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7T23:27:58.500" v="29726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7T23:27:58.501" v="29728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7T23:27:58.501" v="29731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3:27:58.501" v="29732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5C7B1B84-DD23-48EC-A567-B295FAD2ABAF}" dt="2023-11-07T23:27:58.516" v="29745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7:58.489" v="29680"/>
          <ac:graphicFrameMkLst>
            <pc:docMk/>
            <pc:sldMk cId="3358644479" sldId="276"/>
            <ac:graphicFrameMk id="8" creationId="{7BE8D314-9437-604B-0FB9-C87420345213}"/>
          </ac:graphicFrameMkLst>
        </pc:graphicFrameChg>
        <pc:graphicFrameChg chg="del">
          <ac:chgData name="Joelle Brehm" userId="a518f54c-6985-42c0-8041-2bb16a414839" providerId="ADAL" clId="{5C7B1B84-DD23-48EC-A567-B295FAD2ABAF}" dt="2023-11-07T23:27:07.009" v="28193"/>
          <ac:graphicFrameMkLst>
            <pc:docMk/>
            <pc:sldMk cId="3358644479" sldId="276"/>
            <ac:graphicFrameMk id="9" creationId="{6AB9FB15-7776-7663-1B6A-197311D49DE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7:35.275" v="28895"/>
          <ac:graphicFrameMkLst>
            <pc:docMk/>
            <pc:sldMk cId="3358644479" sldId="276"/>
            <ac:graphicFrameMk id="47" creationId="{B3EB47DF-6214-6419-50A9-5931E058C444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7:45.911" v="29441"/>
          <ac:graphicFrameMkLst>
            <pc:docMk/>
            <pc:sldMk cId="3358644479" sldId="276"/>
            <ac:graphicFrameMk id="48" creationId="{EC6B067F-26AA-B3C9-7D05-5BC33E5A003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7:37.518" v="29088"/>
          <ac:graphicFrameMkLst>
            <pc:docMk/>
            <pc:sldMk cId="3358644479" sldId="276"/>
            <ac:graphicFrameMk id="52" creationId="{6962F054-9BB3-1517-EEB5-B21B76941EB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7:41.895" v="29220"/>
          <ac:graphicFrameMkLst>
            <pc:docMk/>
            <pc:sldMk cId="3358644479" sldId="276"/>
            <ac:graphicFrameMk id="54" creationId="{026A7537-D1E3-E1E8-0C15-CDA5FED6859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7:58.494" v="29704"/>
          <ac:graphicFrameMkLst>
            <pc:docMk/>
            <pc:sldMk cId="3358644479" sldId="276"/>
            <ac:graphicFrameMk id="56" creationId="{E207C654-CE72-83C0-DB0B-4F07EA0C8C5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7:52.923" v="29565"/>
          <ac:graphicFrameMkLst>
            <pc:docMk/>
            <pc:sldMk cId="3358644479" sldId="276"/>
            <ac:graphicFrameMk id="60" creationId="{161C869A-E9E0-B372-4A98-EC9E2FA31B6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3:27:58.460" v="29666"/>
          <ac:graphicFrameMkLst>
            <pc:docMk/>
            <pc:sldMk cId="3358644479" sldId="276"/>
            <ac:graphicFrameMk id="62" creationId="{C9D55219-E58C-E4D6-B63C-7924F8380E45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3:27:58.501" v="29730"/>
          <ac:graphicFrameMkLst>
            <pc:docMk/>
            <pc:sldMk cId="3358644479" sldId="276"/>
            <ac:graphicFrameMk id="63" creationId="{FCD5B4A8-56BC-E7CD-BDF8-74BE7C56997E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3:27:34.200" v="28734"/>
          <ac:graphicFrameMkLst>
            <pc:docMk/>
            <pc:sldMk cId="3358644479" sldId="276"/>
            <ac:graphicFrameMk id="64" creationId="{B72054D2-7723-D344-EB15-B2CA972DE88E}"/>
          </ac:graphicFrameMkLst>
        </pc:graphicFrameChg>
        <pc:picChg chg="del mod ord">
          <ac:chgData name="Joelle Brehm" userId="a518f54c-6985-42c0-8041-2bb16a414839" providerId="ADAL" clId="{5C7B1B84-DD23-48EC-A567-B295FAD2ABAF}" dt="2023-11-07T23:27:22.321" v="28372" actId="478"/>
          <ac:picMkLst>
            <pc:docMk/>
            <pc:sldMk cId="3358644479" sldId="276"/>
            <ac:picMk id="31" creationId="{BDC2E65F-E8A9-DA3C-CD06-5B9F0F73190B}"/>
          </ac:picMkLst>
        </pc:picChg>
        <pc:picChg chg="add mod ord">
          <ac:chgData name="Joelle Brehm" userId="a518f54c-6985-42c0-8041-2bb16a414839" providerId="ADAL" clId="{5C7B1B84-DD23-48EC-A567-B295FAD2ABAF}" dt="2023-11-07T23:27:58.486" v="29674"/>
          <ac:picMkLst>
            <pc:docMk/>
            <pc:sldMk cId="3358644479" sldId="276"/>
            <ac:picMk id="33" creationId="{24F72C68-593E-3C46-2F6F-60618E58FC49}"/>
          </ac:picMkLst>
        </pc:picChg>
        <pc:picChg chg="mod ord">
          <ac:chgData name="Joelle Brehm" userId="a518f54c-6985-42c0-8041-2bb16a414839" providerId="ADAL" clId="{5C7B1B84-DD23-48EC-A567-B295FAD2ABAF}" dt="2023-11-07T23:27:58.503" v="29737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7T23:27:58.488" v="29678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5:46:09.798" v="31255"/>
        <pc:sldMkLst>
          <pc:docMk/>
          <pc:sldMk cId="1336352168" sldId="277"/>
        </pc:sldMkLst>
        <pc:spChg chg="mod ord">
          <ac:chgData name="Joelle Brehm" userId="a518f54c-6985-42c0-8041-2bb16a414839" providerId="ADAL" clId="{5C7B1B84-DD23-48EC-A567-B295FAD2ABAF}" dt="2023-11-08T15:46:09.782" v="31249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5C7B1B84-DD23-48EC-A567-B295FAD2ABAF}" dt="2023-11-08T15:44:57.188" v="29746" actId="478"/>
          <ac:spMkLst>
            <pc:docMk/>
            <pc:sldMk cId="1336352168" sldId="277"/>
            <ac:spMk id="3" creationId="{26EAE7C7-CAB1-9888-7F93-94207252EB93}"/>
          </ac:spMkLst>
        </pc:spChg>
        <pc:spChg chg="add del mod modVis">
          <ac:chgData name="Joelle Brehm" userId="a518f54c-6985-42c0-8041-2bb16a414839" providerId="ADAL" clId="{5C7B1B84-DD23-48EC-A567-B295FAD2ABAF}" dt="2023-11-08T15:45:01.770" v="29971"/>
          <ac:spMkLst>
            <pc:docMk/>
            <pc:sldMk cId="1336352168" sldId="277"/>
            <ac:spMk id="5" creationId="{0DEF97D7-B8A1-5BB2-A86B-6DC9AC21D847}"/>
          </ac:spMkLst>
        </pc:spChg>
        <pc:spChg chg="mod ord">
          <ac:chgData name="Joelle Brehm" userId="a518f54c-6985-42c0-8041-2bb16a414839" providerId="ADAL" clId="{5C7B1B84-DD23-48EC-A567-B295FAD2ABAF}" dt="2023-11-08T15:46:09.767" v="31184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5:46:09.767" v="31195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5:46:09.767" v="31191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5:46:09.767" v="31192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5:46:09.767" v="31189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5:46:09.767" v="31190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5:46:09.767" v="31193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5:46:09.767" v="31194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5:46:09.767" v="31196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5:46:09.767" v="31197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5:46:09.767" v="31198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5:46:09.767" v="31199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5:46:09.767" v="31200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5:46:09.767" v="31202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5:46:09.767" v="31205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5:46:09.767" v="31203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5:46:09.767" v="31204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5:46:09.767" v="31207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5:46:09.767" v="31206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5:46:09.767" v="31208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5:46:09.767" v="31210"/>
          <ac:spMkLst>
            <pc:docMk/>
            <pc:sldMk cId="1336352168" sldId="277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5C7B1B84-DD23-48EC-A567-B295FAD2ABAF}" dt="2023-11-08T15:46:09.782" v="31224"/>
          <ac:spMkLst>
            <pc:docMk/>
            <pc:sldMk cId="1336352168" sldId="277"/>
            <ac:spMk id="32" creationId="{74CF8B3F-36F6-9332-CFE2-CF317BED3193}"/>
          </ac:spMkLst>
        </pc:spChg>
        <pc:spChg chg="add del mod modVis">
          <ac:chgData name="Joelle Brehm" userId="a518f54c-6985-42c0-8041-2bb16a414839" providerId="ADAL" clId="{5C7B1B84-DD23-48EC-A567-B295FAD2ABAF}" dt="2023-11-08T15:45:49.056" v="30555"/>
          <ac:spMkLst>
            <pc:docMk/>
            <pc:sldMk cId="1336352168" sldId="277"/>
            <ac:spMk id="33" creationId="{F0CAF738-4FFA-5D26-A35D-BD5650C5A7CE}"/>
          </ac:spMkLst>
        </pc:spChg>
        <pc:spChg chg="del mod">
          <ac:chgData name="Joelle Brehm" userId="a518f54c-6985-42c0-8041-2bb16a414839" providerId="ADAL" clId="{5C7B1B84-DD23-48EC-A567-B295FAD2ABAF}" dt="2023-11-08T15:45:59" v="30733"/>
          <ac:spMkLst>
            <pc:docMk/>
            <pc:sldMk cId="1336352168" sldId="277"/>
            <ac:spMk id="34" creationId="{AC95B571-934C-3912-0ACC-4C3A108EC104}"/>
          </ac:spMkLst>
        </pc:spChg>
        <pc:spChg chg="mod">
          <ac:chgData name="Joelle Brehm" userId="a518f54c-6985-42c0-8041-2bb16a414839" providerId="ADAL" clId="{5C7B1B84-DD23-48EC-A567-B295FAD2ABAF}" dt="2023-11-08T15:46:09.767" v="31213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5C7B1B84-DD23-48EC-A567-B295FAD2ABAF}" dt="2023-11-08T15:46:09.767" v="31214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5C7B1B84-DD23-48EC-A567-B295FAD2ABAF}" dt="2023-11-08T15:46:09.767" v="31215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5C7B1B84-DD23-48EC-A567-B295FAD2ABAF}" dt="2023-11-08T15:46:09.767" v="31216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5C7B1B84-DD23-48EC-A567-B295FAD2ABAF}" dt="2023-11-08T15:46:09.782" v="31218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5C7B1B84-DD23-48EC-A567-B295FAD2ABAF}" dt="2023-11-08T15:46:09.782" v="31219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5C7B1B84-DD23-48EC-A567-B295FAD2ABAF}" dt="2023-11-08T15:46:09.782" v="31221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5C7B1B84-DD23-48EC-A567-B295FAD2ABAF}" dt="2023-11-08T15:46:09.782" v="31222"/>
          <ac:spMkLst>
            <pc:docMk/>
            <pc:sldMk cId="1336352168" sldId="277"/>
            <ac:spMk id="42" creationId="{04656030-ED65-550D-E841-3EC7F85E35CF}"/>
          </ac:spMkLst>
        </pc:spChg>
        <pc:spChg chg="mod">
          <ac:chgData name="Joelle Brehm" userId="a518f54c-6985-42c0-8041-2bb16a414839" providerId="ADAL" clId="{5C7B1B84-DD23-48EC-A567-B295FAD2ABAF}" dt="2023-11-08T15:46:09.782" v="31217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5C7B1B84-DD23-48EC-A567-B295FAD2ABAF}" dt="2023-11-08T15:46:09.782" v="31220"/>
          <ac:spMkLst>
            <pc:docMk/>
            <pc:sldMk cId="1336352168" sldId="277"/>
            <ac:spMk id="44" creationId="{948C7430-EE17-A200-FEA6-849EEC95829A}"/>
          </ac:spMkLst>
        </pc:spChg>
        <pc:spChg chg="mod">
          <ac:chgData name="Joelle Brehm" userId="a518f54c-6985-42c0-8041-2bb16a414839" providerId="ADAL" clId="{5C7B1B84-DD23-48EC-A567-B295FAD2ABAF}" dt="2023-11-08T15:46:09.782" v="31223"/>
          <ac:spMkLst>
            <pc:docMk/>
            <pc:sldMk cId="1336352168" sldId="277"/>
            <ac:spMk id="46" creationId="{F7A7DC41-8925-BEE0-D237-2FE7B5C8A67F}"/>
          </ac:spMkLst>
        </pc:spChg>
        <pc:spChg chg="add del mod ord replST">
          <ac:chgData name="Joelle Brehm" userId="a518f54c-6985-42c0-8041-2bb16a414839" providerId="ADAL" clId="{5C7B1B84-DD23-48EC-A567-B295FAD2ABAF}" dt="2023-11-08T15:46:04.154" v="30974"/>
          <ac:spMkLst>
            <pc:docMk/>
            <pc:sldMk cId="1336352168" sldId="277"/>
            <ac:spMk id="47" creationId="{7CAA3B95-4C78-4122-BECA-B5FB0F3F3764}"/>
          </ac:spMkLst>
        </pc:spChg>
        <pc:spChg chg="add del mod ord replST">
          <ac:chgData name="Joelle Brehm" userId="a518f54c-6985-42c0-8041-2bb16a414839" providerId="ADAL" clId="{5C7B1B84-DD23-48EC-A567-B295FAD2ABAF}" dt="2023-11-08T15:45:59.090" v="30825"/>
          <ac:spMkLst>
            <pc:docMk/>
            <pc:sldMk cId="1336352168" sldId="277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5:45:55.097" v="30730"/>
          <ac:spMkLst>
            <pc:docMk/>
            <pc:sldMk cId="1336352168" sldId="277"/>
            <ac:spMk id="50" creationId="{7F4C3EF8-0181-C3A3-AB96-4721A9441C1B}"/>
          </ac:spMkLst>
        </pc:spChg>
        <pc:spChg chg="add del mod modVis">
          <ac:chgData name="Joelle Brehm" userId="a518f54c-6985-42c0-8041-2bb16a414839" providerId="ADAL" clId="{5C7B1B84-DD23-48EC-A567-B295FAD2ABAF}" dt="2023-11-08T15:45:59.154" v="30918"/>
          <ac:spMkLst>
            <pc:docMk/>
            <pc:sldMk cId="1336352168" sldId="277"/>
            <ac:spMk id="52" creationId="{39BD4622-3973-ED25-09F2-C4171495C43A}"/>
          </ac:spMkLst>
        </pc:spChg>
        <pc:spChg chg="add del mod modVis">
          <ac:chgData name="Joelle Brehm" userId="a518f54c-6985-42c0-8041-2bb16a414839" providerId="ADAL" clId="{5C7B1B84-DD23-48EC-A567-B295FAD2ABAF}" dt="2023-11-08T15:46:04.202" v="31055"/>
          <ac:spMkLst>
            <pc:docMk/>
            <pc:sldMk cId="1336352168" sldId="277"/>
            <ac:spMk id="54" creationId="{588CAFF0-A16F-F80C-FE76-A4F2A3072581}"/>
          </ac:spMkLst>
        </pc:spChg>
        <pc:spChg chg="add del mod modVis">
          <ac:chgData name="Joelle Brehm" userId="a518f54c-6985-42c0-8041-2bb16a414839" providerId="ADAL" clId="{5C7B1B84-DD23-48EC-A567-B295FAD2ABAF}" dt="2023-11-08T15:46:09.782" v="31253"/>
          <ac:spMkLst>
            <pc:docMk/>
            <pc:sldMk cId="1336352168" sldId="277"/>
            <ac:spMk id="57" creationId="{9F1DBEE0-0A7D-9EB8-C6DF-EAF85FBBEAFF}"/>
          </ac:spMkLst>
        </pc:spChg>
        <pc:spChg chg="mod ord">
          <ac:chgData name="Joelle Brehm" userId="a518f54c-6985-42c0-8041-2bb16a414839" providerId="ADAL" clId="{5C7B1B84-DD23-48EC-A567-B295FAD2ABAF}" dt="2023-11-08T15:46:09.782" v="31247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5C7B1B84-DD23-48EC-A567-B295FAD2ABAF}" dt="2023-11-08T15:46:09.782" v="31226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5:46:09.782" v="31228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5:46:09.782" v="31230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5:46:09.782" v="31232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5:46:09.782" v="31234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5:46:09.782" v="31236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5:46:09.782" v="31239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5:46:09.782" v="31240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5:46:09.782" v="31241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5:46:09.782" v="31242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5:46:09.782" v="31243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5:46:09.798" v="31255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8T15:45:01.704" v="29880"/>
          <ac:graphicFrameMkLst>
            <pc:docMk/>
            <pc:sldMk cId="1336352168" sldId="277"/>
            <ac:graphicFrameMk id="8" creationId="{B14CC06F-388F-222D-156B-F72E000DAA19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5:46:09.767" v="31188"/>
          <ac:graphicFrameMkLst>
            <pc:docMk/>
            <pc:sldMk cId="1336352168" sldId="277"/>
            <ac:graphicFrameMk id="9" creationId="{62AB3B02-B972-E068-774A-0A2E1DFAD754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5:46:09.728" v="31174"/>
          <ac:graphicFrameMkLst>
            <pc:docMk/>
            <pc:sldMk cId="1336352168" sldId="277"/>
            <ac:graphicFrameMk id="45" creationId="{CA5B6778-38DF-0081-0FDE-3F24AFBD89D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5:45:55.049" v="30635"/>
          <ac:graphicFrameMkLst>
            <pc:docMk/>
            <pc:sldMk cId="1336352168" sldId="277"/>
            <ac:graphicFrameMk id="49" creationId="{FC5A8740-70EC-673A-6A5F-4390443AD15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5:45:59.090" v="30837"/>
          <ac:graphicFrameMkLst>
            <pc:docMk/>
            <pc:sldMk cId="1336352168" sldId="277"/>
            <ac:graphicFrameMk id="51" creationId="{710FC4EE-18BE-ED93-4E51-81B1E4948EA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5:46:04.154" v="30976"/>
          <ac:graphicFrameMkLst>
            <pc:docMk/>
            <pc:sldMk cId="1336352168" sldId="277"/>
            <ac:graphicFrameMk id="53" creationId="{94DD683D-2501-E427-309E-22E75E1A239F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5:46:09.767" v="31212"/>
          <ac:graphicFrameMkLst>
            <pc:docMk/>
            <pc:sldMk cId="1336352168" sldId="277"/>
            <ac:graphicFrameMk id="55" creationId="{B94F994C-858D-8529-FB91-8834E86471DF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5:45:49.008" v="30465"/>
          <ac:graphicFrameMkLst>
            <pc:docMk/>
            <pc:sldMk cId="1336352168" sldId="277"/>
            <ac:graphicFrameMk id="56" creationId="{60744E60-301E-BED0-485A-4D1072D61539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5:46:09.782" v="31238"/>
          <ac:graphicFrameMkLst>
            <pc:docMk/>
            <pc:sldMk cId="1336352168" sldId="277"/>
            <ac:graphicFrameMk id="59" creationId="{CA46F2BD-37EC-E687-7760-1CE9B777B84C}"/>
          </ac:graphicFrameMkLst>
        </pc:graphicFrameChg>
        <pc:picChg chg="add mod ord">
          <ac:chgData name="Joelle Brehm" userId="a518f54c-6985-42c0-8041-2bb16a414839" providerId="ADAL" clId="{5C7B1B84-DD23-48EC-A567-B295FAD2ABAF}" dt="2023-11-08T15:46:09.767" v="31182"/>
          <ac:picMkLst>
            <pc:docMk/>
            <pc:sldMk cId="1336352168" sldId="277"/>
            <ac:picMk id="10" creationId="{42D4CCB2-FC17-21F8-9166-6186C196CC7A}"/>
          </ac:picMkLst>
        </pc:picChg>
        <pc:picChg chg="del mod ord">
          <ac:chgData name="Joelle Brehm" userId="a518f54c-6985-42c0-8041-2bb16a414839" providerId="ADAL" clId="{5C7B1B84-DD23-48EC-A567-B295FAD2ABAF}" dt="2023-11-08T15:45:32.615" v="30065" actId="478"/>
          <ac:picMkLst>
            <pc:docMk/>
            <pc:sldMk cId="1336352168" sldId="277"/>
            <ac:picMk id="31" creationId="{2876E10C-9EA2-E1F2-39AD-DC20339E852F}"/>
          </ac:picMkLst>
        </pc:picChg>
        <pc:picChg chg="mod ord">
          <ac:chgData name="Joelle Brehm" userId="a518f54c-6985-42c0-8041-2bb16a414839" providerId="ADAL" clId="{5C7B1B84-DD23-48EC-A567-B295FAD2ABAF}" dt="2023-11-08T15:46:09.782" v="31245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5:46:09.767" v="31186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6:05:36.501" v="32709"/>
        <pc:sldMkLst>
          <pc:docMk/>
          <pc:sldMk cId="1379386497" sldId="278"/>
        </pc:sldMkLst>
        <pc:spChg chg="mod ord">
          <ac:chgData name="Joelle Brehm" userId="a518f54c-6985-42c0-8041-2bb16a414839" providerId="ADAL" clId="{5C7B1B84-DD23-48EC-A567-B295FAD2ABAF}" dt="2023-11-08T16:05:36.486" v="32703"/>
          <ac:spMkLst>
            <pc:docMk/>
            <pc:sldMk cId="1379386497" sldId="278"/>
            <ac:spMk id="2" creationId="{F45C2660-F634-4943-BD78-279946171050}"/>
          </ac:spMkLst>
        </pc:spChg>
        <pc:spChg chg="add del mod">
          <ac:chgData name="Joelle Brehm" userId="a518f54c-6985-42c0-8041-2bb16a414839" providerId="ADAL" clId="{5C7B1B84-DD23-48EC-A567-B295FAD2ABAF}" dt="2023-11-08T15:46:19.925" v="31256" actId="478"/>
          <ac:spMkLst>
            <pc:docMk/>
            <pc:sldMk cId="1379386497" sldId="278"/>
            <ac:spMk id="3" creationId="{3A67FE9E-7D07-DA6B-4535-EE9FD0B9F32A}"/>
          </ac:spMkLst>
        </pc:spChg>
        <pc:spChg chg="add del mod modVis">
          <ac:chgData name="Joelle Brehm" userId="a518f54c-6985-42c0-8041-2bb16a414839" providerId="ADAL" clId="{5C7B1B84-DD23-48EC-A567-B295FAD2ABAF}" dt="2023-11-08T15:46:36.761" v="31473"/>
          <ac:spMkLst>
            <pc:docMk/>
            <pc:sldMk cId="1379386497" sldId="278"/>
            <ac:spMk id="5" creationId="{222B5D39-EB23-D3EB-0D9F-46AF76F22C6F}"/>
          </ac:spMkLst>
        </pc:spChg>
        <pc:spChg chg="mod ord">
          <ac:chgData name="Joelle Brehm" userId="a518f54c-6985-42c0-8041-2bb16a414839" providerId="ADAL" clId="{5C7B1B84-DD23-48EC-A567-B295FAD2ABAF}" dt="2023-11-08T16:05:36.464" v="32638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6:05:36.469" v="32649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6:05:36.467" v="32645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6:05:36.468" v="32646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6:05:36.466" v="32643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6:05:36.467" v="32644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6:05:36.468" v="32647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6:05:36.468" v="32648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6:05:36.469" v="32650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6:05:36.469" v="32651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6:05:36.470" v="32652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6:05:36.470" v="32653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6:05:36.470" v="32654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6:05:36.471" v="32656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6:05:36.472" v="32659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6:05:36.471" v="32657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6:05:36.471" v="32658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6:05:36.472" v="32661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6:05:36.472" v="32660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6:05:36.473" v="32662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6:05:36.473" v="32664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8T16:05:36.475" v="32670"/>
          <ac:spMkLst>
            <pc:docMk/>
            <pc:sldMk cId="1379386497" sldId="278"/>
            <ac:spMk id="32" creationId="{1170C7BB-6AE4-3790-934D-53510906BEC9}"/>
          </ac:spMkLst>
        </pc:spChg>
        <pc:spChg chg="add mod replST">
          <ac:chgData name="Joelle Brehm" userId="a518f54c-6985-42c0-8041-2bb16a414839" providerId="ADAL" clId="{5C7B1B84-DD23-48EC-A567-B295FAD2ABAF}" dt="2023-11-08T16:05:36.478" v="32678"/>
          <ac:spMkLst>
            <pc:docMk/>
            <pc:sldMk cId="1379386497" sldId="278"/>
            <ac:spMk id="33" creationId="{D9441170-0215-A7D1-2B94-1AA18159DA2E}"/>
          </ac:spMkLst>
        </pc:spChg>
        <pc:spChg chg="del mod">
          <ac:chgData name="Joelle Brehm" userId="a518f54c-6985-42c0-8041-2bb16a414839" providerId="ADAL" clId="{5C7B1B84-DD23-48EC-A567-B295FAD2ABAF}" dt="2023-11-08T16:05:28.769" v="32192"/>
          <ac:spMkLst>
            <pc:docMk/>
            <pc:sldMk cId="1379386497" sldId="278"/>
            <ac:spMk id="34" creationId="{0B03BBFD-783A-B231-2FA9-DA2AD304A2F4}"/>
          </ac:spMkLst>
        </pc:spChg>
        <pc:spChg chg="mod">
          <ac:chgData name="Joelle Brehm" userId="a518f54c-6985-42c0-8041-2bb16a414839" providerId="ADAL" clId="{5C7B1B84-DD23-48EC-A567-B295FAD2ABAF}" dt="2023-11-08T16:05:36.474" v="32667"/>
          <ac:spMkLst>
            <pc:docMk/>
            <pc:sldMk cId="1379386497" sldId="278"/>
            <ac:spMk id="35" creationId="{F2CF5D67-71BE-8A59-E229-76C2662CAC06}"/>
          </ac:spMkLst>
        </pc:spChg>
        <pc:spChg chg="add del mod modVis">
          <ac:chgData name="Joelle Brehm" userId="a518f54c-6985-42c0-8041-2bb16a414839" providerId="ADAL" clId="{5C7B1B84-DD23-48EC-A567-B295FAD2ABAF}" dt="2023-11-08T16:05:22.880" v="32025"/>
          <ac:spMkLst>
            <pc:docMk/>
            <pc:sldMk cId="1379386497" sldId="278"/>
            <ac:spMk id="36" creationId="{887C8ED5-FEF7-6C50-ED09-3B26B4C46946}"/>
          </ac:spMkLst>
        </pc:spChg>
        <pc:spChg chg="mod">
          <ac:chgData name="Joelle Brehm" userId="a518f54c-6985-42c0-8041-2bb16a414839" providerId="ADAL" clId="{5C7B1B84-DD23-48EC-A567-B295FAD2ABAF}" dt="2023-11-08T16:05:36.475" v="32669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5C7B1B84-DD23-48EC-A567-B295FAD2ABAF}" dt="2023-11-08T16:05:36.484" v="32695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5C7B1B84-DD23-48EC-A567-B295FAD2ABAF}" dt="2023-11-08T16:05:36.484" v="32697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5C7B1B84-DD23-48EC-A567-B295FAD2ABAF}" dt="2023-11-08T16:05:36.474" v="32668"/>
          <ac:spMkLst>
            <pc:docMk/>
            <pc:sldMk cId="1379386497" sldId="278"/>
            <ac:spMk id="40" creationId="{19EAC242-0641-3DCA-CBDC-E602B8F0CB05}"/>
          </ac:spMkLst>
        </pc:spChg>
        <pc:spChg chg="mod">
          <ac:chgData name="Joelle Brehm" userId="a518f54c-6985-42c0-8041-2bb16a414839" providerId="ADAL" clId="{5C7B1B84-DD23-48EC-A567-B295FAD2ABAF}" dt="2023-11-08T16:05:36.478" v="32676"/>
          <ac:spMkLst>
            <pc:docMk/>
            <pc:sldMk cId="1379386497" sldId="278"/>
            <ac:spMk id="41" creationId="{2CE2D9E3-933C-589B-9FDF-AD85A36D3F72}"/>
          </ac:spMkLst>
        </pc:spChg>
        <pc:spChg chg="mod">
          <ac:chgData name="Joelle Brehm" userId="a518f54c-6985-42c0-8041-2bb16a414839" providerId="ADAL" clId="{5C7B1B84-DD23-48EC-A567-B295FAD2ABAF}" dt="2023-11-08T16:05:36.477" v="32674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5C7B1B84-DD23-48EC-A567-B295FAD2ABAF}" dt="2023-11-08T16:05:36.476" v="32672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5C7B1B84-DD23-48EC-A567-B295FAD2ABAF}" dt="2023-11-08T16:05:36.478" v="32677"/>
          <ac:spMkLst>
            <pc:docMk/>
            <pc:sldMk cId="1379386497" sldId="278"/>
            <ac:spMk id="45" creationId="{905B75A0-9675-8F59-A2F9-EC525ACC9D40}"/>
          </ac:spMkLst>
        </pc:spChg>
        <pc:spChg chg="mod">
          <ac:chgData name="Joelle Brehm" userId="a518f54c-6985-42c0-8041-2bb16a414839" providerId="ADAL" clId="{5C7B1B84-DD23-48EC-A567-B295FAD2ABAF}" dt="2023-11-08T16:05:36.476" v="32671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5C7B1B84-DD23-48EC-A567-B295FAD2ABAF}" dt="2023-11-08T16:05:36.477" v="32675"/>
          <ac:spMkLst>
            <pc:docMk/>
            <pc:sldMk cId="1379386497" sldId="278"/>
            <ac:spMk id="47" creationId="{6057FFE7-9F54-EBDD-8215-FE17C631267E}"/>
          </ac:spMkLst>
        </pc:spChg>
        <pc:spChg chg="add del mod ord replST">
          <ac:chgData name="Joelle Brehm" userId="a518f54c-6985-42c0-8041-2bb16a414839" providerId="ADAL" clId="{5C7B1B84-DD23-48EC-A567-B295FAD2ABAF}" dt="2023-11-08T16:05:31.889" v="32414"/>
          <ac:spMkLst>
            <pc:docMk/>
            <pc:sldMk cId="1379386497" sldId="278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6:05:24.533" v="32189"/>
          <ac:spMkLst>
            <pc:docMk/>
            <pc:sldMk cId="1379386497" sldId="278"/>
            <ac:spMk id="50" creationId="{614F558D-8C34-9EFA-7CD2-9061C3E2B8DC}"/>
          </ac:spMkLst>
        </pc:spChg>
        <pc:spChg chg="add del mod modVis">
          <ac:chgData name="Joelle Brehm" userId="a518f54c-6985-42c0-8041-2bb16a414839" providerId="ADAL" clId="{5C7B1B84-DD23-48EC-A567-B295FAD2ABAF}" dt="2023-11-08T16:05:28.914" v="32364"/>
          <ac:spMkLst>
            <pc:docMk/>
            <pc:sldMk cId="1379386497" sldId="278"/>
            <ac:spMk id="52" creationId="{E3F3558D-DEE0-958D-22AF-177FE4E2E2F3}"/>
          </ac:spMkLst>
        </pc:spChg>
        <pc:spChg chg="add del mod modVis">
          <ac:chgData name="Joelle Brehm" userId="a518f54c-6985-42c0-8041-2bb16a414839" providerId="ADAL" clId="{5C7B1B84-DD23-48EC-A567-B295FAD2ABAF}" dt="2023-11-08T16:05:31.937" v="32495"/>
          <ac:spMkLst>
            <pc:docMk/>
            <pc:sldMk cId="1379386497" sldId="278"/>
            <ac:spMk id="54" creationId="{10E82BFE-D1A7-422F-542A-BF6F8BD25A55}"/>
          </ac:spMkLst>
        </pc:spChg>
        <pc:spChg chg="add del mod modVis">
          <ac:chgData name="Joelle Brehm" userId="a518f54c-6985-42c0-8041-2bb16a414839" providerId="ADAL" clId="{5C7B1B84-DD23-48EC-A567-B295FAD2ABAF}" dt="2023-11-08T16:05:36.487" v="32707"/>
          <ac:spMkLst>
            <pc:docMk/>
            <pc:sldMk cId="1379386497" sldId="278"/>
            <ac:spMk id="57" creationId="{8C2B0587-3A44-0680-9C7A-451F18BC6C00}"/>
          </ac:spMkLst>
        </pc:spChg>
        <pc:spChg chg="mod ord">
          <ac:chgData name="Joelle Brehm" userId="a518f54c-6985-42c0-8041-2bb16a414839" providerId="ADAL" clId="{5C7B1B84-DD23-48EC-A567-B295FAD2ABAF}" dt="2023-11-08T16:05:36.485" v="32701"/>
          <ac:spMkLst>
            <pc:docMk/>
            <pc:sldMk cId="1379386497" sldId="278"/>
            <ac:spMk id="58" creationId="{78B81F80-FD88-43AD-B1EA-9D49D321CFA2}"/>
          </ac:spMkLst>
        </pc:spChg>
        <pc:spChg chg="mod">
          <ac:chgData name="Joelle Brehm" userId="a518f54c-6985-42c0-8041-2bb16a414839" providerId="ADAL" clId="{5C7B1B84-DD23-48EC-A567-B295FAD2ABAF}" dt="2023-11-08T16:05:36.476" v="32673"/>
          <ac:spMkLst>
            <pc:docMk/>
            <pc:sldMk cId="1379386497" sldId="278"/>
            <ac:spMk id="60" creationId="{2B15A064-F539-2DBC-4751-EC9AD27E414F}"/>
          </ac:spMkLst>
        </pc:spChg>
        <pc:spChg chg="mod ord">
          <ac:chgData name="Joelle Brehm" userId="a518f54c-6985-42c0-8041-2bb16a414839" providerId="ADAL" clId="{5C7B1B84-DD23-48EC-A567-B295FAD2ABAF}" dt="2023-11-08T16:05:36.479" v="32680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6:05:36.480" v="32682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6:05:36.480" v="32684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6:05:36.481" v="32686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6:05:36.481" v="32688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6:05:36.482" v="32690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6:05:36.483" v="32693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05:36.483" v="32694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05:36.484" v="32696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5C7B1B84-DD23-48EC-A567-B295FAD2ABAF}" dt="2023-11-08T16:05:36.501" v="32709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8T15:46:36.697" v="31380"/>
          <ac:graphicFrameMkLst>
            <pc:docMk/>
            <pc:sldMk cId="1379386497" sldId="278"/>
            <ac:graphicFrameMk id="8" creationId="{7FCB5DDF-3264-1558-C852-6D63A1AC7DD8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05:36.466" v="32642"/>
          <ac:graphicFrameMkLst>
            <pc:docMk/>
            <pc:sldMk cId="1379386497" sldId="278"/>
            <ac:graphicFrameMk id="9" creationId="{A277B8FB-9C6B-50BB-4A81-693406A16FFC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05:36.424" v="32628"/>
          <ac:graphicFrameMkLst>
            <pc:docMk/>
            <pc:sldMk cId="1379386497" sldId="278"/>
            <ac:graphicFrameMk id="42" creationId="{1213C89F-8DBC-B273-5D0C-047EBC2C9D8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5:24.447" v="32098"/>
          <ac:graphicFrameMkLst>
            <pc:docMk/>
            <pc:sldMk cId="1379386497" sldId="278"/>
            <ac:graphicFrameMk id="49" creationId="{232B9F75-9111-2602-356B-C679D7C2AAC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5:28.855" v="32283"/>
          <ac:graphicFrameMkLst>
            <pc:docMk/>
            <pc:sldMk cId="1379386497" sldId="278"/>
            <ac:graphicFrameMk id="51" creationId="{45392A7B-4F9F-5F4D-DD5A-6CDC462369D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5:31.889" v="32416"/>
          <ac:graphicFrameMkLst>
            <pc:docMk/>
            <pc:sldMk cId="1379386497" sldId="278"/>
            <ac:graphicFrameMk id="53" creationId="{4CA98555-B7E0-64FB-F514-CFE09A01AE10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05:22.793" v="31939"/>
          <ac:graphicFrameMkLst>
            <pc:docMk/>
            <pc:sldMk cId="1379386497" sldId="278"/>
            <ac:graphicFrameMk id="55" creationId="{7F8EE1F1-B01D-1EC2-E24B-BF69C952147A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05:36.474" v="32666"/>
          <ac:graphicFrameMkLst>
            <pc:docMk/>
            <pc:sldMk cId="1379386497" sldId="278"/>
            <ac:graphicFrameMk id="56" creationId="{DC410F66-12FE-BF90-3C74-C2FB5FD51B7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05:36.483" v="32692"/>
          <ac:graphicFrameMkLst>
            <pc:docMk/>
            <pc:sldMk cId="1379386497" sldId="278"/>
            <ac:graphicFrameMk id="59" creationId="{F3DCC188-9809-6313-E96B-07093B161DC6}"/>
          </ac:graphicFrameMkLst>
        </pc:graphicFrameChg>
        <pc:picChg chg="add mod ord">
          <ac:chgData name="Joelle Brehm" userId="a518f54c-6985-42c0-8041-2bb16a414839" providerId="ADAL" clId="{5C7B1B84-DD23-48EC-A567-B295FAD2ABAF}" dt="2023-11-08T16:05:36.464" v="32636"/>
          <ac:picMkLst>
            <pc:docMk/>
            <pc:sldMk cId="1379386497" sldId="278"/>
            <ac:picMk id="10" creationId="{1F907FD1-9055-CA8E-B544-7AD4261FEFBB}"/>
          </ac:picMkLst>
        </pc:picChg>
        <pc:picChg chg="del mod ord">
          <ac:chgData name="Joelle Brehm" userId="a518f54c-6985-42c0-8041-2bb16a414839" providerId="ADAL" clId="{5C7B1B84-DD23-48EC-A567-B295FAD2ABAF}" dt="2023-11-08T15:47:08.796" v="31585" actId="478"/>
          <ac:picMkLst>
            <pc:docMk/>
            <pc:sldMk cId="1379386497" sldId="278"/>
            <ac:picMk id="31" creationId="{C9CC4F81-3726-B82E-8A7B-FFA4FF546693}"/>
          </ac:picMkLst>
        </pc:picChg>
        <pc:picChg chg="mod ord">
          <ac:chgData name="Joelle Brehm" userId="a518f54c-6985-42c0-8041-2bb16a414839" providerId="ADAL" clId="{5C7B1B84-DD23-48EC-A567-B295FAD2ABAF}" dt="2023-11-08T16:05:36.485" v="32699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6:05:36.465" v="32640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6:09:03.717" v="34410"/>
        <pc:sldMkLst>
          <pc:docMk/>
          <pc:sldMk cId="1917659360" sldId="279"/>
        </pc:sldMkLst>
        <pc:spChg chg="add del mod">
          <ac:chgData name="Joelle Brehm" userId="a518f54c-6985-42c0-8041-2bb16a414839" providerId="ADAL" clId="{5C7B1B84-DD23-48EC-A567-B295FAD2ABAF}" dt="2023-11-08T16:07:52.130" v="32710" actId="478"/>
          <ac:spMkLst>
            <pc:docMk/>
            <pc:sldMk cId="1917659360" sldId="279"/>
            <ac:spMk id="2" creationId="{E28B60E9-5F09-C574-B46B-EB9F2A550360}"/>
          </ac:spMkLst>
        </pc:spChg>
        <pc:spChg chg="mod ord">
          <ac:chgData name="Joelle Brehm" userId="a518f54c-6985-42c0-8041-2bb16a414839" providerId="ADAL" clId="{5C7B1B84-DD23-48EC-A567-B295FAD2ABAF}" dt="2023-11-08T16:09:03.688" v="34406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5C7B1B84-DD23-48EC-A567-B295FAD2ABAF}" dt="2023-11-08T16:07:59.478" v="32945"/>
          <ac:spMkLst>
            <pc:docMk/>
            <pc:sldMk cId="1917659360" sldId="279"/>
            <ac:spMk id="5" creationId="{5C347161-E615-D62C-1049-C426DED139F5}"/>
          </ac:spMkLst>
        </pc:spChg>
        <pc:spChg chg="mod ord">
          <ac:chgData name="Joelle Brehm" userId="a518f54c-6985-42c0-8041-2bb16a414839" providerId="ADAL" clId="{5C7B1B84-DD23-48EC-A567-B295FAD2ABAF}" dt="2023-11-08T16:09:03.669" v="34341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6:09:03.678" v="34373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5C7B1B84-DD23-48EC-A567-B295FAD2ABAF}" dt="2023-11-08T16:09:03.672" v="34352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6:09:03.671" v="34348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6:09:03.671" v="34349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6:09:03.670" v="34346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6:09:03.670" v="34347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6:09:03.671" v="34350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6:09:03.672" v="34351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6:09:03.672" v="34353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6:09:03.673" v="34354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6:09:03.673" v="34355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6:09:03.673" v="34356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6:09:03.673" v="34357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6:09:03.674" v="34359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6:09:03.675" v="34362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6:09:03.674" v="34360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6:09:03.675" v="34361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6:09:03.676" v="34364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6:09:03.675" v="34363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6:09:03.676" v="34365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6:09:03.676" v="34367"/>
          <ac:spMkLst>
            <pc:docMk/>
            <pc:sldMk cId="1917659360" sldId="279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5C7B1B84-DD23-48EC-A567-B295FAD2ABAF}" dt="2023-11-08T16:09:03.680" v="34381"/>
          <ac:spMkLst>
            <pc:docMk/>
            <pc:sldMk cId="1917659360" sldId="279"/>
            <ac:spMk id="33" creationId="{5E0420EB-DE56-49B0-A849-5880286E1551}"/>
          </ac:spMkLst>
        </pc:spChg>
        <pc:spChg chg="del mod">
          <ac:chgData name="Joelle Brehm" userId="a518f54c-6985-42c0-8041-2bb16a414839" providerId="ADAL" clId="{5C7B1B84-DD23-48EC-A567-B295FAD2ABAF}" dt="2023-11-08T16:08:45.782" v="33605"/>
          <ac:spMkLst>
            <pc:docMk/>
            <pc:sldMk cId="1917659360" sldId="279"/>
            <ac:spMk id="34" creationId="{3E8DCD8F-C1DE-43F0-D54C-AEB157F6432C}"/>
          </ac:spMkLst>
        </pc:spChg>
        <pc:spChg chg="mod">
          <ac:chgData name="Joelle Brehm" userId="a518f54c-6985-42c0-8041-2bb16a414839" providerId="ADAL" clId="{5C7B1B84-DD23-48EC-A567-B295FAD2ABAF}" dt="2023-11-08T16:09:03.677" v="34370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5C7B1B84-DD23-48EC-A567-B295FAD2ABAF}" dt="2023-11-08T16:09:03.678" v="34371"/>
          <ac:spMkLst>
            <pc:docMk/>
            <pc:sldMk cId="1917659360" sldId="279"/>
            <ac:spMk id="36" creationId="{1DD7BBF4-6C80-7EAE-8C4B-809D66ECE570}"/>
          </ac:spMkLst>
        </pc:spChg>
        <pc:spChg chg="add del mod modVis">
          <ac:chgData name="Joelle Brehm" userId="a518f54c-6985-42c0-8041-2bb16a414839" providerId="ADAL" clId="{5C7B1B84-DD23-48EC-A567-B295FAD2ABAF}" dt="2023-11-08T16:08:40.862" v="33433"/>
          <ac:spMkLst>
            <pc:docMk/>
            <pc:sldMk cId="1917659360" sldId="279"/>
            <ac:spMk id="37" creationId="{F1625602-49E6-850C-EDD0-751D71582ED4}"/>
          </ac:spMkLst>
        </pc:spChg>
        <pc:spChg chg="mod">
          <ac:chgData name="Joelle Brehm" userId="a518f54c-6985-42c0-8041-2bb16a414839" providerId="ADAL" clId="{5C7B1B84-DD23-48EC-A567-B295FAD2ABAF}" dt="2023-11-08T16:09:03.679" v="34375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5C7B1B84-DD23-48EC-A567-B295FAD2ABAF}" dt="2023-11-08T16:09:03.678" v="34374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5C7B1B84-DD23-48EC-A567-B295FAD2ABAF}" dt="2023-11-08T16:09:03.680" v="34380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5C7B1B84-DD23-48EC-A567-B295FAD2ABAF}" dt="2023-11-08T16:09:03.680" v="34378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5C7B1B84-DD23-48EC-A567-B295FAD2ABAF}" dt="2023-11-08T16:09:03.680" v="34379"/>
          <ac:spMkLst>
            <pc:docMk/>
            <pc:sldMk cId="1917659360" sldId="279"/>
            <ac:spMk id="43" creationId="{BBDFBA71-A567-2AC1-EC82-8D2F9B910F5F}"/>
          </ac:spMkLst>
        </pc:spChg>
        <pc:spChg chg="mod">
          <ac:chgData name="Joelle Brehm" userId="a518f54c-6985-42c0-8041-2bb16a414839" providerId="ADAL" clId="{5C7B1B84-DD23-48EC-A567-B295FAD2ABAF}" dt="2023-11-08T16:09:03.678" v="34372"/>
          <ac:spMkLst>
            <pc:docMk/>
            <pc:sldMk cId="1917659360" sldId="279"/>
            <ac:spMk id="44" creationId="{6D0C749E-E8C8-88F8-DDE8-851FCBBEB3E2}"/>
          </ac:spMkLst>
        </pc:spChg>
        <pc:spChg chg="mod">
          <ac:chgData name="Joelle Brehm" userId="a518f54c-6985-42c0-8041-2bb16a414839" providerId="ADAL" clId="{5C7B1B84-DD23-48EC-A567-B295FAD2ABAF}" dt="2023-11-08T16:09:03.679" v="34376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5C7B1B84-DD23-48EC-A567-B295FAD2ABAF}" dt="2023-11-08T16:09:03.679" v="34377"/>
          <ac:spMkLst>
            <pc:docMk/>
            <pc:sldMk cId="1917659360" sldId="279"/>
            <ac:spMk id="47" creationId="{698A62C7-0861-3196-719C-E48F5560BE43}"/>
          </ac:spMkLst>
        </pc:spChg>
        <pc:spChg chg="add del mod modVis">
          <ac:chgData name="Joelle Brehm" userId="a518f54c-6985-42c0-8041-2bb16a414839" providerId="ADAL" clId="{5C7B1B84-DD23-48EC-A567-B295FAD2ABAF}" dt="2023-11-08T16:08:41.907" v="33602"/>
          <ac:spMkLst>
            <pc:docMk/>
            <pc:sldMk cId="1917659360" sldId="279"/>
            <ac:spMk id="48" creationId="{81414651-3702-901D-6A22-1A10984AF7DD}"/>
          </ac:spMkLst>
        </pc:spChg>
        <pc:spChg chg="add del mod modVis">
          <ac:chgData name="Joelle Brehm" userId="a518f54c-6985-42c0-8041-2bb16a414839" providerId="ADAL" clId="{5C7B1B84-DD23-48EC-A567-B295FAD2ABAF}" dt="2023-11-08T16:08:46.041" v="33861"/>
          <ac:spMkLst>
            <pc:docMk/>
            <pc:sldMk cId="1917659360" sldId="279"/>
            <ac:spMk id="50" creationId="{BFC000C0-FC55-05B3-BC12-237CB5BFE542}"/>
          </ac:spMkLst>
        </pc:spChg>
        <pc:spChg chg="add del mod ord replST">
          <ac:chgData name="Joelle Brehm" userId="a518f54c-6985-42c0-8041-2bb16a414839" providerId="ADAL" clId="{5C7B1B84-DD23-48EC-A567-B295FAD2ABAF}" dt="2023-11-08T16:08:51.548" v="33917"/>
          <ac:spMkLst>
            <pc:docMk/>
            <pc:sldMk cId="1917659360" sldId="279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6:08:51.600" v="33998"/>
          <ac:spMkLst>
            <pc:docMk/>
            <pc:sldMk cId="1917659360" sldId="279"/>
            <ac:spMk id="54" creationId="{E1B7FD63-5CA2-E084-30CF-F6BC49901B8A}"/>
          </ac:spMkLst>
        </pc:spChg>
        <pc:spChg chg="add del mod modVis">
          <ac:chgData name="Joelle Brehm" userId="a518f54c-6985-42c0-8041-2bb16a414839" providerId="ADAL" clId="{5C7B1B84-DD23-48EC-A567-B295FAD2ABAF}" dt="2023-11-08T16:08:57.893" v="34210"/>
          <ac:spMkLst>
            <pc:docMk/>
            <pc:sldMk cId="1917659360" sldId="279"/>
            <ac:spMk id="56" creationId="{D26B83F5-36D5-6E3C-D48F-D16580F5C4AA}"/>
          </ac:spMkLst>
        </pc:spChg>
        <pc:spChg chg="mod ord">
          <ac:chgData name="Joelle Brehm" userId="a518f54c-6985-42c0-8041-2bb16a414839" providerId="ADAL" clId="{5C7B1B84-DD23-48EC-A567-B295FAD2ABAF}" dt="2023-11-08T16:09:03.688" v="34404"/>
          <ac:spMkLst>
            <pc:docMk/>
            <pc:sldMk cId="1917659360" sldId="279"/>
            <ac:spMk id="58" creationId="{C2B29D16-5A5D-43B3-B972-0B57287E081A}"/>
          </ac:spMkLst>
        </pc:spChg>
        <pc:spChg chg="mod ord">
          <ac:chgData name="Joelle Brehm" userId="a518f54c-6985-42c0-8041-2bb16a414839" providerId="ADAL" clId="{5C7B1B84-DD23-48EC-A567-B295FAD2ABAF}" dt="2023-11-08T16:09:03.681" v="34383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6:09:03.682" v="34385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6:09:03.682" v="34387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6:09:03.683" v="34389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6:09:03.683" v="34391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6:09:03.684" v="34393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6:09:03.685" v="34396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09:03.685" v="34397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09:03.685" v="34398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09:03.686" v="34399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6:09:03.686" v="34400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6:09:03.717" v="34410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8T16:07:59.374" v="32856"/>
          <ac:graphicFrameMkLst>
            <pc:docMk/>
            <pc:sldMk cId="1917659360" sldId="279"/>
            <ac:graphicFrameMk id="8" creationId="{C5DD1F2C-4FCB-6E6F-302B-B205BAD7B2A9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09:03.670" v="34345"/>
          <ac:graphicFrameMkLst>
            <pc:docMk/>
            <pc:sldMk cId="1917659360" sldId="279"/>
            <ac:graphicFrameMk id="9" creationId="{69D29464-4EF7-6A64-30EA-72B28BF446D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08:57.824" v="34131"/>
          <ac:graphicFrameMkLst>
            <pc:docMk/>
            <pc:sldMk cId="1917659360" sldId="279"/>
            <ac:graphicFrameMk id="39" creationId="{8E921677-5850-C1B2-B404-E7DDC7ACEB3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8:41.828" v="33511"/>
          <ac:graphicFrameMkLst>
            <pc:docMk/>
            <pc:sldMk cId="1917659360" sldId="279"/>
            <ac:graphicFrameMk id="45" creationId="{D65F0D90-6FC1-7125-0D40-427246B951D5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8:45.962" v="33769"/>
          <ac:graphicFrameMkLst>
            <pc:docMk/>
            <pc:sldMk cId="1917659360" sldId="279"/>
            <ac:graphicFrameMk id="49" creationId="{651DE9C8-3FDF-551A-6930-4D4226B58A3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8:51.551" v="33919"/>
          <ac:graphicFrameMkLst>
            <pc:docMk/>
            <pc:sldMk cId="1917659360" sldId="279"/>
            <ac:graphicFrameMk id="52" creationId="{55051C17-433C-8C75-08E6-19273169B38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08:40.799" v="33347"/>
          <ac:graphicFrameMkLst>
            <pc:docMk/>
            <pc:sldMk cId="1917659360" sldId="279"/>
            <ac:graphicFrameMk id="53" creationId="{6A9D8D83-366A-8FC3-93E9-010F2C88497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09:03.677" v="34369"/>
          <ac:graphicFrameMkLst>
            <pc:docMk/>
            <pc:sldMk cId="1917659360" sldId="279"/>
            <ac:graphicFrameMk id="55" creationId="{1E5888BF-482B-5A65-5B92-238B3F80832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9:01.800" v="34232"/>
          <ac:graphicFrameMkLst>
            <pc:docMk/>
            <pc:sldMk cId="1917659360" sldId="279"/>
            <ac:graphicFrameMk id="57" creationId="{647B9E87-B1E1-5784-3C14-7A3930A152D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09:03.637" v="34331"/>
          <ac:graphicFrameMkLst>
            <pc:docMk/>
            <pc:sldMk cId="1917659360" sldId="279"/>
            <ac:graphicFrameMk id="59" creationId="{5B716589-4323-F3ED-A3F4-9C88A38F4F49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09:03.684" v="34395"/>
          <ac:graphicFrameMkLst>
            <pc:docMk/>
            <pc:sldMk cId="1917659360" sldId="279"/>
            <ac:graphicFrameMk id="60" creationId="{C100011D-5369-EE71-759D-41F6D8C50810}"/>
          </ac:graphicFrameMkLst>
        </pc:graphicFrameChg>
        <pc:picChg chg="del mod ord">
          <ac:chgData name="Joelle Brehm" userId="a518f54c-6985-42c0-8041-2bb16a414839" providerId="ADAL" clId="{5C7B1B84-DD23-48EC-A567-B295FAD2ABAF}" dt="2023-11-08T16:08:22.133" v="33033" actId="478"/>
          <ac:picMkLst>
            <pc:docMk/>
            <pc:sldMk cId="1917659360" sldId="279"/>
            <ac:picMk id="31" creationId="{8B17C264-EEE4-DBC1-814D-3B85203E48DE}"/>
          </ac:picMkLst>
        </pc:picChg>
        <pc:picChg chg="add mod ord">
          <ac:chgData name="Joelle Brehm" userId="a518f54c-6985-42c0-8041-2bb16a414839" providerId="ADAL" clId="{5C7B1B84-DD23-48EC-A567-B295FAD2ABAF}" dt="2023-11-08T16:09:03.668" v="34339"/>
          <ac:picMkLst>
            <pc:docMk/>
            <pc:sldMk cId="1917659360" sldId="279"/>
            <ac:picMk id="32" creationId="{77A82E29-676A-122B-2BF1-33AD8021610A}"/>
          </ac:picMkLst>
        </pc:picChg>
        <pc:picChg chg="mod ord">
          <ac:chgData name="Joelle Brehm" userId="a518f54c-6985-42c0-8041-2bb16a414839" providerId="ADAL" clId="{5C7B1B84-DD23-48EC-A567-B295FAD2ABAF}" dt="2023-11-08T16:09:03.686" v="34402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6:09:03.669" v="34343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6:13:52.393" v="37171"/>
        <pc:sldMkLst>
          <pc:docMk/>
          <pc:sldMk cId="168389892" sldId="281"/>
        </pc:sldMkLst>
        <pc:spChg chg="mod ord">
          <ac:chgData name="Joelle Brehm" userId="a518f54c-6985-42c0-8041-2bb16a414839" providerId="ADAL" clId="{5C7B1B84-DD23-48EC-A567-B295FAD2ABAF}" dt="2023-11-08T16:13:52.359" v="37165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5C7B1B84-DD23-48EC-A567-B295FAD2ABAF}" dt="2023-11-08T16:12:15.172" v="35115" actId="478"/>
          <ac:spMkLst>
            <pc:docMk/>
            <pc:sldMk cId="168389892" sldId="281"/>
            <ac:spMk id="3" creationId="{EE595793-33FD-B9BD-8457-1AAE31BC8D62}"/>
          </ac:spMkLst>
        </pc:spChg>
        <pc:spChg chg="add del mod modVis">
          <ac:chgData name="Joelle Brehm" userId="a518f54c-6985-42c0-8041-2bb16a414839" providerId="ADAL" clId="{5C7B1B84-DD23-48EC-A567-B295FAD2ABAF}" dt="2023-11-08T16:12:27.983" v="35374"/>
          <ac:spMkLst>
            <pc:docMk/>
            <pc:sldMk cId="168389892" sldId="281"/>
            <ac:spMk id="5" creationId="{BD84C000-3EAE-B322-5055-06F5C2710972}"/>
          </ac:spMkLst>
        </pc:spChg>
        <pc:spChg chg="mod ord">
          <ac:chgData name="Joelle Brehm" userId="a518f54c-6985-42c0-8041-2bb16a414839" providerId="ADAL" clId="{5C7B1B84-DD23-48EC-A567-B295FAD2ABAF}" dt="2023-11-08T16:13:52.305" v="37075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6:13:52.342" v="37135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5C7B1B84-DD23-48EC-A567-B295FAD2ABAF}" dt="2023-11-08T16:13:52.336" v="37124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5C7B1B84-DD23-48EC-A567-B295FAD2ABAF}" dt="2023-11-08T16:13:52.315" v="37086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6:13:52.311" v="37082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6:13:52.312" v="37083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6:13:52.309" v="37080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6:13:52.310" v="37081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6:13:52.313" v="37084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6:13:52.314" v="37085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6:13:52.315" v="37087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6:13:52.316" v="37088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6:13:52.317" v="37089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6:13:52.318" v="37090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6:13:52.319" v="37091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6:13:52.320" v="37093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6:13:52.322" v="37096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6:13:52.321" v="37094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6:13:52.321" v="37095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6:13:52.323" v="37100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6:13:52.323" v="37099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6:13:52.324" v="37101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6:13:52.326" v="37104"/>
          <ac:spMkLst>
            <pc:docMk/>
            <pc:sldMk cId="168389892" sldId="281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8T16:13:52.333" v="37118"/>
          <ac:spMkLst>
            <pc:docMk/>
            <pc:sldMk cId="168389892" sldId="281"/>
            <ac:spMk id="33" creationId="{B1E9DD7B-A017-14DB-FDC5-572B2A809BD1}"/>
          </ac:spMkLst>
        </pc:spChg>
        <pc:spChg chg="add mod replST">
          <ac:chgData name="Joelle Brehm" userId="a518f54c-6985-42c0-8041-2bb16a414839" providerId="ADAL" clId="{5C7B1B84-DD23-48EC-A567-B295FAD2ABAF}" dt="2023-11-08T16:13:52.344" v="37138"/>
          <ac:spMkLst>
            <pc:docMk/>
            <pc:sldMk cId="168389892" sldId="281"/>
            <ac:spMk id="34" creationId="{0E8E46D7-D2A7-7EA2-D456-4F5AC1475AED}"/>
          </ac:spMkLst>
        </pc:spChg>
        <pc:spChg chg="add del mod modVis">
          <ac:chgData name="Joelle Brehm" userId="a518f54c-6985-42c0-8041-2bb16a414839" providerId="ADAL" clId="{5C7B1B84-DD23-48EC-A567-B295FAD2ABAF}" dt="2023-11-08T16:13:21.290" v="35858"/>
          <ac:spMkLst>
            <pc:docMk/>
            <pc:sldMk cId="168389892" sldId="281"/>
            <ac:spMk id="35" creationId="{C8271F8C-C8C1-51F9-29F1-1106B4ED2C9D}"/>
          </ac:spMkLst>
        </pc:spChg>
        <pc:spChg chg="del mod">
          <ac:chgData name="Joelle Brehm" userId="a518f54c-6985-42c0-8041-2bb16a414839" providerId="ADAL" clId="{5C7B1B84-DD23-48EC-A567-B295FAD2ABAF}" dt="2023-11-08T16:13:27.739" v="36084"/>
          <ac:spMkLst>
            <pc:docMk/>
            <pc:sldMk cId="168389892" sldId="281"/>
            <ac:spMk id="36" creationId="{36968B59-7E4B-5916-DE24-FBEDF12C1E49}"/>
          </ac:spMkLst>
        </pc:spChg>
        <pc:spChg chg="mod ord">
          <ac:chgData name="Joelle Brehm" userId="a518f54c-6985-42c0-8041-2bb16a414839" providerId="ADAL" clId="{5C7B1B84-DD23-48EC-A567-B295FAD2ABAF}" dt="2023-11-08T16:13:52.322" v="37098"/>
          <ac:spMkLst>
            <pc:docMk/>
            <pc:sldMk cId="168389892" sldId="281"/>
            <ac:spMk id="37" creationId="{6E6D97FF-E2E0-42EA-A83A-C3DF9F3514AE}"/>
          </ac:spMkLst>
        </pc:spChg>
        <pc:spChg chg="del mod">
          <ac:chgData name="Joelle Brehm" userId="a518f54c-6985-42c0-8041-2bb16a414839" providerId="ADAL" clId="{5C7B1B84-DD23-48EC-A567-B295FAD2ABAF}" dt="2023-11-08T16:13:27.738" v="36083"/>
          <ac:spMkLst>
            <pc:docMk/>
            <pc:sldMk cId="168389892" sldId="281"/>
            <ac:spMk id="38" creationId="{33D6C8F4-21B6-9786-940E-4D86B2714801}"/>
          </ac:spMkLst>
        </pc:spChg>
        <pc:spChg chg="mod">
          <ac:chgData name="Joelle Brehm" userId="a518f54c-6985-42c0-8041-2bb16a414839" providerId="ADAL" clId="{5C7B1B84-DD23-48EC-A567-B295FAD2ABAF}" dt="2023-11-08T16:13:52.336" v="37123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5C7B1B84-DD23-48EC-A567-B295FAD2ABAF}" dt="2023-11-08T16:13:52.334" v="37120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5C7B1B84-DD23-48EC-A567-B295FAD2ABAF}" dt="2023-11-08T16:13:52.333" v="37119"/>
          <ac:spMkLst>
            <pc:docMk/>
            <pc:sldMk cId="168389892" sldId="281"/>
            <ac:spMk id="41" creationId="{FDBDB5F4-8253-DAFB-C27E-59BA58987D05}"/>
          </ac:spMkLst>
        </pc:spChg>
        <pc:spChg chg="mod ord">
          <ac:chgData name="Joelle Brehm" userId="a518f54c-6985-42c0-8041-2bb16a414839" providerId="ADAL" clId="{5C7B1B84-DD23-48EC-A567-B295FAD2ABAF}" dt="2023-11-08T16:13:52.332" v="37117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5C7B1B84-DD23-48EC-A567-B295FAD2ABAF}" dt="2023-11-08T16:13:52.335" v="37122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5C7B1B84-DD23-48EC-A567-B295FAD2ABAF}" dt="2023-11-08T16:13:52.328" v="37108"/>
          <ac:spMkLst>
            <pc:docMk/>
            <pc:sldMk cId="168389892" sldId="281"/>
            <ac:spMk id="44" creationId="{7CAA3B95-4C78-4122-BECA-B5FB0F3F3764}"/>
          </ac:spMkLst>
        </pc:spChg>
        <pc:spChg chg="add mod replST">
          <ac:chgData name="Joelle Brehm" userId="a518f54c-6985-42c0-8041-2bb16a414839" providerId="ADAL" clId="{5C7B1B84-DD23-48EC-A567-B295FAD2ABAF}" dt="2023-11-08T16:13:52.345" v="37139"/>
          <ac:spMkLst>
            <pc:docMk/>
            <pc:sldMk cId="168389892" sldId="281"/>
            <ac:spMk id="46" creationId="{D7E2D47E-9249-E731-F2B0-9D4421FC27B7}"/>
          </ac:spMkLst>
        </pc:spChg>
        <pc:spChg chg="mod ord">
          <ac:chgData name="Joelle Brehm" userId="a518f54c-6985-42c0-8041-2bb16a414839" providerId="ADAL" clId="{5C7B1B84-DD23-48EC-A567-B295FAD2ABAF}" dt="2023-11-08T16:13:52.335" v="37121"/>
          <ac:spMkLst>
            <pc:docMk/>
            <pc:sldMk cId="168389892" sldId="281"/>
            <ac:spMk id="48" creationId="{D7C724F5-3AF0-C1C4-489C-1D5CE45F0FB0}"/>
          </ac:spMkLst>
        </pc:spChg>
        <pc:spChg chg="mod">
          <ac:chgData name="Joelle Brehm" userId="a518f54c-6985-42c0-8041-2bb16a414839" providerId="ADAL" clId="{5C7B1B84-DD23-48EC-A567-B295FAD2ABAF}" dt="2023-11-08T16:13:52.342" v="37134"/>
          <ac:spMkLst>
            <pc:docMk/>
            <pc:sldMk cId="168389892" sldId="281"/>
            <ac:spMk id="49" creationId="{C06AD811-F54D-296F-21A9-ACC2CBDA832A}"/>
          </ac:spMkLst>
        </pc:spChg>
        <pc:spChg chg="add del mod modVis">
          <ac:chgData name="Joelle Brehm" userId="a518f54c-6985-42c0-8041-2bb16a414839" providerId="ADAL" clId="{5C7B1B84-DD23-48EC-A567-B295FAD2ABAF}" dt="2023-11-08T16:13:25.129" v="36080"/>
          <ac:spMkLst>
            <pc:docMk/>
            <pc:sldMk cId="168389892" sldId="281"/>
            <ac:spMk id="50" creationId="{2594D34B-83B7-BBE4-5E2E-A3E6CDD9725C}"/>
          </ac:spMkLst>
        </pc:spChg>
        <pc:spChg chg="mod">
          <ac:chgData name="Joelle Brehm" userId="a518f54c-6985-42c0-8041-2bb16a414839" providerId="ADAL" clId="{5C7B1B84-DD23-48EC-A567-B295FAD2ABAF}" dt="2023-11-08T16:13:52.339" v="37131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5C7B1B84-DD23-48EC-A567-B295FAD2ABAF}" dt="2023-11-08T16:13:52.338" v="37129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5C7B1B84-DD23-48EC-A567-B295FAD2ABAF}" dt="2023-11-08T16:13:52.338" v="37128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5C7B1B84-DD23-48EC-A567-B295FAD2ABAF}" dt="2023-11-08T16:13:52.345" v="37140"/>
          <ac:spMkLst>
            <pc:docMk/>
            <pc:sldMk cId="168389892" sldId="281"/>
            <ac:spMk id="54" creationId="{622603CE-58AD-807F-F76A-AA9426112C20}"/>
          </ac:spMkLst>
        </pc:spChg>
        <pc:spChg chg="mod">
          <ac:chgData name="Joelle Brehm" userId="a518f54c-6985-42c0-8041-2bb16a414839" providerId="ADAL" clId="{5C7B1B84-DD23-48EC-A567-B295FAD2ABAF}" dt="2023-11-08T16:13:52.336" v="37125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5C7B1B84-DD23-48EC-A567-B295FAD2ABAF}" dt="2023-11-08T16:13:52.337" v="37127"/>
          <ac:spMkLst>
            <pc:docMk/>
            <pc:sldMk cId="168389892" sldId="281"/>
            <ac:spMk id="57" creationId="{C5C40907-46F2-01D7-4DFC-21E722FD6F82}"/>
          </ac:spMkLst>
        </pc:spChg>
        <pc:spChg chg="mod">
          <ac:chgData name="Joelle Brehm" userId="a518f54c-6985-42c0-8041-2bb16a414839" providerId="ADAL" clId="{5C7B1B84-DD23-48EC-A567-B295FAD2ABAF}" dt="2023-11-08T16:13:52.339" v="37130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5C7B1B84-DD23-48EC-A567-B295FAD2ABAF}" dt="2023-11-08T16:13:52.337" v="37126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5C7B1B84-DD23-48EC-A567-B295FAD2ABAF}" dt="2023-11-08T16:13:52.343" v="37137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5C7B1B84-DD23-48EC-A567-B295FAD2ABAF}" dt="2023-11-08T16:13:52.341" v="37133"/>
          <ac:spMkLst>
            <pc:docMk/>
            <pc:sldMk cId="168389892" sldId="281"/>
            <ac:spMk id="62" creationId="{DE7D5BF8-193E-8278-7BAE-2D4FE573EB09}"/>
          </ac:spMkLst>
        </pc:spChg>
        <pc:spChg chg="mod">
          <ac:chgData name="Joelle Brehm" userId="a518f54c-6985-42c0-8041-2bb16a414839" providerId="ADAL" clId="{5C7B1B84-DD23-48EC-A567-B295FAD2ABAF}" dt="2023-11-08T16:13:52.343" v="37136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5C7B1B84-DD23-48EC-A567-B295FAD2ABAF}" dt="2023-11-08T16:13:28.099" v="36373"/>
          <ac:spMkLst>
            <pc:docMk/>
            <pc:sldMk cId="168389892" sldId="281"/>
            <ac:spMk id="64" creationId="{EF2BC323-3763-1DAC-64C7-8395F5F96A88}"/>
          </ac:spMkLst>
        </pc:spChg>
        <pc:spChg chg="add del mod modVis">
          <ac:chgData name="Joelle Brehm" userId="a518f54c-6985-42c0-8041-2bb16a414839" providerId="ADAL" clId="{5C7B1B84-DD23-48EC-A567-B295FAD2ABAF}" dt="2023-11-08T16:13:36.504" v="36562"/>
          <ac:spMkLst>
            <pc:docMk/>
            <pc:sldMk cId="168389892" sldId="281"/>
            <ac:spMk id="66" creationId="{24221BAD-DC6D-5113-2D1B-555980A9A4AA}"/>
          </ac:spMkLst>
        </pc:spChg>
        <pc:spChg chg="mod">
          <ac:chgData name="Joelle Brehm" userId="a518f54c-6985-42c0-8041-2bb16a414839" providerId="ADAL" clId="{5C7B1B84-DD23-48EC-A567-B295FAD2ABAF}" dt="2023-11-08T16:13:52.341" v="37132"/>
          <ac:spMkLst>
            <pc:docMk/>
            <pc:sldMk cId="168389892" sldId="281"/>
            <ac:spMk id="67" creationId="{7E34EA90-F698-215B-99E3-B598F96FF491}"/>
          </ac:spMkLst>
        </pc:spChg>
        <pc:spChg chg="add del mod modVis">
          <ac:chgData name="Joelle Brehm" userId="a518f54c-6985-42c0-8041-2bb16a414839" providerId="ADAL" clId="{5C7B1B84-DD23-48EC-A567-B295FAD2ABAF}" dt="2023-11-08T16:13:39.231" v="36766"/>
          <ac:spMkLst>
            <pc:docMk/>
            <pc:sldMk cId="168389892" sldId="281"/>
            <ac:spMk id="69" creationId="{9E8DB485-866F-C97F-A113-CAE845FE72FC}"/>
          </ac:spMkLst>
        </pc:spChg>
        <pc:spChg chg="mod">
          <ac:chgData name="Joelle Brehm" userId="a518f54c-6985-42c0-8041-2bb16a414839" providerId="ADAL" clId="{5C7B1B84-DD23-48EC-A567-B295FAD2ABAF}" dt="2023-11-08T16:13:52.331" v="37114"/>
          <ac:spMkLst>
            <pc:docMk/>
            <pc:sldMk cId="168389892" sldId="281"/>
            <ac:spMk id="7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3:52.327" v="37107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3:52.324" v="37102"/>
          <ac:spMkLst>
            <pc:docMk/>
            <pc:sldMk cId="168389892" sldId="281"/>
            <ac:spMk id="74" creationId="{1E5392BC-349C-45B4-8F81-52F83DA74F43}"/>
          </ac:spMkLst>
        </pc:spChg>
        <pc:spChg chg="mod">
          <ac:chgData name="Joelle Brehm" userId="a518f54c-6985-42c0-8041-2bb16a414839" providerId="ADAL" clId="{5C7B1B84-DD23-48EC-A567-B295FAD2ABAF}" dt="2023-11-08T16:13:52.328" v="37109"/>
          <ac:spMkLst>
            <pc:docMk/>
            <pc:sldMk cId="168389892" sldId="281"/>
            <ac:spMk id="7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3:52.329" v="37110"/>
          <ac:spMkLst>
            <pc:docMk/>
            <pc:sldMk cId="168389892" sldId="281"/>
            <ac:spMk id="7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3:52.330" v="37111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8T16:13:52.347" v="37142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6:13:52.348" v="37144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5C7B1B84-DD23-48EC-A567-B295FAD2ABAF}" dt="2023-11-08T16:13:52.330" v="37112"/>
          <ac:spMkLst>
            <pc:docMk/>
            <pc:sldMk cId="168389892" sldId="281"/>
            <ac:spMk id="80" creationId="{7CAA3B95-4C78-4122-BECA-B5FB0F3F3764}"/>
          </ac:spMkLst>
        </pc:spChg>
        <pc:spChg chg="del mod">
          <ac:chgData name="Joelle Brehm" userId="a518f54c-6985-42c0-8041-2bb16a414839" providerId="ADAL" clId="{5C7B1B84-DD23-48EC-A567-B295FAD2ABAF}" dt="2023-11-08T16:13:27.821" v="36126"/>
          <ac:spMkLst>
            <pc:docMk/>
            <pc:sldMk cId="168389892" sldId="281"/>
            <ac:spMk id="81" creationId="{7CAA3B95-4C78-4122-BECA-B5FB0F3F3764}"/>
          </ac:spMkLst>
        </pc:spChg>
        <pc:spChg chg="del mod">
          <ac:chgData name="Joelle Brehm" userId="a518f54c-6985-42c0-8041-2bb16a414839" providerId="ADAL" clId="{5C7B1B84-DD23-48EC-A567-B295FAD2ABAF}" dt="2023-11-08T16:13:27.820" v="36125"/>
          <ac:spMkLst>
            <pc:docMk/>
            <pc:sldMk cId="168389892" sldId="281"/>
            <ac:spMk id="82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6:13:43.321" v="36959"/>
          <ac:spMkLst>
            <pc:docMk/>
            <pc:sldMk cId="168389892" sldId="281"/>
            <ac:spMk id="83" creationId="{43C7FE81-2894-2947-817C-2B25DA290BD8}"/>
          </ac:spMkLst>
        </pc:spChg>
        <pc:spChg chg="add del mod modVis">
          <ac:chgData name="Joelle Brehm" userId="a518f54c-6985-42c0-8041-2bb16a414839" providerId="ADAL" clId="{5C7B1B84-DD23-48EC-A567-B295FAD2ABAF}" dt="2023-11-08T16:13:52.362" v="37169"/>
          <ac:spMkLst>
            <pc:docMk/>
            <pc:sldMk cId="168389892" sldId="281"/>
            <ac:spMk id="86" creationId="{4D144038-5F77-E8D0-1BEB-F7F244B9E323}"/>
          </ac:spMkLst>
        </pc:spChg>
        <pc:spChg chg="mod">
          <ac:chgData name="Joelle Brehm" userId="a518f54c-6985-42c0-8041-2bb16a414839" providerId="ADAL" clId="{5C7B1B84-DD23-48EC-A567-B295FAD2ABAF}" dt="2023-11-08T16:13:52.331" v="37113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8T16:13:52.350" v="37146"/>
          <ac:spMkLst>
            <pc:docMk/>
            <pc:sldMk cId="168389892" sldId="281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6:13:52.350" v="37148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6:13:52.351" v="37150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6:13:52.351" v="37152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6:13:52.354" v="37155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3:52.354" v="37156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3:52.354" v="37157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3:52.355" v="37158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6:13:52.355" v="37159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6:13:52.393" v="37171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3:52.308" v="37079"/>
          <ac:graphicFrameMkLst>
            <pc:docMk/>
            <pc:sldMk cId="168389892" sldId="281"/>
            <ac:graphicFrameMk id="8" creationId="{7D0572F8-AFCF-3891-CD8D-74BC1164E75B}"/>
          </ac:graphicFrameMkLst>
        </pc:graphicFrameChg>
        <pc:graphicFrameChg chg="del">
          <ac:chgData name="Joelle Brehm" userId="a518f54c-6985-42c0-8041-2bb16a414839" providerId="ADAL" clId="{5C7B1B84-DD23-48EC-A567-B295FAD2ABAF}" dt="2023-11-08T16:12:27.793" v="35248"/>
          <ac:graphicFrameMkLst>
            <pc:docMk/>
            <pc:sldMk cId="168389892" sldId="281"/>
            <ac:graphicFrameMk id="32" creationId="{C90E3ECD-0BB6-57E0-F01B-85DE59078BC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3:25.035" v="35973"/>
          <ac:graphicFrameMkLst>
            <pc:docMk/>
            <pc:sldMk cId="168389892" sldId="281"/>
            <ac:graphicFrameMk id="45" creationId="{9B1F1DB2-5FBE-A6F3-3FBA-2F2E4BA88C4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3:27.969" v="36269"/>
          <ac:graphicFrameMkLst>
            <pc:docMk/>
            <pc:sldMk cId="168389892" sldId="281"/>
            <ac:graphicFrameMk id="55" creationId="{DE269ED7-4777-7B16-6133-F348528CC22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13:52.255" v="37065"/>
          <ac:graphicFrameMkLst>
            <pc:docMk/>
            <pc:sldMk cId="168389892" sldId="281"/>
            <ac:graphicFrameMk id="58" creationId="{7D370D2E-FD5A-5197-F58A-2AEC35C5296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3:36.440" v="36458"/>
          <ac:graphicFrameMkLst>
            <pc:docMk/>
            <pc:sldMk cId="168389892" sldId="281"/>
            <ac:graphicFrameMk id="65" creationId="{1E837567-A0B8-D86F-5BE9-9AD206A6840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3:39.165" v="36661"/>
          <ac:graphicFrameMkLst>
            <pc:docMk/>
            <pc:sldMk cId="168389892" sldId="281"/>
            <ac:graphicFrameMk id="68" creationId="{8230262A-F50A-6A68-51B0-DA5F8404373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3:43.258" v="36855"/>
          <ac:graphicFrameMkLst>
            <pc:docMk/>
            <pc:sldMk cId="168389892" sldId="281"/>
            <ac:graphicFrameMk id="71" creationId="{4E7265E2-A032-5314-C020-F0D80DFEE62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3:52.327" v="37106"/>
          <ac:graphicFrameMkLst>
            <pc:docMk/>
            <pc:sldMk cId="168389892" sldId="281"/>
            <ac:graphicFrameMk id="84" creationId="{1610EFAC-9FC1-96B8-5A3F-E2D7706EA9FA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13:21.178" v="35752"/>
          <ac:graphicFrameMkLst>
            <pc:docMk/>
            <pc:sldMk cId="168389892" sldId="281"/>
            <ac:graphicFrameMk id="85" creationId="{9757B6D1-BDC4-B599-6BE9-413E83522DA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3:52.353" v="37154"/>
          <ac:graphicFrameMkLst>
            <pc:docMk/>
            <pc:sldMk cId="168389892" sldId="281"/>
            <ac:graphicFrameMk id="87" creationId="{A3949B62-46F5-DC82-6405-2AE66D6B9F4F}"/>
          </ac:graphicFrameMkLst>
        </pc:graphicFrameChg>
        <pc:picChg chg="add mod ord">
          <ac:chgData name="Joelle Brehm" userId="a518f54c-6985-42c0-8041-2bb16a414839" providerId="ADAL" clId="{5C7B1B84-DD23-48EC-A567-B295FAD2ABAF}" dt="2023-11-08T16:13:52.303" v="37073"/>
          <ac:picMkLst>
            <pc:docMk/>
            <pc:sldMk cId="168389892" sldId="281"/>
            <ac:picMk id="31" creationId="{80D4105C-E631-7BA1-C74B-2283BE202E29}"/>
          </ac:picMkLst>
        </pc:picChg>
        <pc:picChg chg="del mod ord">
          <ac:chgData name="Joelle Brehm" userId="a518f54c-6985-42c0-8041-2bb16a414839" providerId="ADAL" clId="{5C7B1B84-DD23-48EC-A567-B295FAD2ABAF}" dt="2023-11-08T16:12:45.224" v="35489" actId="478"/>
          <ac:picMkLst>
            <pc:docMk/>
            <pc:sldMk cId="168389892" sldId="281"/>
            <ac:picMk id="47" creationId="{0ADAF7BF-E08A-9F41-B711-05278A27B0BE}"/>
          </ac:picMkLst>
        </pc:picChg>
        <pc:picChg chg="mod ord">
          <ac:chgData name="Joelle Brehm" userId="a518f54c-6985-42c0-8041-2bb16a414839" providerId="ADAL" clId="{5C7B1B84-DD23-48EC-A567-B295FAD2ABAF}" dt="2023-11-08T16:13:52.358" v="37163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5C7B1B84-DD23-48EC-A567-B295FAD2ABAF}" dt="2023-11-08T16:13:52.357" v="37161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6:13:52.306" v="37077"/>
          <ac:cxnSpMkLst>
            <pc:docMk/>
            <pc:sldMk cId="168389892" sldId="281"/>
            <ac:cxnSpMk id="7" creationId="{81C3ADD2-FBA2-4990-9325-1C3084F656B8}"/>
          </ac:cxnSpMkLst>
        </pc:cxnChg>
        <pc:cxnChg chg="add mod ord replST">
          <ac:chgData name="Joelle Brehm" userId="a518f54c-6985-42c0-8041-2bb16a414839" providerId="ADAL" clId="{5C7B1B84-DD23-48EC-A567-B295FAD2ABAF}" dt="2023-11-08T16:13:52.332" v="37116"/>
          <ac:cxnSpMkLst>
            <pc:docMk/>
            <pc:sldMk cId="168389892" sldId="281"/>
            <ac:cxnSpMk id="70" creationId="{B150A430-82BB-DF76-4B97-9DAE5EC41DAD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6:15:03.532" v="38807"/>
        <pc:sldMkLst>
          <pc:docMk/>
          <pc:sldMk cId="3564961532" sldId="282"/>
        </pc:sldMkLst>
        <pc:spChg chg="mod ord">
          <ac:chgData name="Joelle Brehm" userId="a518f54c-6985-42c0-8041-2bb16a414839" providerId="ADAL" clId="{5C7B1B84-DD23-48EC-A567-B295FAD2ABAF}" dt="2023-11-08T16:15:03.510" v="38801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5C7B1B84-DD23-48EC-A567-B295FAD2ABAF}" dt="2023-11-08T16:14:05.551" v="37172" actId="478"/>
          <ac:spMkLst>
            <pc:docMk/>
            <pc:sldMk cId="3564961532" sldId="282"/>
            <ac:spMk id="3" creationId="{DA502DCD-B69F-7AE7-7515-DE7668BBC4E0}"/>
          </ac:spMkLst>
        </pc:spChg>
        <pc:spChg chg="add del mod modVis">
          <ac:chgData name="Joelle Brehm" userId="a518f54c-6985-42c0-8041-2bb16a414839" providerId="ADAL" clId="{5C7B1B84-DD23-48EC-A567-B295FAD2ABAF}" dt="2023-11-08T16:14:09.285" v="37429"/>
          <ac:spMkLst>
            <pc:docMk/>
            <pc:sldMk cId="3564961532" sldId="282"/>
            <ac:spMk id="5" creationId="{FB035F77-BCBC-5082-5151-64CADDBAF6B8}"/>
          </ac:spMkLst>
        </pc:spChg>
        <pc:spChg chg="mod ord">
          <ac:chgData name="Joelle Brehm" userId="a518f54c-6985-42c0-8041-2bb16a414839" providerId="ADAL" clId="{5C7B1B84-DD23-48EC-A567-B295FAD2ABAF}" dt="2023-11-08T16:15:03.470" v="38711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6:15:03.499" v="3877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5C7B1B84-DD23-48EC-A567-B295FAD2ABAF}" dt="2023-11-08T16:15:03.475" v="38722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6:15:03.473" v="38718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6:15:03.474" v="38719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6:15:03.472" v="38716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6:15:03.473" v="38717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6:15:03.474" v="38720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6:15:03.474" v="38721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6:15:03.475" v="38723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6:15:03.475" v="38724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6:15:03.477" v="38725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6:15:03.477" v="38726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6:15:03.477" v="38727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6:15:03.478" v="38729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6:15:03.479" v="38732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6:15:03.478" v="38730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6:15:03.479" v="38731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6:15:03.481" v="38736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6:15:03.480" v="38735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6:15:03.481" v="38737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6:15:03.482" v="38740"/>
          <ac:spMkLst>
            <pc:docMk/>
            <pc:sldMk cId="3564961532" sldId="282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8T16:15:03.490" v="38759"/>
          <ac:spMkLst>
            <pc:docMk/>
            <pc:sldMk cId="3564961532" sldId="282"/>
            <ac:spMk id="33" creationId="{A942A586-4C6D-05F4-003F-7AD155D23817}"/>
          </ac:spMkLst>
        </pc:spChg>
        <pc:spChg chg="add mod replST">
          <ac:chgData name="Joelle Brehm" userId="a518f54c-6985-42c0-8041-2bb16a414839" providerId="ADAL" clId="{5C7B1B84-DD23-48EC-A567-B295FAD2ABAF}" dt="2023-11-08T16:15:03.497" v="38774"/>
          <ac:spMkLst>
            <pc:docMk/>
            <pc:sldMk cId="3564961532" sldId="282"/>
            <ac:spMk id="34" creationId="{5449B49A-6F6A-898A-2D6E-3B98A8E86022}"/>
          </ac:spMkLst>
        </pc:spChg>
        <pc:spChg chg="add del mod modVis">
          <ac:chgData name="Joelle Brehm" userId="a518f54c-6985-42c0-8041-2bb16a414839" providerId="ADAL" clId="{5C7B1B84-DD23-48EC-A567-B295FAD2ABAF}" dt="2023-11-08T16:14:48.628" v="37914"/>
          <ac:spMkLst>
            <pc:docMk/>
            <pc:sldMk cId="3564961532" sldId="282"/>
            <ac:spMk id="35" creationId="{08FF72B3-76A6-F5D1-B8AB-3FC652CC01E2}"/>
          </ac:spMkLst>
        </pc:spChg>
        <pc:spChg chg="del mod">
          <ac:chgData name="Joelle Brehm" userId="a518f54c-6985-42c0-8041-2bb16a414839" providerId="ADAL" clId="{5C7B1B84-DD23-48EC-A567-B295FAD2ABAF}" dt="2023-11-08T16:14:54.099" v="38146"/>
          <ac:spMkLst>
            <pc:docMk/>
            <pc:sldMk cId="3564961532" sldId="282"/>
            <ac:spMk id="36" creationId="{D6260AD9-4FAC-BBE1-577F-7BE5C67AAFB3}"/>
          </ac:spMkLst>
        </pc:spChg>
        <pc:spChg chg="mod ord">
          <ac:chgData name="Joelle Brehm" userId="a518f54c-6985-42c0-8041-2bb16a414839" providerId="ADAL" clId="{5C7B1B84-DD23-48EC-A567-B295FAD2ABAF}" dt="2023-11-08T16:15:03.480" v="38734"/>
          <ac:spMkLst>
            <pc:docMk/>
            <pc:sldMk cId="3564961532" sldId="282"/>
            <ac:spMk id="37" creationId="{6E6D97FF-E2E0-42EA-A83A-C3DF9F3514AE}"/>
          </ac:spMkLst>
        </pc:spChg>
        <pc:spChg chg="del mod">
          <ac:chgData name="Joelle Brehm" userId="a518f54c-6985-42c0-8041-2bb16a414839" providerId="ADAL" clId="{5C7B1B84-DD23-48EC-A567-B295FAD2ABAF}" dt="2023-11-08T16:14:54.097" v="38145"/>
          <ac:spMkLst>
            <pc:docMk/>
            <pc:sldMk cId="3564961532" sldId="282"/>
            <ac:spMk id="38" creationId="{1026F8B0-CCCC-40FF-9D5D-1CD95ABD906A}"/>
          </ac:spMkLst>
        </pc:spChg>
        <pc:spChg chg="mod">
          <ac:chgData name="Joelle Brehm" userId="a518f54c-6985-42c0-8041-2bb16a414839" providerId="ADAL" clId="{5C7B1B84-DD23-48EC-A567-B295FAD2ABAF}" dt="2023-11-08T16:15:03.487" v="38754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5C7B1B84-DD23-48EC-A567-B295FAD2ABAF}" dt="2023-11-08T16:15:03.489" v="38756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5C7B1B84-DD23-48EC-A567-B295FAD2ABAF}" dt="2023-11-08T16:15:03.488" v="38755"/>
          <ac:spMkLst>
            <pc:docMk/>
            <pc:sldMk cId="3564961532" sldId="282"/>
            <ac:spMk id="42" creationId="{029DF0F0-1819-B6C9-E910-A68F2546536E}"/>
          </ac:spMkLst>
        </pc:spChg>
        <pc:spChg chg="mod">
          <ac:chgData name="Joelle Brehm" userId="a518f54c-6985-42c0-8041-2bb16a414839" providerId="ADAL" clId="{5C7B1B84-DD23-48EC-A567-B295FAD2ABAF}" dt="2023-11-08T16:15:03.487" v="38753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5C7B1B84-DD23-48EC-A567-B295FAD2ABAF}" dt="2023-11-08T16:15:03.490" v="38758"/>
          <ac:spMkLst>
            <pc:docMk/>
            <pc:sldMk cId="3564961532" sldId="282"/>
            <ac:spMk id="44" creationId="{1F6C7A4E-3741-C604-E97F-BC7B1D2FF004}"/>
          </ac:spMkLst>
        </pc:spChg>
        <pc:spChg chg="mod">
          <ac:chgData name="Joelle Brehm" userId="a518f54c-6985-42c0-8041-2bb16a414839" providerId="ADAL" clId="{5C7B1B84-DD23-48EC-A567-B295FAD2ABAF}" dt="2023-11-08T16:15:03.489" v="38757"/>
          <ac:spMkLst>
            <pc:docMk/>
            <pc:sldMk cId="3564961532" sldId="282"/>
            <ac:spMk id="45" creationId="{13402A60-D873-7DF2-943A-0976851061CD}"/>
          </ac:spMkLst>
        </pc:spChg>
        <pc:spChg chg="add mod replST">
          <ac:chgData name="Joelle Brehm" userId="a518f54c-6985-42c0-8041-2bb16a414839" providerId="ADAL" clId="{5C7B1B84-DD23-48EC-A567-B295FAD2ABAF}" dt="2023-11-08T16:15:03.498" v="38775"/>
          <ac:spMkLst>
            <pc:docMk/>
            <pc:sldMk cId="3564961532" sldId="282"/>
            <ac:spMk id="47" creationId="{38F805B2-3D74-F0ED-4C65-55D891954B72}"/>
          </ac:spMkLst>
        </pc:spChg>
        <pc:spChg chg="mod">
          <ac:chgData name="Joelle Brehm" userId="a518f54c-6985-42c0-8041-2bb16a414839" providerId="ADAL" clId="{5C7B1B84-DD23-48EC-A567-B295FAD2ABAF}" dt="2023-11-08T16:15:03.494" v="38767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5C7B1B84-DD23-48EC-A567-B295FAD2ABAF}" dt="2023-11-08T16:15:03.493" v="38766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5C7B1B84-DD23-48EC-A567-B295FAD2ABAF}" dt="2023-11-08T16:15:03.491" v="38761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5C7B1B84-DD23-48EC-A567-B295FAD2ABAF}" dt="2023-11-08T16:15:03.495" v="38771"/>
          <ac:spMkLst>
            <pc:docMk/>
            <pc:sldMk cId="3564961532" sldId="282"/>
            <ac:spMk id="51" creationId="{7D7C884D-D57C-725C-5AC2-3935B0668B1E}"/>
          </ac:spMkLst>
        </pc:spChg>
        <pc:spChg chg="mod">
          <ac:chgData name="Joelle Brehm" userId="a518f54c-6985-42c0-8041-2bb16a414839" providerId="ADAL" clId="{5C7B1B84-DD23-48EC-A567-B295FAD2ABAF}" dt="2023-11-08T16:15:03.490" v="38760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5C7B1B84-DD23-48EC-A567-B295FAD2ABAF}" dt="2023-11-08T16:15:03.492" v="38763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5C7B1B84-DD23-48EC-A567-B295FAD2ABAF}" dt="2023-11-08T16:15:03.496" v="38773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5C7B1B84-DD23-48EC-A567-B295FAD2ABAF}" dt="2023-11-08T16:15:03.495" v="38769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5C7B1B84-DD23-48EC-A567-B295FAD2ABAF}" dt="2023-11-08T16:15:03.491" v="38762"/>
          <ac:spMkLst>
            <pc:docMk/>
            <pc:sldMk cId="3564961532" sldId="282"/>
            <ac:spMk id="56" creationId="{524D0E2B-EC88-5451-10B4-9BAED81D2D7E}"/>
          </ac:spMkLst>
        </pc:spChg>
        <pc:spChg chg="mod">
          <ac:chgData name="Joelle Brehm" userId="a518f54c-6985-42c0-8041-2bb16a414839" providerId="ADAL" clId="{5C7B1B84-DD23-48EC-A567-B295FAD2ABAF}" dt="2023-11-08T16:15:03.495" v="38770"/>
          <ac:spMkLst>
            <pc:docMk/>
            <pc:sldMk cId="3564961532" sldId="282"/>
            <ac:spMk id="57" creationId="{6C3836C5-4B8F-D1FF-D868-DEBFC10CBCF3}"/>
          </ac:spMkLst>
        </pc:spChg>
        <pc:spChg chg="mod ord">
          <ac:chgData name="Joelle Brehm" userId="a518f54c-6985-42c0-8041-2bb16a414839" providerId="ADAL" clId="{5C7B1B84-DD23-48EC-A567-B295FAD2ABAF}" dt="2023-11-08T16:15:03.496" v="38772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5C7B1B84-DD23-48EC-A567-B295FAD2ABAF}" dt="2023-11-08T16:15:03.494" v="38768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5C7B1B84-DD23-48EC-A567-B295FAD2ABAF}" dt="2023-11-08T16:14:52.312" v="38142"/>
          <ac:spMkLst>
            <pc:docMk/>
            <pc:sldMk cId="3564961532" sldId="282"/>
            <ac:spMk id="60" creationId="{00748D69-4B4E-9345-CB39-2BFC7CFA3380}"/>
          </ac:spMkLst>
        </pc:spChg>
        <pc:spChg chg="mod">
          <ac:chgData name="Joelle Brehm" userId="a518f54c-6985-42c0-8041-2bb16a414839" providerId="ADAL" clId="{5C7B1B84-DD23-48EC-A567-B295FAD2ABAF}" dt="2023-11-08T16:15:03.492" v="38765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5C7B1B84-DD23-48EC-A567-B295FAD2ABAF}" dt="2023-11-08T16:14:54.874" v="38398"/>
          <ac:spMkLst>
            <pc:docMk/>
            <pc:sldMk cId="3564961532" sldId="282"/>
            <ac:spMk id="63" creationId="{371DFB09-948F-49FC-4A4D-3B2D943A010E}"/>
          </ac:spMkLst>
        </pc:spChg>
        <pc:spChg chg="add del mod modVis">
          <ac:chgData name="Joelle Brehm" userId="a518f54c-6985-42c0-8041-2bb16a414839" providerId="ADAL" clId="{5C7B1B84-DD23-48EC-A567-B295FAD2ABAF}" dt="2023-11-08T16:14:58.760" v="38596"/>
          <ac:spMkLst>
            <pc:docMk/>
            <pc:sldMk cId="3564961532" sldId="282"/>
            <ac:spMk id="65" creationId="{91F7ACBE-EF75-4C2D-9277-A624A4E0C66B}"/>
          </ac:spMkLst>
        </pc:spChg>
        <pc:spChg chg="mod">
          <ac:chgData name="Joelle Brehm" userId="a518f54c-6985-42c0-8041-2bb16a414839" providerId="ADAL" clId="{5C7B1B84-DD23-48EC-A567-B295FAD2ABAF}" dt="2023-11-08T16:15:03.492" v="38764"/>
          <ac:spMkLst>
            <pc:docMk/>
            <pc:sldMk cId="3564961532" sldId="282"/>
            <ac:spMk id="66" creationId="{C4A33F4F-7FD9-EA78-EDDC-D0E322FB3032}"/>
          </ac:spMkLst>
        </pc:spChg>
        <pc:spChg chg="mod">
          <ac:chgData name="Joelle Brehm" userId="a518f54c-6985-42c0-8041-2bb16a414839" providerId="ADAL" clId="{5C7B1B84-DD23-48EC-A567-B295FAD2ABAF}" dt="2023-11-08T16:15:03.487" v="38752"/>
          <ac:spMkLst>
            <pc:docMk/>
            <pc:sldMk cId="3564961532" sldId="282"/>
            <ac:spMk id="6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483" v="38744"/>
          <ac:spMkLst>
            <pc:docMk/>
            <pc:sldMk cId="3564961532" sldId="282"/>
            <ac:spMk id="68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484" v="38746"/>
          <ac:spMkLst>
            <pc:docMk/>
            <pc:sldMk cId="3564961532" sldId="282"/>
            <ac:spMk id="70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6:15:03.512" v="38805"/>
          <ac:spMkLst>
            <pc:docMk/>
            <pc:sldMk cId="3564961532" sldId="282"/>
            <ac:spMk id="71" creationId="{A4A86EE2-041E-F9FE-451C-28A9D5BF4E53}"/>
          </ac:spMkLst>
        </pc:spChg>
        <pc:spChg chg="mod">
          <ac:chgData name="Joelle Brehm" userId="a518f54c-6985-42c0-8041-2bb16a414839" providerId="ADAL" clId="{5C7B1B84-DD23-48EC-A567-B295FAD2ABAF}" dt="2023-11-08T16:15:03.485" v="38748"/>
          <ac:spMkLst>
            <pc:docMk/>
            <pc:sldMk cId="3564961532" sldId="282"/>
            <ac:spMk id="7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486" v="38750"/>
          <ac:spMkLst>
            <pc:docMk/>
            <pc:sldMk cId="3564961532" sldId="282"/>
            <ac:spMk id="7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481" v="38738"/>
          <ac:spMkLst>
            <pc:docMk/>
            <pc:sldMk cId="3564961532" sldId="282"/>
            <ac:spMk id="74" creationId="{1E5392BC-349C-45B4-8F81-52F83DA74F43}"/>
          </ac:spMkLst>
        </pc:spChg>
        <pc:spChg chg="mod ord">
          <ac:chgData name="Joelle Brehm" userId="a518f54c-6985-42c0-8041-2bb16a414839" providerId="ADAL" clId="{5C7B1B84-DD23-48EC-A567-B295FAD2ABAF}" dt="2023-11-08T16:15:03.499" v="38778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6:15:03.500" v="38780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6:15:03.510" v="38799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5C7B1B84-DD23-48EC-A567-B295FAD2ABAF}" dt="2023-11-08T16:15:03.485" v="38749"/>
          <ac:spMkLst>
            <pc:docMk/>
            <pc:sldMk cId="3564961532" sldId="282"/>
            <ac:spMk id="97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8T16:15:03.501" v="38782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5C7B1B84-DD23-48EC-A567-B295FAD2ABAF}" dt="2023-11-08T16:15:03.484" v="38745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8T16:15:03.503" v="38784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6:15:03.504" v="38786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6:15:03.505" v="38788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6:15:03.483" v="38743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484" v="38747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487" v="38751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506" v="38791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507" v="38792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507" v="38793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5:03.507" v="38794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6:15:03.508" v="38795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6:15:03.532" v="38807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8T16:14:09.120" v="37301"/>
          <ac:graphicFrameMkLst>
            <pc:docMk/>
            <pc:sldMk cId="3564961532" sldId="282"/>
            <ac:graphicFrameMk id="8" creationId="{CE95FD60-5F3F-8600-A3A7-47BCA5D24742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5:03.472" v="38715"/>
          <ac:graphicFrameMkLst>
            <pc:docMk/>
            <pc:sldMk cId="3564961532" sldId="282"/>
            <ac:graphicFrameMk id="9" creationId="{628DAFD1-56BA-0EFB-AC1D-845F60F9D35E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15:03.436" v="38701"/>
          <ac:graphicFrameMkLst>
            <pc:docMk/>
            <pc:sldMk cId="3564961532" sldId="282"/>
            <ac:graphicFrameMk id="39" creationId="{DDE94850-CE4E-1BAB-1142-ABA151D317B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4:52.151" v="38035"/>
          <ac:graphicFrameMkLst>
            <pc:docMk/>
            <pc:sldMk cId="3564961532" sldId="282"/>
            <ac:graphicFrameMk id="46" creationId="{D8FF5C9E-17D3-AEA9-1062-36284770811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4:54.684" v="38293"/>
          <ac:graphicFrameMkLst>
            <pc:docMk/>
            <pc:sldMk cId="3564961532" sldId="282"/>
            <ac:graphicFrameMk id="61" creationId="{4F7095DC-A27E-F631-A922-B3857AFDA007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4:58.694" v="38492"/>
          <ac:graphicFrameMkLst>
            <pc:docMk/>
            <pc:sldMk cId="3564961532" sldId="282"/>
            <ac:graphicFrameMk id="64" creationId="{8B236930-28EE-991B-EA68-A1610B6E262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5:03.483" v="38742"/>
          <ac:graphicFrameMkLst>
            <pc:docMk/>
            <pc:sldMk cId="3564961532" sldId="282"/>
            <ac:graphicFrameMk id="69" creationId="{64E7F5B1-42AF-7316-25EB-B5C635B0C6A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5:03.506" v="38790"/>
          <ac:graphicFrameMkLst>
            <pc:docMk/>
            <pc:sldMk cId="3564961532" sldId="282"/>
            <ac:graphicFrameMk id="75" creationId="{8D713002-743B-E0D6-1495-BE1E42854408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14:48.534" v="37809"/>
          <ac:graphicFrameMkLst>
            <pc:docMk/>
            <pc:sldMk cId="3564961532" sldId="282"/>
            <ac:graphicFrameMk id="94" creationId="{F9AFBF60-EACB-CE93-B950-3AA8BFDAD2B5}"/>
          </ac:graphicFrameMkLst>
        </pc:graphicFrameChg>
        <pc:picChg chg="del mod ord">
          <ac:chgData name="Joelle Brehm" userId="a518f54c-6985-42c0-8041-2bb16a414839" providerId="ADAL" clId="{5C7B1B84-DD23-48EC-A567-B295FAD2ABAF}" dt="2023-11-08T16:14:35.198" v="37544" actId="478"/>
          <ac:picMkLst>
            <pc:docMk/>
            <pc:sldMk cId="3564961532" sldId="282"/>
            <ac:picMk id="31" creationId="{0AA48B3F-8CF7-117A-B9E3-683AA043DFC4}"/>
          </ac:picMkLst>
        </pc:picChg>
        <pc:picChg chg="add mod ord">
          <ac:chgData name="Joelle Brehm" userId="a518f54c-6985-42c0-8041-2bb16a414839" providerId="ADAL" clId="{5C7B1B84-DD23-48EC-A567-B295FAD2ABAF}" dt="2023-11-08T16:15:03.467" v="38709"/>
          <ac:picMkLst>
            <pc:docMk/>
            <pc:sldMk cId="3564961532" sldId="282"/>
            <ac:picMk id="32" creationId="{CD44A3C7-7365-9612-4ACE-5C6E02C88ADE}"/>
          </ac:picMkLst>
        </pc:picChg>
        <pc:picChg chg="mod ord">
          <ac:chgData name="Joelle Brehm" userId="a518f54c-6985-42c0-8041-2bb16a414839" providerId="ADAL" clId="{5C7B1B84-DD23-48EC-A567-B295FAD2ABAF}" dt="2023-11-08T16:15:03.508" v="38797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6:15:03.471" v="38713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6:16:08.635" v="40433"/>
        <pc:sldMkLst>
          <pc:docMk/>
          <pc:sldMk cId="2958919186" sldId="284"/>
        </pc:sldMkLst>
        <pc:spChg chg="mod ord">
          <ac:chgData name="Joelle Brehm" userId="a518f54c-6985-42c0-8041-2bb16a414839" providerId="ADAL" clId="{5C7B1B84-DD23-48EC-A567-B295FAD2ABAF}" dt="2023-11-08T16:16:08.609" v="40427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5C7B1B84-DD23-48EC-A567-B295FAD2ABAF}" dt="2023-11-08T16:15:14.075" v="38808" actId="478"/>
          <ac:spMkLst>
            <pc:docMk/>
            <pc:sldMk cId="2958919186" sldId="284"/>
            <ac:spMk id="3" creationId="{450F2CB4-827E-BEF5-9D38-86DAF06B0BB6}"/>
          </ac:spMkLst>
        </pc:spChg>
        <pc:spChg chg="add del mod modVis">
          <ac:chgData name="Joelle Brehm" userId="a518f54c-6985-42c0-8041-2bb16a414839" providerId="ADAL" clId="{5C7B1B84-DD23-48EC-A567-B295FAD2ABAF}" dt="2023-11-08T16:15:22.970" v="39063"/>
          <ac:spMkLst>
            <pc:docMk/>
            <pc:sldMk cId="2958919186" sldId="284"/>
            <ac:spMk id="5" creationId="{5BE47194-AD2C-F04B-F44C-4823B657DEE2}"/>
          </ac:spMkLst>
        </pc:spChg>
        <pc:spChg chg="mod ord">
          <ac:chgData name="Joelle Brehm" userId="a518f54c-6985-42c0-8041-2bb16a414839" providerId="ADAL" clId="{5C7B1B84-DD23-48EC-A567-B295FAD2ABAF}" dt="2023-11-08T16:16:08.566" v="40341"/>
          <ac:spMkLst>
            <pc:docMk/>
            <pc:sldMk cId="2958919186" sldId="284"/>
            <ac:spMk id="6" creationId="{B47CE71D-7819-4857-B121-737A3BD39B4D}"/>
          </ac:spMkLst>
        </pc:spChg>
        <pc:spChg chg="add mod replST">
          <ac:chgData name="Joelle Brehm" userId="a518f54c-6985-42c0-8041-2bb16a414839" providerId="ADAL" clId="{5C7B1B84-DD23-48EC-A567-B295FAD2ABAF}" dt="2023-11-08T16:16:08.594" v="40401"/>
          <ac:spMkLst>
            <pc:docMk/>
            <pc:sldMk cId="2958919186" sldId="284"/>
            <ac:spMk id="10" creationId="{9719655D-B1E7-347B-4560-8C174CD823A0}"/>
          </ac:spMkLst>
        </pc:spChg>
        <pc:spChg chg="mod">
          <ac:chgData name="Joelle Brehm" userId="a518f54c-6985-42c0-8041-2bb16a414839" providerId="ADAL" clId="{5C7B1B84-DD23-48EC-A567-B295FAD2ABAF}" dt="2023-11-08T16:16:08.571" v="40352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6:16:08.569" v="40348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6:16:08.570" v="40349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6:16:08.568" v="40346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6:16:08.569" v="40347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6:16:08.570" v="40350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6:16:08.571" v="40351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6:16:08.572" v="40353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6:16:08.572" v="40354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6:16:08.572" v="40355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6:16:08.572" v="40356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6:16:08.573" v="40357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6:16:08.574" v="40359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6:16:08.575" v="40362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6:16:08.574" v="40360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6:16:08.575" v="40361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6:16:08.578" v="40366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6:16:08.577" v="40365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6:16:08.578" v="40367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6:16:08.580" v="40370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8T16:16:08.586" v="40384"/>
          <ac:spMkLst>
            <pc:docMk/>
            <pc:sldMk cId="2958919186" sldId="284"/>
            <ac:spMk id="31" creationId="{125088B1-BC05-E61C-E778-A5953B0A5CC9}"/>
          </ac:spMkLst>
        </pc:spChg>
        <pc:spChg chg="add mod replST">
          <ac:chgData name="Joelle Brehm" userId="a518f54c-6985-42c0-8041-2bb16a414839" providerId="ADAL" clId="{5C7B1B84-DD23-48EC-A567-B295FAD2ABAF}" dt="2023-11-08T16:16:08.594" v="40402"/>
          <ac:spMkLst>
            <pc:docMk/>
            <pc:sldMk cId="2958919186" sldId="284"/>
            <ac:spMk id="32" creationId="{A7F15473-C481-F557-18F4-5334C151E8F4}"/>
          </ac:spMkLst>
        </pc:spChg>
        <pc:spChg chg="mod">
          <ac:chgData name="Joelle Brehm" userId="a518f54c-6985-42c0-8041-2bb16a414839" providerId="ADAL" clId="{5C7B1B84-DD23-48EC-A567-B295FAD2ABAF}" dt="2023-11-08T16:16:08.586" v="40383"/>
          <ac:spMkLst>
            <pc:docMk/>
            <pc:sldMk cId="2958919186" sldId="284"/>
            <ac:spMk id="33" creationId="{4B94C134-301E-FFE0-B344-351A0F3A058C}"/>
          </ac:spMkLst>
        </pc:spChg>
        <pc:spChg chg="del mod">
          <ac:chgData name="Joelle Brehm" userId="a518f54c-6985-42c0-8041-2bb16a414839" providerId="ADAL" clId="{5C7B1B84-DD23-48EC-A567-B295FAD2ABAF}" dt="2023-11-08T16:16:01.144" v="39761"/>
          <ac:spMkLst>
            <pc:docMk/>
            <pc:sldMk cId="2958919186" sldId="284"/>
            <ac:spMk id="34" creationId="{1D083AF9-5BB6-268F-E100-556C500563FF}"/>
          </ac:spMkLst>
        </pc:spChg>
        <pc:spChg chg="del mod">
          <ac:chgData name="Joelle Brehm" userId="a518f54c-6985-42c0-8041-2bb16a414839" providerId="ADAL" clId="{5C7B1B84-DD23-48EC-A567-B295FAD2ABAF}" dt="2023-11-08T16:16:01.143" v="39760"/>
          <ac:spMkLst>
            <pc:docMk/>
            <pc:sldMk cId="2958919186" sldId="284"/>
            <ac:spMk id="36" creationId="{2B31A95E-66FE-6A51-6096-E25DEE4F6185}"/>
          </ac:spMkLst>
        </pc:spChg>
        <pc:spChg chg="mod ord">
          <ac:chgData name="Joelle Brehm" userId="a518f54c-6985-42c0-8041-2bb16a414839" providerId="ADAL" clId="{5C7B1B84-DD23-48EC-A567-B295FAD2ABAF}" dt="2023-11-08T16:16:08.576" v="40364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5C7B1B84-DD23-48EC-A567-B295FAD2ABAF}" dt="2023-11-08T16:16:08.584" v="40380"/>
          <ac:spMkLst>
            <pc:docMk/>
            <pc:sldMk cId="2958919186" sldId="284"/>
            <ac:spMk id="38" creationId="{64FE4593-24F9-360D-B61A-345C6A72C704}"/>
          </ac:spMkLst>
        </pc:spChg>
        <pc:spChg chg="mod">
          <ac:chgData name="Joelle Brehm" userId="a518f54c-6985-42c0-8041-2bb16a414839" providerId="ADAL" clId="{5C7B1B84-DD23-48EC-A567-B295FAD2ABAF}" dt="2023-11-08T16:16:08.587" v="40386"/>
          <ac:spMkLst>
            <pc:docMk/>
            <pc:sldMk cId="2958919186" sldId="284"/>
            <ac:spMk id="40" creationId="{65B69A5C-0F9E-A4F4-3815-34C5AD49C7B7}"/>
          </ac:spMkLst>
        </pc:spChg>
        <pc:spChg chg="mod">
          <ac:chgData name="Joelle Brehm" userId="a518f54c-6985-42c0-8041-2bb16a414839" providerId="ADAL" clId="{5C7B1B84-DD23-48EC-A567-B295FAD2ABAF}" dt="2023-11-08T16:16:08.586" v="40385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5C7B1B84-DD23-48EC-A567-B295FAD2ABAF}" dt="2023-11-08T16:16:08.592" v="40398"/>
          <ac:spMkLst>
            <pc:docMk/>
            <pc:sldMk cId="2958919186" sldId="284"/>
            <ac:spMk id="42" creationId="{907D7408-F4BF-634D-C4A3-6AB144A133E9}"/>
          </ac:spMkLst>
        </pc:spChg>
        <pc:spChg chg="mod ord">
          <ac:chgData name="Joelle Brehm" userId="a518f54c-6985-42c0-8041-2bb16a414839" providerId="ADAL" clId="{5C7B1B84-DD23-48EC-A567-B295FAD2ABAF}" dt="2023-11-08T16:16:08.584" v="40379"/>
          <ac:spMkLst>
            <pc:docMk/>
            <pc:sldMk cId="2958919186" sldId="284"/>
            <ac:spMk id="43" creationId="{37188F03-F6CA-EE9D-F6C7-47E8CCD42E86}"/>
          </ac:spMkLst>
        </pc:spChg>
        <pc:spChg chg="mod">
          <ac:chgData name="Joelle Brehm" userId="a518f54c-6985-42c0-8041-2bb16a414839" providerId="ADAL" clId="{5C7B1B84-DD23-48EC-A567-B295FAD2ABAF}" dt="2023-11-08T16:16:08.592" v="40397"/>
          <ac:spMkLst>
            <pc:docMk/>
            <pc:sldMk cId="2958919186" sldId="284"/>
            <ac:spMk id="44" creationId="{77917790-2F42-F887-E684-5C13E341F164}"/>
          </ac:spMkLst>
        </pc:spChg>
        <pc:spChg chg="mod">
          <ac:chgData name="Joelle Brehm" userId="a518f54c-6985-42c0-8041-2bb16a414839" providerId="ADAL" clId="{5C7B1B84-DD23-48EC-A567-B295FAD2ABAF}" dt="2023-11-08T16:16:08.585" v="40382"/>
          <ac:spMkLst>
            <pc:docMk/>
            <pc:sldMk cId="2958919186" sldId="284"/>
            <ac:spMk id="45" creationId="{BA6D2150-ACED-DB3B-247D-B1C7D75594BC}"/>
          </ac:spMkLst>
        </pc:spChg>
        <pc:spChg chg="mod">
          <ac:chgData name="Joelle Brehm" userId="a518f54c-6985-42c0-8041-2bb16a414839" providerId="ADAL" clId="{5C7B1B84-DD23-48EC-A567-B295FAD2ABAF}" dt="2023-11-08T16:16:08.585" v="40381"/>
          <ac:spMkLst>
            <pc:docMk/>
            <pc:sldMk cId="2958919186" sldId="284"/>
            <ac:spMk id="46" creationId="{57979B6E-92A7-E2CD-D125-48728C290A15}"/>
          </ac:spMkLst>
        </pc:spChg>
        <pc:spChg chg="mod">
          <ac:chgData name="Joelle Brehm" userId="a518f54c-6985-42c0-8041-2bb16a414839" providerId="ADAL" clId="{5C7B1B84-DD23-48EC-A567-B295FAD2ABAF}" dt="2023-11-08T16:16:08.590" v="40393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5C7B1B84-DD23-48EC-A567-B295FAD2ABAF}" dt="2023-11-08T16:16:08.593" v="40400"/>
          <ac:spMkLst>
            <pc:docMk/>
            <pc:sldMk cId="2958919186" sldId="284"/>
            <ac:spMk id="48" creationId="{5D20D0D7-37CC-29AE-8F09-41EE1C3042D6}"/>
          </ac:spMkLst>
        </pc:spChg>
        <pc:spChg chg="add del mod modVis">
          <ac:chgData name="Joelle Brehm" userId="a518f54c-6985-42c0-8041-2bb16a414839" providerId="ADAL" clId="{5C7B1B84-DD23-48EC-A567-B295FAD2ABAF}" dt="2023-11-08T16:15:55.991" v="39557"/>
          <ac:spMkLst>
            <pc:docMk/>
            <pc:sldMk cId="2958919186" sldId="284"/>
            <ac:spMk id="49" creationId="{176AFC13-0CED-AF9C-9416-011500557F73}"/>
          </ac:spMkLst>
        </pc:spChg>
        <pc:spChg chg="mod">
          <ac:chgData name="Joelle Brehm" userId="a518f54c-6985-42c0-8041-2bb16a414839" providerId="ADAL" clId="{5C7B1B84-DD23-48EC-A567-B295FAD2ABAF}" dt="2023-11-08T16:16:08.593" v="40399"/>
          <ac:spMkLst>
            <pc:docMk/>
            <pc:sldMk cId="2958919186" sldId="284"/>
            <ac:spMk id="51" creationId="{5919439C-F2E5-38EE-454C-6197DCE4A0B6}"/>
          </ac:spMkLst>
        </pc:spChg>
        <pc:spChg chg="mod">
          <ac:chgData name="Joelle Brehm" userId="a518f54c-6985-42c0-8041-2bb16a414839" providerId="ADAL" clId="{5C7B1B84-DD23-48EC-A567-B295FAD2ABAF}" dt="2023-11-08T16:16:08.588" v="40388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5C7B1B84-DD23-48EC-A567-B295FAD2ABAF}" dt="2023-11-08T16:16:08.587" v="40387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5C7B1B84-DD23-48EC-A567-B295FAD2ABAF}" dt="2023-11-08T16:16:08.591" v="40396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5C7B1B84-DD23-48EC-A567-B295FAD2ABAF}" dt="2023-11-08T16:16:08.591" v="40395"/>
          <ac:spMkLst>
            <pc:docMk/>
            <pc:sldMk cId="2958919186" sldId="284"/>
            <ac:spMk id="55" creationId="{2BAA32C5-1C92-8614-2678-B94A36FCDC54}"/>
          </ac:spMkLst>
        </pc:spChg>
        <pc:spChg chg="add del mod modVis">
          <ac:chgData name="Joelle Brehm" userId="a518f54c-6985-42c0-8041-2bb16a414839" providerId="ADAL" clId="{5C7B1B84-DD23-48EC-A567-B295FAD2ABAF}" dt="2023-11-08T16:15:58.624" v="39757"/>
          <ac:spMkLst>
            <pc:docMk/>
            <pc:sldMk cId="2958919186" sldId="284"/>
            <ac:spMk id="56" creationId="{42A1C251-2088-A216-F960-2878A2C0F006}"/>
          </ac:spMkLst>
        </pc:spChg>
        <pc:spChg chg="mod">
          <ac:chgData name="Joelle Brehm" userId="a518f54c-6985-42c0-8041-2bb16a414839" providerId="ADAL" clId="{5C7B1B84-DD23-48EC-A567-B295FAD2ABAF}" dt="2023-11-08T16:16:08.590" v="40392"/>
          <ac:spMkLst>
            <pc:docMk/>
            <pc:sldMk cId="2958919186" sldId="284"/>
            <ac:spMk id="58" creationId="{1FE8095F-70AA-80E7-5AB4-793D17F07A13}"/>
          </ac:spMkLst>
        </pc:spChg>
        <pc:spChg chg="add del mod modVis">
          <ac:chgData name="Joelle Brehm" userId="a518f54c-6985-42c0-8041-2bb16a414839" providerId="ADAL" clId="{5C7B1B84-DD23-48EC-A567-B295FAD2ABAF}" dt="2023-11-08T16:16:01.361" v="40001"/>
          <ac:spMkLst>
            <pc:docMk/>
            <pc:sldMk cId="2958919186" sldId="284"/>
            <ac:spMk id="59" creationId="{3537C488-9F7F-A5EB-C520-CD2B60F31C2A}"/>
          </ac:spMkLst>
        </pc:spChg>
        <pc:spChg chg="mod">
          <ac:chgData name="Joelle Brehm" userId="a518f54c-6985-42c0-8041-2bb16a414839" providerId="ADAL" clId="{5C7B1B84-DD23-48EC-A567-B295FAD2ABAF}" dt="2023-11-08T16:16:08.589" v="40390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5C7B1B84-DD23-48EC-A567-B295FAD2ABAF}" dt="2023-11-08T16:16:08.588" v="40389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5C7B1B84-DD23-48EC-A567-B295FAD2ABAF}" dt="2023-11-08T16:16:04.213" v="40188"/>
          <ac:spMkLst>
            <pc:docMk/>
            <pc:sldMk cId="2958919186" sldId="284"/>
            <ac:spMk id="63" creationId="{A14A22CE-BB01-2FC7-C02F-782B3C67E080}"/>
          </ac:spMkLst>
        </pc:spChg>
        <pc:spChg chg="mod">
          <ac:chgData name="Joelle Brehm" userId="a518f54c-6985-42c0-8041-2bb16a414839" providerId="ADAL" clId="{5C7B1B84-DD23-48EC-A567-B295FAD2ABAF}" dt="2023-11-08T16:16:08.589" v="40391"/>
          <ac:spMkLst>
            <pc:docMk/>
            <pc:sldMk cId="2958919186" sldId="284"/>
            <ac:spMk id="64" creationId="{B1366E3F-F395-5537-B661-2D2E6B4B920E}"/>
          </ac:spMkLst>
        </pc:spChg>
        <pc:spChg chg="mod">
          <ac:chgData name="Joelle Brehm" userId="a518f54c-6985-42c0-8041-2bb16a414839" providerId="ADAL" clId="{5C7B1B84-DD23-48EC-A567-B295FAD2ABAF}" dt="2023-11-08T16:16:08.581" v="40374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6:08.582" v="40375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6:08.583" v="40377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6:08.583" v="40378"/>
          <ac:spMkLst>
            <pc:docMk/>
            <pc:sldMk cId="2958919186" sldId="284"/>
            <ac:spMk id="71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6:16:08.612" v="40431"/>
          <ac:spMkLst>
            <pc:docMk/>
            <pc:sldMk cId="2958919186" sldId="284"/>
            <ac:spMk id="72" creationId="{F319AD38-0C79-795C-C0C8-06BEC6CB15FB}"/>
          </ac:spMkLst>
        </pc:spChg>
        <pc:spChg chg="mod">
          <ac:chgData name="Joelle Brehm" userId="a518f54c-6985-42c0-8041-2bb16a414839" providerId="ADAL" clId="{5C7B1B84-DD23-48EC-A567-B295FAD2ABAF}" dt="2023-11-08T16:16:08.579" v="40368"/>
          <ac:spMkLst>
            <pc:docMk/>
            <pc:sldMk cId="2958919186" sldId="284"/>
            <ac:spMk id="74" creationId="{1E5392BC-349C-45B4-8F81-52F83DA74F43}"/>
          </ac:spMkLst>
        </pc:spChg>
        <pc:spChg chg="mod">
          <ac:chgData name="Joelle Brehm" userId="a518f54c-6985-42c0-8041-2bb16a414839" providerId="ADAL" clId="{5C7B1B84-DD23-48EC-A567-B295FAD2ABAF}" dt="2023-11-08T16:16:08.590" v="40394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5C7B1B84-DD23-48EC-A567-B295FAD2ABAF}" dt="2023-11-08T16:16:08.595" v="40404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6:16:08.597" v="40406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5C7B1B84-DD23-48EC-A567-B295FAD2ABAF}" dt="2023-11-08T16:16:08.581" v="40373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8T16:16:08.608" v="40425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5C7B1B84-DD23-48EC-A567-B295FAD2ABAF}" dt="2023-11-08T16:16:08.599" v="40408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6:16:08.600" v="40410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6:16:08.601" v="40412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6:16:08.602" v="40414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6:16:08.603" v="40417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6:08.603" v="40418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6:08.604" v="40419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6:16:08.605" v="40420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6:16:08.605" v="40421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5C7B1B84-DD23-48EC-A567-B295FAD2ABAF}" dt="2023-11-08T16:16:08.582" v="40376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5C7B1B84-DD23-48EC-A567-B295FAD2ABAF}" dt="2023-11-08T16:16:08.635" v="40433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6:08.568" v="40345"/>
          <ac:graphicFrameMkLst>
            <pc:docMk/>
            <pc:sldMk cId="2958919186" sldId="284"/>
            <ac:graphicFrameMk id="8" creationId="{52F3CED3-435D-9AF4-B138-20213182B993}"/>
          </ac:graphicFrameMkLst>
        </pc:graphicFrameChg>
        <pc:graphicFrameChg chg="del">
          <ac:chgData name="Joelle Brehm" userId="a518f54c-6985-42c0-8041-2bb16a414839" providerId="ADAL" clId="{5C7B1B84-DD23-48EC-A567-B295FAD2ABAF}" dt="2023-11-08T16:15:22.783" v="38941"/>
          <ac:graphicFrameMkLst>
            <pc:docMk/>
            <pc:sldMk cId="2958919186" sldId="284"/>
            <ac:graphicFrameMk id="35" creationId="{41E34E44-71FE-0FD3-0625-996C196B8F5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5:58.559" v="39655"/>
          <ac:graphicFrameMkLst>
            <pc:docMk/>
            <pc:sldMk cId="2958919186" sldId="284"/>
            <ac:graphicFrameMk id="50" creationId="{D9893354-A3BF-8727-D599-4AC1AC38893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6:01.271" v="39900"/>
          <ac:graphicFrameMkLst>
            <pc:docMk/>
            <pc:sldMk cId="2958919186" sldId="284"/>
            <ac:graphicFrameMk id="57" creationId="{11481B44-753A-7761-9FAC-BB498F0A61C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16:04.139" v="40088"/>
          <ac:graphicFrameMkLst>
            <pc:docMk/>
            <pc:sldMk cId="2958919186" sldId="284"/>
            <ac:graphicFrameMk id="62" creationId="{D13C6432-1AF6-2EA5-BD7D-DE92879F98E7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15:55.922" v="39455"/>
          <ac:graphicFrameMkLst>
            <pc:docMk/>
            <pc:sldMk cId="2958919186" sldId="284"/>
            <ac:graphicFrameMk id="65" creationId="{A6251D36-774F-7C35-CB07-DD1903ED859C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6:08.580" v="40372"/>
          <ac:graphicFrameMkLst>
            <pc:docMk/>
            <pc:sldMk cId="2958919186" sldId="284"/>
            <ac:graphicFrameMk id="66" creationId="{A0F068AA-0628-3892-2C2C-4BB7237BBAD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16:08.530" v="40331"/>
          <ac:graphicFrameMkLst>
            <pc:docMk/>
            <pc:sldMk cId="2958919186" sldId="284"/>
            <ac:graphicFrameMk id="67" creationId="{C5312727-1595-5EE3-1E0E-720F4DBDF783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6:16:08.602" v="40416"/>
          <ac:graphicFrameMkLst>
            <pc:docMk/>
            <pc:sldMk cId="2958919186" sldId="284"/>
            <ac:graphicFrameMk id="73" creationId="{7111E6D8-5C95-74C5-5C48-6D77E5A71187}"/>
          </ac:graphicFrameMkLst>
        </pc:graphicFrameChg>
        <pc:picChg chg="add mod ord">
          <ac:chgData name="Joelle Brehm" userId="a518f54c-6985-42c0-8041-2bb16a414839" providerId="ADAL" clId="{5C7B1B84-DD23-48EC-A567-B295FAD2ABAF}" dt="2023-11-08T16:16:08.564" v="40339"/>
          <ac:picMkLst>
            <pc:docMk/>
            <pc:sldMk cId="2958919186" sldId="284"/>
            <ac:picMk id="9" creationId="{8DBB5982-CB70-EB55-85D3-B6CDE00632C8}"/>
          </ac:picMkLst>
        </pc:picChg>
        <pc:picChg chg="del mod ord">
          <ac:chgData name="Joelle Brehm" userId="a518f54c-6985-42c0-8041-2bb16a414839" providerId="ADAL" clId="{5C7B1B84-DD23-48EC-A567-B295FAD2ABAF}" dt="2023-11-08T16:15:42.145" v="39176" actId="478"/>
          <ac:picMkLst>
            <pc:docMk/>
            <pc:sldMk cId="2958919186" sldId="284"/>
            <ac:picMk id="39" creationId="{44CEB118-2718-F572-3060-4150DDAE5C55}"/>
          </ac:picMkLst>
        </pc:picChg>
        <pc:picChg chg="mod ord">
          <ac:chgData name="Joelle Brehm" userId="a518f54c-6985-42c0-8041-2bb16a414839" providerId="ADAL" clId="{5C7B1B84-DD23-48EC-A567-B295FAD2ABAF}" dt="2023-11-08T16:16:08.606" v="40423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6:16:08.567" v="40343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7:00:10.990" v="43580"/>
        <pc:sldMkLst>
          <pc:docMk/>
          <pc:sldMk cId="3959601197" sldId="285"/>
        </pc:sldMkLst>
        <pc:spChg chg="mod ord">
          <ac:chgData name="Joelle Brehm" userId="a518f54c-6985-42c0-8041-2bb16a414839" providerId="ADAL" clId="{5C7B1B84-DD23-48EC-A567-B295FAD2ABAF}" dt="2023-11-08T17:00:10.972" v="43574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5C7B1B84-DD23-48EC-A567-B295FAD2ABAF}" dt="2023-11-08T16:58:49.693" v="40434" actId="478"/>
          <ac:spMkLst>
            <pc:docMk/>
            <pc:sldMk cId="3959601197" sldId="285"/>
            <ac:spMk id="3" creationId="{CB60C67D-4CC4-68D4-1F34-F54C64FC1759}"/>
          </ac:spMkLst>
        </pc:spChg>
        <pc:spChg chg="add del mod modVis">
          <ac:chgData name="Joelle Brehm" userId="a518f54c-6985-42c0-8041-2bb16a414839" providerId="ADAL" clId="{5C7B1B84-DD23-48EC-A567-B295FAD2ABAF}" dt="2023-11-08T16:59:08.335" v="40673"/>
          <ac:spMkLst>
            <pc:docMk/>
            <pc:sldMk cId="3959601197" sldId="285"/>
            <ac:spMk id="5" creationId="{FA047ED1-2E58-BC7F-F408-BBDF5D16CC2D}"/>
          </ac:spMkLst>
        </pc:spChg>
        <pc:spChg chg="mod ord">
          <ac:chgData name="Joelle Brehm" userId="a518f54c-6985-42c0-8041-2bb16a414839" providerId="ADAL" clId="{5C7B1B84-DD23-48EC-A567-B295FAD2ABAF}" dt="2023-11-08T17:00:10.949" v="43506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7:00:10.960" v="43539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5C7B1B84-DD23-48EC-A567-B295FAD2ABAF}" dt="2023-11-08T17:00:10.952" v="43517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7:00:10.951" v="43513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7:00:10.951" v="43514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7:00:10.950" v="43511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7:00:10.951" v="43512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7:00:10.951" v="43515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7:00:10.952" v="43516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7:00:10.952" v="43518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7:00:10.953" v="43519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7:00:10.953" v="43520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7:00:10.953" v="43521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7:00:10.954" v="43522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7:00:10.954" v="43524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7:00:10.955" v="43527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7:00:10.957" v="43529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7:00:10.956" v="43528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7:00:10.957" v="43532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7:00:10.958" v="43533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7:00:10.957" v="43531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7:00:10.958" v="43535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8T17:00:10.960" v="43541"/>
          <ac:spMkLst>
            <pc:docMk/>
            <pc:sldMk cId="3959601197" sldId="285"/>
            <ac:spMk id="32" creationId="{B0AF6ACE-86A6-94FA-8046-DB9299EFD512}"/>
          </ac:spMkLst>
        </pc:spChg>
        <pc:spChg chg="add mod replST">
          <ac:chgData name="Joelle Brehm" userId="a518f54c-6985-42c0-8041-2bb16a414839" providerId="ADAL" clId="{5C7B1B84-DD23-48EC-A567-B295FAD2ABAF}" dt="2023-11-08T17:00:10.963" v="43549"/>
          <ac:spMkLst>
            <pc:docMk/>
            <pc:sldMk cId="3959601197" sldId="285"/>
            <ac:spMk id="33" creationId="{5E6D8718-1100-5B0D-03C4-984A1480256E}"/>
          </ac:spMkLst>
        </pc:spChg>
        <pc:spChg chg="del mod">
          <ac:chgData name="Joelle Brehm" userId="a518f54c-6985-42c0-8041-2bb16a414839" providerId="ADAL" clId="{5C7B1B84-DD23-48EC-A567-B295FAD2ABAF}" dt="2023-11-08T16:59:40.350" v="41348"/>
          <ac:spMkLst>
            <pc:docMk/>
            <pc:sldMk cId="3959601197" sldId="285"/>
            <ac:spMk id="34" creationId="{7296A792-C9A5-603D-0DFE-510144F74B20}"/>
          </ac:spMkLst>
        </pc:spChg>
        <pc:spChg chg="mod">
          <ac:chgData name="Joelle Brehm" userId="a518f54c-6985-42c0-8041-2bb16a414839" providerId="ADAL" clId="{5C7B1B84-DD23-48EC-A567-B295FAD2ABAF}" dt="2023-11-08T17:00:10.960" v="43540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5C7B1B84-DD23-48EC-A567-B295FAD2ABAF}" dt="2023-11-08T17:00:10.955" v="43526"/>
          <ac:spMkLst>
            <pc:docMk/>
            <pc:sldMk cId="3959601197" sldId="285"/>
            <ac:spMk id="37" creationId="{6E6D97FF-E2E0-42EA-A83A-C3DF9F3514AE}"/>
          </ac:spMkLst>
        </pc:spChg>
        <pc:spChg chg="mod">
          <ac:chgData name="Joelle Brehm" userId="a518f54c-6985-42c0-8041-2bb16a414839" providerId="ADAL" clId="{5C7B1B84-DD23-48EC-A567-B295FAD2ABAF}" dt="2023-11-08T17:00:10.962" v="43548"/>
          <ac:spMkLst>
            <pc:docMk/>
            <pc:sldMk cId="3959601197" sldId="285"/>
            <ac:spMk id="38" creationId="{2FB404D9-C000-431B-6310-4B69B0746585}"/>
          </ac:spMkLst>
        </pc:spChg>
        <pc:spChg chg="mod">
          <ac:chgData name="Joelle Brehm" userId="a518f54c-6985-42c0-8041-2bb16a414839" providerId="ADAL" clId="{5C7B1B84-DD23-48EC-A567-B295FAD2ABAF}" dt="2023-11-08T17:00:10.961" v="43545"/>
          <ac:spMkLst>
            <pc:docMk/>
            <pc:sldMk cId="3959601197" sldId="285"/>
            <ac:spMk id="39" creationId="{49E3BF94-A3A3-6D9E-A640-936C4D588482}"/>
          </ac:spMkLst>
        </pc:spChg>
        <pc:spChg chg="mod">
          <ac:chgData name="Joelle Brehm" userId="a518f54c-6985-42c0-8041-2bb16a414839" providerId="ADAL" clId="{5C7B1B84-DD23-48EC-A567-B295FAD2ABAF}" dt="2023-11-08T17:00:10.962" v="43546"/>
          <ac:spMkLst>
            <pc:docMk/>
            <pc:sldMk cId="3959601197" sldId="285"/>
            <ac:spMk id="40" creationId="{EA599A54-45AC-0837-D7C5-3771AA871AAD}"/>
          </ac:spMkLst>
        </pc:spChg>
        <pc:spChg chg="mod">
          <ac:chgData name="Joelle Brehm" userId="a518f54c-6985-42c0-8041-2bb16a414839" providerId="ADAL" clId="{5C7B1B84-DD23-48EC-A567-B295FAD2ABAF}" dt="2023-11-08T17:00:10.962" v="43547"/>
          <ac:spMkLst>
            <pc:docMk/>
            <pc:sldMk cId="3959601197" sldId="285"/>
            <ac:spMk id="41" creationId="{EEDF60F4-83FD-2158-5CFE-740630E662A0}"/>
          </ac:spMkLst>
        </pc:spChg>
        <pc:spChg chg="mod">
          <ac:chgData name="Joelle Brehm" userId="a518f54c-6985-42c0-8041-2bb16a414839" providerId="ADAL" clId="{5C7B1B84-DD23-48EC-A567-B295FAD2ABAF}" dt="2023-11-08T17:00:10.961" v="43543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5C7B1B84-DD23-48EC-A567-B295FAD2ABAF}" dt="2023-11-08T17:00:10.960" v="43542"/>
          <ac:spMkLst>
            <pc:docMk/>
            <pc:sldMk cId="3959601197" sldId="285"/>
            <ac:spMk id="43" creationId="{7A0654C5-E72A-A91E-A2D8-90D96122F7D7}"/>
          </ac:spMkLst>
        </pc:spChg>
        <pc:spChg chg="add del mod modVis">
          <ac:chgData name="Joelle Brehm" userId="a518f54c-6985-42c0-8041-2bb16a414839" providerId="ADAL" clId="{5C7B1B84-DD23-48EC-A567-B295FAD2ABAF}" dt="2023-11-08T16:59:36.416" v="41170"/>
          <ac:spMkLst>
            <pc:docMk/>
            <pc:sldMk cId="3959601197" sldId="285"/>
            <ac:spMk id="44" creationId="{289847B7-E96B-5B4B-B930-A9F3F0089B25}"/>
          </ac:spMkLst>
        </pc:spChg>
        <pc:spChg chg="mod">
          <ac:chgData name="Joelle Brehm" userId="a518f54c-6985-42c0-8041-2bb16a414839" providerId="ADAL" clId="{5C7B1B84-DD23-48EC-A567-B295FAD2ABAF}" dt="2023-11-08T17:00:10.959" v="43538"/>
          <ac:spMkLst>
            <pc:docMk/>
            <pc:sldMk cId="3959601197" sldId="285"/>
            <ac:spMk id="45" creationId="{C0C2677E-B02A-A9FD-C32D-94A1D148E0A5}"/>
          </ac:spMkLst>
        </pc:spChg>
        <pc:spChg chg="mod">
          <ac:chgData name="Joelle Brehm" userId="a518f54c-6985-42c0-8041-2bb16a414839" providerId="ADAL" clId="{5C7B1B84-DD23-48EC-A567-B295FAD2ABAF}" dt="2023-11-08T17:00:10.961" v="43544"/>
          <ac:spMkLst>
            <pc:docMk/>
            <pc:sldMk cId="3959601197" sldId="285"/>
            <ac:spMk id="47" creationId="{E68B1E78-8D9D-3E69-597C-1E05491CF1D5}"/>
          </ac:spMkLst>
        </pc:spChg>
        <pc:spChg chg="add del mod modVis">
          <ac:chgData name="Joelle Brehm" userId="a518f54c-6985-42c0-8041-2bb16a414839" providerId="ADAL" clId="{5C7B1B84-DD23-48EC-A567-B295FAD2ABAF}" dt="2023-11-08T16:59:38.112" v="41345"/>
          <ac:spMkLst>
            <pc:docMk/>
            <pc:sldMk cId="3959601197" sldId="285"/>
            <ac:spMk id="48" creationId="{87A35578-8774-1CBA-2CA3-EA421A50C59C}"/>
          </ac:spMkLst>
        </pc:spChg>
        <pc:spChg chg="add del mod modVis">
          <ac:chgData name="Joelle Brehm" userId="a518f54c-6985-42c0-8041-2bb16a414839" providerId="ADAL" clId="{5C7B1B84-DD23-48EC-A567-B295FAD2ABAF}" dt="2023-11-08T16:59:40.668" v="41610"/>
          <ac:spMkLst>
            <pc:docMk/>
            <pc:sldMk cId="3959601197" sldId="285"/>
            <ac:spMk id="50" creationId="{FD9BD27A-3D3C-9A59-B443-602A3AA6C9CE}"/>
          </ac:spMkLst>
        </pc:spChg>
        <pc:spChg chg="add del mod ord replST">
          <ac:chgData name="Joelle Brehm" userId="a518f54c-6985-42c0-8041-2bb16a414839" providerId="ADAL" clId="{5C7B1B84-DD23-48EC-A567-B295FAD2ABAF}" dt="2023-11-08T16:59:45.980" v="41669"/>
          <ac:spMkLst>
            <pc:docMk/>
            <pc:sldMk cId="3959601197" sldId="285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6:59:46.028" v="41753"/>
          <ac:spMkLst>
            <pc:docMk/>
            <pc:sldMk cId="3959601197" sldId="285"/>
            <ac:spMk id="55" creationId="{DDF26691-532E-9586-269C-45C08219B4F3}"/>
          </ac:spMkLst>
        </pc:spChg>
        <pc:spChg chg="add del mod modVis">
          <ac:chgData name="Joelle Brehm" userId="a518f54c-6985-42c0-8041-2bb16a414839" providerId="ADAL" clId="{5C7B1B84-DD23-48EC-A567-B295FAD2ABAF}" dt="2023-11-08T16:59:49.055" v="42168"/>
          <ac:spMkLst>
            <pc:docMk/>
            <pc:sldMk cId="3959601197" sldId="285"/>
            <ac:spMk id="57" creationId="{217ECFC9-B968-1C08-FB2A-FFF117A6C180}"/>
          </ac:spMkLst>
        </pc:spChg>
        <pc:spChg chg="add del mod ord replST">
          <ac:chgData name="Joelle Brehm" userId="a518f54c-6985-42c0-8041-2bb16a414839" providerId="ADAL" clId="{5C7B1B84-DD23-48EC-A567-B295FAD2ABAF}" dt="2023-11-08T17:00:06.545" v="43306"/>
          <ac:spMkLst>
            <pc:docMk/>
            <pc:sldMk cId="3959601197" sldId="285"/>
            <ac:spMk id="58" creationId="{7CAA3B95-4C78-4122-BECA-B5FB0F3F3764}"/>
          </ac:spMkLst>
        </pc:spChg>
        <pc:spChg chg="add del mod ord replST">
          <ac:chgData name="Joelle Brehm" userId="a518f54c-6985-42c0-8041-2bb16a414839" providerId="ADAL" clId="{5C7B1B84-DD23-48EC-A567-B295FAD2ABAF}" dt="2023-11-08T16:59:52.452" v="42228"/>
          <ac:spMkLst>
            <pc:docMk/>
            <pc:sldMk cId="3959601197" sldId="285"/>
            <ac:spMk id="59" creationId="{7CAA3B95-4C78-4122-BECA-B5FB0F3F3764}"/>
          </ac:spMkLst>
        </pc:spChg>
        <pc:spChg chg="add del mod ord replST">
          <ac:chgData name="Joelle Brehm" userId="a518f54c-6985-42c0-8041-2bb16a414839" providerId="ADAL" clId="{5C7B1B84-DD23-48EC-A567-B295FAD2ABAF}" dt="2023-11-08T17:00:01.744" v="42955"/>
          <ac:spMkLst>
            <pc:docMk/>
            <pc:sldMk cId="3959601197" sldId="285"/>
            <ac:spMk id="60" creationId="{7CAA3B95-4C78-4122-BECA-B5FB0F3F3764}"/>
          </ac:spMkLst>
        </pc:spChg>
        <pc:spChg chg="add del mod ord replST">
          <ac:chgData name="Joelle Brehm" userId="a518f54c-6985-42c0-8041-2bb16a414839" providerId="ADAL" clId="{5C7B1B84-DD23-48EC-A567-B295FAD2ABAF}" dt="2023-11-08T16:59:54.968" v="42377"/>
          <ac:spMkLst>
            <pc:docMk/>
            <pc:sldMk cId="3959601197" sldId="285"/>
            <ac:spMk id="61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6:59:52.509" v="42318"/>
          <ac:spMkLst>
            <pc:docMk/>
            <pc:sldMk cId="3959601197" sldId="285"/>
            <ac:spMk id="63" creationId="{22631571-8B30-9146-158E-798A9C0DF12E}"/>
          </ac:spMkLst>
        </pc:spChg>
        <pc:spChg chg="add del mod modVis">
          <ac:chgData name="Joelle Brehm" userId="a518f54c-6985-42c0-8041-2bb16a414839" providerId="ADAL" clId="{5C7B1B84-DD23-48EC-A567-B295FAD2ABAF}" dt="2023-11-08T16:59:55.025" v="42465"/>
          <ac:spMkLst>
            <pc:docMk/>
            <pc:sldMk cId="3959601197" sldId="285"/>
            <ac:spMk id="65" creationId="{131C9FC8-BC1B-E6CA-2D21-224686C4456F}"/>
          </ac:spMkLst>
        </pc:spChg>
        <pc:spChg chg="add del mod modVis">
          <ac:chgData name="Joelle Brehm" userId="a518f54c-6985-42c0-8041-2bb16a414839" providerId="ADAL" clId="{5C7B1B84-DD23-48EC-A567-B295FAD2ABAF}" dt="2023-11-08T16:59:57.715" v="42712"/>
          <ac:spMkLst>
            <pc:docMk/>
            <pc:sldMk cId="3959601197" sldId="285"/>
            <ac:spMk id="67" creationId="{41B8CED1-2F7F-528B-8951-028F208A78BD}"/>
          </ac:spMkLst>
        </pc:spChg>
        <pc:spChg chg="add del mod modVis">
          <ac:chgData name="Joelle Brehm" userId="a518f54c-6985-42c0-8041-2bb16a414839" providerId="ADAL" clId="{5C7B1B84-DD23-48EC-A567-B295FAD2ABAF}" dt="2023-11-08T17:00:01.803" v="43052"/>
          <ac:spMkLst>
            <pc:docMk/>
            <pc:sldMk cId="3959601197" sldId="285"/>
            <ac:spMk id="69" creationId="{CB91D577-FADD-0C60-B402-F67BF6FA8F46}"/>
          </ac:spMkLst>
        </pc:spChg>
        <pc:spChg chg="add del mod modVis">
          <ac:chgData name="Joelle Brehm" userId="a518f54c-6985-42c0-8041-2bb16a414839" providerId="ADAL" clId="{5C7B1B84-DD23-48EC-A567-B295FAD2ABAF}" dt="2023-11-08T17:00:02.687" v="43249"/>
          <ac:spMkLst>
            <pc:docMk/>
            <pc:sldMk cId="3959601197" sldId="285"/>
            <ac:spMk id="71" creationId="{3724E43E-62B5-4910-EE4E-DDF34D0E2A2B}"/>
          </ac:spMkLst>
        </pc:spChg>
        <pc:spChg chg="add del mod modVis">
          <ac:chgData name="Joelle Brehm" userId="a518f54c-6985-42c0-8041-2bb16a414839" providerId="ADAL" clId="{5C7B1B84-DD23-48EC-A567-B295FAD2ABAF}" dt="2023-11-08T17:00:06.591" v="43390"/>
          <ac:spMkLst>
            <pc:docMk/>
            <pc:sldMk cId="3959601197" sldId="285"/>
            <ac:spMk id="73" creationId="{15FC3BB1-B618-A0E3-AB07-AD6338B72CF1}"/>
          </ac:spMkLst>
        </pc:spChg>
        <pc:spChg chg="mod">
          <ac:chgData name="Joelle Brehm" userId="a518f54c-6985-42c0-8041-2bb16a414839" providerId="ADAL" clId="{5C7B1B84-DD23-48EC-A567-B295FAD2ABAF}" dt="2023-11-08T17:00:10.957" v="43530"/>
          <ac:spMkLst>
            <pc:docMk/>
            <pc:sldMk cId="3959601197" sldId="285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5C7B1B84-DD23-48EC-A567-B295FAD2ABAF}" dt="2023-11-08T17:00:10.975" v="43578"/>
          <ac:spMkLst>
            <pc:docMk/>
            <pc:sldMk cId="3959601197" sldId="285"/>
            <ac:spMk id="76" creationId="{83282C04-4934-065F-A2E4-F6A12EF78BF4}"/>
          </ac:spMkLst>
        </pc:spChg>
        <pc:spChg chg="mod ord">
          <ac:chgData name="Joelle Brehm" userId="a518f54c-6985-42c0-8041-2bb16a414839" providerId="ADAL" clId="{5C7B1B84-DD23-48EC-A567-B295FAD2ABAF}" dt="2023-11-08T17:00:10.963" v="43551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7:00:10.964" v="43553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7:00:10.971" v="43572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5C7B1B84-DD23-48EC-A567-B295FAD2ABAF}" dt="2023-11-08T17:00:10.965" v="43555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7:00:10.965" v="43557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7:00:10.967" v="43559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7:00:10.968" v="43561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7:00:10.969" v="43564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00:10.970" v="43565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00:10.970" v="43566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00:10.970" v="43567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7:00:10.970" v="43568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7:00:10.990" v="43580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00:10.950" v="43510"/>
          <ac:graphicFrameMkLst>
            <pc:docMk/>
            <pc:sldMk cId="3959601197" sldId="285"/>
            <ac:graphicFrameMk id="8" creationId="{0A18CBFC-C8D1-E754-A773-B43C019E807F}"/>
          </ac:graphicFrameMkLst>
        </pc:graphicFrameChg>
        <pc:graphicFrameChg chg="del">
          <ac:chgData name="Joelle Brehm" userId="a518f54c-6985-42c0-8041-2bb16a414839" providerId="ADAL" clId="{5C7B1B84-DD23-48EC-A567-B295FAD2ABAF}" dt="2023-11-08T16:59:08.240" v="40569"/>
          <ac:graphicFrameMkLst>
            <pc:docMk/>
            <pc:sldMk cId="3959601197" sldId="285"/>
            <ac:graphicFrameMk id="31" creationId="{4E408ADD-7F84-F7FC-3216-E200FC47B5C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59:38.017" v="41251"/>
          <ac:graphicFrameMkLst>
            <pc:docMk/>
            <pc:sldMk cId="3959601197" sldId="285"/>
            <ac:graphicFrameMk id="46" creationId="{091450EA-DEEE-91BF-4149-B9D155658E2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59:40.584" v="41515"/>
          <ac:graphicFrameMkLst>
            <pc:docMk/>
            <pc:sldMk cId="3959601197" sldId="285"/>
            <ac:graphicFrameMk id="49" creationId="{62B3FC89-4E23-2F52-110B-B27CCD51F759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6:59:36.346" v="41081"/>
          <ac:graphicFrameMkLst>
            <pc:docMk/>
            <pc:sldMk cId="3959601197" sldId="285"/>
            <ac:graphicFrameMk id="51" creationId="{13232E72-FD7B-9CF1-48CE-359FFB2AB6BA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00:10.915" v="43496"/>
          <ac:graphicFrameMkLst>
            <pc:docMk/>
            <pc:sldMk cId="3959601197" sldId="285"/>
            <ac:graphicFrameMk id="53" creationId="{33666DF2-88C1-1E88-8267-32B3F81B95A5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59:45.982" v="41671"/>
          <ac:graphicFrameMkLst>
            <pc:docMk/>
            <pc:sldMk cId="3959601197" sldId="285"/>
            <ac:graphicFrameMk id="54" creationId="{6A025B8C-CDEC-2277-AD83-42D20924383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59:48.994" v="42072"/>
          <ac:graphicFrameMkLst>
            <pc:docMk/>
            <pc:sldMk cId="3959601197" sldId="285"/>
            <ac:graphicFrameMk id="56" creationId="{55162B17-A94F-8059-4D25-17311452BE3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59:52.453" v="42230"/>
          <ac:graphicFrameMkLst>
            <pc:docMk/>
            <pc:sldMk cId="3959601197" sldId="285"/>
            <ac:graphicFrameMk id="62" creationId="{FD2D19EE-4701-4920-3E42-55201239BE3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6:59:54.969" v="42379"/>
          <ac:graphicFrameMkLst>
            <pc:docMk/>
            <pc:sldMk cId="3959601197" sldId="285"/>
            <ac:graphicFrameMk id="64" creationId="{AFA1A865-A41F-15B0-EDA2-3EC19EB1E49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0:01.745" v="42957"/>
          <ac:graphicFrameMkLst>
            <pc:docMk/>
            <pc:sldMk cId="3959601197" sldId="285"/>
            <ac:graphicFrameMk id="66" creationId="{B7CF2FC6-D774-949A-C0A0-FDDAE4E9FC25}"/>
          </ac:graphicFrameMkLst>
        </pc:graphicFrameChg>
        <pc:graphicFrameChg chg="add mod ord replST delST">
          <ac:chgData name="Joelle Brehm" userId="a518f54c-6985-42c0-8041-2bb16a414839" providerId="ADAL" clId="{5C7B1B84-DD23-48EC-A567-B295FAD2ABAF}" dt="2023-11-08T16:59:57.715" v="42712"/>
          <ac:graphicFrameMkLst>
            <pc:docMk/>
            <pc:sldMk cId="3959601197" sldId="285"/>
            <ac:graphicFrameMk id="68" creationId="{908E1A46-CABA-6BA8-7EE2-56470B429C8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0:02.636" v="43165"/>
          <ac:graphicFrameMkLst>
            <pc:docMk/>
            <pc:sldMk cId="3959601197" sldId="285"/>
            <ac:graphicFrameMk id="70" creationId="{5F648ACB-7EDB-4EEC-A0E7-B32F7A2D78F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0:06.547" v="43308"/>
          <ac:graphicFrameMkLst>
            <pc:docMk/>
            <pc:sldMk cId="3959601197" sldId="285"/>
            <ac:graphicFrameMk id="72" creationId="{C2084A23-A72B-06A4-2660-2CFFC7B3968A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00:10.959" v="43537"/>
          <ac:graphicFrameMkLst>
            <pc:docMk/>
            <pc:sldMk cId="3959601197" sldId="285"/>
            <ac:graphicFrameMk id="75" creationId="{79CE6B05-278F-3354-73B9-808A576A79E8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00:10.969" v="43563"/>
          <ac:graphicFrameMkLst>
            <pc:docMk/>
            <pc:sldMk cId="3959601197" sldId="285"/>
            <ac:graphicFrameMk id="77" creationId="{F36982BF-813F-4785-EDC6-E759A266B665}"/>
          </ac:graphicFrameMkLst>
        </pc:graphicFrameChg>
        <pc:picChg chg="add mod ord">
          <ac:chgData name="Joelle Brehm" userId="a518f54c-6985-42c0-8041-2bb16a414839" providerId="ADAL" clId="{5C7B1B84-DD23-48EC-A567-B295FAD2ABAF}" dt="2023-11-08T17:00:10.949" v="43504"/>
          <ac:picMkLst>
            <pc:docMk/>
            <pc:sldMk cId="3959601197" sldId="285"/>
            <ac:picMk id="10" creationId="{10DBFD40-D10B-5F68-2688-5CC69C42FF35}"/>
          </ac:picMkLst>
        </pc:picChg>
        <pc:picChg chg="del mod ord">
          <ac:chgData name="Joelle Brehm" userId="a518f54c-6985-42c0-8041-2bb16a414839" providerId="ADAL" clId="{5C7B1B84-DD23-48EC-A567-B295FAD2ABAF}" dt="2023-11-08T16:59:27.949" v="40766" actId="478"/>
          <ac:picMkLst>
            <pc:docMk/>
            <pc:sldMk cId="3959601197" sldId="285"/>
            <ac:picMk id="36" creationId="{2CEDCCE0-ADF6-854E-007B-E8603655CA0B}"/>
          </ac:picMkLst>
        </pc:picChg>
        <pc:picChg chg="mod ord">
          <ac:chgData name="Joelle Brehm" userId="a518f54c-6985-42c0-8041-2bb16a414839" providerId="ADAL" clId="{5C7B1B84-DD23-48EC-A567-B295FAD2ABAF}" dt="2023-11-08T17:00:10.971" v="43570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7:00:10.950" v="43508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7:01:28.744" v="45870"/>
        <pc:sldMkLst>
          <pc:docMk/>
          <pc:sldMk cId="3093897313" sldId="286"/>
        </pc:sldMkLst>
        <pc:spChg chg="mod ord">
          <ac:chgData name="Joelle Brehm" userId="a518f54c-6985-42c0-8041-2bb16a414839" providerId="ADAL" clId="{5C7B1B84-DD23-48EC-A567-B295FAD2ABAF}" dt="2023-11-08T17:01:28.728" v="45864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5C7B1B84-DD23-48EC-A567-B295FAD2ABAF}" dt="2023-11-08T17:00:23.809" v="43581" actId="478"/>
          <ac:spMkLst>
            <pc:docMk/>
            <pc:sldMk cId="3093897313" sldId="286"/>
            <ac:spMk id="3" creationId="{0019F5F4-F0E9-E282-AACD-692D9390C210}"/>
          </ac:spMkLst>
        </pc:spChg>
        <pc:spChg chg="add del mod modVis">
          <ac:chgData name="Joelle Brehm" userId="a518f54c-6985-42c0-8041-2bb16a414839" providerId="ADAL" clId="{5C7B1B84-DD23-48EC-A567-B295FAD2ABAF}" dt="2023-11-08T17:00:27.790" v="43822"/>
          <ac:spMkLst>
            <pc:docMk/>
            <pc:sldMk cId="3093897313" sldId="286"/>
            <ac:spMk id="5" creationId="{AE9E48A9-5128-26B4-A8E6-1C4CCD8CD34D}"/>
          </ac:spMkLst>
        </pc:spChg>
        <pc:spChg chg="mod ord">
          <ac:chgData name="Joelle Brehm" userId="a518f54c-6985-42c0-8041-2bb16a414839" providerId="ADAL" clId="{5C7B1B84-DD23-48EC-A567-B295FAD2ABAF}" dt="2023-11-08T17:01:28.702" v="45796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7:01:28.714" v="45831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5C7B1B84-DD23-48EC-A567-B295FAD2ABAF}" dt="2023-11-08T17:01:28.705" v="45807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7:01:28.704" v="45803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7:01:28.704" v="45804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7:01:28.703" v="45801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7:01:28.704" v="45802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7:01:28.705" v="45805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7:01:28.705" v="45806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7:01:28.706" v="45808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7:01:28.706" v="45809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7:01:28.706" v="45810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7:01:28.707" v="45811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7:01:28.707" v="45812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7:01:28.708" v="45814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7:01:28.709" v="45817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7:01:28.710" v="45819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7:01:28.709" v="45818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7:01:28.710" v="45822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7:01:28.711" v="45823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7:01:28.710" v="45821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7:01:28.711" v="45825"/>
          <ac:spMkLst>
            <pc:docMk/>
            <pc:sldMk cId="3093897313" sldId="286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5C7B1B84-DD23-48EC-A567-B295FAD2ABAF}" dt="2023-11-08T17:01:28.719" v="45839"/>
          <ac:spMkLst>
            <pc:docMk/>
            <pc:sldMk cId="3093897313" sldId="286"/>
            <ac:spMk id="32" creationId="{C8E615F0-CA56-2254-DC6C-F9BA32C5557A}"/>
          </ac:spMkLst>
        </pc:spChg>
        <pc:spChg chg="mod">
          <ac:chgData name="Joelle Brehm" userId="a518f54c-6985-42c0-8041-2bb16a414839" providerId="ADAL" clId="{5C7B1B84-DD23-48EC-A567-B295FAD2ABAF}" dt="2023-11-08T17:01:28.713" v="45829"/>
          <ac:spMkLst>
            <pc:docMk/>
            <pc:sldMk cId="3093897313" sldId="286"/>
            <ac:spMk id="33" creationId="{1334CF39-A6F8-7069-C022-3F7175A20401}"/>
          </ac:spMkLst>
        </pc:spChg>
        <pc:spChg chg="del mod">
          <ac:chgData name="Joelle Brehm" userId="a518f54c-6985-42c0-8041-2bb16a414839" providerId="ADAL" clId="{5C7B1B84-DD23-48EC-A567-B295FAD2ABAF}" dt="2023-11-08T17:00:54.534" v="44613"/>
          <ac:spMkLst>
            <pc:docMk/>
            <pc:sldMk cId="3093897313" sldId="286"/>
            <ac:spMk id="34" creationId="{99F86B53-3C14-F4B7-5920-953490F3E4CD}"/>
          </ac:spMkLst>
        </pc:spChg>
        <pc:spChg chg="mod">
          <ac:chgData name="Joelle Brehm" userId="a518f54c-6985-42c0-8041-2bb16a414839" providerId="ADAL" clId="{5C7B1B84-DD23-48EC-A567-B295FAD2ABAF}" dt="2023-11-08T17:01:28.713" v="45830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5C7B1B84-DD23-48EC-A567-B295FAD2ABAF}" dt="2023-11-08T17:01:28.709" v="45816"/>
          <ac:spMkLst>
            <pc:docMk/>
            <pc:sldMk cId="3093897313" sldId="286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5C7B1B84-DD23-48EC-A567-B295FAD2ABAF}" dt="2023-11-08T17:00:50.197" v="44427"/>
          <ac:spMkLst>
            <pc:docMk/>
            <pc:sldMk cId="3093897313" sldId="286"/>
            <ac:spMk id="38" creationId="{36A266ED-AE73-1A70-A7A6-E95153DC6040}"/>
          </ac:spMkLst>
        </pc:spChg>
        <pc:spChg chg="mod">
          <ac:chgData name="Joelle Brehm" userId="a518f54c-6985-42c0-8041-2bb16a414839" providerId="ADAL" clId="{5C7B1B84-DD23-48EC-A567-B295FAD2ABAF}" dt="2023-11-08T17:01:28.717" v="45835"/>
          <ac:spMkLst>
            <pc:docMk/>
            <pc:sldMk cId="3093897313" sldId="286"/>
            <ac:spMk id="39" creationId="{148BD74F-B08A-D055-2827-72B7638D08C5}"/>
          </ac:spMkLst>
        </pc:spChg>
        <pc:spChg chg="mod">
          <ac:chgData name="Joelle Brehm" userId="a518f54c-6985-42c0-8041-2bb16a414839" providerId="ADAL" clId="{5C7B1B84-DD23-48EC-A567-B295FAD2ABAF}" dt="2023-11-08T17:01:28.712" v="45828"/>
          <ac:spMkLst>
            <pc:docMk/>
            <pc:sldMk cId="3093897313" sldId="286"/>
            <ac:spMk id="40" creationId="{C9855917-BD95-0D5A-6B07-14EBAD7B2828}"/>
          </ac:spMkLst>
        </pc:spChg>
        <pc:spChg chg="mod">
          <ac:chgData name="Joelle Brehm" userId="a518f54c-6985-42c0-8041-2bb16a414839" providerId="ADAL" clId="{5C7B1B84-DD23-48EC-A567-B295FAD2ABAF}" dt="2023-11-08T17:01:28.717" v="45836"/>
          <ac:spMkLst>
            <pc:docMk/>
            <pc:sldMk cId="3093897313" sldId="286"/>
            <ac:spMk id="41" creationId="{FA3F9D1B-56DF-7D88-3CCF-9C83CF37CE74}"/>
          </ac:spMkLst>
        </pc:spChg>
        <pc:spChg chg="mod">
          <ac:chgData name="Joelle Brehm" userId="a518f54c-6985-42c0-8041-2bb16a414839" providerId="ADAL" clId="{5C7B1B84-DD23-48EC-A567-B295FAD2ABAF}" dt="2023-11-08T17:01:28.715" v="45832"/>
          <ac:spMkLst>
            <pc:docMk/>
            <pc:sldMk cId="3093897313" sldId="286"/>
            <ac:spMk id="42" creationId="{D859979A-C7CC-20E7-C4CA-F18D382485A8}"/>
          </ac:spMkLst>
        </pc:spChg>
        <pc:spChg chg="mod">
          <ac:chgData name="Joelle Brehm" userId="a518f54c-6985-42c0-8041-2bb16a414839" providerId="ADAL" clId="{5C7B1B84-DD23-48EC-A567-B295FAD2ABAF}" dt="2023-11-08T17:01:28.718" v="45837"/>
          <ac:spMkLst>
            <pc:docMk/>
            <pc:sldMk cId="3093897313" sldId="286"/>
            <ac:spMk id="43" creationId="{4123BF06-FBEE-9624-4928-4F1CA3AC4FBB}"/>
          </ac:spMkLst>
        </pc:spChg>
        <pc:spChg chg="mod">
          <ac:chgData name="Joelle Brehm" userId="a518f54c-6985-42c0-8041-2bb16a414839" providerId="ADAL" clId="{5C7B1B84-DD23-48EC-A567-B295FAD2ABAF}" dt="2023-11-08T17:01:28.715" v="45833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5C7B1B84-DD23-48EC-A567-B295FAD2ABAF}" dt="2023-11-08T17:01:28.716" v="45834"/>
          <ac:spMkLst>
            <pc:docMk/>
            <pc:sldMk cId="3093897313" sldId="286"/>
            <ac:spMk id="45" creationId="{0F9CEF9A-7834-B39E-CB12-DD7EDCF963B1}"/>
          </ac:spMkLst>
        </pc:spChg>
        <pc:spChg chg="add del mod ord replST">
          <ac:chgData name="Joelle Brehm" userId="a518f54c-6985-42c0-8041-2bb16a414839" providerId="ADAL" clId="{5C7B1B84-DD23-48EC-A567-B295FAD2ABAF}" dt="2023-11-08T17:01:00.880" v="45094"/>
          <ac:spMkLst>
            <pc:docMk/>
            <pc:sldMk cId="3093897313" sldId="286"/>
            <ac:spMk id="46" creationId="{7CAA3B95-4C78-4122-BECA-B5FB0F3F3764}"/>
          </ac:spMkLst>
        </pc:spChg>
        <pc:spChg chg="add del mod ord replST">
          <ac:chgData name="Joelle Brehm" userId="a518f54c-6985-42c0-8041-2bb16a414839" providerId="ADAL" clId="{5C7B1B84-DD23-48EC-A567-B295FAD2ABAF}" dt="2023-11-08T17:01:04.185" v="45261"/>
          <ac:spMkLst>
            <pc:docMk/>
            <pc:sldMk cId="3093897313" sldId="286"/>
            <ac:spMk id="4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01:28.718" v="45838"/>
          <ac:spMkLst>
            <pc:docMk/>
            <pc:sldMk cId="3093897313" sldId="286"/>
            <ac:spMk id="49" creationId="{E1413394-7EF3-221F-2D8D-F13494FCD19F}"/>
          </ac:spMkLst>
        </pc:spChg>
        <pc:spChg chg="add del mod modVis">
          <ac:chgData name="Joelle Brehm" userId="a518f54c-6985-42c0-8041-2bb16a414839" providerId="ADAL" clId="{5C7B1B84-DD23-48EC-A567-B295FAD2ABAF}" dt="2023-11-08T17:00:52.784" v="44610"/>
          <ac:spMkLst>
            <pc:docMk/>
            <pc:sldMk cId="3093897313" sldId="286"/>
            <ac:spMk id="51" creationId="{0943F1D6-C4ED-8644-F761-4F5ECD2D24AA}"/>
          </ac:spMkLst>
        </pc:spChg>
        <pc:spChg chg="add del mod modVis">
          <ac:chgData name="Joelle Brehm" userId="a518f54c-6985-42c0-8041-2bb16a414839" providerId="ADAL" clId="{5C7B1B84-DD23-48EC-A567-B295FAD2ABAF}" dt="2023-11-08T17:00:54.853" v="44885"/>
          <ac:spMkLst>
            <pc:docMk/>
            <pc:sldMk cId="3093897313" sldId="286"/>
            <ac:spMk id="53" creationId="{C6ECC8CC-441E-8E6F-7A73-93D5A9F44C75}"/>
          </ac:spMkLst>
        </pc:spChg>
        <pc:spChg chg="add del mod ord replST">
          <ac:chgData name="Joelle Brehm" userId="a518f54c-6985-42c0-8041-2bb16a414839" providerId="ADAL" clId="{5C7B1B84-DD23-48EC-A567-B295FAD2ABAF}" dt="2023-11-08T17:00:58.024" v="44946"/>
          <ac:spMkLst>
            <pc:docMk/>
            <pc:sldMk cId="3093897313" sldId="286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7:00:58.072" v="45034"/>
          <ac:spMkLst>
            <pc:docMk/>
            <pc:sldMk cId="3093897313" sldId="286"/>
            <ac:spMk id="56" creationId="{BB324936-10A7-A280-7F80-92BBA9EF508A}"/>
          </ac:spMkLst>
        </pc:spChg>
        <pc:spChg chg="add del mod modVis">
          <ac:chgData name="Joelle Brehm" userId="a518f54c-6985-42c0-8041-2bb16a414839" providerId="ADAL" clId="{5C7B1B84-DD23-48EC-A567-B295FAD2ABAF}" dt="2023-11-08T17:01:00.928" v="45180"/>
          <ac:spMkLst>
            <pc:docMk/>
            <pc:sldMk cId="3093897313" sldId="286"/>
            <ac:spMk id="58" creationId="{42023BA1-0A4C-A4A3-5818-08276DBAF1C9}"/>
          </ac:spMkLst>
        </pc:spChg>
        <pc:spChg chg="add del mod modVis">
          <ac:chgData name="Joelle Brehm" userId="a518f54c-6985-42c0-8041-2bb16a414839" providerId="ADAL" clId="{5C7B1B84-DD23-48EC-A567-B295FAD2ABAF}" dt="2023-11-08T17:01:04.235" v="45347"/>
          <ac:spMkLst>
            <pc:docMk/>
            <pc:sldMk cId="3093897313" sldId="286"/>
            <ac:spMk id="61" creationId="{F00B7858-C020-3F97-63C8-3DBE4DA6520D}"/>
          </ac:spMkLst>
        </pc:spChg>
        <pc:spChg chg="add del mod modVis">
          <ac:chgData name="Joelle Brehm" userId="a518f54c-6985-42c0-8041-2bb16a414839" providerId="ADAL" clId="{5C7B1B84-DD23-48EC-A567-B295FAD2ABAF}" dt="2023-11-08T17:01:12.919" v="45544"/>
          <ac:spMkLst>
            <pc:docMk/>
            <pc:sldMk cId="3093897313" sldId="286"/>
            <ac:spMk id="63" creationId="{94B7A104-E4DA-1B9F-3C6E-C8A2EE125244}"/>
          </ac:spMkLst>
        </pc:spChg>
        <pc:spChg chg="add del mod modVis">
          <ac:chgData name="Joelle Brehm" userId="a518f54c-6985-42c0-8041-2bb16a414839" providerId="ADAL" clId="{5C7B1B84-DD23-48EC-A567-B295FAD2ABAF}" dt="2023-11-08T17:01:28.729" v="45868"/>
          <ac:spMkLst>
            <pc:docMk/>
            <pc:sldMk cId="3093897313" sldId="286"/>
            <ac:spMk id="66" creationId="{71EA183A-FD02-4EFB-8786-FDF11CC58750}"/>
          </ac:spMkLst>
        </pc:spChg>
        <pc:spChg chg="mod">
          <ac:chgData name="Joelle Brehm" userId="a518f54c-6985-42c0-8041-2bb16a414839" providerId="ADAL" clId="{5C7B1B84-DD23-48EC-A567-B295FAD2ABAF}" dt="2023-11-08T17:01:28.710" v="45820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5C7B1B84-DD23-48EC-A567-B295FAD2ABAF}" dt="2023-11-08T17:01:28.720" v="45841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7:01:28.720" v="45843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7:01:28.727" v="45862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5C7B1B84-DD23-48EC-A567-B295FAD2ABAF}" dt="2023-11-08T17:01:28.721" v="45845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7:01:28.722" v="45847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7:01:28.722" v="45849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7:01:28.723" v="45851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7:01:28.724" v="45854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01:28.724" v="45855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01:28.725" v="45856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01:28.726" v="45857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7:01:28.726" v="45858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7:01:28.744" v="45870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01:28.703" v="45800"/>
          <ac:graphicFrameMkLst>
            <pc:docMk/>
            <pc:sldMk cId="3093897313" sldId="286"/>
            <ac:graphicFrameMk id="8" creationId="{6065C3E7-05F6-6C41-D7C8-3FEC8AD4EAF8}"/>
          </ac:graphicFrameMkLst>
        </pc:graphicFrameChg>
        <pc:graphicFrameChg chg="del">
          <ac:chgData name="Joelle Brehm" userId="a518f54c-6985-42c0-8041-2bb16a414839" providerId="ADAL" clId="{5C7B1B84-DD23-48EC-A567-B295FAD2ABAF}" dt="2023-11-08T17:00:27.683" v="43718"/>
          <ac:graphicFrameMkLst>
            <pc:docMk/>
            <pc:sldMk cId="3093897313" sldId="286"/>
            <ac:graphicFrameMk id="31" creationId="{16B3A9F3-72A9-C163-9F49-1FB7882AEB0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01:12.853" v="45462"/>
          <ac:graphicFrameMkLst>
            <pc:docMk/>
            <pc:sldMk cId="3093897313" sldId="286"/>
            <ac:graphicFrameMk id="48" creationId="{5259C4C5-020E-A3E6-241D-68E2E27A453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0:52.694" v="44510"/>
          <ac:graphicFrameMkLst>
            <pc:docMk/>
            <pc:sldMk cId="3093897313" sldId="286"/>
            <ac:graphicFrameMk id="50" creationId="{581A978B-5E69-4A0C-F441-36976895749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0:54.770" v="44784"/>
          <ac:graphicFrameMkLst>
            <pc:docMk/>
            <pc:sldMk cId="3093897313" sldId="286"/>
            <ac:graphicFrameMk id="52" creationId="{F6CAC11E-6B70-A39C-9791-A640CC877BA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0:58.026" v="44948"/>
          <ac:graphicFrameMkLst>
            <pc:docMk/>
            <pc:sldMk cId="3093897313" sldId="286"/>
            <ac:graphicFrameMk id="55" creationId="{72AD4A4A-BA06-84C1-4274-070A728F421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1:00.882" v="45096"/>
          <ac:graphicFrameMkLst>
            <pc:docMk/>
            <pc:sldMk cId="3093897313" sldId="286"/>
            <ac:graphicFrameMk id="57" creationId="{28E06E33-3222-87E9-82A0-318D149FC7D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00:50.135" v="44332"/>
          <ac:graphicFrameMkLst>
            <pc:docMk/>
            <pc:sldMk cId="3093897313" sldId="286"/>
            <ac:graphicFrameMk id="59" creationId="{21469785-68F2-594A-A853-5BD9F788A41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1:04.187" v="45265"/>
          <ac:graphicFrameMkLst>
            <pc:docMk/>
            <pc:sldMk cId="3093897313" sldId="286"/>
            <ac:graphicFrameMk id="60" creationId="{24B01C7C-031C-1460-5E65-DD0EAC23BDF2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01:28.712" v="45827"/>
          <ac:graphicFrameMkLst>
            <pc:docMk/>
            <pc:sldMk cId="3093897313" sldId="286"/>
            <ac:graphicFrameMk id="62" creationId="{2BF30C0A-ADCD-CF44-8C71-8CCB2D3B370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01:28.666" v="45786"/>
          <ac:graphicFrameMkLst>
            <pc:docMk/>
            <pc:sldMk cId="3093897313" sldId="286"/>
            <ac:graphicFrameMk id="64" creationId="{F7C6743B-B59C-0ED9-F707-492F1B622697}"/>
          </ac:graphicFrameMkLst>
        </pc:graphicFrameChg>
        <pc:graphicFrameChg chg="add mod ord replST delST">
          <ac:chgData name="Joelle Brehm" userId="a518f54c-6985-42c0-8041-2bb16a414839" providerId="ADAL" clId="{5C7B1B84-DD23-48EC-A567-B295FAD2ABAF}" dt="2023-11-08T17:01:20.136" v="45685"/>
          <ac:graphicFrameMkLst>
            <pc:docMk/>
            <pc:sldMk cId="3093897313" sldId="286"/>
            <ac:graphicFrameMk id="65" creationId="{DE2B4D08-0933-A355-622E-25F11A555727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01:28.723" v="45853"/>
          <ac:graphicFrameMkLst>
            <pc:docMk/>
            <pc:sldMk cId="3093897313" sldId="286"/>
            <ac:graphicFrameMk id="67" creationId="{686C7DFC-9985-D3AA-4063-09E62523DFBC}"/>
          </ac:graphicFrameMkLst>
        </pc:graphicFrameChg>
        <pc:picChg chg="add mod ord">
          <ac:chgData name="Joelle Brehm" userId="a518f54c-6985-42c0-8041-2bb16a414839" providerId="ADAL" clId="{5C7B1B84-DD23-48EC-A567-B295FAD2ABAF}" dt="2023-11-08T17:01:28.701" v="45794"/>
          <ac:picMkLst>
            <pc:docMk/>
            <pc:sldMk cId="3093897313" sldId="286"/>
            <ac:picMk id="9" creationId="{34B3B82E-7347-218A-6FE9-7C246DE2350F}"/>
          </ac:picMkLst>
        </pc:picChg>
        <pc:picChg chg="del mod ord">
          <ac:chgData name="Joelle Brehm" userId="a518f54c-6985-42c0-8041-2bb16a414839" providerId="ADAL" clId="{5C7B1B84-DD23-48EC-A567-B295FAD2ABAF}" dt="2023-11-08T17:00:40.445" v="43909" actId="478"/>
          <ac:picMkLst>
            <pc:docMk/>
            <pc:sldMk cId="3093897313" sldId="286"/>
            <ac:picMk id="35" creationId="{B02E5A57-01B4-D4BC-C109-877573B02802}"/>
          </ac:picMkLst>
        </pc:picChg>
        <pc:picChg chg="mod ord">
          <ac:chgData name="Joelle Brehm" userId="a518f54c-6985-42c0-8041-2bb16a414839" providerId="ADAL" clId="{5C7B1B84-DD23-48EC-A567-B295FAD2ABAF}" dt="2023-11-08T17:01:28.727" v="45860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7:01:28.702" v="45798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7:23:18.949" v="47147"/>
        <pc:sldMkLst>
          <pc:docMk/>
          <pc:sldMk cId="1459118046" sldId="288"/>
        </pc:sldMkLst>
        <pc:spChg chg="mod ord">
          <ac:chgData name="Joelle Brehm" userId="a518f54c-6985-42c0-8041-2bb16a414839" providerId="ADAL" clId="{5C7B1B84-DD23-48EC-A567-B295FAD2ABAF}" dt="2023-11-08T17:23:18.898" v="47111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5C7B1B84-DD23-48EC-A567-B295FAD2ABAF}" dt="2023-11-08T17:16:33.570" v="45871" actId="478"/>
          <ac:spMkLst>
            <pc:docMk/>
            <pc:sldMk cId="1459118046" sldId="288"/>
            <ac:spMk id="5" creationId="{B92A0F27-D924-C8E2-F5D8-FA88BA771683}"/>
          </ac:spMkLst>
        </pc:spChg>
        <pc:spChg chg="mod ord">
          <ac:chgData name="Joelle Brehm" userId="a518f54c-6985-42c0-8041-2bb16a414839" providerId="ADAL" clId="{5C7B1B84-DD23-48EC-A567-B295FAD2ABAF}" dt="2023-11-08T17:23:18.881" v="47073"/>
          <ac:spMkLst>
            <pc:docMk/>
            <pc:sldMk cId="1459118046" sldId="288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5C7B1B84-DD23-48EC-A567-B295FAD2ABAF}" dt="2023-11-08T17:22:36.353" v="46110"/>
          <ac:spMkLst>
            <pc:docMk/>
            <pc:sldMk cId="1459118046" sldId="288"/>
            <ac:spMk id="8" creationId="{8EDF016E-A5CC-224E-D4EE-9EA0095EE11A}"/>
          </ac:spMkLst>
        </pc:spChg>
        <pc:spChg chg="mod">
          <ac:chgData name="Joelle Brehm" userId="a518f54c-6985-42c0-8041-2bb16a414839" providerId="ADAL" clId="{5C7B1B84-DD23-48EC-A567-B295FAD2ABAF}" dt="2023-11-08T17:23:18.898" v="47092"/>
          <ac:spMkLst>
            <pc:docMk/>
            <pc:sldMk cId="1459118046" sldId="288"/>
            <ac:spMk id="10" creationId="{F330FDA5-01AA-960D-FADC-74B8E7D526E8}"/>
          </ac:spMkLst>
        </pc:spChg>
        <pc:spChg chg="del mod">
          <ac:chgData name="Joelle Brehm" userId="a518f54c-6985-42c0-8041-2bb16a414839" providerId="ADAL" clId="{5C7B1B84-DD23-48EC-A567-B295FAD2ABAF}" dt="2023-11-08T17:23:14.204" v="46773"/>
          <ac:spMkLst>
            <pc:docMk/>
            <pc:sldMk cId="1459118046" sldId="288"/>
            <ac:spMk id="13" creationId="{3F6C20EF-E32A-5D01-E3DC-3079317054CC}"/>
          </ac:spMkLst>
        </pc:spChg>
        <pc:spChg chg="mod">
          <ac:chgData name="Joelle Brehm" userId="a518f54c-6985-42c0-8041-2bb16a414839" providerId="ADAL" clId="{5C7B1B84-DD23-48EC-A567-B295FAD2ABAF}" dt="2023-11-08T17:23:18.898" v="47083"/>
          <ac:spMkLst>
            <pc:docMk/>
            <pc:sldMk cId="1459118046" sldId="288"/>
            <ac:spMk id="14" creationId="{25D946D5-9986-579D-41E4-6C10E6C340A5}"/>
          </ac:spMkLst>
        </pc:spChg>
        <pc:spChg chg="add mod replST">
          <ac:chgData name="Joelle Brehm" userId="a518f54c-6985-42c0-8041-2bb16a414839" providerId="ADAL" clId="{5C7B1B84-DD23-48EC-A567-B295FAD2ABAF}" dt="2023-11-08T17:23:18.898" v="47093"/>
          <ac:spMkLst>
            <pc:docMk/>
            <pc:sldMk cId="1459118046" sldId="288"/>
            <ac:spMk id="15" creationId="{D494E85D-4F3D-3204-35FB-2E48C65A19C6}"/>
          </ac:spMkLst>
        </pc:spChg>
        <pc:spChg chg="mod">
          <ac:chgData name="Joelle Brehm" userId="a518f54c-6985-42c0-8041-2bb16a414839" providerId="ADAL" clId="{5C7B1B84-DD23-48EC-A567-B295FAD2ABAF}" dt="2023-11-08T17:23:18.898" v="47085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5C7B1B84-DD23-48EC-A567-B295FAD2ABAF}" dt="2023-11-08T17:23:18.898" v="47082"/>
          <ac:spMkLst>
            <pc:docMk/>
            <pc:sldMk cId="1459118046" sldId="288"/>
            <ac:spMk id="17" creationId="{DBE0A1F6-A1CF-2057-B929-F159E2F0790D}"/>
          </ac:spMkLst>
        </pc:spChg>
        <pc:spChg chg="mod">
          <ac:chgData name="Joelle Brehm" userId="a518f54c-6985-42c0-8041-2bb16a414839" providerId="ADAL" clId="{5C7B1B84-DD23-48EC-A567-B295FAD2ABAF}" dt="2023-11-08T17:23:18.898" v="47090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5C7B1B84-DD23-48EC-A567-B295FAD2ABAF}" dt="2023-11-08T17:23:18.898" v="47084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5C7B1B84-DD23-48EC-A567-B295FAD2ABAF}" dt="2023-11-08T17:23:18.898" v="47091"/>
          <ac:spMkLst>
            <pc:docMk/>
            <pc:sldMk cId="1459118046" sldId="288"/>
            <ac:spMk id="20" creationId="{1E04F6C7-C5CE-0639-E6EE-4EA6F2501082}"/>
          </ac:spMkLst>
        </pc:spChg>
        <pc:spChg chg="mod">
          <ac:chgData name="Joelle Brehm" userId="a518f54c-6985-42c0-8041-2bb16a414839" providerId="ADAL" clId="{5C7B1B84-DD23-48EC-A567-B295FAD2ABAF}" dt="2023-11-08T17:23:18.898" v="47086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5C7B1B84-DD23-48EC-A567-B295FAD2ABAF}" dt="2023-11-08T17:23:18.898" v="47089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5C7B1B84-DD23-48EC-A567-B295FAD2ABAF}" dt="2023-11-08T17:23:18.898" v="47077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7:23:18.898" v="47087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5C7B1B84-DD23-48EC-A567-B295FAD2ABAF}" dt="2023-11-08T17:23:10.329" v="46597"/>
          <ac:spMkLst>
            <pc:docMk/>
            <pc:sldMk cId="1459118046" sldId="288"/>
            <ac:spMk id="26" creationId="{25204B97-B4BB-3CCC-D402-40C80D5767D6}"/>
          </ac:spMkLst>
        </pc:spChg>
        <pc:spChg chg="add del mod modVis">
          <ac:chgData name="Joelle Brehm" userId="a518f54c-6985-42c0-8041-2bb16a414839" providerId="ADAL" clId="{5C7B1B84-DD23-48EC-A567-B295FAD2ABAF}" dt="2023-11-08T17:23:12.124" v="46770"/>
          <ac:spMkLst>
            <pc:docMk/>
            <pc:sldMk cId="1459118046" sldId="288"/>
            <ac:spMk id="28" creationId="{9EA62D7C-98C4-BF11-9652-FCF1A2592E02}"/>
          </ac:spMkLst>
        </pc:spChg>
        <pc:spChg chg="mod ord">
          <ac:chgData name="Joelle Brehm" userId="a518f54c-6985-42c0-8041-2bb16a414839" providerId="ADAL" clId="{5C7B1B84-DD23-48EC-A567-B295FAD2ABAF}" dt="2023-11-08T17:23:18.898" v="47079"/>
          <ac:spMkLst>
            <pc:docMk/>
            <pc:sldMk cId="1459118046" sldId="28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5C7B1B84-DD23-48EC-A567-B295FAD2ABAF}" dt="2023-11-08T17:23:14.330" v="46952"/>
          <ac:spMkLst>
            <pc:docMk/>
            <pc:sldMk cId="1459118046" sldId="288"/>
            <ac:spMk id="31" creationId="{F6E30764-7493-133D-E372-AA855542AE2B}"/>
          </ac:spMkLst>
        </pc:spChg>
        <pc:spChg chg="mod">
          <ac:chgData name="Joelle Brehm" userId="a518f54c-6985-42c0-8041-2bb16a414839" providerId="ADAL" clId="{5C7B1B84-DD23-48EC-A567-B295FAD2ABAF}" dt="2023-11-08T17:23:18.898" v="47088"/>
          <ac:spMkLst>
            <pc:docMk/>
            <pc:sldMk cId="1459118046" sldId="288"/>
            <ac:spMk id="32" creationId="{B550E4F3-9753-AC19-5B37-AFDADA6A889D}"/>
          </ac:spMkLst>
        </pc:spChg>
        <pc:spChg chg="add mod replST">
          <ac:chgData name="Joelle Brehm" userId="a518f54c-6985-42c0-8041-2bb16a414839" providerId="ADAL" clId="{5C7B1B84-DD23-48EC-A567-B295FAD2ABAF}" dt="2023-11-08T17:23:18.922" v="47141"/>
          <ac:spMkLst>
            <pc:docMk/>
            <pc:sldMk cId="1459118046" sldId="288"/>
            <ac:spMk id="35" creationId="{6B934B86-5715-3E83-5B96-BD8EBE06A322}"/>
          </ac:spMkLst>
        </pc:spChg>
        <pc:spChg chg="add del mod modVis">
          <ac:chgData name="Joelle Brehm" userId="a518f54c-6985-42c0-8041-2bb16a414839" providerId="ADAL" clId="{5C7B1B84-DD23-48EC-A567-B295FAD2ABAF}" dt="2023-11-08T17:23:18.922" v="47145"/>
          <ac:spMkLst>
            <pc:docMk/>
            <pc:sldMk cId="1459118046" sldId="288"/>
            <ac:spMk id="36" creationId="{6A3124C4-B5D5-F340-D999-07BC00CDF30C}"/>
          </ac:spMkLst>
        </pc:spChg>
        <pc:spChg chg="mod ord">
          <ac:chgData name="Joelle Brehm" userId="a518f54c-6985-42c0-8041-2bb16a414839" providerId="ADAL" clId="{5C7B1B84-DD23-48EC-A567-B295FAD2ABAF}" dt="2023-11-08T17:23:18.898" v="47095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7:23:18.898" v="47097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5C7B1B84-DD23-48EC-A567-B295FAD2ABAF}" dt="2023-11-08T17:23:18.914" v="47125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5C7B1B84-DD23-48EC-A567-B295FAD2ABAF}" dt="2023-11-08T17:23:18.898" v="47114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5C7B1B84-DD23-48EC-A567-B295FAD2ABAF}" dt="2023-11-08T17:23:18.898" v="47109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5C7B1B84-DD23-48EC-A567-B295FAD2ABAF}" dt="2023-11-08T17:23:18.898" v="47120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5C7B1B84-DD23-48EC-A567-B295FAD2ABAF}" dt="2023-11-08T17:23:18.898" v="47115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5C7B1B84-DD23-48EC-A567-B295FAD2ABAF}" dt="2023-11-08T17:23:18.898" v="47119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5C7B1B84-DD23-48EC-A567-B295FAD2ABAF}" dt="2023-11-08T17:23:18.898" v="47099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5C7B1B84-DD23-48EC-A567-B295FAD2ABAF}" dt="2023-11-08T17:23:18.898" v="47116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5C7B1B84-DD23-48EC-A567-B295FAD2ABAF}" dt="2023-11-08T17:23:18.898" v="47117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5C7B1B84-DD23-48EC-A567-B295FAD2ABAF}" dt="2023-11-08T17:23:18.913" v="47121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5C7B1B84-DD23-48EC-A567-B295FAD2ABAF}" dt="2023-11-08T17:23:18.898" v="47118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5C7B1B84-DD23-48EC-A567-B295FAD2ABAF}" dt="2023-11-08T17:23:18.914" v="47122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5C7B1B84-DD23-48EC-A567-B295FAD2ABAF}" dt="2023-11-08T17:23:18.914" v="47123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5C7B1B84-DD23-48EC-A567-B295FAD2ABAF}" dt="2023-11-08T17:23:18.914" v="47124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5C7B1B84-DD23-48EC-A567-B295FAD2ABAF}" dt="2023-11-08T17:23:18.898" v="47101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7:23:18.898" v="47103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7:23:18.898" v="47105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7:23:18.914" v="47126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5C7B1B84-DD23-48EC-A567-B295FAD2ABAF}" dt="2023-11-08T17:23:18.914" v="47127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5C7B1B84-DD23-48EC-A567-B295FAD2ABAF}" dt="2023-11-08T17:23:18.914" v="47128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5C7B1B84-DD23-48EC-A567-B295FAD2ABAF}" dt="2023-11-08T17:23:18.914" v="47130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5C7B1B84-DD23-48EC-A567-B295FAD2ABAF}" dt="2023-11-08T17:23:18.922" v="47131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5C7B1B84-DD23-48EC-A567-B295FAD2ABAF}" dt="2023-11-08T17:23:18.922" v="47133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5C7B1B84-DD23-48EC-A567-B295FAD2ABAF}" dt="2023-11-08T17:23:18.922" v="47134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5C7B1B84-DD23-48EC-A567-B295FAD2ABAF}" dt="2023-11-08T17:23:18.922" v="47132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5C7B1B84-DD23-48EC-A567-B295FAD2ABAF}" dt="2023-11-08T17:23:18.922" v="47139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5C7B1B84-DD23-48EC-A567-B295FAD2ABAF}" dt="2023-11-08T17:23:18.922" v="47138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5C7B1B84-DD23-48EC-A567-B295FAD2ABAF}" dt="2023-11-08T17:23:18.922" v="47137"/>
          <ac:spMkLst>
            <pc:docMk/>
            <pc:sldMk cId="1459118046" sldId="288"/>
            <ac:spMk id="178" creationId="{8195421C-852E-4A90-A9C0-840AF9823B82}"/>
          </ac:spMkLst>
        </pc:spChg>
        <pc:spChg chg="del mod">
          <ac:chgData name="Joelle Brehm" userId="a518f54c-6985-42c0-8041-2bb16a414839" providerId="ADAL" clId="{5C7B1B84-DD23-48EC-A567-B295FAD2ABAF}" dt="2023-11-08T17:23:18.738" v="46955"/>
          <ac:spMkLst>
            <pc:docMk/>
            <pc:sldMk cId="1459118046" sldId="288"/>
            <ac:spMk id="179" creationId="{2DB7AD78-1CB7-4520-A137-CDF9BD645C94}"/>
          </ac:spMkLst>
        </pc:spChg>
        <pc:spChg chg="mod">
          <ac:chgData name="Joelle Brehm" userId="a518f54c-6985-42c0-8041-2bb16a414839" providerId="ADAL" clId="{5C7B1B84-DD23-48EC-A567-B295FAD2ABAF}" dt="2023-11-08T17:23:18.922" v="47140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5C7B1B84-DD23-48EC-A567-B295FAD2ABAF}" dt="2023-11-08T17:23:18.949" v="47147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8T17:22:36.273" v="46008"/>
          <ac:graphicFrameMkLst>
            <pc:docMk/>
            <pc:sldMk cId="1459118046" sldId="288"/>
            <ac:graphicFrameMk id="9" creationId="{B537F24E-DF70-E985-60E9-A1DFA792E265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3:18.898" v="47113"/>
          <ac:graphicFrameMkLst>
            <pc:docMk/>
            <pc:sldMk cId="1459118046" sldId="288"/>
            <ac:graphicFrameMk id="11" creationId="{AAFE62C0-9060-1465-8905-EF2A8D28170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3:18.849" v="47063"/>
          <ac:graphicFrameMkLst>
            <pc:docMk/>
            <pc:sldMk cId="1459118046" sldId="288"/>
            <ac:graphicFrameMk id="25" creationId="{6C78DF13-6A6E-F613-D569-DE9DCDCBC02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3:12.043" v="46676"/>
          <ac:graphicFrameMkLst>
            <pc:docMk/>
            <pc:sldMk cId="1459118046" sldId="288"/>
            <ac:graphicFrameMk id="27" creationId="{8F26B4F5-8A4D-98E3-427F-D6EAF082130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3:14.269" v="46870"/>
          <ac:graphicFrameMkLst>
            <pc:docMk/>
            <pc:sldMk cId="1459118046" sldId="288"/>
            <ac:graphicFrameMk id="29" creationId="{00364301-7BBB-A29B-95D9-509149E95CF7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3:18.898" v="47081"/>
          <ac:graphicFrameMkLst>
            <pc:docMk/>
            <pc:sldMk cId="1459118046" sldId="288"/>
            <ac:graphicFrameMk id="33" creationId="{F72F4936-3C56-3327-FEEF-FAEA32FF2719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3:10.264" v="46508"/>
          <ac:graphicFrameMkLst>
            <pc:docMk/>
            <pc:sldMk cId="1459118046" sldId="288"/>
            <ac:graphicFrameMk id="34" creationId="{772C01AA-8754-5DCE-EF9D-E7CD18C1B13A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3:18.922" v="47136"/>
          <ac:graphicFrameMkLst>
            <pc:docMk/>
            <pc:sldMk cId="1459118046" sldId="288"/>
            <ac:graphicFrameMk id="37" creationId="{68200B72-2968-57BA-1451-F3E69AAFD319}"/>
          </ac:graphicFrameMkLst>
        </pc:graphicFrameChg>
        <pc:picChg chg="del mod ord">
          <ac:chgData name="Joelle Brehm" userId="a518f54c-6985-42c0-8041-2bb16a414839" providerId="ADAL" clId="{5C7B1B84-DD23-48EC-A567-B295FAD2ABAF}" dt="2023-11-08T17:22:56.589" v="46220" actId="478"/>
          <ac:picMkLst>
            <pc:docMk/>
            <pc:sldMk cId="1459118046" sldId="288"/>
            <ac:picMk id="3" creationId="{E0E11034-10A1-1F47-6434-634FDAF9669D}"/>
          </ac:picMkLst>
        </pc:picChg>
        <pc:picChg chg="add mod ord">
          <ac:chgData name="Joelle Brehm" userId="a518f54c-6985-42c0-8041-2bb16a414839" providerId="ADAL" clId="{5C7B1B84-DD23-48EC-A567-B295FAD2ABAF}" dt="2023-11-08T17:23:18.881" v="47071"/>
          <ac:picMkLst>
            <pc:docMk/>
            <pc:sldMk cId="1459118046" sldId="288"/>
            <ac:picMk id="12" creationId="{6C09F467-6A76-BEC6-B690-FB9BB9D249E8}"/>
          </ac:picMkLst>
        </pc:picChg>
        <pc:picChg chg="mod ord">
          <ac:chgData name="Joelle Brehm" userId="a518f54c-6985-42c0-8041-2bb16a414839" providerId="ADAL" clId="{5C7B1B84-DD23-48EC-A567-B295FAD2ABAF}" dt="2023-11-08T17:23:18.898" v="47107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7:23:18.897" v="47075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7:24:29.109" v="48758"/>
        <pc:sldMkLst>
          <pc:docMk/>
          <pc:sldMk cId="10849840" sldId="290"/>
        </pc:sldMkLst>
        <pc:spChg chg="add del mod">
          <ac:chgData name="Joelle Brehm" userId="a518f54c-6985-42c0-8041-2bb16a414839" providerId="ADAL" clId="{5C7B1B84-DD23-48EC-A567-B295FAD2ABAF}" dt="2023-11-08T17:23:33.768" v="47148" actId="478"/>
          <ac:spMkLst>
            <pc:docMk/>
            <pc:sldMk cId="10849840" sldId="290"/>
            <ac:spMk id="2" creationId="{BCB5C546-E94A-32BE-FE76-11BAD22B525B}"/>
          </ac:spMkLst>
        </pc:spChg>
        <pc:spChg chg="mod ord">
          <ac:chgData name="Joelle Brehm" userId="a518f54c-6985-42c0-8041-2bb16a414839" providerId="ADAL" clId="{5C7B1B84-DD23-48EC-A567-B295FAD2ABAF}" dt="2023-11-08T17:24:29.077" v="48752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5C7B1B84-DD23-48EC-A567-B295FAD2ABAF}" dt="2023-11-08T17:24:29.062" v="48722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5C7B1B84-DD23-48EC-A567-B295FAD2ABAF}" dt="2023-11-08T17:24:29.062" v="48684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5C7B1B84-DD23-48EC-A567-B295FAD2ABAF}" dt="2023-11-08T17:23:38.088" v="47389"/>
          <ac:spMkLst>
            <pc:docMk/>
            <pc:sldMk cId="10849840" sldId="290"/>
            <ac:spMk id="8" creationId="{CC0FC57F-BDA6-0326-6556-B9D1FE240FFE}"/>
          </ac:spMkLst>
        </pc:spChg>
        <pc:spChg chg="mod">
          <ac:chgData name="Joelle Brehm" userId="a518f54c-6985-42c0-8041-2bb16a414839" providerId="ADAL" clId="{5C7B1B84-DD23-48EC-A567-B295FAD2ABAF}" dt="2023-11-08T17:24:29.062" v="48695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7:24:29.062" v="48691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7:24:29.062" v="48692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7:24:29.062" v="48689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7:24:29.062" v="48690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7:24:29.062" v="48693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7:24:29.062" v="48694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7:24:29.062" v="48696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7:24:29.062" v="48697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7:24:29.062" v="48698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7:24:29.062" v="48699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7:24:29.062" v="48700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7:24:29.062" v="48702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7:24:29.062" v="48705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7:24:29.062" v="48703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7:24:29.062" v="48704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7:24:29.062" v="48709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7:24:29.062" v="48708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7:24:29.062" v="48710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7:24:29.062" v="48713"/>
          <ac:spMkLst>
            <pc:docMk/>
            <pc:sldMk cId="10849840" sldId="290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5C7B1B84-DD23-48EC-A567-B295FAD2ABAF}" dt="2023-11-08T17:24:29.077" v="48727"/>
          <ac:spMkLst>
            <pc:docMk/>
            <pc:sldMk cId="10849840" sldId="290"/>
            <ac:spMk id="32" creationId="{6EC9F26A-A939-514C-7EDB-F425DFFD4036}"/>
          </ac:spMkLst>
        </pc:spChg>
        <pc:spChg chg="mod">
          <ac:chgData name="Joelle Brehm" userId="a518f54c-6985-42c0-8041-2bb16a414839" providerId="ADAL" clId="{5C7B1B84-DD23-48EC-A567-B295FAD2ABAF}" dt="2023-11-08T17:24:29.077" v="48723"/>
          <ac:spMkLst>
            <pc:docMk/>
            <pc:sldMk cId="10849840" sldId="290"/>
            <ac:spMk id="33" creationId="{A55B1EF4-73C4-D584-0203-A74707EA08E2}"/>
          </ac:spMkLst>
        </pc:spChg>
        <pc:spChg chg="del mod">
          <ac:chgData name="Joelle Brehm" userId="a518f54c-6985-42c0-8041-2bb16a414839" providerId="ADAL" clId="{5C7B1B84-DD23-48EC-A567-B295FAD2ABAF}" dt="2023-11-08T17:24:17.808" v="48015"/>
          <ac:spMkLst>
            <pc:docMk/>
            <pc:sldMk cId="10849840" sldId="290"/>
            <ac:spMk id="34" creationId="{2324DD3B-E106-01D1-4B12-42A8E001839F}"/>
          </ac:spMkLst>
        </pc:spChg>
        <pc:spChg chg="mod">
          <ac:chgData name="Joelle Brehm" userId="a518f54c-6985-42c0-8041-2bb16a414839" providerId="ADAL" clId="{5C7B1B84-DD23-48EC-A567-B295FAD2ABAF}" dt="2023-11-08T17:24:29.062" v="48716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5C7B1B84-DD23-48EC-A567-B295FAD2ABAF}" dt="2023-11-08T17:24:29.062" v="48717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5C7B1B84-DD23-48EC-A567-B295FAD2ABAF}" dt="2023-11-08T17:24:29.062" v="48707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5C7B1B84-DD23-48EC-A567-B295FAD2ABAF}" dt="2023-11-08T17:24:29.062" v="48718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5C7B1B84-DD23-48EC-A567-B295FAD2ABAF}" dt="2023-11-08T17:24:29.062" v="48719"/>
          <ac:spMkLst>
            <pc:docMk/>
            <pc:sldMk cId="10849840" sldId="290"/>
            <ac:spMk id="39" creationId="{810C784D-B902-D4A3-E0DE-5483A97F9C49}"/>
          </ac:spMkLst>
        </pc:spChg>
        <pc:spChg chg="add del mod modVis">
          <ac:chgData name="Joelle Brehm" userId="a518f54c-6985-42c0-8041-2bb16a414839" providerId="ADAL" clId="{5C7B1B84-DD23-48EC-A567-B295FAD2ABAF}" dt="2023-11-08T17:24:12.259" v="47874"/>
          <ac:spMkLst>
            <pc:docMk/>
            <pc:sldMk cId="10849840" sldId="290"/>
            <ac:spMk id="41" creationId="{7C3E441D-4D9E-C5F4-AAA2-1A2FEA7B93F6}"/>
          </ac:spMkLst>
        </pc:spChg>
        <pc:spChg chg="mod">
          <ac:chgData name="Joelle Brehm" userId="a518f54c-6985-42c0-8041-2bb16a414839" providerId="ADAL" clId="{5C7B1B84-DD23-48EC-A567-B295FAD2ABAF}" dt="2023-11-08T17:24:29.077" v="48724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5C7B1B84-DD23-48EC-A567-B295FAD2ABAF}" dt="2023-11-08T17:24:29.077" v="48725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5C7B1B84-DD23-48EC-A567-B295FAD2ABAF}" dt="2023-11-08T17:24:29.062" v="48720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5C7B1B84-DD23-48EC-A567-B295FAD2ABAF}" dt="2023-11-08T17:24:29.062" v="48721"/>
          <ac:spMkLst>
            <pc:docMk/>
            <pc:sldMk cId="10849840" sldId="290"/>
            <ac:spMk id="46" creationId="{3E1C433A-5376-E641-B9A1-4367058A9B7F}"/>
          </ac:spMkLst>
        </pc:spChg>
        <pc:spChg chg="mod">
          <ac:chgData name="Joelle Brehm" userId="a518f54c-6985-42c0-8041-2bb16a414839" providerId="ADAL" clId="{5C7B1B84-DD23-48EC-A567-B295FAD2ABAF}" dt="2023-11-08T17:24:29.077" v="48726"/>
          <ac:spMkLst>
            <pc:docMk/>
            <pc:sldMk cId="10849840" sldId="290"/>
            <ac:spMk id="47" creationId="{0E162DBF-E60F-A83B-56A5-E40D4E5B4D77}"/>
          </ac:spMkLst>
        </pc:spChg>
        <pc:spChg chg="add del mod modVis">
          <ac:chgData name="Joelle Brehm" userId="a518f54c-6985-42c0-8041-2bb16a414839" providerId="ADAL" clId="{5C7B1B84-DD23-48EC-A567-B295FAD2ABAF}" dt="2023-11-08T17:24:16.049" v="48012"/>
          <ac:spMkLst>
            <pc:docMk/>
            <pc:sldMk cId="10849840" sldId="290"/>
            <ac:spMk id="48" creationId="{D0ED0165-BE50-2D1A-9DBF-968F3182FD07}"/>
          </ac:spMkLst>
        </pc:spChg>
        <pc:spChg chg="add del mod modVis">
          <ac:chgData name="Joelle Brehm" userId="a518f54c-6985-42c0-8041-2bb16a414839" providerId="ADAL" clId="{5C7B1B84-DD23-48EC-A567-B295FAD2ABAF}" dt="2023-11-08T17:24:18.042" v="48273"/>
          <ac:spMkLst>
            <pc:docMk/>
            <pc:sldMk cId="10849840" sldId="290"/>
            <ac:spMk id="50" creationId="{CC7FC2D6-85C7-248E-0A06-0A57E0F13269}"/>
          </ac:spMkLst>
        </pc:spChg>
        <pc:spChg chg="add del mod ord replST">
          <ac:chgData name="Joelle Brehm" userId="a518f54c-6985-42c0-8041-2bb16a414839" providerId="ADAL" clId="{5C7B1B84-DD23-48EC-A567-B295FAD2ABAF}" dt="2023-11-08T17:24:20.857" v="48326"/>
          <ac:spMkLst>
            <pc:docMk/>
            <pc:sldMk cId="10849840" sldId="290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7:24:20.910" v="48410"/>
          <ac:spMkLst>
            <pc:docMk/>
            <pc:sldMk cId="10849840" sldId="290"/>
            <ac:spMk id="54" creationId="{6A5D52B7-ABA1-3229-9763-C79061805D42}"/>
          </ac:spMkLst>
        </pc:spChg>
        <pc:spChg chg="add del mod modVis">
          <ac:chgData name="Joelle Brehm" userId="a518f54c-6985-42c0-8041-2bb16a414839" providerId="ADAL" clId="{5C7B1B84-DD23-48EC-A567-B295FAD2ABAF}" dt="2023-11-08T17:24:23.921" v="48544"/>
          <ac:spMkLst>
            <pc:docMk/>
            <pc:sldMk cId="10849840" sldId="290"/>
            <ac:spMk id="56" creationId="{F30BDDB0-C94D-3010-65D3-C4FA25F2DCAF}"/>
          </ac:spMkLst>
        </pc:spChg>
        <pc:spChg chg="add del mod modVis">
          <ac:chgData name="Joelle Brehm" userId="a518f54c-6985-42c0-8041-2bb16a414839" providerId="ADAL" clId="{5C7B1B84-DD23-48EC-A567-B295FAD2ABAF}" dt="2023-11-08T17:24:29.093" v="48756"/>
          <ac:spMkLst>
            <pc:docMk/>
            <pc:sldMk cId="10849840" sldId="290"/>
            <ac:spMk id="59" creationId="{1C706CEE-4B02-AF87-592F-3200C34D452C}"/>
          </ac:spMkLst>
        </pc:spChg>
        <pc:spChg chg="mod ord">
          <ac:chgData name="Joelle Brehm" userId="a518f54c-6985-42c0-8041-2bb16a414839" providerId="ADAL" clId="{5C7B1B84-DD23-48EC-A567-B295FAD2ABAF}" dt="2023-11-08T17:24:29.077" v="48750"/>
          <ac:spMkLst>
            <pc:docMk/>
            <pc:sldMk cId="10849840" sldId="290"/>
            <ac:spMk id="60" creationId="{AB5689A7-20F6-4DF1-88AE-FB8557333BFB}"/>
          </ac:spMkLst>
        </pc:spChg>
        <pc:spChg chg="mod">
          <ac:chgData name="Joelle Brehm" userId="a518f54c-6985-42c0-8041-2bb16a414839" providerId="ADAL" clId="{5C7B1B84-DD23-48EC-A567-B295FAD2ABAF}" dt="2023-11-08T17:24:29.062" v="48711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5C7B1B84-DD23-48EC-A567-B295FAD2ABAF}" dt="2023-11-08T17:24:29.077" v="48729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7:24:29.077" v="48731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7:24:29.077" v="48733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7:24:29.077" v="48735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7:24:29.077" v="48737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7:24:29.077" v="48739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7:24:29.077" v="48742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4:29.077" v="48743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4:29.077" v="48744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4:29.077" v="48745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7:24:29.077" v="48746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7:24:29.109" v="48758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4:29.062" v="48688"/>
          <ac:graphicFrameMkLst>
            <pc:docMk/>
            <pc:sldMk cId="10849840" sldId="290"/>
            <ac:graphicFrameMk id="9" creationId="{22DB777F-EEEA-C039-120C-E608610CB6BB}"/>
          </ac:graphicFrameMkLst>
        </pc:graphicFrameChg>
        <pc:graphicFrameChg chg="del">
          <ac:chgData name="Joelle Brehm" userId="a518f54c-6985-42c0-8041-2bb16a414839" providerId="ADAL" clId="{5C7B1B84-DD23-48EC-A567-B295FAD2ABAF}" dt="2023-11-08T17:23:37.955" v="47283"/>
          <ac:graphicFrameMkLst>
            <pc:docMk/>
            <pc:sldMk cId="10849840" sldId="290"/>
            <ac:graphicFrameMk id="31" creationId="{A8B764FD-1152-79CF-B7BA-C99214D19EB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4:15.980" v="47929"/>
          <ac:graphicFrameMkLst>
            <pc:docMk/>
            <pc:sldMk cId="10849840" sldId="290"/>
            <ac:graphicFrameMk id="45" creationId="{B9888410-756B-4BB2-E2C6-9C18E8A6E40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4:17.973" v="48176"/>
          <ac:graphicFrameMkLst>
            <pc:docMk/>
            <pc:sldMk cId="10849840" sldId="290"/>
            <ac:graphicFrameMk id="49" creationId="{63B166E2-2025-3AFC-1CD0-1B687BF5A88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4:20.857" v="48328"/>
          <ac:graphicFrameMkLst>
            <pc:docMk/>
            <pc:sldMk cId="10849840" sldId="290"/>
            <ac:graphicFrameMk id="52" creationId="{9F9BBC64-3BC5-8E9D-5CB0-5DFF390F086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4:12.146" v="47785"/>
          <ac:graphicFrameMkLst>
            <pc:docMk/>
            <pc:sldMk cId="10849840" sldId="290"/>
            <ac:graphicFrameMk id="53" creationId="{008F8BCF-7F4D-65ED-2192-A9039129745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4:23.875" v="48462"/>
          <ac:graphicFrameMkLst>
            <pc:docMk/>
            <pc:sldMk cId="10849840" sldId="290"/>
            <ac:graphicFrameMk id="55" creationId="{E9BF6B59-E6A0-548E-6265-F04C4D18B468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4:29.014" v="48674"/>
          <ac:graphicFrameMkLst>
            <pc:docMk/>
            <pc:sldMk cId="10849840" sldId="290"/>
            <ac:graphicFrameMk id="57" creationId="{446703D8-1DB5-0BA8-3A7B-9C4E8BE8B088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4:29.062" v="48715"/>
          <ac:graphicFrameMkLst>
            <pc:docMk/>
            <pc:sldMk cId="10849840" sldId="290"/>
            <ac:graphicFrameMk id="58" creationId="{CC304FD5-57C0-A78C-F017-9F22A1E3E56B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4:29.077" v="48741"/>
          <ac:graphicFrameMkLst>
            <pc:docMk/>
            <pc:sldMk cId="10849840" sldId="290"/>
            <ac:graphicFrameMk id="61" creationId="{F7497C03-35F3-F262-1D70-A151EBA2A2DA}"/>
          </ac:graphicFrameMkLst>
        </pc:graphicFrameChg>
        <pc:picChg chg="add mod ord">
          <ac:chgData name="Joelle Brehm" userId="a518f54c-6985-42c0-8041-2bb16a414839" providerId="ADAL" clId="{5C7B1B84-DD23-48EC-A567-B295FAD2ABAF}" dt="2023-11-08T17:24:29.062" v="48682"/>
          <ac:picMkLst>
            <pc:docMk/>
            <pc:sldMk cId="10849840" sldId="290"/>
            <ac:picMk id="10" creationId="{7B485F5B-A7B4-8942-78AB-EA5EB2422139}"/>
          </ac:picMkLst>
        </pc:picChg>
        <pc:picChg chg="del mod ord">
          <ac:chgData name="Joelle Brehm" userId="a518f54c-6985-42c0-8041-2bb16a414839" providerId="ADAL" clId="{5C7B1B84-DD23-48EC-A567-B295FAD2ABAF}" dt="2023-11-08T17:23:59.352" v="47510" actId="478"/>
          <ac:picMkLst>
            <pc:docMk/>
            <pc:sldMk cId="10849840" sldId="290"/>
            <ac:picMk id="40" creationId="{5D2DC22A-1D80-BF6A-7B4A-B0C087E9A02B}"/>
          </ac:picMkLst>
        </pc:picChg>
        <pc:picChg chg="mod ord">
          <ac:chgData name="Joelle Brehm" userId="a518f54c-6985-42c0-8041-2bb16a414839" providerId="ADAL" clId="{5C7B1B84-DD23-48EC-A567-B295FAD2ABAF}" dt="2023-11-08T17:24:29.077" v="48748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7:24:29.062" v="48686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7:27:10.212" v="51495"/>
        <pc:sldMkLst>
          <pc:docMk/>
          <pc:sldMk cId="996393659" sldId="291"/>
        </pc:sldMkLst>
        <pc:spChg chg="mod ord">
          <ac:chgData name="Joelle Brehm" userId="a518f54c-6985-42c0-8041-2bb16a414839" providerId="ADAL" clId="{5C7B1B84-DD23-48EC-A567-B295FAD2ABAF}" dt="2023-11-08T17:27:10.197" v="51489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5C7B1B84-DD23-48EC-A567-B295FAD2ABAF}" dt="2023-11-08T17:26:14.480" v="50251" actId="478"/>
          <ac:spMkLst>
            <pc:docMk/>
            <pc:sldMk cId="996393659" sldId="291"/>
            <ac:spMk id="3" creationId="{0CFD3CC4-F4B0-4617-3E76-73E8A24B45F0}"/>
          </ac:spMkLst>
        </pc:spChg>
        <pc:spChg chg="add del mod modVis">
          <ac:chgData name="Joelle Brehm" userId="a518f54c-6985-42c0-8041-2bb16a414839" providerId="ADAL" clId="{5C7B1B84-DD23-48EC-A567-B295FAD2ABAF}" dt="2023-11-08T17:26:31.285" v="50490"/>
          <ac:spMkLst>
            <pc:docMk/>
            <pc:sldMk cId="996393659" sldId="291"/>
            <ac:spMk id="5" creationId="{DFBCEB46-30A6-3191-4FE2-5AAE8BB9D45B}"/>
          </ac:spMkLst>
        </pc:spChg>
        <pc:spChg chg="mod ord">
          <ac:chgData name="Joelle Brehm" userId="a518f54c-6985-42c0-8041-2bb16a414839" providerId="ADAL" clId="{5C7B1B84-DD23-48EC-A567-B295FAD2ABAF}" dt="2023-11-08T17:27:10.181" v="51421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7:27:10.181" v="51432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7:27:10.181" v="51428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7:27:10.181" v="51429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7:27:10.181" v="51426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7:27:10.181" v="51427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7:27:10.181" v="51430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7:27:10.181" v="51431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7:27:10.181" v="51433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7:27:10.181" v="51434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7:27:10.181" v="51435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7:27:10.181" v="51436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7:27:10.181" v="51437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7:27:10.181" v="51439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7:27:10.181" v="51442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7:27:10.181" v="51440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7:27:10.181" v="51441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7:27:10.181" v="51446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7:27:10.181" v="51445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7:27:10.181" v="51447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7:27:10.181" v="51450"/>
          <ac:spMkLst>
            <pc:docMk/>
            <pc:sldMk cId="996393659" sldId="291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5C7B1B84-DD23-48EC-A567-B295FAD2ABAF}" dt="2023-11-08T17:27:10.197" v="51464"/>
          <ac:spMkLst>
            <pc:docMk/>
            <pc:sldMk cId="996393659" sldId="291"/>
            <ac:spMk id="32" creationId="{27A91E20-CA24-9C21-342D-ABA565F5471B}"/>
          </ac:spMkLst>
        </pc:spChg>
        <pc:spChg chg="add del mod modVis">
          <ac:chgData name="Joelle Brehm" userId="a518f54c-6985-42c0-8041-2bb16a414839" providerId="ADAL" clId="{5C7B1B84-DD23-48EC-A567-B295FAD2ABAF}" dt="2023-11-08T17:26:57.925" v="50960"/>
          <ac:spMkLst>
            <pc:docMk/>
            <pc:sldMk cId="996393659" sldId="291"/>
            <ac:spMk id="33" creationId="{2CE8447E-4455-1F35-E361-4D6E03B44100}"/>
          </ac:spMkLst>
        </pc:spChg>
        <pc:spChg chg="del mod">
          <ac:chgData name="Joelle Brehm" userId="a518f54c-6985-42c0-8041-2bb16a414839" providerId="ADAL" clId="{5C7B1B84-DD23-48EC-A567-B295FAD2ABAF}" dt="2023-11-08T17:27:03.278" v="51132"/>
          <ac:spMkLst>
            <pc:docMk/>
            <pc:sldMk cId="996393659" sldId="291"/>
            <ac:spMk id="34" creationId="{93CE5F4B-80AA-6CF5-D97D-0127CD5DB126}"/>
          </ac:spMkLst>
        </pc:spChg>
        <pc:spChg chg="mod">
          <ac:chgData name="Joelle Brehm" userId="a518f54c-6985-42c0-8041-2bb16a414839" providerId="ADAL" clId="{5C7B1B84-DD23-48EC-A567-B295FAD2ABAF}" dt="2023-11-08T17:27:10.181" v="51453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5C7B1B84-DD23-48EC-A567-B295FAD2ABAF}" dt="2023-11-08T17:27:10.181" v="51454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5C7B1B84-DD23-48EC-A567-B295FAD2ABAF}" dt="2023-11-08T17:27:10.181" v="51444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5C7B1B84-DD23-48EC-A567-B295FAD2ABAF}" dt="2023-11-08T17:27:10.181" v="51455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5C7B1B84-DD23-48EC-A567-B295FAD2ABAF}" dt="2023-11-08T17:27:10.181" v="51456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5C7B1B84-DD23-48EC-A567-B295FAD2ABAF}" dt="2023-11-08T17:27:10.181" v="51459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5C7B1B84-DD23-48EC-A567-B295FAD2ABAF}" dt="2023-11-08T17:27:10.181" v="51460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5C7B1B84-DD23-48EC-A567-B295FAD2ABAF}" dt="2023-11-08T17:27:10.181" v="51457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5C7B1B84-DD23-48EC-A567-B295FAD2ABAF}" dt="2023-11-08T17:27:10.181" v="51461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5C7B1B84-DD23-48EC-A567-B295FAD2ABAF}" dt="2023-11-08T17:27:10.181" v="51458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5C7B1B84-DD23-48EC-A567-B295FAD2ABAF}" dt="2023-11-08T17:27:10.197" v="51462"/>
          <ac:spMkLst>
            <pc:docMk/>
            <pc:sldMk cId="996393659" sldId="291"/>
            <ac:spMk id="45" creationId="{7A6869B6-C6F2-DDAD-D4B2-6D5DE21E6DC6}"/>
          </ac:spMkLst>
        </pc:spChg>
        <pc:spChg chg="mod">
          <ac:chgData name="Joelle Brehm" userId="a518f54c-6985-42c0-8041-2bb16a414839" providerId="ADAL" clId="{5C7B1B84-DD23-48EC-A567-B295FAD2ABAF}" dt="2023-11-08T17:27:10.197" v="51463"/>
          <ac:spMkLst>
            <pc:docMk/>
            <pc:sldMk cId="996393659" sldId="291"/>
            <ac:spMk id="47" creationId="{954547EF-AD33-B12C-24C3-BC43A057FE8B}"/>
          </ac:spMkLst>
        </pc:spChg>
        <pc:spChg chg="add del mod modVis">
          <ac:chgData name="Joelle Brehm" userId="a518f54c-6985-42c0-8041-2bb16a414839" providerId="ADAL" clId="{5C7B1B84-DD23-48EC-A567-B295FAD2ABAF}" dt="2023-11-08T17:27:01.334" v="51129"/>
          <ac:spMkLst>
            <pc:docMk/>
            <pc:sldMk cId="996393659" sldId="291"/>
            <ac:spMk id="49" creationId="{4BDF5382-3C0E-7D4C-E952-4CE244395B6F}"/>
          </ac:spMkLst>
        </pc:spChg>
        <pc:spChg chg="add del mod modVis">
          <ac:chgData name="Joelle Brehm" userId="a518f54c-6985-42c0-8041-2bb16a414839" providerId="ADAL" clId="{5C7B1B84-DD23-48EC-A567-B295FAD2ABAF}" dt="2023-11-08T17:27:03.411" v="51305"/>
          <ac:spMkLst>
            <pc:docMk/>
            <pc:sldMk cId="996393659" sldId="291"/>
            <ac:spMk id="51" creationId="{B9907C95-C609-8462-1147-9F7DCB67D949}"/>
          </ac:spMkLst>
        </pc:spChg>
        <pc:spChg chg="add del mod modVis">
          <ac:chgData name="Joelle Brehm" userId="a518f54c-6985-42c0-8041-2bb16a414839" providerId="ADAL" clId="{5C7B1B84-DD23-48EC-A567-B295FAD2ABAF}" dt="2023-11-08T17:27:10.197" v="51493"/>
          <ac:spMkLst>
            <pc:docMk/>
            <pc:sldMk cId="996393659" sldId="291"/>
            <ac:spMk id="53" creationId="{EE0E597E-E209-A0EC-1442-88AAEAD33FD1}"/>
          </ac:spMkLst>
        </pc:spChg>
        <pc:spChg chg="mod">
          <ac:chgData name="Joelle Brehm" userId="a518f54c-6985-42c0-8041-2bb16a414839" providerId="ADAL" clId="{5C7B1B84-DD23-48EC-A567-B295FAD2ABAF}" dt="2023-11-08T17:27:10.181" v="51448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5C7B1B84-DD23-48EC-A567-B295FAD2ABAF}" dt="2023-11-08T17:27:10.197" v="51466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7:27:10.197" v="51468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7:27:10.197" v="51487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5C7B1B84-DD23-48EC-A567-B295FAD2ABAF}" dt="2023-11-08T17:27:10.197" v="51470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7:27:10.197" v="51472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7:27:10.197" v="51474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7:27:10.197" v="51476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7:27:10.197" v="51479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7:10.197" v="51480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7:10.197" v="51481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7:10.197" v="51482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7:27:10.197" v="51483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7:27:10.212" v="51495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8T17:26:31.188" v="50388"/>
          <ac:graphicFrameMkLst>
            <pc:docMk/>
            <pc:sldMk cId="996393659" sldId="291"/>
            <ac:graphicFrameMk id="8" creationId="{61BC88B8-3E4C-A38C-EEEF-7AE9BE5DF4A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7:10.181" v="51425"/>
          <ac:graphicFrameMkLst>
            <pc:docMk/>
            <pc:sldMk cId="996393659" sldId="291"/>
            <ac:graphicFrameMk id="9" creationId="{F4AC875D-0236-9B5C-7612-E62CC566BC80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7:10.134" v="51411"/>
          <ac:graphicFrameMkLst>
            <pc:docMk/>
            <pc:sldMk cId="996393659" sldId="291"/>
            <ac:graphicFrameMk id="46" creationId="{CD2D2251-19CF-D147-5F88-8D6EB8D51F2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7:01.274" v="51033"/>
          <ac:graphicFrameMkLst>
            <pc:docMk/>
            <pc:sldMk cId="996393659" sldId="291"/>
            <ac:graphicFrameMk id="48" creationId="{8F9B47AA-87ED-1192-BDC1-7102DA372A6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7:03.365" v="51223"/>
          <ac:graphicFrameMkLst>
            <pc:docMk/>
            <pc:sldMk cId="996393659" sldId="291"/>
            <ac:graphicFrameMk id="50" creationId="{A4593C1D-B049-644E-0D72-568EF079C580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7:10.181" v="51452"/>
          <ac:graphicFrameMkLst>
            <pc:docMk/>
            <pc:sldMk cId="996393659" sldId="291"/>
            <ac:graphicFrameMk id="52" creationId="{6C3386B9-02D1-B862-0A1D-5B81ED57638F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7:10.197" v="51478"/>
          <ac:graphicFrameMkLst>
            <pc:docMk/>
            <pc:sldMk cId="996393659" sldId="291"/>
            <ac:graphicFrameMk id="54" creationId="{89BC077B-5992-78FD-6F23-28D1C3524410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6:57.861" v="50864"/>
          <ac:graphicFrameMkLst>
            <pc:docMk/>
            <pc:sldMk cId="996393659" sldId="291"/>
            <ac:graphicFrameMk id="65" creationId="{97F08DD8-1AB0-4FB2-9257-B9AEDFCC4A77}"/>
          </ac:graphicFrameMkLst>
        </pc:graphicFrameChg>
        <pc:picChg chg="add mod ord">
          <ac:chgData name="Joelle Brehm" userId="a518f54c-6985-42c0-8041-2bb16a414839" providerId="ADAL" clId="{5C7B1B84-DD23-48EC-A567-B295FAD2ABAF}" dt="2023-11-08T17:27:10.181" v="51419"/>
          <ac:picMkLst>
            <pc:docMk/>
            <pc:sldMk cId="996393659" sldId="291"/>
            <ac:picMk id="10" creationId="{56AD758D-35C8-21B3-E826-D99EF330A655}"/>
          </ac:picMkLst>
        </pc:picChg>
        <pc:picChg chg="del mod ord">
          <ac:chgData name="Joelle Brehm" userId="a518f54c-6985-42c0-8041-2bb16a414839" providerId="ADAL" clId="{5C7B1B84-DD23-48EC-A567-B295FAD2ABAF}" dt="2023-11-08T17:26:45.206" v="50577" actId="478"/>
          <ac:picMkLst>
            <pc:docMk/>
            <pc:sldMk cId="996393659" sldId="291"/>
            <ac:picMk id="31" creationId="{833C07A7-7DBC-97D1-9E7D-1426AED5805D}"/>
          </ac:picMkLst>
        </pc:picChg>
        <pc:picChg chg="mod ord">
          <ac:chgData name="Joelle Brehm" userId="a518f54c-6985-42c0-8041-2bb16a414839" providerId="ADAL" clId="{5C7B1B84-DD23-48EC-A567-B295FAD2ABAF}" dt="2023-11-08T17:27:10.197" v="51485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7:27:10.181" v="51423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8T17:25:32.841" v="50250"/>
        <pc:sldMkLst>
          <pc:docMk/>
          <pc:sldMk cId="3635637425" sldId="292"/>
        </pc:sldMkLst>
        <pc:spChg chg="mod ord">
          <ac:chgData name="Joelle Brehm" userId="a518f54c-6985-42c0-8041-2bb16a414839" providerId="ADAL" clId="{5C7B1B84-DD23-48EC-A567-B295FAD2ABAF}" dt="2023-11-08T17:25:32.826" v="50244"/>
          <ac:spMkLst>
            <pc:docMk/>
            <pc:sldMk cId="3635637425" sldId="292"/>
            <ac:spMk id="2" creationId="{9445A78E-5217-4459-B540-57B5B2359A2E}"/>
          </ac:spMkLst>
        </pc:spChg>
        <pc:spChg chg="add del mod">
          <ac:chgData name="Joelle Brehm" userId="a518f54c-6985-42c0-8041-2bb16a414839" providerId="ADAL" clId="{5C7B1B84-DD23-48EC-A567-B295FAD2ABAF}" dt="2023-11-08T17:24:36.880" v="48759" actId="478"/>
          <ac:spMkLst>
            <pc:docMk/>
            <pc:sldMk cId="3635637425" sldId="292"/>
            <ac:spMk id="3" creationId="{5A49C335-9618-18E1-8808-19A33D1978CE}"/>
          </ac:spMkLst>
        </pc:spChg>
        <pc:spChg chg="add del mod modVis">
          <ac:chgData name="Joelle Brehm" userId="a518f54c-6985-42c0-8041-2bb16a414839" providerId="ADAL" clId="{5C7B1B84-DD23-48EC-A567-B295FAD2ABAF}" dt="2023-11-08T17:24:49.235" v="48996"/>
          <ac:spMkLst>
            <pc:docMk/>
            <pc:sldMk cId="3635637425" sldId="292"/>
            <ac:spMk id="5" creationId="{D7943913-C0D9-B3A2-F998-055FF5579508}"/>
          </ac:spMkLst>
        </pc:spChg>
        <pc:spChg chg="mod ord">
          <ac:chgData name="Joelle Brehm" userId="a518f54c-6985-42c0-8041-2bb16a414839" providerId="ADAL" clId="{5C7B1B84-DD23-48EC-A567-B295FAD2ABAF}" dt="2023-11-08T17:25:32.802" v="50174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5C7B1B84-DD23-48EC-A567-B295FAD2ABAF}" dt="2023-11-08T17:25:32.802" v="50185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5C7B1B84-DD23-48EC-A567-B295FAD2ABAF}" dt="2023-11-08T17:25:32.802" v="50181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5C7B1B84-DD23-48EC-A567-B295FAD2ABAF}" dt="2023-11-08T17:25:32.802" v="50182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5C7B1B84-DD23-48EC-A567-B295FAD2ABAF}" dt="2023-11-08T17:25:32.802" v="50179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5C7B1B84-DD23-48EC-A567-B295FAD2ABAF}" dt="2023-11-08T17:25:32.802" v="50180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5C7B1B84-DD23-48EC-A567-B295FAD2ABAF}" dt="2023-11-08T17:25:32.802" v="50183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5C7B1B84-DD23-48EC-A567-B295FAD2ABAF}" dt="2023-11-08T17:25:32.802" v="50184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5C7B1B84-DD23-48EC-A567-B295FAD2ABAF}" dt="2023-11-08T17:25:32.802" v="50186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5C7B1B84-DD23-48EC-A567-B295FAD2ABAF}" dt="2023-11-08T17:25:32.802" v="50187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5C7B1B84-DD23-48EC-A567-B295FAD2ABAF}" dt="2023-11-08T17:25:32.810" v="50188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5C7B1B84-DD23-48EC-A567-B295FAD2ABAF}" dt="2023-11-08T17:25:32.810" v="50189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5C7B1B84-DD23-48EC-A567-B295FAD2ABAF}" dt="2023-11-08T17:25:32.810" v="50190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5C7B1B84-DD23-48EC-A567-B295FAD2ABAF}" dt="2023-11-08T17:25:32.810" v="50192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5C7B1B84-DD23-48EC-A567-B295FAD2ABAF}" dt="2023-11-08T17:25:32.810" v="50195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5C7B1B84-DD23-48EC-A567-B295FAD2ABAF}" dt="2023-11-08T17:25:32.810" v="50193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5C7B1B84-DD23-48EC-A567-B295FAD2ABAF}" dt="2023-11-08T17:25:32.810" v="50194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5C7B1B84-DD23-48EC-A567-B295FAD2ABAF}" dt="2023-11-08T17:25:32.810" v="50199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5C7B1B84-DD23-48EC-A567-B295FAD2ABAF}" dt="2023-11-08T17:25:32.810" v="50198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5C7B1B84-DD23-48EC-A567-B295FAD2ABAF}" dt="2023-11-08T17:25:32.810" v="50200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5C7B1B84-DD23-48EC-A567-B295FAD2ABAF}" dt="2023-11-08T17:25:32.810" v="50203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5C7B1B84-DD23-48EC-A567-B295FAD2ABAF}" dt="2023-11-08T17:25:32.810" v="50210"/>
          <ac:spMkLst>
            <pc:docMk/>
            <pc:sldMk cId="3635637425" sldId="292"/>
            <ac:spMk id="32" creationId="{BD3A93E6-9730-3243-EF77-4E3AEAA78672}"/>
          </ac:spMkLst>
        </pc:spChg>
        <pc:spChg chg="add mod replST">
          <ac:chgData name="Joelle Brehm" userId="a518f54c-6985-42c0-8041-2bb16a414839" providerId="ADAL" clId="{5C7B1B84-DD23-48EC-A567-B295FAD2ABAF}" dt="2023-11-08T17:25:32.826" v="50219"/>
          <ac:spMkLst>
            <pc:docMk/>
            <pc:sldMk cId="3635637425" sldId="292"/>
            <ac:spMk id="33" creationId="{FC0BC779-DB08-9C64-2173-284503839894}"/>
          </ac:spMkLst>
        </pc:spChg>
        <pc:spChg chg="del mod">
          <ac:chgData name="Joelle Brehm" userId="a518f54c-6985-42c0-8041-2bb16a414839" providerId="ADAL" clId="{5C7B1B84-DD23-48EC-A567-B295FAD2ABAF}" dt="2023-11-08T17:25:23.907" v="49633"/>
          <ac:spMkLst>
            <pc:docMk/>
            <pc:sldMk cId="3635637425" sldId="292"/>
            <ac:spMk id="34" creationId="{2D56DCBB-CAC0-D3CA-B5B2-D6B7B1E4A4D6}"/>
          </ac:spMkLst>
        </pc:spChg>
        <pc:spChg chg="add del mod modVis">
          <ac:chgData name="Joelle Brehm" userId="a518f54c-6985-42c0-8041-2bb16a414839" providerId="ADAL" clId="{5C7B1B84-DD23-48EC-A567-B295FAD2ABAF}" dt="2023-11-08T17:25:20.151" v="49459"/>
          <ac:spMkLst>
            <pc:docMk/>
            <pc:sldMk cId="3635637425" sldId="292"/>
            <ac:spMk id="35" creationId="{22B2F8D4-C301-700B-837F-4CBD9DCEF8FC}"/>
          </ac:spMkLst>
        </pc:spChg>
        <pc:spChg chg="mod">
          <ac:chgData name="Joelle Brehm" userId="a518f54c-6985-42c0-8041-2bb16a414839" providerId="ADAL" clId="{5C7B1B84-DD23-48EC-A567-B295FAD2ABAF}" dt="2023-11-08T17:25:32.810" v="50211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5C7B1B84-DD23-48EC-A567-B295FAD2ABAF}" dt="2023-11-08T17:25:32.810" v="50197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5C7B1B84-DD23-48EC-A567-B295FAD2ABAF}" dt="2023-11-08T17:25:32.810" v="50208"/>
          <ac:spMkLst>
            <pc:docMk/>
            <pc:sldMk cId="3635637425" sldId="292"/>
            <ac:spMk id="38" creationId="{3FFCD1FD-A1E7-E0E9-3B0A-272DB96B6E85}"/>
          </ac:spMkLst>
        </pc:spChg>
        <pc:spChg chg="mod">
          <ac:chgData name="Joelle Brehm" userId="a518f54c-6985-42c0-8041-2bb16a414839" providerId="ADAL" clId="{5C7B1B84-DD23-48EC-A567-B295FAD2ABAF}" dt="2023-11-08T17:25:32.826" v="50214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5C7B1B84-DD23-48EC-A567-B295FAD2ABAF}" dt="2023-11-08T17:25:32.826" v="50215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5C7B1B84-DD23-48EC-A567-B295FAD2ABAF}" dt="2023-11-08T17:25:32.826" v="50216"/>
          <ac:spMkLst>
            <pc:docMk/>
            <pc:sldMk cId="3635637425" sldId="292"/>
            <ac:spMk id="41" creationId="{CAD662BE-DA77-C496-2C1F-D8B2218DD0E5}"/>
          </ac:spMkLst>
        </pc:spChg>
        <pc:spChg chg="mod">
          <ac:chgData name="Joelle Brehm" userId="a518f54c-6985-42c0-8041-2bb16a414839" providerId="ADAL" clId="{5C7B1B84-DD23-48EC-A567-B295FAD2ABAF}" dt="2023-11-08T17:25:32.810" v="50209"/>
          <ac:spMkLst>
            <pc:docMk/>
            <pc:sldMk cId="3635637425" sldId="292"/>
            <ac:spMk id="42" creationId="{668AF5D9-4E8D-2E4B-2079-072182484759}"/>
          </ac:spMkLst>
        </pc:spChg>
        <pc:spChg chg="mod">
          <ac:chgData name="Joelle Brehm" userId="a518f54c-6985-42c0-8041-2bb16a414839" providerId="ADAL" clId="{5C7B1B84-DD23-48EC-A567-B295FAD2ABAF}" dt="2023-11-08T17:25:32.826" v="50217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5C7B1B84-DD23-48EC-A567-B295FAD2ABAF}" dt="2023-11-08T17:25:32.810" v="50212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5C7B1B84-DD23-48EC-A567-B295FAD2ABAF}" dt="2023-11-08T17:25:32.810" v="50213"/>
          <ac:spMkLst>
            <pc:docMk/>
            <pc:sldMk cId="3635637425" sldId="292"/>
            <ac:spMk id="46" creationId="{38D3D6F2-A854-D543-7C6D-CB3894DB11AC}"/>
          </ac:spMkLst>
        </pc:spChg>
        <pc:spChg chg="add del mod modVis">
          <ac:chgData name="Joelle Brehm" userId="a518f54c-6985-42c0-8041-2bb16a414839" providerId="ADAL" clId="{5C7B1B84-DD23-48EC-A567-B295FAD2ABAF}" dt="2023-11-08T17:25:21.432" v="49630"/>
          <ac:spMkLst>
            <pc:docMk/>
            <pc:sldMk cId="3635637425" sldId="292"/>
            <ac:spMk id="47" creationId="{D3F70240-4267-F0F1-7A1D-59248DCAD897}"/>
          </ac:spMkLst>
        </pc:spChg>
        <pc:spChg chg="mod">
          <ac:chgData name="Joelle Brehm" userId="a518f54c-6985-42c0-8041-2bb16a414839" providerId="ADAL" clId="{5C7B1B84-DD23-48EC-A567-B295FAD2ABAF}" dt="2023-11-08T17:25:32.826" v="50218"/>
          <ac:spMkLst>
            <pc:docMk/>
            <pc:sldMk cId="3635637425" sldId="292"/>
            <ac:spMk id="49" creationId="{C2AC46DF-8DB5-4BF7-F270-6657C4B8CE44}"/>
          </ac:spMkLst>
        </pc:spChg>
        <pc:spChg chg="add del mod modVis">
          <ac:chgData name="Joelle Brehm" userId="a518f54c-6985-42c0-8041-2bb16a414839" providerId="ADAL" clId="{5C7B1B84-DD23-48EC-A567-B295FAD2ABAF}" dt="2023-11-08T17:25:24.131" v="49890"/>
          <ac:spMkLst>
            <pc:docMk/>
            <pc:sldMk cId="3635637425" sldId="292"/>
            <ac:spMk id="51" creationId="{9589A704-5D9B-64AD-33A9-A757C4363E71}"/>
          </ac:spMkLst>
        </pc:spChg>
        <pc:spChg chg="add del mod ord replST">
          <ac:chgData name="Joelle Brehm" userId="a518f54c-6985-42c0-8041-2bb16a414839" providerId="ADAL" clId="{5C7B1B84-DD23-48EC-A567-B295FAD2ABAF}" dt="2023-11-08T17:25:27.593" v="49943"/>
          <ac:spMkLst>
            <pc:docMk/>
            <pc:sldMk cId="3635637425" sldId="292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7:25:27.640" v="50044"/>
          <ac:spMkLst>
            <pc:docMk/>
            <pc:sldMk cId="3635637425" sldId="292"/>
            <ac:spMk id="54" creationId="{4BBF8364-90E7-7466-1765-C51ACC394B69}"/>
          </ac:spMkLst>
        </pc:spChg>
        <pc:spChg chg="add del mod modVis">
          <ac:chgData name="Joelle Brehm" userId="a518f54c-6985-42c0-8041-2bb16a414839" providerId="ADAL" clId="{5C7B1B84-DD23-48EC-A567-B295FAD2ABAF}" dt="2023-11-08T17:25:32.826" v="50248"/>
          <ac:spMkLst>
            <pc:docMk/>
            <pc:sldMk cId="3635637425" sldId="292"/>
            <ac:spMk id="58" creationId="{BC3E0896-CF77-68D6-24E7-DEF38A565BA6}"/>
          </ac:spMkLst>
        </pc:spChg>
        <pc:spChg chg="mod ord">
          <ac:chgData name="Joelle Brehm" userId="a518f54c-6985-42c0-8041-2bb16a414839" providerId="ADAL" clId="{5C7B1B84-DD23-48EC-A567-B295FAD2ABAF}" dt="2023-11-08T17:25:32.826" v="50242"/>
          <ac:spMkLst>
            <pc:docMk/>
            <pc:sldMk cId="3635637425" sldId="292"/>
            <ac:spMk id="60" creationId="{8AFF754E-1785-41DB-892C-A30765DCA565}"/>
          </ac:spMkLst>
        </pc:spChg>
        <pc:spChg chg="mod">
          <ac:chgData name="Joelle Brehm" userId="a518f54c-6985-42c0-8041-2bb16a414839" providerId="ADAL" clId="{5C7B1B84-DD23-48EC-A567-B295FAD2ABAF}" dt="2023-11-08T17:25:32.810" v="50201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5C7B1B84-DD23-48EC-A567-B295FAD2ABAF}" dt="2023-11-08T17:25:32.826" v="50221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5C7B1B84-DD23-48EC-A567-B295FAD2ABAF}" dt="2023-11-08T17:25:32.826" v="50223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5C7B1B84-DD23-48EC-A567-B295FAD2ABAF}" dt="2023-11-08T17:25:32.826" v="50225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5C7B1B84-DD23-48EC-A567-B295FAD2ABAF}" dt="2023-11-08T17:25:32.826" v="50227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5C7B1B84-DD23-48EC-A567-B295FAD2ABAF}" dt="2023-11-08T17:25:32.826" v="50229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5C7B1B84-DD23-48EC-A567-B295FAD2ABAF}" dt="2023-11-08T17:25:32.826" v="50231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5C7B1B84-DD23-48EC-A567-B295FAD2ABAF}" dt="2023-11-08T17:25:32.826" v="50234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5:32.826" v="50235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5:32.826" v="50236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8T17:25:32.826" v="50237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5C7B1B84-DD23-48EC-A567-B295FAD2ABAF}" dt="2023-11-08T17:25:32.826" v="50238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5C7B1B84-DD23-48EC-A567-B295FAD2ABAF}" dt="2023-11-08T17:25:32.841" v="50250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5C7B1B84-DD23-48EC-A567-B295FAD2ABAF}" dt="2023-11-08T17:24:49.129" v="48892"/>
          <ac:graphicFrameMkLst>
            <pc:docMk/>
            <pc:sldMk cId="3635637425" sldId="292"/>
            <ac:graphicFrameMk id="8" creationId="{5D380C34-021A-990D-A0DE-DA467FA52F5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5:32.802" v="50178"/>
          <ac:graphicFrameMkLst>
            <pc:docMk/>
            <pc:sldMk cId="3635637425" sldId="292"/>
            <ac:graphicFrameMk id="9" creationId="{69BF27C2-E057-6C5E-DBE5-47659BC3018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5:21.352" v="49534"/>
          <ac:graphicFrameMkLst>
            <pc:docMk/>
            <pc:sldMk cId="3635637425" sldId="292"/>
            <ac:graphicFrameMk id="45" creationId="{BF10CF3D-2B28-B515-537C-1D29A7914A0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5:32.753" v="50164"/>
          <ac:graphicFrameMkLst>
            <pc:docMk/>
            <pc:sldMk cId="3635637425" sldId="292"/>
            <ac:graphicFrameMk id="48" creationId="{0210B1E2-6A8B-20E1-F520-5EDCD282A29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5:24.058" v="49793"/>
          <ac:graphicFrameMkLst>
            <pc:docMk/>
            <pc:sldMk cId="3635637425" sldId="292"/>
            <ac:graphicFrameMk id="50" creationId="{0FDF1C59-D23E-7CF3-F038-7B63E72EF9C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7:25:27.593" v="49960"/>
          <ac:graphicFrameMkLst>
            <pc:docMk/>
            <pc:sldMk cId="3635637425" sldId="292"/>
            <ac:graphicFrameMk id="53" creationId="{26B774B7-72FA-4134-C3A8-8AE70AFB3D39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17:25:20.087" v="49363"/>
          <ac:graphicFrameMkLst>
            <pc:docMk/>
            <pc:sldMk cId="3635637425" sldId="292"/>
            <ac:graphicFrameMk id="55" creationId="{98829F27-71C7-E17A-2F49-6AF3C67D5CD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5:32.810" v="50205"/>
          <ac:graphicFrameMkLst>
            <pc:docMk/>
            <pc:sldMk cId="3635637425" sldId="292"/>
            <ac:graphicFrameMk id="57" creationId="{C87A651D-54D0-6350-6290-D22BEC85FD0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17:25:32.826" v="50233"/>
          <ac:graphicFrameMkLst>
            <pc:docMk/>
            <pc:sldMk cId="3635637425" sldId="292"/>
            <ac:graphicFrameMk id="59" creationId="{19778822-6C42-07B3-C9C4-99FC7883F70A}"/>
          </ac:graphicFrameMkLst>
        </pc:graphicFrameChg>
        <pc:picChg chg="del mod ord">
          <ac:chgData name="Joelle Brehm" userId="a518f54c-6985-42c0-8041-2bb16a414839" providerId="ADAL" clId="{5C7B1B84-DD23-48EC-A567-B295FAD2ABAF}" dt="2023-11-08T17:25:04.966" v="49091" actId="478"/>
          <ac:picMkLst>
            <pc:docMk/>
            <pc:sldMk cId="3635637425" sldId="292"/>
            <ac:picMk id="10" creationId="{2C83AB2C-ED41-8C69-B29E-570A6F026284}"/>
          </ac:picMkLst>
        </pc:picChg>
        <pc:picChg chg="add mod ord">
          <ac:chgData name="Joelle Brehm" userId="a518f54c-6985-42c0-8041-2bb16a414839" providerId="ADAL" clId="{5C7B1B84-DD23-48EC-A567-B295FAD2ABAF}" dt="2023-11-08T17:25:32.802" v="50172"/>
          <ac:picMkLst>
            <pc:docMk/>
            <pc:sldMk cId="3635637425" sldId="292"/>
            <ac:picMk id="31" creationId="{AD74F44D-F4FF-E61D-0D20-783FC9629AAF}"/>
          </ac:picMkLst>
        </pc:picChg>
        <pc:picChg chg="mod ord">
          <ac:chgData name="Joelle Brehm" userId="a518f54c-6985-42c0-8041-2bb16a414839" providerId="ADAL" clId="{5C7B1B84-DD23-48EC-A567-B295FAD2ABAF}" dt="2023-11-08T17:25:32.826" v="50240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5C7B1B84-DD23-48EC-A567-B295FAD2ABAF}" dt="2023-11-08T17:25:32.802" v="50176"/>
          <ac:cxnSpMkLst>
            <pc:docMk/>
            <pc:sldMk cId="3635637425" sldId="292"/>
            <ac:cxnSpMk id="7" creationId="{81C3ADD2-FBA2-4990-9325-1C3084F656B8}"/>
          </ac:cxnSpMkLst>
        </pc:cxnChg>
        <pc:cxnChg chg="add mod ord replST">
          <ac:chgData name="Joelle Brehm" userId="a518f54c-6985-42c0-8041-2bb16a414839" providerId="ADAL" clId="{5C7B1B84-DD23-48EC-A567-B295FAD2ABAF}" dt="2023-11-08T17:25:32.810" v="50207"/>
          <ac:cxnSpMkLst>
            <pc:docMk/>
            <pc:sldMk cId="3635637425" sldId="292"/>
            <ac:cxnSpMk id="56" creationId="{625E8CB2-F185-4EF6-DD0E-476BF068A63B}"/>
          </ac:cxnSpMkLst>
        </pc:cxnChg>
      </pc:sldChg>
      <pc:sldChg chg="addSp delSp modSp mod">
        <pc:chgData name="Joelle Brehm" userId="a518f54c-6985-42c0-8041-2bb16a414839" providerId="ADAL" clId="{5C7B1B84-DD23-48EC-A567-B295FAD2ABAF}" dt="2023-11-06T21:18:32.610" v="772" actId="478"/>
        <pc:sldMkLst>
          <pc:docMk/>
          <pc:sldMk cId="4143996880" sldId="293"/>
        </pc:sldMkLst>
        <pc:spChg chg="mod ord">
          <ac:chgData name="Joelle Brehm" userId="a518f54c-6985-42c0-8041-2bb16a414839" providerId="ADAL" clId="{5C7B1B84-DD23-48EC-A567-B295FAD2ABAF}" dt="2023-11-06T21:18:30.905" v="765"/>
          <ac:spMkLst>
            <pc:docMk/>
            <pc:sldMk cId="4143996880" sldId="293"/>
            <ac:spMk id="2" creationId="{01E014B2-1FBF-48C6-9093-6CFE20AFFCCE}"/>
          </ac:spMkLst>
        </pc:spChg>
        <pc:spChg chg="mod ord">
          <ac:chgData name="Joelle Brehm" userId="a518f54c-6985-42c0-8041-2bb16a414839" providerId="ADAL" clId="{5C7B1B84-DD23-48EC-A567-B295FAD2ABAF}" dt="2023-11-06T21:18:30.896" v="740"/>
          <ac:spMkLst>
            <pc:docMk/>
            <pc:sldMk cId="4143996880" sldId="293"/>
            <ac:spMk id="5" creationId="{7B827F87-784E-46DA-B4AC-26C5F16C015D}"/>
          </ac:spMkLst>
        </pc:spChg>
        <pc:spChg chg="add del mod">
          <ac:chgData name="Joelle Brehm" userId="a518f54c-6985-42c0-8041-2bb16a414839" providerId="ADAL" clId="{5C7B1B84-DD23-48EC-A567-B295FAD2ABAF}" dt="2023-11-06T21:17:55.023" v="436" actId="478"/>
          <ac:spMkLst>
            <pc:docMk/>
            <pc:sldMk cId="4143996880" sldId="293"/>
            <ac:spMk id="7" creationId="{C416736B-981E-6248-CABE-37102F89B825}"/>
          </ac:spMkLst>
        </pc:spChg>
        <pc:spChg chg="mod">
          <ac:chgData name="Joelle Brehm" userId="a518f54c-6985-42c0-8041-2bb16a414839" providerId="ADAL" clId="{5C7B1B84-DD23-48EC-A567-B295FAD2ABAF}" dt="2023-11-06T21:18:30.900" v="749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5C7B1B84-DD23-48EC-A567-B295FAD2ABAF}" dt="2023-11-06T21:18:30.898" v="745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5C7B1B84-DD23-48EC-A567-B295FAD2ABAF}" dt="2023-11-06T21:18:30.898" v="743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5C7B1B84-DD23-48EC-A567-B295FAD2ABAF}" dt="2023-11-06T21:18:30.898" v="744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5C7B1B84-DD23-48EC-A567-B295FAD2ABAF}" dt="2023-11-06T21:18:30.899" v="746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5C7B1B84-DD23-48EC-A567-B295FAD2ABAF}" dt="2023-11-06T21:18:30.901" v="752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5C7B1B84-DD23-48EC-A567-B295FAD2ABAF}" dt="2023-11-06T21:18:30.899" v="747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5C7B1B84-DD23-48EC-A567-B295FAD2ABAF}" dt="2023-11-06T21:18:30.900" v="750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5C7B1B84-DD23-48EC-A567-B295FAD2ABAF}" dt="2023-11-06T21:18:30.899" v="748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5C7B1B84-DD23-48EC-A567-B295FAD2ABAF}" dt="2023-11-06T21:18:30.900" v="751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5C7B1B84-DD23-48EC-A567-B295FAD2ABAF}" dt="2023-11-06T21:18:30.901" v="753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5C7B1B84-DD23-48EC-A567-B295FAD2ABAF}" dt="2023-11-06T21:18:30.901" v="754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5C7B1B84-DD23-48EC-A567-B295FAD2ABAF}" dt="2023-11-06T21:18:30.902" v="756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5C7B1B84-DD23-48EC-A567-B295FAD2ABAF}" dt="2023-11-06T21:18:30.903" v="758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5C7B1B84-DD23-48EC-A567-B295FAD2ABAF}" dt="2023-11-06T21:18:18.710" v="728"/>
          <ac:spMkLst>
            <pc:docMk/>
            <pc:sldMk cId="4143996880" sldId="293"/>
            <ac:spMk id="24" creationId="{BCEB201A-F7F7-6481-E43E-9D8545612E97}"/>
          </ac:spMkLst>
        </pc:spChg>
        <pc:spChg chg="mod ord">
          <ac:chgData name="Joelle Brehm" userId="a518f54c-6985-42c0-8041-2bb16a414839" providerId="ADAL" clId="{5C7B1B84-DD23-48EC-A567-B295FAD2ABAF}" dt="2023-11-06T21:18:30.905" v="767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5C7B1B84-DD23-48EC-A567-B295FAD2ABAF}" dt="2023-11-06T21:18:30.903" v="760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5C7B1B84-DD23-48EC-A567-B295FAD2ABAF}" dt="2023-11-06T21:18:30.904" v="762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5C7B1B84-DD23-48EC-A567-B295FAD2ABAF}" dt="2023-11-06T21:18:30.914" v="771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6T21:18:18.677" v="685"/>
          <ac:graphicFrameMkLst>
            <pc:docMk/>
            <pc:sldMk cId="4143996880" sldId="293"/>
            <ac:graphicFrameMk id="23" creationId="{106ACE06-1B69-4EC2-D095-828673F40BDB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6T21:18:30.897" v="742"/>
          <ac:graphicFrameMkLst>
            <pc:docMk/>
            <pc:sldMk cId="4143996880" sldId="293"/>
            <ac:graphicFrameMk id="25" creationId="{7249B423-D810-5A8C-F07B-C9DEA7C0B34C}"/>
          </ac:graphicFrameMkLst>
        </pc:graphicFrameChg>
        <pc:picChg chg="del mod ord">
          <ac:chgData name="Joelle Brehm" userId="a518f54c-6985-42c0-8041-2bb16a414839" providerId="ADAL" clId="{5C7B1B84-DD23-48EC-A567-B295FAD2ABAF}" dt="2023-11-06T21:18:32.610" v="772" actId="478"/>
          <ac:picMkLst>
            <pc:docMk/>
            <pc:sldMk cId="4143996880" sldId="293"/>
            <ac:picMk id="3" creationId="{AD019C9F-C8E7-D4E7-8408-5C6469EE8E3F}"/>
          </ac:picMkLst>
        </pc:picChg>
        <pc:picChg chg="del mod ord">
          <ac:chgData name="Joelle Brehm" userId="a518f54c-6985-42c0-8041-2bb16a414839" providerId="ADAL" clId="{5C7B1B84-DD23-48EC-A567-B295FAD2ABAF}" dt="2023-11-06T21:18:03.801" v="478" actId="478"/>
          <ac:picMkLst>
            <pc:docMk/>
            <pc:sldMk cId="4143996880" sldId="293"/>
            <ac:picMk id="6" creationId="{5A169DA3-D938-E1A8-E63B-53E1166B7B23}"/>
          </ac:picMkLst>
        </pc:picChg>
        <pc:picChg chg="add mod ord">
          <ac:chgData name="Joelle Brehm" userId="a518f54c-6985-42c0-8041-2bb16a414839" providerId="ADAL" clId="{5C7B1B84-DD23-48EC-A567-B295FAD2ABAF}" dt="2023-11-06T21:18:30.894" v="736"/>
          <ac:picMkLst>
            <pc:docMk/>
            <pc:sldMk cId="4143996880" sldId="293"/>
            <ac:picMk id="22" creationId="{014A4CD5-105F-84FA-E247-839AFB415315}"/>
          </ac:picMkLst>
        </pc:picChg>
        <pc:picChg chg="add mod ord">
          <ac:chgData name="Joelle Brehm" userId="a518f54c-6985-42c0-8041-2bb16a414839" providerId="ADAL" clId="{5C7B1B84-DD23-48EC-A567-B295FAD2ABAF}" dt="2023-11-06T21:18:30.893" v="734"/>
          <ac:picMkLst>
            <pc:docMk/>
            <pc:sldMk cId="4143996880" sldId="293"/>
            <ac:picMk id="26" creationId="{B999B45F-DF76-3CCC-73E5-A0E9F6302D4B}"/>
          </ac:picMkLst>
        </pc:picChg>
        <pc:picChg chg="mod">
          <ac:chgData name="Joelle Brehm" userId="a518f54c-6985-42c0-8041-2bb16a414839" providerId="ADAL" clId="{5C7B1B84-DD23-48EC-A567-B295FAD2ABAF}" dt="2023-11-06T21:18:30.904" v="763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5C7B1B84-DD23-48EC-A567-B295FAD2ABAF}" dt="2023-11-08T22:34:57.731" v="57626" actId="20577"/>
        <pc:sldMkLst>
          <pc:docMk/>
          <pc:sldMk cId="1958469684" sldId="294"/>
        </pc:sldMkLst>
        <pc:spChg chg="add del mod">
          <ac:chgData name="Joelle Brehm" userId="a518f54c-6985-42c0-8041-2bb16a414839" providerId="ADAL" clId="{5C7B1B84-DD23-48EC-A567-B295FAD2ABAF}" dt="2023-11-08T22:32:27.010" v="57344" actId="478"/>
          <ac:spMkLst>
            <pc:docMk/>
            <pc:sldMk cId="1958469684" sldId="294"/>
            <ac:spMk id="2" creationId="{571853A9-D09D-8307-D671-8D66EAA24CCD}"/>
          </ac:spMkLst>
        </pc:spChg>
        <pc:spChg chg="mod">
          <ac:chgData name="Joelle Brehm" userId="a518f54c-6985-42c0-8041-2bb16a414839" providerId="ADAL" clId="{5C7B1B84-DD23-48EC-A567-B295FAD2ABAF}" dt="2023-11-08T22:34:02.586" v="57568" actId="20577"/>
          <ac:spMkLst>
            <pc:docMk/>
            <pc:sldMk cId="1958469684" sldId="294"/>
            <ac:spMk id="7" creationId="{51E2C65D-B485-4A8E-B9D3-B9B0B3778A68}"/>
          </ac:spMkLst>
        </pc:spChg>
        <pc:spChg chg="mod">
          <ac:chgData name="Joelle Brehm" userId="a518f54c-6985-42c0-8041-2bb16a414839" providerId="ADAL" clId="{5C7B1B84-DD23-48EC-A567-B295FAD2ABAF}" dt="2023-11-08T22:34:57.731" v="57626" actId="20577"/>
          <ac:spMkLst>
            <pc:docMk/>
            <pc:sldMk cId="1958469684" sldId="294"/>
            <ac:spMk id="9" creationId="{69B02446-E7CD-4AE5-9EF3-A1D1E490EA5B}"/>
          </ac:spMkLst>
        </pc:spChg>
      </pc:sldChg>
      <pc:sldChg chg="addSp delSp modSp mod">
        <pc:chgData name="Joelle Brehm" userId="a518f54c-6985-42c0-8041-2bb16a414839" providerId="ADAL" clId="{5C7B1B84-DD23-48EC-A567-B295FAD2ABAF}" dt="2023-11-07T21:42:01.833" v="6525"/>
        <pc:sldMkLst>
          <pc:docMk/>
          <pc:sldMk cId="77660323" sldId="295"/>
        </pc:sldMkLst>
        <pc:spChg chg="add del mod">
          <ac:chgData name="Joelle Brehm" userId="a518f54c-6985-42c0-8041-2bb16a414839" providerId="ADAL" clId="{5C7B1B84-DD23-48EC-A567-B295FAD2ABAF}" dt="2023-11-07T21:19:35.598" v="774" actId="478"/>
          <ac:spMkLst>
            <pc:docMk/>
            <pc:sldMk cId="77660323" sldId="295"/>
            <ac:spMk id="2" creationId="{15B90F2F-AB08-347F-863B-B001DD3712DE}"/>
          </ac:spMkLst>
        </pc:spChg>
        <pc:spChg chg="mod ord">
          <ac:chgData name="Joelle Brehm" userId="a518f54c-6985-42c0-8041-2bb16a414839" providerId="ADAL" clId="{5C7B1B84-DD23-48EC-A567-B295FAD2ABAF}" dt="2023-11-07T21:42:01.786" v="6411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5C7B1B84-DD23-48EC-A567-B295FAD2ABAF}" dt="2023-11-07T21:42:01.786" v="6437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5C7B1B84-DD23-48EC-A567-B295FAD2ABAF}" dt="2023-11-07T21:42:01.786" v="6438"/>
          <ac:spMkLst>
            <pc:docMk/>
            <pc:sldMk cId="77660323" sldId="295"/>
            <ac:spMk id="7" creationId="{AC248985-01B4-CD8C-E025-DF4D35603919}"/>
          </ac:spMkLst>
        </pc:spChg>
        <pc:spChg chg="mod">
          <ac:chgData name="Joelle Brehm" userId="a518f54c-6985-42c0-8041-2bb16a414839" providerId="ADAL" clId="{5C7B1B84-DD23-48EC-A567-B295FAD2ABAF}" dt="2023-11-07T21:42:01.786" v="6442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5C7B1B84-DD23-48EC-A567-B295FAD2ABAF}" dt="2023-11-07T21:42:01.786" v="6441"/>
          <ac:spMkLst>
            <pc:docMk/>
            <pc:sldMk cId="77660323" sldId="295"/>
            <ac:spMk id="9" creationId="{5B920F75-31B6-8B4B-7E2C-665E8C04F047}"/>
          </ac:spMkLst>
        </pc:spChg>
        <pc:spChg chg="add mod replST">
          <ac:chgData name="Joelle Brehm" userId="a518f54c-6985-42c0-8041-2bb16a414839" providerId="ADAL" clId="{5C7B1B84-DD23-48EC-A567-B295FAD2ABAF}" dt="2023-11-07T21:42:01.786" v="6443"/>
          <ac:spMkLst>
            <pc:docMk/>
            <pc:sldMk cId="77660323" sldId="295"/>
            <ac:spMk id="10" creationId="{99AAF5F5-7487-DDF7-D317-1B4F799ACEB6}"/>
          </ac:spMkLst>
        </pc:spChg>
        <pc:spChg chg="mod">
          <ac:chgData name="Joelle Brehm" userId="a518f54c-6985-42c0-8041-2bb16a414839" providerId="ADAL" clId="{5C7B1B84-DD23-48EC-A567-B295FAD2ABAF}" dt="2023-11-07T21:42:01.786" v="6440"/>
          <ac:spMkLst>
            <pc:docMk/>
            <pc:sldMk cId="77660323" sldId="295"/>
            <ac:spMk id="11" creationId="{4D142ECA-E2D8-9285-6C24-1D82A2038821}"/>
          </ac:spMkLst>
        </pc:spChg>
        <pc:spChg chg="add del mod modVis">
          <ac:chgData name="Joelle Brehm" userId="a518f54c-6985-42c0-8041-2bb16a414839" providerId="ADAL" clId="{5C7B1B84-DD23-48EC-A567-B295FAD2ABAF}" dt="2023-11-07T21:20:51.104" v="1223"/>
          <ac:spMkLst>
            <pc:docMk/>
            <pc:sldMk cId="77660323" sldId="295"/>
            <ac:spMk id="12" creationId="{A7E8AF8B-1770-1EEC-CBBD-FEBFE406A8AA}"/>
          </ac:spMkLst>
        </pc:spChg>
        <pc:spChg chg="add del mod modVis">
          <ac:chgData name="Joelle Brehm" userId="a518f54c-6985-42c0-8041-2bb16a414839" providerId="ADAL" clId="{5C7B1B84-DD23-48EC-A567-B295FAD2ABAF}" dt="2023-11-07T21:20:53.507" v="1495"/>
          <ac:spMkLst>
            <pc:docMk/>
            <pc:sldMk cId="77660323" sldId="295"/>
            <ac:spMk id="14" creationId="{47B03AE4-0B1E-C52E-B8A8-8496BD26FE18}"/>
          </ac:spMkLst>
        </pc:spChg>
        <pc:spChg chg="mod">
          <ac:chgData name="Joelle Brehm" userId="a518f54c-6985-42c0-8041-2bb16a414839" providerId="ADAL" clId="{5C7B1B84-DD23-48EC-A567-B295FAD2ABAF}" dt="2023-11-07T21:42:01.802" v="6475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5C7B1B84-DD23-48EC-A567-B295FAD2ABAF}" dt="2023-11-07T21:42:01.802" v="6476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5C7B1B84-DD23-48EC-A567-B295FAD2ABAF}" dt="2023-11-07T21:42:01.786" v="6439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5C7B1B84-DD23-48EC-A567-B295FAD2ABAF}" dt="2023-11-07T21:21:09.526" v="1726"/>
          <ac:spMkLst>
            <pc:docMk/>
            <pc:sldMk cId="77660323" sldId="295"/>
            <ac:spMk id="21" creationId="{011D0B8B-5BF5-EDBA-0F2D-72A33E7C5287}"/>
          </ac:spMkLst>
        </pc:spChg>
        <pc:spChg chg="mod">
          <ac:chgData name="Joelle Brehm" userId="a518f54c-6985-42c0-8041-2bb16a414839" providerId="ADAL" clId="{5C7B1B84-DD23-48EC-A567-B295FAD2ABAF}" dt="2023-11-07T21:42:01.786" v="6425"/>
          <ac:spMkLst>
            <pc:docMk/>
            <pc:sldMk cId="77660323" sldId="295"/>
            <ac:spMk id="2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27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504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5C7B1B84-DD23-48EC-A567-B295FAD2ABAF}" dt="2023-11-07T21:42:01.802" v="6477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5C7B1B84-DD23-48EC-A567-B295FAD2ABAF}" dt="2023-11-07T21:42:01.786" v="6429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31"/>
          <ac:spMkLst>
            <pc:docMk/>
            <pc:sldMk cId="77660323" sldId="295"/>
            <ac:spMk id="28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80"/>
          <ac:spMkLst>
            <pc:docMk/>
            <pc:sldMk cId="77660323" sldId="295"/>
            <ac:spMk id="29" creationId="{C91EE372-B381-84BD-F7CD-1CD5DBB058DB}"/>
          </ac:spMkLst>
        </pc:spChg>
        <pc:spChg chg="mod">
          <ac:chgData name="Joelle Brehm" userId="a518f54c-6985-42c0-8041-2bb16a414839" providerId="ADAL" clId="{5C7B1B84-DD23-48EC-A567-B295FAD2ABAF}" dt="2023-11-07T21:42:01.802" v="6478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5C7B1B84-DD23-48EC-A567-B295FAD2ABAF}" dt="2023-11-07T21:42:01.802" v="6460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79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5C7B1B84-DD23-48EC-A567-B295FAD2ABAF}" dt="2023-11-07T21:42:01.802" v="6461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1:21:46.051" v="1995"/>
          <ac:spMkLst>
            <pc:docMk/>
            <pc:sldMk cId="77660323" sldId="295"/>
            <ac:spMk id="34" creationId="{B0F434CB-B3B3-AAC0-4F44-D25096A5FACD}"/>
          </ac:spMkLst>
        </pc:spChg>
        <pc:spChg chg="add del mod modVis">
          <ac:chgData name="Joelle Brehm" userId="a518f54c-6985-42c0-8041-2bb16a414839" providerId="ADAL" clId="{5C7B1B84-DD23-48EC-A567-B295FAD2ABAF}" dt="2023-11-07T21:21:55.643" v="2282"/>
          <ac:spMkLst>
            <pc:docMk/>
            <pc:sldMk cId="77660323" sldId="295"/>
            <ac:spMk id="36" creationId="{89AE0731-0AE3-EE08-9A5E-EF6326DB3838}"/>
          </ac:spMkLst>
        </pc:spChg>
        <pc:spChg chg="add del mod modVis">
          <ac:chgData name="Joelle Brehm" userId="a518f54c-6985-42c0-8041-2bb16a414839" providerId="ADAL" clId="{5C7B1B84-DD23-48EC-A567-B295FAD2ABAF}" dt="2023-11-07T21:22:05.464" v="2571"/>
          <ac:spMkLst>
            <pc:docMk/>
            <pc:sldMk cId="77660323" sldId="295"/>
            <ac:spMk id="38" creationId="{C9097A8E-6CB7-E39C-35F3-1FA3CBCEA94B}"/>
          </ac:spMkLst>
        </pc:spChg>
        <pc:spChg chg="add del mod modVis">
          <ac:chgData name="Joelle Brehm" userId="a518f54c-6985-42c0-8041-2bb16a414839" providerId="ADAL" clId="{5C7B1B84-DD23-48EC-A567-B295FAD2ABAF}" dt="2023-11-07T21:22:09.541" v="2820"/>
          <ac:spMkLst>
            <pc:docMk/>
            <pc:sldMk cId="77660323" sldId="295"/>
            <ac:spMk id="40" creationId="{A7509EE5-8C60-F829-F34E-CE4780236E05}"/>
          </ac:spMkLst>
        </pc:spChg>
        <pc:spChg chg="mod">
          <ac:chgData name="Joelle Brehm" userId="a518f54c-6985-42c0-8041-2bb16a414839" providerId="ADAL" clId="{5C7B1B84-DD23-48EC-A567-B295FAD2ABAF}" dt="2023-11-07T21:42:01.802" v="6462"/>
          <ac:spMkLst>
            <pc:docMk/>
            <pc:sldMk cId="77660323" sldId="295"/>
            <ac:spMk id="42" creationId="{A32B7D8C-DAE5-D336-7D31-9ECFB1F6E20C}"/>
          </ac:spMkLst>
        </pc:spChg>
        <pc:spChg chg="mod">
          <ac:chgData name="Joelle Brehm" userId="a518f54c-6985-42c0-8041-2bb16a414839" providerId="ADAL" clId="{5C7B1B84-DD23-48EC-A567-B295FAD2ABAF}" dt="2023-11-07T21:42:01.802" v="6507"/>
          <ac:spMkLst>
            <pc:docMk/>
            <pc:sldMk cId="77660323" sldId="295"/>
            <ac:spMk id="43" creationId="{CB71E880-BE37-7B61-FE93-B2CADB32B81F}"/>
          </ac:spMkLst>
        </pc:spChg>
        <pc:spChg chg="add mod replST">
          <ac:chgData name="Joelle Brehm" userId="a518f54c-6985-42c0-8041-2bb16a414839" providerId="ADAL" clId="{5C7B1B84-DD23-48EC-A567-B295FAD2ABAF}" dt="2023-11-07T21:42:01.802" v="6481"/>
          <ac:spMkLst>
            <pc:docMk/>
            <pc:sldMk cId="77660323" sldId="295"/>
            <ac:spMk id="44" creationId="{DAA4D810-B73F-CB1C-C983-F6E311360F17}"/>
          </ac:spMkLst>
        </pc:spChg>
        <pc:spChg chg="mod">
          <ac:chgData name="Joelle Brehm" userId="a518f54c-6985-42c0-8041-2bb16a414839" providerId="ADAL" clId="{5C7B1B84-DD23-48EC-A567-B295FAD2ABAF}" dt="2023-11-07T21:42:01.802" v="6505"/>
          <ac:spMkLst>
            <pc:docMk/>
            <pc:sldMk cId="77660323" sldId="295"/>
            <ac:spMk id="45" creationId="{7B959589-9B04-0960-03A9-FE10F7C63094}"/>
          </ac:spMkLst>
        </pc:spChg>
        <pc:spChg chg="add del mod modVis">
          <ac:chgData name="Joelle Brehm" userId="a518f54c-6985-42c0-8041-2bb16a414839" providerId="ADAL" clId="{5C7B1B84-DD23-48EC-A567-B295FAD2ABAF}" dt="2023-11-07T21:22:34.594" v="3293"/>
          <ac:spMkLst>
            <pc:docMk/>
            <pc:sldMk cId="77660323" sldId="295"/>
            <ac:spMk id="46" creationId="{336A94E5-A4C2-87A3-DB0E-5B716A1DE374}"/>
          </ac:spMkLst>
        </pc:spChg>
        <pc:spChg chg="mod">
          <ac:chgData name="Joelle Brehm" userId="a518f54c-6985-42c0-8041-2bb16a414839" providerId="ADAL" clId="{5C7B1B84-DD23-48EC-A567-B295FAD2ABAF}" dt="2023-11-07T21:42:01.802" v="6503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5C7B1B84-DD23-48EC-A567-B295FAD2ABAF}" dt="2023-11-07T21:42:01.802" v="6506"/>
          <ac:spMkLst>
            <pc:docMk/>
            <pc:sldMk cId="77660323" sldId="295"/>
            <ac:spMk id="50" creationId="{9C4E0A27-B851-CA4B-F20B-9C8B969774DC}"/>
          </ac:spMkLst>
        </pc:spChg>
        <pc:spChg chg="mod">
          <ac:chgData name="Joelle Brehm" userId="a518f54c-6985-42c0-8041-2bb16a414839" providerId="ADAL" clId="{5C7B1B84-DD23-48EC-A567-B295FAD2ABAF}" dt="2023-11-07T21:42:01.802" v="6508"/>
          <ac:spMkLst>
            <pc:docMk/>
            <pc:sldMk cId="77660323" sldId="295"/>
            <ac:spMk id="53" creationId="{5EB6D661-779B-2B02-EA15-90F2D9CEB9D2}"/>
          </ac:spMkLst>
        </pc:spChg>
        <pc:spChg chg="add del mod modVis">
          <ac:chgData name="Joelle Brehm" userId="a518f54c-6985-42c0-8041-2bb16a414839" providerId="ADAL" clId="{5C7B1B84-DD23-48EC-A567-B295FAD2ABAF}" dt="2023-11-07T21:22:37.280" v="3545"/>
          <ac:spMkLst>
            <pc:docMk/>
            <pc:sldMk cId="77660323" sldId="295"/>
            <ac:spMk id="54" creationId="{D9B29614-D5AA-BF11-2EA9-F08287345A8C}"/>
          </ac:spMkLst>
        </pc:spChg>
        <pc:spChg chg="add del mod modVis">
          <ac:chgData name="Joelle Brehm" userId="a518f54c-6985-42c0-8041-2bb16a414839" providerId="ADAL" clId="{5C7B1B84-DD23-48EC-A567-B295FAD2ABAF}" dt="2023-11-07T21:22:43.604" v="3848"/>
          <ac:spMkLst>
            <pc:docMk/>
            <pc:sldMk cId="77660323" sldId="295"/>
            <ac:spMk id="57" creationId="{49EE7DAE-2643-A609-8091-7E296AD84D9D}"/>
          </ac:spMkLst>
        </pc:spChg>
        <pc:spChg chg="add del mod ord replST">
          <ac:chgData name="Joelle Brehm" userId="a518f54c-6985-42c0-8041-2bb16a414839" providerId="ADAL" clId="{5C7B1B84-DD23-48EC-A567-B295FAD2ABAF}" dt="2023-11-07T21:23:02.602" v="4472"/>
          <ac:spMkLst>
            <pc:docMk/>
            <pc:sldMk cId="77660323" sldId="295"/>
            <ac:spMk id="58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1:22:46.166" v="4056"/>
          <ac:spMkLst>
            <pc:docMk/>
            <pc:sldMk cId="77660323" sldId="295"/>
            <ac:spMk id="61" creationId="{4E2E80BE-221E-B7B1-7958-0A958102B9E2}"/>
          </ac:spMkLst>
        </pc:spChg>
        <pc:spChg chg="add del mod modVis">
          <ac:chgData name="Joelle Brehm" userId="a518f54c-6985-42c0-8041-2bb16a414839" providerId="ADAL" clId="{5C7B1B84-DD23-48EC-A567-B295FAD2ABAF}" dt="2023-11-07T21:22:51.226" v="4236"/>
          <ac:spMkLst>
            <pc:docMk/>
            <pc:sldMk cId="77660323" sldId="295"/>
            <ac:spMk id="63" creationId="{7EA96CBD-2276-0A2D-801D-30309A22B06A}"/>
          </ac:spMkLst>
        </pc:spChg>
        <pc:spChg chg="del mod">
          <ac:chgData name="Joelle Brehm" userId="a518f54c-6985-42c0-8041-2bb16a414839" providerId="ADAL" clId="{5C7B1B84-DD23-48EC-A567-B295FAD2ABAF}" dt="2023-11-07T21:23:27.495" v="5426"/>
          <ac:spMkLst>
            <pc:docMk/>
            <pc:sldMk cId="77660323" sldId="295"/>
            <ac:spMk id="81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98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99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500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501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502"/>
          <ac:spMkLst>
            <pc:docMk/>
            <pc:sldMk cId="77660323" sldId="295"/>
            <ac:spMk id="87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1:42:01.786" v="6417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5C7B1B84-DD23-48EC-A567-B295FAD2ABAF}" dt="2023-11-07T21:42:01.786" v="6419"/>
          <ac:spMkLst>
            <pc:docMk/>
            <pc:sldMk cId="77660323" sldId="295"/>
            <ac:spMk id="97" creationId="{64B2B8D7-E8A8-4757-99A4-69F1EAA48321}"/>
          </ac:spMkLst>
        </pc:spChg>
        <pc:spChg chg="mod">
          <ac:chgData name="Joelle Brehm" userId="a518f54c-6985-42c0-8041-2bb16a414839" providerId="ADAL" clId="{5C7B1B84-DD23-48EC-A567-B295FAD2ABAF}" dt="2023-11-07T21:42:01.786" v="6424"/>
          <ac:spMkLst>
            <pc:docMk/>
            <pc:sldMk cId="77660323" sldId="295"/>
            <ac:spMk id="100" creationId="{7CAA3B95-4C78-4122-BECA-B5FB0F3F3764}"/>
          </ac:spMkLst>
        </pc:spChg>
        <pc:spChg chg="del mod">
          <ac:chgData name="Joelle Brehm" userId="a518f54c-6985-42c0-8041-2bb16a414839" providerId="ADAL" clId="{5C7B1B84-DD23-48EC-A567-B295FAD2ABAF}" dt="2023-11-07T21:20:53.259" v="1226"/>
          <ac:spMkLst>
            <pc:docMk/>
            <pc:sldMk cId="77660323" sldId="295"/>
            <ac:spMk id="101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32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1:42:01.786" v="6413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5C7B1B84-DD23-48EC-A567-B295FAD2ABAF}" dt="2023-11-07T21:42:01.786" v="6426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33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34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35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36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28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786" v="6430"/>
          <ac:spMkLst>
            <pc:docMk/>
            <pc:sldMk cId="77660323" sldId="295"/>
            <ac:spMk id="136" creationId="{7CAA3B95-4C78-4122-BECA-B5FB0F3F3764}"/>
          </ac:spMkLst>
        </pc:spChg>
        <pc:spChg chg="del mod">
          <ac:chgData name="Joelle Brehm" userId="a518f54c-6985-42c0-8041-2bb16a414839" providerId="ADAL" clId="{5C7B1B84-DD23-48EC-A567-B295FAD2ABAF}" dt="2023-11-07T21:20:53.335" v="1266"/>
          <ac:spMkLst>
            <pc:docMk/>
            <pc:sldMk cId="77660323" sldId="295"/>
            <ac:spMk id="154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1:42:01.786" v="6421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5C7B1B84-DD23-48EC-A567-B295FAD2ABAF}" dt="2023-11-07T21:42:01.802" v="6465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5C7B1B84-DD23-48EC-A567-B295FAD2ABAF}" dt="2023-11-07T21:42:01.802" v="6488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5C7B1B84-DD23-48EC-A567-B295FAD2ABAF}" dt="2023-11-07T21:42:01.802" v="6489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5C7B1B84-DD23-48EC-A567-B295FAD2ABAF}" dt="2023-11-07T21:42:01.818" v="6518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5C7B1B84-DD23-48EC-A567-B295FAD2ABAF}" dt="2023-11-07T21:42:01.818" v="6519"/>
          <ac:spMkLst>
            <pc:docMk/>
            <pc:sldMk cId="77660323" sldId="295"/>
            <ac:spMk id="402" creationId="{54A50511-8137-91F0-6AA8-1D657EEE3E68}"/>
          </ac:spMkLst>
        </pc:spChg>
        <pc:spChg chg="add del mod modVis">
          <ac:chgData name="Joelle Brehm" userId="a518f54c-6985-42c0-8041-2bb16a414839" providerId="ADAL" clId="{5C7B1B84-DD23-48EC-A567-B295FAD2ABAF}" dt="2023-11-07T21:22:54.801" v="4414"/>
          <ac:spMkLst>
            <pc:docMk/>
            <pc:sldMk cId="77660323" sldId="295"/>
            <ac:spMk id="449" creationId="{B6E5CB0F-2D6D-A2C6-848A-D9C24CECECEA}"/>
          </ac:spMkLst>
        </pc:spChg>
        <pc:spChg chg="add del mod modVis">
          <ac:chgData name="Joelle Brehm" userId="a518f54c-6985-42c0-8041-2bb16a414839" providerId="ADAL" clId="{5C7B1B84-DD23-48EC-A567-B295FAD2ABAF}" dt="2023-11-07T21:23:02.682" v="4590"/>
          <ac:spMkLst>
            <pc:docMk/>
            <pc:sldMk cId="77660323" sldId="295"/>
            <ac:spMk id="451" creationId="{8A8DCD66-0BEC-A5C5-CD28-416A6B519043}"/>
          </ac:spMkLst>
        </pc:spChg>
        <pc:spChg chg="add del mod modVis">
          <ac:chgData name="Joelle Brehm" userId="a518f54c-6985-42c0-8041-2bb16a414839" providerId="ADAL" clId="{5C7B1B84-DD23-48EC-A567-B295FAD2ABAF}" dt="2023-11-07T21:23:07.807" v="4765"/>
          <ac:spMkLst>
            <pc:docMk/>
            <pc:sldMk cId="77660323" sldId="295"/>
            <ac:spMk id="454" creationId="{27EE29AE-5964-3511-25F9-783821D3AB80}"/>
          </ac:spMkLst>
        </pc:spChg>
        <pc:spChg chg="add del mod modVis">
          <ac:chgData name="Joelle Brehm" userId="a518f54c-6985-42c0-8041-2bb16a414839" providerId="ADAL" clId="{5C7B1B84-DD23-48EC-A567-B295FAD2ABAF}" dt="2023-11-07T21:23:10.048" v="4936"/>
          <ac:spMkLst>
            <pc:docMk/>
            <pc:sldMk cId="77660323" sldId="295"/>
            <ac:spMk id="456" creationId="{9AC0EA3B-C8FA-55E3-3507-9626578D9179}"/>
          </ac:spMkLst>
        </pc:spChg>
        <pc:spChg chg="add mod replST">
          <ac:chgData name="Joelle Brehm" userId="a518f54c-6985-42c0-8041-2bb16a414839" providerId="ADAL" clId="{5C7B1B84-DD23-48EC-A567-B295FAD2ABAF}" dt="2023-11-07T21:42:01.802" v="6509"/>
          <ac:spMkLst>
            <pc:docMk/>
            <pc:sldMk cId="77660323" sldId="295"/>
            <ac:spMk id="458" creationId="{C5443A0C-8372-D652-291B-09D997CCB0D0}"/>
          </ac:spMkLst>
        </pc:spChg>
        <pc:spChg chg="add del mod modVis">
          <ac:chgData name="Joelle Brehm" userId="a518f54c-6985-42c0-8041-2bb16a414839" providerId="ADAL" clId="{5C7B1B84-DD23-48EC-A567-B295FAD2ABAF}" dt="2023-11-07T21:23:25.304" v="5423"/>
          <ac:spMkLst>
            <pc:docMk/>
            <pc:sldMk cId="77660323" sldId="295"/>
            <ac:spMk id="459" creationId="{932398D4-5C50-F50C-97EF-751A9BF45247}"/>
          </ac:spMkLst>
        </pc:spChg>
        <pc:spChg chg="add del mod modVis">
          <ac:chgData name="Joelle Brehm" userId="a518f54c-6985-42c0-8041-2bb16a414839" providerId="ADAL" clId="{5C7B1B84-DD23-48EC-A567-B295FAD2ABAF}" dt="2023-11-07T21:23:27.916" v="5746"/>
          <ac:spMkLst>
            <pc:docMk/>
            <pc:sldMk cId="77660323" sldId="295"/>
            <ac:spMk id="463" creationId="{66A29C5A-1876-5583-C318-E0D96379ECB9}"/>
          </ac:spMkLst>
        </pc:spChg>
        <pc:spChg chg="add mod ord replST">
          <ac:chgData name="Joelle Brehm" userId="a518f54c-6985-42c0-8041-2bb16a414839" providerId="ADAL" clId="{5C7B1B84-DD23-48EC-A567-B295FAD2ABAF}" dt="2023-11-07T21:42:01.818" v="6511"/>
          <ac:spMkLst>
            <pc:docMk/>
            <pc:sldMk cId="77660323" sldId="295"/>
            <ac:spMk id="464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7T21:23:34.044" v="5960"/>
          <ac:spMkLst>
            <pc:docMk/>
            <pc:sldMk cId="77660323" sldId="295"/>
            <ac:spMk id="466" creationId="{F0A2227E-2C99-8E19-DFE7-0AA131C95B28}"/>
          </ac:spMkLst>
        </pc:spChg>
        <pc:spChg chg="add del mod modVis">
          <ac:chgData name="Joelle Brehm" userId="a518f54c-6985-42c0-8041-2bb16a414839" providerId="ADAL" clId="{5C7B1B84-DD23-48EC-A567-B295FAD2ABAF}" dt="2023-11-07T21:23:37.438" v="6189"/>
          <ac:spMkLst>
            <pc:docMk/>
            <pc:sldMk cId="77660323" sldId="295"/>
            <ac:spMk id="468" creationId="{E1D582E4-CE77-EA79-3FC8-3B532EB516E7}"/>
          </ac:spMkLst>
        </pc:spChg>
        <pc:spChg chg="add del mod modVis">
          <ac:chgData name="Joelle Brehm" userId="a518f54c-6985-42c0-8041-2bb16a414839" providerId="ADAL" clId="{5C7B1B84-DD23-48EC-A567-B295FAD2ABAF}" dt="2023-11-07T21:42:01.818" v="6523"/>
          <ac:spMkLst>
            <pc:docMk/>
            <pc:sldMk cId="77660323" sldId="295"/>
            <ac:spMk id="472" creationId="{C28F941F-724B-A818-C1A8-88AA486F580E}"/>
          </ac:spMkLst>
        </pc:spChg>
        <pc:spChg chg="mod ord">
          <ac:chgData name="Joelle Brehm" userId="a518f54c-6985-42c0-8041-2bb16a414839" providerId="ADAL" clId="{5C7B1B84-DD23-48EC-A567-B295FAD2ABAF}" dt="2023-11-07T21:42:01.786" v="6455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5C7B1B84-DD23-48EC-A567-B295FAD2ABAF}" dt="2023-11-07T21:42:01.786" v="6453"/>
          <ac:spMkLst>
            <pc:docMk/>
            <pc:sldMk cId="77660323" sldId="295"/>
            <ac:spMk id="485" creationId="{0E817BE1-E587-06E4-D9FC-07EC7C45C787}"/>
          </ac:spMkLst>
        </pc:spChg>
        <pc:spChg chg="mod ord">
          <ac:chgData name="Joelle Brehm" userId="a518f54c-6985-42c0-8041-2bb16a414839" providerId="ADAL" clId="{5C7B1B84-DD23-48EC-A567-B295FAD2ABAF}" dt="2023-11-07T21:42:01.786" v="6457"/>
          <ac:spMkLst>
            <pc:docMk/>
            <pc:sldMk cId="77660323" sldId="295"/>
            <ac:spMk id="490" creationId="{9C81118A-E471-58E2-D54E-14C43A3A7D15}"/>
          </ac:spMkLst>
        </pc:spChg>
        <pc:spChg chg="del mod">
          <ac:chgData name="Joelle Brehm" userId="a518f54c-6985-42c0-8041-2bb16a414839" providerId="ADAL" clId="{5C7B1B84-DD23-48EC-A567-B295FAD2ABAF}" dt="2023-11-07T21:22:37.116" v="3296"/>
          <ac:spMkLst>
            <pc:docMk/>
            <pc:sldMk cId="77660323" sldId="295"/>
            <ac:spMk id="492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70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71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72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63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5C7B1B84-DD23-48EC-A567-B295FAD2ABAF}" dt="2023-11-07T21:42:01.802" v="6473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5C7B1B84-DD23-48EC-A567-B295FAD2ABAF}" dt="2023-11-07T21:42:01.802" v="6474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5C7B1B84-DD23-48EC-A567-B295FAD2ABAF}" dt="2023-11-07T21:42:01.802" v="6459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5C7B1B84-DD23-48EC-A567-B295FAD2ABAF}" dt="2023-11-07T21:42:01.802" v="6487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5C7B1B84-DD23-48EC-A567-B295FAD2ABAF}" dt="2023-11-07T21:42:01.818" v="6517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5C7B1B84-DD23-48EC-A567-B295FAD2ABAF}" dt="2023-11-07T21:42:01.833" v="6525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0:53.367" v="1327"/>
          <ac:graphicFrameMkLst>
            <pc:docMk/>
            <pc:sldMk cId="77660323" sldId="295"/>
            <ac:graphicFrameMk id="13" creationId="{E95175D5-6A14-AEEC-20E9-5C6CFD4D77F2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1:09.405" v="1558"/>
          <ac:graphicFrameMkLst>
            <pc:docMk/>
            <pc:sldMk cId="77660323" sldId="295"/>
            <ac:graphicFrameMk id="18" creationId="{6167CBC1-9543-487B-36B2-B7341FD87762}"/>
          </ac:graphicFrameMkLst>
        </pc:graphicFrameChg>
        <pc:graphicFrameChg chg="del">
          <ac:chgData name="Joelle Brehm" userId="a518f54c-6985-42c0-8041-2bb16a414839" providerId="ADAL" clId="{5C7B1B84-DD23-48EC-A567-B295FAD2ABAF}" dt="2023-11-07T21:20:50.925" v="981"/>
          <ac:graphicFrameMkLst>
            <pc:docMk/>
            <pc:sldMk cId="77660323" sldId="295"/>
            <ac:graphicFrameMk id="19" creationId="{08BA7783-5B92-B820-0C6F-6DCD32F6FFD7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1:45.924" v="1805"/>
          <ac:graphicFrameMkLst>
            <pc:docMk/>
            <pc:sldMk cId="77660323" sldId="295"/>
            <ac:graphicFrameMk id="23" creationId="{8391AF2C-0119-6374-2240-1489E5219A17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1:55.514" v="2074"/>
          <ac:graphicFrameMkLst>
            <pc:docMk/>
            <pc:sldMk cId="77660323" sldId="295"/>
            <ac:graphicFrameMk id="35" creationId="{A2AAFAB2-89FE-E4E7-2D64-B1A1AE59A6C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2:05.354" v="2361"/>
          <ac:graphicFrameMkLst>
            <pc:docMk/>
            <pc:sldMk cId="77660323" sldId="295"/>
            <ac:graphicFrameMk id="37" creationId="{54509BCC-09EE-D1EE-05B0-8384475BA6F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2:09.413" v="2650"/>
          <ac:graphicFrameMkLst>
            <pc:docMk/>
            <pc:sldMk cId="77660323" sldId="295"/>
            <ac:graphicFrameMk id="39" creationId="{9A23646D-5E8F-586F-E99F-08385F5E5DF8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1:42:01.786" v="6423"/>
          <ac:graphicFrameMkLst>
            <pc:docMk/>
            <pc:sldMk cId="77660323" sldId="295"/>
            <ac:graphicFrameMk id="41" creationId="{9BDB394E-BDB5-BFB0-A3A1-4AF65313DDD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2:37.196" v="3399"/>
          <ac:graphicFrameMkLst>
            <pc:docMk/>
            <pc:sldMk cId="77660323" sldId="295"/>
            <ac:graphicFrameMk id="51" creationId="{FAE7B8FD-5B41-84F9-01F1-C5E9B751D83E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1:22:34.503" v="3138"/>
          <ac:graphicFrameMkLst>
            <pc:docMk/>
            <pc:sldMk cId="77660323" sldId="295"/>
            <ac:graphicFrameMk id="52" creationId="{61443928-B9FD-F1BB-7848-5CDB62BB7E72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2:43.488" v="3684"/>
          <ac:graphicFrameMkLst>
            <pc:docMk/>
            <pc:sldMk cId="77660323" sldId="295"/>
            <ac:graphicFrameMk id="56" creationId="{E1BF6674-2837-7DA1-C2C5-BD4EE2BBE70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2:46.055" v="3906"/>
          <ac:graphicFrameMkLst>
            <pc:docMk/>
            <pc:sldMk cId="77660323" sldId="295"/>
            <ac:graphicFrameMk id="60" creationId="{0943805B-E25F-6147-B42B-3F36B3EA950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2:51.162" v="4116"/>
          <ac:graphicFrameMkLst>
            <pc:docMk/>
            <pc:sldMk cId="77660323" sldId="295"/>
            <ac:graphicFrameMk id="62" creationId="{C87DF472-44B0-0ED0-58AB-84F29D4764F5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2:54.754" v="4296"/>
          <ac:graphicFrameMkLst>
            <pc:docMk/>
            <pc:sldMk cId="77660323" sldId="295"/>
            <ac:graphicFrameMk id="448" creationId="{558A19D0-D5E6-457F-1305-178833A204B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3:02.618" v="4476"/>
          <ac:graphicFrameMkLst>
            <pc:docMk/>
            <pc:sldMk cId="77660323" sldId="295"/>
            <ac:graphicFrameMk id="450" creationId="{3292E6BB-5838-05AA-1757-A22D70BE2D1C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7T21:23:25.090" v="5266"/>
          <ac:graphicFrameMkLst>
            <pc:docMk/>
            <pc:sldMk cId="77660323" sldId="295"/>
            <ac:graphicFrameMk id="452" creationId="{ECF32EC0-FE9D-9C7B-E171-4538742EB0A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3:07.738" v="4651"/>
          <ac:graphicFrameMkLst>
            <pc:docMk/>
            <pc:sldMk cId="77660323" sldId="295"/>
            <ac:graphicFrameMk id="453" creationId="{EA556547-44FF-9622-A611-046F2907108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3:09.970" v="4822"/>
          <ac:graphicFrameMkLst>
            <pc:docMk/>
            <pc:sldMk cId="77660323" sldId="295"/>
            <ac:graphicFrameMk id="455" creationId="{AEA7DCFB-CF36-5A55-D4CD-1B7061E28D76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1:42:01.802" v="6467"/>
          <ac:graphicFrameMkLst>
            <pc:docMk/>
            <pc:sldMk cId="77660323" sldId="295"/>
            <ac:graphicFrameMk id="457" creationId="{72037872-4617-C2C2-7FBA-D2638E679092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3:27.727" v="5584"/>
          <ac:graphicFrameMkLst>
            <pc:docMk/>
            <pc:sldMk cId="77660323" sldId="295"/>
            <ac:graphicFrameMk id="462" creationId="{8718B58A-77E9-CD9B-6670-B0DE96CD7E6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3:33.970" v="5812"/>
          <ac:graphicFrameMkLst>
            <pc:docMk/>
            <pc:sldMk cId="77660323" sldId="295"/>
            <ac:graphicFrameMk id="465" creationId="{C6BD59C1-54D5-9BB0-A274-C2531F3AAF1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23:37.280" v="6039"/>
          <ac:graphicFrameMkLst>
            <pc:docMk/>
            <pc:sldMk cId="77660323" sldId="295"/>
            <ac:graphicFrameMk id="467" creationId="{6D121F2B-FBB3-BCDC-1CDC-5F977E7BFE1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7T21:42:01.753" v="6401"/>
          <ac:graphicFrameMkLst>
            <pc:docMk/>
            <pc:sldMk cId="77660323" sldId="295"/>
            <ac:graphicFrameMk id="470" creationId="{E2DB55EA-B1CC-696B-1C73-B5BBBF1B313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7T21:42:01.802" v="6491"/>
          <ac:graphicFrameMkLst>
            <pc:docMk/>
            <pc:sldMk cId="77660323" sldId="295"/>
            <ac:graphicFrameMk id="473" creationId="{15A12528-66DE-7E9C-50ED-C43B93A24DE1}"/>
          </ac:graphicFrameMkLst>
        </pc:graphicFrameChg>
        <pc:picChg chg="mod ord">
          <ac:chgData name="Joelle Brehm" userId="a518f54c-6985-42c0-8041-2bb16a414839" providerId="ADAL" clId="{5C7B1B84-DD23-48EC-A567-B295FAD2ABAF}" dt="2023-11-07T21:42:01.786" v="6415"/>
          <ac:picMkLst>
            <pc:docMk/>
            <pc:sldMk cId="77660323" sldId="295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5C7B1B84-DD23-48EC-A567-B295FAD2ABAF}" dt="2023-11-07T21:41:48.194" v="6326" actId="478"/>
          <ac:picMkLst>
            <pc:docMk/>
            <pc:sldMk cId="77660323" sldId="295"/>
            <ac:picMk id="20" creationId="{CCC0DFDE-E613-2CC1-BE31-07A7F2189287}"/>
          </ac:picMkLst>
        </pc:picChg>
        <pc:picChg chg="add mod ord">
          <ac:chgData name="Joelle Brehm" userId="a518f54c-6985-42c0-8041-2bb16a414839" providerId="ADAL" clId="{5C7B1B84-DD23-48EC-A567-B295FAD2ABAF}" dt="2023-11-07T21:42:01.786" v="6409"/>
          <ac:picMkLst>
            <pc:docMk/>
            <pc:sldMk cId="77660323" sldId="295"/>
            <ac:picMk id="471" creationId="{61778683-A4E8-F3F3-32F6-BB525BB0BAB2}"/>
          </ac:picMkLst>
        </pc:picChg>
        <pc:cxnChg chg="add del mod ord replST">
          <ac:chgData name="Joelle Brehm" userId="a518f54c-6985-42c0-8041-2bb16a414839" providerId="ADAL" clId="{5C7B1B84-DD23-48EC-A567-B295FAD2ABAF}" dt="2023-11-07T21:22:51.162" v="4114"/>
          <ac:cxnSpMkLst>
            <pc:docMk/>
            <pc:sldMk cId="77660323" sldId="295"/>
            <ac:cxnSpMk id="47" creationId="{54575640-41B8-886F-B6F6-C65F35C1DDB1}"/>
          </ac:cxnSpMkLst>
        </pc:cxnChg>
        <pc:cxnChg chg="add mod ord replST">
          <ac:chgData name="Joelle Brehm" userId="a518f54c-6985-42c0-8041-2bb16a414839" providerId="ADAL" clId="{5C7B1B84-DD23-48EC-A567-B295FAD2ABAF}" dt="2023-11-07T21:42:01.802" v="6469"/>
          <ac:cxnSpMkLst>
            <pc:docMk/>
            <pc:sldMk cId="77660323" sldId="295"/>
            <ac:cxnSpMk id="49" creationId="{A1B8BCA2-A4F6-C735-D36D-75C40207794D}"/>
          </ac:cxnSpMkLst>
        </pc:cxnChg>
        <pc:cxnChg chg="add del mod ord replST">
          <ac:chgData name="Joelle Brehm" userId="a518f54c-6985-42c0-8041-2bb16a414839" providerId="ADAL" clId="{5C7B1B84-DD23-48EC-A567-B295FAD2ABAF}" dt="2023-11-07T21:22:54.754" v="4294"/>
          <ac:cxnSpMkLst>
            <pc:docMk/>
            <pc:sldMk cId="77660323" sldId="295"/>
            <ac:cxnSpMk id="55" creationId="{86E31EAF-45CF-5D6C-A2C0-62441B47E6CA}"/>
          </ac:cxnSpMkLst>
        </pc:cxnChg>
        <pc:cxnChg chg="add del mod ord replST">
          <ac:chgData name="Joelle Brehm" userId="a518f54c-6985-42c0-8041-2bb16a414839" providerId="ADAL" clId="{5C7B1B84-DD23-48EC-A567-B295FAD2ABAF}" dt="2023-11-07T21:23:02.602" v="4474"/>
          <ac:cxnSpMkLst>
            <pc:docMk/>
            <pc:sldMk cId="77660323" sldId="295"/>
            <ac:cxnSpMk id="59" creationId="{BD05EFC0-6342-A5CB-B669-72D4F2B2A45E}"/>
          </ac:cxnSpMkLst>
        </pc:cxnChg>
        <pc:cxnChg chg="mod ord">
          <ac:chgData name="Joelle Brehm" userId="a518f54c-6985-42c0-8041-2bb16a414839" providerId="ADAL" clId="{5C7B1B84-DD23-48EC-A567-B295FAD2ABAF}" dt="2023-11-07T21:42:01.786" v="6445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5C7B1B84-DD23-48EC-A567-B295FAD2ABAF}" dt="2023-11-07T21:42:01.786" v="6447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5C7B1B84-DD23-48EC-A567-B295FAD2ABAF}" dt="2023-11-07T21:42:01.786" v="6449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5C7B1B84-DD23-48EC-A567-B295FAD2ABAF}" dt="2023-11-07T21:42:01.802" v="6483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5C7B1B84-DD23-48EC-A567-B295FAD2ABAF}" dt="2023-11-07T21:42:01.802" v="6485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5C7B1B84-DD23-48EC-A567-B295FAD2ABAF}" dt="2023-11-07T21:42:01.818" v="6513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5C7B1B84-DD23-48EC-A567-B295FAD2ABAF}" dt="2023-11-07T21:42:01.818" v="6515"/>
          <ac:cxnSpMkLst>
            <pc:docMk/>
            <pc:sldMk cId="77660323" sldId="295"/>
            <ac:cxnSpMk id="400" creationId="{104028CF-B0A1-3776-0A9E-B2FBBA4E10EC}"/>
          </ac:cxnSpMkLst>
        </pc:cxnChg>
        <pc:cxnChg chg="add mod ord replST">
          <ac:chgData name="Joelle Brehm" userId="a518f54c-6985-42c0-8041-2bb16a414839" providerId="ADAL" clId="{5C7B1B84-DD23-48EC-A567-B295FAD2ABAF}" dt="2023-11-07T21:42:01.802" v="6493"/>
          <ac:cxnSpMkLst>
            <pc:docMk/>
            <pc:sldMk cId="77660323" sldId="295"/>
            <ac:cxnSpMk id="460" creationId="{E41F7D0A-4DCD-1DBE-52FF-BEB5D8E08212}"/>
          </ac:cxnSpMkLst>
        </pc:cxnChg>
        <pc:cxnChg chg="add mod ord replST">
          <ac:chgData name="Joelle Brehm" userId="a518f54c-6985-42c0-8041-2bb16a414839" providerId="ADAL" clId="{5C7B1B84-DD23-48EC-A567-B295FAD2ABAF}" dt="2023-11-07T21:42:01.802" v="6495"/>
          <ac:cxnSpMkLst>
            <pc:docMk/>
            <pc:sldMk cId="77660323" sldId="295"/>
            <ac:cxnSpMk id="461" creationId="{A9880E77-89B4-FAF6-9F4F-4692C63B345B}"/>
          </ac:cxnSpMkLst>
        </pc:cxnChg>
        <pc:cxnChg chg="add mod ord replST">
          <ac:chgData name="Joelle Brehm" userId="a518f54c-6985-42c0-8041-2bb16a414839" providerId="ADAL" clId="{5C7B1B84-DD23-48EC-A567-B295FAD2ABAF}" dt="2023-11-07T21:42:01.802" v="6497"/>
          <ac:cxnSpMkLst>
            <pc:docMk/>
            <pc:sldMk cId="77660323" sldId="295"/>
            <ac:cxnSpMk id="469" creationId="{49838B9F-ACF6-6D92-4B1A-15EDA28D3AB0}"/>
          </ac:cxnSpMkLst>
        </pc:cxnChg>
        <pc:cxnChg chg="mod ord">
          <ac:chgData name="Joelle Brehm" userId="a518f54c-6985-42c0-8041-2bb16a414839" providerId="ADAL" clId="{5C7B1B84-DD23-48EC-A567-B295FAD2ABAF}" dt="2023-11-07T21:42:01.786" v="6451"/>
          <ac:cxnSpMkLst>
            <pc:docMk/>
            <pc:sldMk cId="77660323" sldId="295"/>
            <ac:cxnSpMk id="499" creationId="{03F78B4F-B1A0-4DEB-C1BE-2365D8B94D05}"/>
          </ac:cxnSpMkLst>
        </pc:cxnChg>
      </pc:sldChg>
      <pc:sldChg chg="addSp delSp modSp add mod">
        <pc:chgData name="Joelle Brehm" userId="a518f54c-6985-42c0-8041-2bb16a414839" providerId="ADAL" clId="{5C7B1B84-DD23-48EC-A567-B295FAD2ABAF}" dt="2023-11-08T22:33:25.734" v="57532" actId="20577"/>
        <pc:sldMkLst>
          <pc:docMk/>
          <pc:sldMk cId="3184321266" sldId="296"/>
        </pc:sldMkLst>
        <pc:spChg chg="del mod">
          <ac:chgData name="Joelle Brehm" userId="a518f54c-6985-42c0-8041-2bb16a414839" providerId="ADAL" clId="{5C7B1B84-DD23-48EC-A567-B295FAD2ABAF}" dt="2023-11-06T17:23:33.868" v="56" actId="478"/>
          <ac:spMkLst>
            <pc:docMk/>
            <pc:sldMk cId="3184321266" sldId="296"/>
            <ac:spMk id="2" creationId="{5DE45613-908C-6051-ED77-15B3EC7B0105}"/>
          </ac:spMkLst>
        </pc:spChg>
        <pc:spChg chg="add del mod modVis">
          <ac:chgData name="Joelle Brehm" userId="a518f54c-6985-42c0-8041-2bb16a414839" providerId="ADAL" clId="{5C7B1B84-DD23-48EC-A567-B295FAD2ABAF}" dt="2023-11-08T19:52:54.179" v="51945"/>
          <ac:spMkLst>
            <pc:docMk/>
            <pc:sldMk cId="3184321266" sldId="296"/>
            <ac:spMk id="2" creationId="{80A4EF66-C528-868A-100C-D4AADE00F1AF}"/>
          </ac:spMkLst>
        </pc:spChg>
        <pc:spChg chg="add mod ord">
          <ac:chgData name="Joelle Brehm" userId="a518f54c-6985-42c0-8041-2bb16a414839" providerId="ADAL" clId="{5C7B1B84-DD23-48EC-A567-B295FAD2ABAF}" dt="2023-11-08T20:29:44.972" v="57119"/>
          <ac:spMkLst>
            <pc:docMk/>
            <pc:sldMk cId="3184321266" sldId="296"/>
            <ac:spMk id="3" creationId="{86D6AA5F-2727-5417-09CB-42026894EFF8}"/>
          </ac:spMkLst>
        </pc:spChg>
        <pc:spChg chg="mod ord">
          <ac:chgData name="Joelle Brehm" userId="a518f54c-6985-42c0-8041-2bb16a414839" providerId="ADAL" clId="{5C7B1B84-DD23-48EC-A567-B295FAD2ABAF}" dt="2023-11-08T22:33:25.734" v="57532" actId="20577"/>
          <ac:spMkLst>
            <pc:docMk/>
            <pc:sldMk cId="3184321266" sldId="296"/>
            <ac:spMk id="5" creationId="{7B827F87-784E-46DA-B4AC-26C5F16C015D}"/>
          </ac:spMkLst>
        </pc:spChg>
        <pc:spChg chg="add del mod">
          <ac:chgData name="Joelle Brehm" userId="a518f54c-6985-42c0-8041-2bb16a414839" providerId="ADAL" clId="{5C7B1B84-DD23-48EC-A567-B295FAD2ABAF}" dt="2023-11-08T19:52:51.960" v="51892" actId="478"/>
          <ac:spMkLst>
            <pc:docMk/>
            <pc:sldMk cId="3184321266" sldId="296"/>
            <ac:spMk id="6" creationId="{419F7137-15F3-492B-B203-FC9FAD0C338E}"/>
          </ac:spMkLst>
        </pc:spChg>
        <pc:spChg chg="del">
          <ac:chgData name="Joelle Brehm" userId="a518f54c-6985-42c0-8041-2bb16a414839" providerId="ADAL" clId="{5C7B1B84-DD23-48EC-A567-B295FAD2ABAF}" dt="2023-11-08T19:52:54.138" v="51894"/>
          <ac:spMkLst>
            <pc:docMk/>
            <pc:sldMk cId="3184321266" sldId="296"/>
            <ac:spMk id="7" creationId="{DE57A07F-6746-6404-6ACC-31B88A8A6B3A}"/>
          </ac:spMkLst>
        </pc:spChg>
        <pc:spChg chg="add mod ord">
          <ac:chgData name="Joelle Brehm" userId="a518f54c-6985-42c0-8041-2bb16a414839" providerId="ADAL" clId="{5C7B1B84-DD23-48EC-A567-B295FAD2ABAF}" dt="2023-11-08T20:30:12.177" v="57176" actId="20577"/>
          <ac:spMkLst>
            <pc:docMk/>
            <pc:sldMk cId="3184321266" sldId="296"/>
            <ac:spMk id="8" creationId="{C75CB710-EFB8-7D57-0F83-AB63CD63F5E0}"/>
          </ac:spMkLst>
        </pc:spChg>
        <pc:spChg chg="del mod">
          <ac:chgData name="Joelle Brehm" userId="a518f54c-6985-42c0-8041-2bb16a414839" providerId="ADAL" clId="{5C7B1B84-DD23-48EC-A567-B295FAD2ABAF}" dt="2023-11-08T20:27:41.204" v="55087"/>
          <ac:spMkLst>
            <pc:docMk/>
            <pc:sldMk cId="3184321266" sldId="296"/>
            <ac:spMk id="9" creationId="{A42B53DE-B1C5-8D0E-D036-2DF5C8FBC8A0}"/>
          </ac:spMkLst>
        </pc:spChg>
        <pc:spChg chg="del">
          <ac:chgData name="Joelle Brehm" userId="a518f54c-6985-42c0-8041-2bb16a414839" providerId="ADAL" clId="{5C7B1B84-DD23-48EC-A567-B295FAD2ABAF}" dt="2023-11-08T19:52:54.147" v="51916"/>
          <ac:spMkLst>
            <pc:docMk/>
            <pc:sldMk cId="3184321266" sldId="296"/>
            <ac:spMk id="10" creationId="{0B5A57DD-7EDA-25CF-0BB0-3E0418CFBDB6}"/>
          </ac:spMkLst>
        </pc:spChg>
        <pc:spChg chg="add del mod modVis">
          <ac:chgData name="Joelle Brehm" userId="a518f54c-6985-42c0-8041-2bb16a414839" providerId="ADAL" clId="{5C7B1B84-DD23-48EC-A567-B295FAD2ABAF}" dt="2023-11-08T19:54:05.897" v="52303"/>
          <ac:spMkLst>
            <pc:docMk/>
            <pc:sldMk cId="3184321266" sldId="296"/>
            <ac:spMk id="11" creationId="{76C1CEDC-9023-1608-5F02-DAA2AC69DD16}"/>
          </ac:spMkLst>
        </pc:spChg>
        <pc:spChg chg="del">
          <ac:chgData name="Joelle Brehm" userId="a518f54c-6985-42c0-8041-2bb16a414839" providerId="ADAL" clId="{5C7B1B84-DD23-48EC-A567-B295FAD2ABAF}" dt="2023-11-08T19:52:54.143" v="51906"/>
          <ac:spMkLst>
            <pc:docMk/>
            <pc:sldMk cId="3184321266" sldId="296"/>
            <ac:spMk id="12" creationId="{862A57D3-073F-4309-74D6-FD573764A05D}"/>
          </ac:spMkLst>
        </pc:spChg>
        <pc:spChg chg="del">
          <ac:chgData name="Joelle Brehm" userId="a518f54c-6985-42c0-8041-2bb16a414839" providerId="ADAL" clId="{5C7B1B84-DD23-48EC-A567-B295FAD2ABAF}" dt="2023-11-08T19:52:54.146" v="51914"/>
          <ac:spMkLst>
            <pc:docMk/>
            <pc:sldMk cId="3184321266" sldId="296"/>
            <ac:spMk id="13" creationId="{ADECDCFA-1E1B-DA79-857B-6C2FA278DB11}"/>
          </ac:spMkLst>
        </pc:spChg>
        <pc:spChg chg="add mod replST">
          <ac:chgData name="Joelle Brehm" userId="a518f54c-6985-42c0-8041-2bb16a414839" providerId="ADAL" clId="{5C7B1B84-DD23-48EC-A567-B295FAD2ABAF}" dt="2023-11-08T20:29:44.973" v="57125"/>
          <ac:spMkLst>
            <pc:docMk/>
            <pc:sldMk cId="3184321266" sldId="296"/>
            <ac:spMk id="14" creationId="{7CAA3B95-4C78-4122-BECA-B5FB0F3F3764}"/>
          </ac:spMkLst>
        </pc:spChg>
        <pc:spChg chg="add mod replST">
          <ac:chgData name="Joelle Brehm" userId="a518f54c-6985-42c0-8041-2bb16a414839" providerId="ADAL" clId="{5C7B1B84-DD23-48EC-A567-B295FAD2ABAF}" dt="2023-11-08T20:29:44.974" v="57127"/>
          <ac:spMkLst>
            <pc:docMk/>
            <pc:sldMk cId="3184321266" sldId="296"/>
            <ac:spMk id="15" creationId="{7CAA3B95-4C78-4122-BECA-B5FB0F3F3764}"/>
          </ac:spMkLst>
        </pc:spChg>
        <pc:spChg chg="del mod ord">
          <ac:chgData name="Joelle Brehm" userId="a518f54c-6985-42c0-8041-2bb16a414839" providerId="ADAL" clId="{5C7B1B84-DD23-48EC-A567-B295FAD2ABAF}" dt="2023-11-08T20:27:40.165" v="55080"/>
          <ac:spMkLst>
            <pc:docMk/>
            <pc:sldMk cId="3184321266" sldId="296"/>
            <ac:spMk id="16" creationId="{0F83DE65-1B4F-815C-7155-32FC819C40A5}"/>
          </ac:spMkLst>
        </pc:spChg>
        <pc:spChg chg="del">
          <ac:chgData name="Joelle Brehm" userId="a518f54c-6985-42c0-8041-2bb16a414839" providerId="ADAL" clId="{5C7B1B84-DD23-48EC-A567-B295FAD2ABAF}" dt="2023-11-08T19:52:54.147" v="51915"/>
          <ac:spMkLst>
            <pc:docMk/>
            <pc:sldMk cId="3184321266" sldId="296"/>
            <ac:spMk id="17" creationId="{9F3E8293-6A80-77D9-FC6A-6EEAEB0893E2}"/>
          </ac:spMkLst>
        </pc:spChg>
        <pc:spChg chg="del">
          <ac:chgData name="Joelle Brehm" userId="a518f54c-6985-42c0-8041-2bb16a414839" providerId="ADAL" clId="{5C7B1B84-DD23-48EC-A567-B295FAD2ABAF}" dt="2023-11-08T19:52:56.656" v="51995"/>
          <ac:spMkLst>
            <pc:docMk/>
            <pc:sldMk cId="3184321266" sldId="296"/>
            <ac:spMk id="18" creationId="{7CE63A35-6A90-6D8B-CF40-7241933EF0EF}"/>
          </ac:spMkLst>
        </pc:spChg>
        <pc:spChg chg="add del mod replST">
          <ac:chgData name="Joelle Brehm" userId="a518f54c-6985-42c0-8041-2bb16a414839" providerId="ADAL" clId="{5C7B1B84-DD23-48EC-A567-B295FAD2ABAF}" dt="2023-11-08T19:54:43.213" v="52480"/>
          <ac:spMkLst>
            <pc:docMk/>
            <pc:sldMk cId="3184321266" sldId="296"/>
            <ac:spMk id="19" creationId="{7CAA3B95-4C78-4122-BECA-B5FB0F3F3764}"/>
          </ac:spMkLst>
        </pc:spChg>
        <pc:spChg chg="del">
          <ac:chgData name="Joelle Brehm" userId="a518f54c-6985-42c0-8041-2bb16a414839" providerId="ADAL" clId="{5C7B1B84-DD23-48EC-A567-B295FAD2ABAF}" dt="2023-11-08T19:52:54.146" v="51913"/>
          <ac:spMkLst>
            <pc:docMk/>
            <pc:sldMk cId="3184321266" sldId="296"/>
            <ac:spMk id="20" creationId="{3DD6882A-0F95-3E39-ABCE-F100FF504331}"/>
          </ac:spMkLst>
        </pc:spChg>
        <pc:spChg chg="del">
          <ac:chgData name="Joelle Brehm" userId="a518f54c-6985-42c0-8041-2bb16a414839" providerId="ADAL" clId="{5C7B1B84-DD23-48EC-A567-B295FAD2ABAF}" dt="2023-11-08T19:52:54.145" v="51910"/>
          <ac:spMkLst>
            <pc:docMk/>
            <pc:sldMk cId="3184321266" sldId="296"/>
            <ac:spMk id="21" creationId="{B8434591-FA02-533C-B758-86431E2FF6A4}"/>
          </ac:spMkLst>
        </pc:spChg>
        <pc:spChg chg="del">
          <ac:chgData name="Joelle Brehm" userId="a518f54c-6985-42c0-8041-2bb16a414839" providerId="ADAL" clId="{5C7B1B84-DD23-48EC-A567-B295FAD2ABAF}" dt="2023-11-08T19:52:56.656" v="51994"/>
          <ac:spMkLst>
            <pc:docMk/>
            <pc:sldMk cId="3184321266" sldId="296"/>
            <ac:spMk id="22" creationId="{B45231BA-E7B8-18D3-4011-260830A47021}"/>
          </ac:spMkLst>
        </pc:spChg>
        <pc:spChg chg="del">
          <ac:chgData name="Joelle Brehm" userId="a518f54c-6985-42c0-8041-2bb16a414839" providerId="ADAL" clId="{5C7B1B84-DD23-48EC-A567-B295FAD2ABAF}" dt="2023-11-08T19:52:55.231" v="51971"/>
          <ac:spMkLst>
            <pc:docMk/>
            <pc:sldMk cId="3184321266" sldId="296"/>
            <ac:spMk id="24" creationId="{033E07CF-73C8-D4DB-8DB3-DC68E9322327}"/>
          </ac:spMkLst>
        </pc:spChg>
        <pc:spChg chg="del">
          <ac:chgData name="Joelle Brehm" userId="a518f54c-6985-42c0-8041-2bb16a414839" providerId="ADAL" clId="{5C7B1B84-DD23-48EC-A567-B295FAD2ABAF}" dt="2023-11-08T19:52:54.142" v="51904"/>
          <ac:spMkLst>
            <pc:docMk/>
            <pc:sldMk cId="3184321266" sldId="296"/>
            <ac:spMk id="25" creationId="{DDCB9CFD-6336-9FEE-8109-046E7B1EDE09}"/>
          </ac:spMkLst>
        </pc:spChg>
        <pc:spChg chg="add del mod modVis">
          <ac:chgData name="Joelle Brehm" userId="a518f54c-6985-42c0-8041-2bb16a414839" providerId="ADAL" clId="{5C7B1B84-DD23-48EC-A567-B295FAD2ABAF}" dt="2023-11-08T19:54:39.205" v="52387"/>
          <ac:spMkLst>
            <pc:docMk/>
            <pc:sldMk cId="3184321266" sldId="296"/>
            <ac:spMk id="26" creationId="{A48B06D3-319A-7BB4-DD67-2C794877B612}"/>
          </ac:spMkLst>
        </pc:spChg>
        <pc:spChg chg="del">
          <ac:chgData name="Joelle Brehm" userId="a518f54c-6985-42c0-8041-2bb16a414839" providerId="ADAL" clId="{5C7B1B84-DD23-48EC-A567-B295FAD2ABAF}" dt="2023-11-08T19:52:54.145" v="51912"/>
          <ac:spMkLst>
            <pc:docMk/>
            <pc:sldMk cId="3184321266" sldId="296"/>
            <ac:spMk id="27" creationId="{7F5EB4C1-D71D-BF03-066C-3EB62DE130E1}"/>
          </ac:spMkLst>
        </pc:spChg>
        <pc:spChg chg="del">
          <ac:chgData name="Joelle Brehm" userId="a518f54c-6985-42c0-8041-2bb16a414839" providerId="ADAL" clId="{5C7B1B84-DD23-48EC-A567-B295FAD2ABAF}" dt="2023-11-08T19:52:55.231" v="51970"/>
          <ac:spMkLst>
            <pc:docMk/>
            <pc:sldMk cId="3184321266" sldId="296"/>
            <ac:spMk id="28" creationId="{CCA5008F-57EC-C24D-08AD-B7F154B6F4E7}"/>
          </ac:spMkLst>
        </pc:spChg>
        <pc:spChg chg="del">
          <ac:chgData name="Joelle Brehm" userId="a518f54c-6985-42c0-8041-2bb16a414839" providerId="ADAL" clId="{5C7B1B84-DD23-48EC-A567-B295FAD2ABAF}" dt="2023-11-08T19:52:55.231" v="51969"/>
          <ac:spMkLst>
            <pc:docMk/>
            <pc:sldMk cId="3184321266" sldId="296"/>
            <ac:spMk id="29" creationId="{4284D4C9-B0B8-C186-0617-76753F3C18BA}"/>
          </ac:spMkLst>
        </pc:spChg>
        <pc:spChg chg="del">
          <ac:chgData name="Joelle Brehm" userId="a518f54c-6985-42c0-8041-2bb16a414839" providerId="ADAL" clId="{5C7B1B84-DD23-48EC-A567-B295FAD2ABAF}" dt="2023-11-08T19:52:54.144" v="51909"/>
          <ac:spMkLst>
            <pc:docMk/>
            <pc:sldMk cId="3184321266" sldId="296"/>
            <ac:spMk id="30" creationId="{53B66CFC-B735-ECDE-6C79-B64794091307}"/>
          </ac:spMkLst>
        </pc:spChg>
        <pc:spChg chg="del">
          <ac:chgData name="Joelle Brehm" userId="a518f54c-6985-42c0-8041-2bb16a414839" providerId="ADAL" clId="{5C7B1B84-DD23-48EC-A567-B295FAD2ABAF}" dt="2023-11-08T19:52:54.141" v="51902"/>
          <ac:spMkLst>
            <pc:docMk/>
            <pc:sldMk cId="3184321266" sldId="296"/>
            <ac:spMk id="31" creationId="{CA321323-2C4C-2167-68A7-B60C766BB3D9}"/>
          </ac:spMkLst>
        </pc:spChg>
        <pc:spChg chg="del">
          <ac:chgData name="Joelle Brehm" userId="a518f54c-6985-42c0-8041-2bb16a414839" providerId="ADAL" clId="{5C7B1B84-DD23-48EC-A567-B295FAD2ABAF}" dt="2023-11-08T19:52:55.231" v="51968"/>
          <ac:spMkLst>
            <pc:docMk/>
            <pc:sldMk cId="3184321266" sldId="296"/>
            <ac:spMk id="32" creationId="{AA10C851-A6B4-C67A-2815-80E945AB6CF4}"/>
          </ac:spMkLst>
        </pc:spChg>
        <pc:spChg chg="del">
          <ac:chgData name="Joelle Brehm" userId="a518f54c-6985-42c0-8041-2bb16a414839" providerId="ADAL" clId="{5C7B1B84-DD23-48EC-A567-B295FAD2ABAF}" dt="2023-11-08T19:52:54.141" v="51903"/>
          <ac:spMkLst>
            <pc:docMk/>
            <pc:sldMk cId="3184321266" sldId="296"/>
            <ac:spMk id="34" creationId="{A168857A-5A92-DB79-49DB-27685EFFF737}"/>
          </ac:spMkLst>
        </pc:spChg>
        <pc:spChg chg="del">
          <ac:chgData name="Joelle Brehm" userId="a518f54c-6985-42c0-8041-2bb16a414839" providerId="ADAL" clId="{5C7B1B84-DD23-48EC-A567-B295FAD2ABAF}" dt="2023-11-08T19:52:54.142" v="51905"/>
          <ac:spMkLst>
            <pc:docMk/>
            <pc:sldMk cId="3184321266" sldId="296"/>
            <ac:spMk id="35" creationId="{693A4766-C773-96C2-36A2-80D63FCE1E41}"/>
          </ac:spMkLst>
        </pc:spChg>
        <pc:spChg chg="del">
          <ac:chgData name="Joelle Brehm" userId="a518f54c-6985-42c0-8041-2bb16a414839" providerId="ADAL" clId="{5C7B1B84-DD23-48EC-A567-B295FAD2ABAF}" dt="2023-11-08T19:52:54.137" v="51893"/>
          <ac:spMkLst>
            <pc:docMk/>
            <pc:sldMk cId="3184321266" sldId="296"/>
            <ac:spMk id="36" creationId="{5466AA20-EB86-7A1C-8579-3543FFC14509}"/>
          </ac:spMkLst>
        </pc:spChg>
        <pc:spChg chg="del">
          <ac:chgData name="Joelle Brehm" userId="a518f54c-6985-42c0-8041-2bb16a414839" providerId="ADAL" clId="{5C7B1B84-DD23-48EC-A567-B295FAD2ABAF}" dt="2023-11-08T19:52:54.141" v="51901"/>
          <ac:spMkLst>
            <pc:docMk/>
            <pc:sldMk cId="3184321266" sldId="296"/>
            <ac:spMk id="37" creationId="{F4881349-7857-4045-CB14-ED7B5F3DF7AB}"/>
          </ac:spMkLst>
        </pc:spChg>
        <pc:spChg chg="del">
          <ac:chgData name="Joelle Brehm" userId="a518f54c-6985-42c0-8041-2bb16a414839" providerId="ADAL" clId="{5C7B1B84-DD23-48EC-A567-B295FAD2ABAF}" dt="2023-11-08T19:52:54.145" v="51911"/>
          <ac:spMkLst>
            <pc:docMk/>
            <pc:sldMk cId="3184321266" sldId="296"/>
            <ac:spMk id="38" creationId="{751A32B7-4B12-7B11-21ED-EB7344119372}"/>
          </ac:spMkLst>
        </pc:spChg>
        <pc:spChg chg="del">
          <ac:chgData name="Joelle Brehm" userId="a518f54c-6985-42c0-8041-2bb16a414839" providerId="ADAL" clId="{5C7B1B84-DD23-48EC-A567-B295FAD2ABAF}" dt="2023-11-08T19:52:55.229" v="51965"/>
          <ac:spMkLst>
            <pc:docMk/>
            <pc:sldMk cId="3184321266" sldId="296"/>
            <ac:spMk id="39" creationId="{B76EF455-3CD8-FD0B-E8FE-3F28ACD227BA}"/>
          </ac:spMkLst>
        </pc:spChg>
        <pc:spChg chg="del">
          <ac:chgData name="Joelle Brehm" userId="a518f54c-6985-42c0-8041-2bb16a414839" providerId="ADAL" clId="{5C7B1B84-DD23-48EC-A567-B295FAD2ABAF}" dt="2023-11-08T19:52:54.144" v="51908"/>
          <ac:spMkLst>
            <pc:docMk/>
            <pc:sldMk cId="3184321266" sldId="296"/>
            <ac:spMk id="40" creationId="{C58BB8B9-8023-B442-7CDD-CB5E70953466}"/>
          </ac:spMkLst>
        </pc:spChg>
        <pc:spChg chg="del">
          <ac:chgData name="Joelle Brehm" userId="a518f54c-6985-42c0-8041-2bb16a414839" providerId="ADAL" clId="{5C7B1B84-DD23-48EC-A567-B295FAD2ABAF}" dt="2023-11-08T19:52:58.192" v="52030"/>
          <ac:spMkLst>
            <pc:docMk/>
            <pc:sldMk cId="3184321266" sldId="296"/>
            <ac:spMk id="41" creationId="{17283985-5541-D643-07F1-12A6C1BB03BE}"/>
          </ac:spMkLst>
        </pc:spChg>
        <pc:spChg chg="del">
          <ac:chgData name="Joelle Brehm" userId="a518f54c-6985-42c0-8041-2bb16a414839" providerId="ADAL" clId="{5C7B1B84-DD23-48EC-A567-B295FAD2ABAF}" dt="2023-11-08T19:52:54.140" v="51900"/>
          <ac:spMkLst>
            <pc:docMk/>
            <pc:sldMk cId="3184321266" sldId="296"/>
            <ac:spMk id="42" creationId="{B28F9CDB-79D1-9419-42CA-EBC66895D4A0}"/>
          </ac:spMkLst>
        </pc:spChg>
        <pc:spChg chg="del">
          <ac:chgData name="Joelle Brehm" userId="a518f54c-6985-42c0-8041-2bb16a414839" providerId="ADAL" clId="{5C7B1B84-DD23-48EC-A567-B295FAD2ABAF}" dt="2023-11-08T19:52:55.227" v="51959"/>
          <ac:spMkLst>
            <pc:docMk/>
            <pc:sldMk cId="3184321266" sldId="296"/>
            <ac:spMk id="43" creationId="{B0C42678-4B24-F5DF-7ACE-3084C7C56E60}"/>
          </ac:spMkLst>
        </pc:spChg>
        <pc:spChg chg="del">
          <ac:chgData name="Joelle Brehm" userId="a518f54c-6985-42c0-8041-2bb16a414839" providerId="ADAL" clId="{5C7B1B84-DD23-48EC-A567-B295FAD2ABAF}" dt="2023-11-08T19:52:55.229" v="51964"/>
          <ac:spMkLst>
            <pc:docMk/>
            <pc:sldMk cId="3184321266" sldId="296"/>
            <ac:spMk id="44" creationId="{92B40B33-57B7-1828-A933-4054F5904BC0}"/>
          </ac:spMkLst>
        </pc:spChg>
        <pc:spChg chg="del">
          <ac:chgData name="Joelle Brehm" userId="a518f54c-6985-42c0-8041-2bb16a414839" providerId="ADAL" clId="{5C7B1B84-DD23-48EC-A567-B295FAD2ABAF}" dt="2023-11-08T19:52:54.143" v="51907"/>
          <ac:spMkLst>
            <pc:docMk/>
            <pc:sldMk cId="3184321266" sldId="296"/>
            <ac:spMk id="45" creationId="{8BD270EF-C1D9-9334-E736-146815435DFD}"/>
          </ac:spMkLst>
        </pc:spChg>
        <pc:spChg chg="del">
          <ac:chgData name="Joelle Brehm" userId="a518f54c-6985-42c0-8041-2bb16a414839" providerId="ADAL" clId="{5C7B1B84-DD23-48EC-A567-B295FAD2ABAF}" dt="2023-11-08T19:52:55.231" v="51967"/>
          <ac:spMkLst>
            <pc:docMk/>
            <pc:sldMk cId="3184321266" sldId="296"/>
            <ac:spMk id="46" creationId="{42ABD060-FEE1-EDE0-E99B-69A399E6BFE4}"/>
          </ac:spMkLst>
        </pc:spChg>
        <pc:spChg chg="add del mod modVis">
          <ac:chgData name="Joelle Brehm" userId="a518f54c-6985-42c0-8041-2bb16a414839" providerId="ADAL" clId="{5C7B1B84-DD23-48EC-A567-B295FAD2ABAF}" dt="2023-11-08T19:54:41.517" v="52471"/>
          <ac:spMkLst>
            <pc:docMk/>
            <pc:sldMk cId="3184321266" sldId="296"/>
            <ac:spMk id="47" creationId="{6AE81E3C-7174-1D0E-BB3C-325679C8902A}"/>
          </ac:spMkLst>
        </pc:spChg>
        <pc:spChg chg="del">
          <ac:chgData name="Joelle Brehm" userId="a518f54c-6985-42c0-8041-2bb16a414839" providerId="ADAL" clId="{5C7B1B84-DD23-48EC-A567-B295FAD2ABAF}" dt="2023-11-08T19:52:54.140" v="51898"/>
          <ac:spMkLst>
            <pc:docMk/>
            <pc:sldMk cId="3184321266" sldId="296"/>
            <ac:spMk id="50" creationId="{5FE9258F-A945-F4FF-832B-478FD9BAC76D}"/>
          </ac:spMkLst>
        </pc:spChg>
        <pc:spChg chg="del">
          <ac:chgData name="Joelle Brehm" userId="a518f54c-6985-42c0-8041-2bb16a414839" providerId="ADAL" clId="{5C7B1B84-DD23-48EC-A567-B295FAD2ABAF}" dt="2023-11-08T19:52:55.229" v="51966"/>
          <ac:spMkLst>
            <pc:docMk/>
            <pc:sldMk cId="3184321266" sldId="296"/>
            <ac:spMk id="51" creationId="{23E32F0F-1BD0-EC28-C8ED-A44F5CA40C07}"/>
          </ac:spMkLst>
        </pc:spChg>
        <pc:spChg chg="del">
          <ac:chgData name="Joelle Brehm" userId="a518f54c-6985-42c0-8041-2bb16a414839" providerId="ADAL" clId="{5C7B1B84-DD23-48EC-A567-B295FAD2ABAF}" dt="2023-11-08T19:52:56.657" v="51997"/>
          <ac:spMkLst>
            <pc:docMk/>
            <pc:sldMk cId="3184321266" sldId="296"/>
            <ac:spMk id="52" creationId="{35E94CE7-373A-9E4A-3654-13C7C305FD02}"/>
          </ac:spMkLst>
        </pc:spChg>
        <pc:spChg chg="del">
          <ac:chgData name="Joelle Brehm" userId="a518f54c-6985-42c0-8041-2bb16a414839" providerId="ADAL" clId="{5C7B1B84-DD23-48EC-A567-B295FAD2ABAF}" dt="2023-11-08T19:52:55.227" v="51958"/>
          <ac:spMkLst>
            <pc:docMk/>
            <pc:sldMk cId="3184321266" sldId="296"/>
            <ac:spMk id="54" creationId="{F4D76317-A1CB-E953-B601-FD6C3D6E8457}"/>
          </ac:spMkLst>
        </pc:spChg>
        <pc:spChg chg="del">
          <ac:chgData name="Joelle Brehm" userId="a518f54c-6985-42c0-8041-2bb16a414839" providerId="ADAL" clId="{5C7B1B84-DD23-48EC-A567-B295FAD2ABAF}" dt="2023-11-08T19:52:55.229" v="51963"/>
          <ac:spMkLst>
            <pc:docMk/>
            <pc:sldMk cId="3184321266" sldId="296"/>
            <ac:spMk id="55" creationId="{21D40969-F481-7C90-2962-9DFFAB84841F}"/>
          </ac:spMkLst>
        </pc:spChg>
        <pc:spChg chg="del">
          <ac:chgData name="Joelle Brehm" userId="a518f54c-6985-42c0-8041-2bb16a414839" providerId="ADAL" clId="{5C7B1B84-DD23-48EC-A567-B295FAD2ABAF}" dt="2023-11-08T19:52:56.657" v="51996"/>
          <ac:spMkLst>
            <pc:docMk/>
            <pc:sldMk cId="3184321266" sldId="296"/>
            <ac:spMk id="56" creationId="{F5C216EA-EC57-4DEF-163E-159AF77AAFE6}"/>
          </ac:spMkLst>
        </pc:spChg>
        <pc:spChg chg="del">
          <ac:chgData name="Joelle Brehm" userId="a518f54c-6985-42c0-8041-2bb16a414839" providerId="ADAL" clId="{5C7B1B84-DD23-48EC-A567-B295FAD2ABAF}" dt="2023-11-08T19:52:55.228" v="51961"/>
          <ac:spMkLst>
            <pc:docMk/>
            <pc:sldMk cId="3184321266" sldId="296"/>
            <ac:spMk id="57" creationId="{691D1289-3B15-0AD2-5838-E87715C40325}"/>
          </ac:spMkLst>
        </pc:spChg>
        <pc:spChg chg="add del mod modVis">
          <ac:chgData name="Joelle Brehm" userId="a518f54c-6985-42c0-8041-2bb16a414839" providerId="ADAL" clId="{5C7B1B84-DD23-48EC-A567-B295FAD2ABAF}" dt="2023-11-08T19:54:56.929" v="52724"/>
          <ac:spMkLst>
            <pc:docMk/>
            <pc:sldMk cId="3184321266" sldId="296"/>
            <ac:spMk id="58" creationId="{BD78C1DB-D74A-F668-1B3F-74DEC94D324F}"/>
          </ac:spMkLst>
        </pc:spChg>
        <pc:spChg chg="del">
          <ac:chgData name="Joelle Brehm" userId="a518f54c-6985-42c0-8041-2bb16a414839" providerId="ADAL" clId="{5C7B1B84-DD23-48EC-A567-B295FAD2ABAF}" dt="2023-11-08T19:52:55.226" v="51957"/>
          <ac:spMkLst>
            <pc:docMk/>
            <pc:sldMk cId="3184321266" sldId="296"/>
            <ac:spMk id="59" creationId="{A9FC9ABE-CB0B-D725-FEDA-1AFF3FC3AE22}"/>
          </ac:spMkLst>
        </pc:spChg>
        <pc:spChg chg="del">
          <ac:chgData name="Joelle Brehm" userId="a518f54c-6985-42c0-8041-2bb16a414839" providerId="ADAL" clId="{5C7B1B84-DD23-48EC-A567-B295FAD2ABAF}" dt="2023-11-08T19:53:55.838" v="52068" actId="478"/>
          <ac:spMkLst>
            <pc:docMk/>
            <pc:sldMk cId="3184321266" sldId="296"/>
            <ac:spMk id="60" creationId="{9CF60A65-2FA0-41C4-8F42-71E3769BFB68}"/>
          </ac:spMkLst>
        </pc:spChg>
        <pc:spChg chg="del">
          <ac:chgData name="Joelle Brehm" userId="a518f54c-6985-42c0-8041-2bb16a414839" providerId="ADAL" clId="{5C7B1B84-DD23-48EC-A567-B295FAD2ABAF}" dt="2023-11-08T19:53:01.689" v="52044" actId="478"/>
          <ac:spMkLst>
            <pc:docMk/>
            <pc:sldMk cId="3184321266" sldId="296"/>
            <ac:spMk id="61" creationId="{CA66769F-384C-4E4C-8EC8-419111D9428D}"/>
          </ac:spMkLst>
        </pc:spChg>
        <pc:spChg chg="del">
          <ac:chgData name="Joelle Brehm" userId="a518f54c-6985-42c0-8041-2bb16a414839" providerId="ADAL" clId="{5C7B1B84-DD23-48EC-A567-B295FAD2ABAF}" dt="2023-11-08T19:52:59.026" v="52042" actId="478"/>
          <ac:spMkLst>
            <pc:docMk/>
            <pc:sldMk cId="3184321266" sldId="296"/>
            <ac:spMk id="62" creationId="{19815E26-2ABF-4A16-94FE-6C4A68E6FBBD}"/>
          </ac:spMkLst>
        </pc:spChg>
        <pc:spChg chg="del">
          <ac:chgData name="Joelle Brehm" userId="a518f54c-6985-42c0-8041-2bb16a414839" providerId="ADAL" clId="{5C7B1B84-DD23-48EC-A567-B295FAD2ABAF}" dt="2023-11-08T19:52:58.191" v="52027"/>
          <ac:spMkLst>
            <pc:docMk/>
            <pc:sldMk cId="3184321266" sldId="296"/>
            <ac:spMk id="63" creationId="{09FCBDA2-2BA1-FD0B-C70E-29EBF0B27C7B}"/>
          </ac:spMkLst>
        </pc:spChg>
        <pc:spChg chg="del">
          <ac:chgData name="Joelle Brehm" userId="a518f54c-6985-42c0-8041-2bb16a414839" providerId="ADAL" clId="{5C7B1B84-DD23-48EC-A567-B295FAD2ABAF}" dt="2023-11-08T19:52:54.140" v="51899"/>
          <ac:spMkLst>
            <pc:docMk/>
            <pc:sldMk cId="3184321266" sldId="296"/>
            <ac:spMk id="64" creationId="{A32634C8-6FE7-6BB1-8251-847A1565A477}"/>
          </ac:spMkLst>
        </pc:spChg>
        <pc:spChg chg="del">
          <ac:chgData name="Joelle Brehm" userId="a518f54c-6985-42c0-8041-2bb16a414839" providerId="ADAL" clId="{5C7B1B84-DD23-48EC-A567-B295FAD2ABAF}" dt="2023-11-08T19:52:55.228" v="51962"/>
          <ac:spMkLst>
            <pc:docMk/>
            <pc:sldMk cId="3184321266" sldId="296"/>
            <ac:spMk id="65" creationId="{3157109A-3120-04A6-D693-60F57F766A08}"/>
          </ac:spMkLst>
        </pc:spChg>
        <pc:spChg chg="add del mod ord replST">
          <ac:chgData name="Joelle Brehm" userId="a518f54c-6985-42c0-8041-2bb16a414839" providerId="ADAL" clId="{5C7B1B84-DD23-48EC-A567-B295FAD2ABAF}" dt="2023-11-08T19:55:03.040" v="52826"/>
          <ac:spMkLst>
            <pc:docMk/>
            <pc:sldMk cId="3184321266" sldId="296"/>
            <ac:spMk id="66" creationId="{7CAA3B95-4C78-4122-BECA-B5FB0F3F3764}"/>
          </ac:spMkLst>
        </pc:spChg>
        <pc:spChg chg="del">
          <ac:chgData name="Joelle Brehm" userId="a518f54c-6985-42c0-8041-2bb16a414839" providerId="ADAL" clId="{5C7B1B84-DD23-48EC-A567-B295FAD2ABAF}" dt="2023-11-08T19:52:58.191" v="52026"/>
          <ac:spMkLst>
            <pc:docMk/>
            <pc:sldMk cId="3184321266" sldId="296"/>
            <ac:spMk id="67" creationId="{07554C78-0589-F93D-CEAD-413925596F0D}"/>
          </ac:spMkLst>
        </pc:spChg>
        <pc:spChg chg="del">
          <ac:chgData name="Joelle Brehm" userId="a518f54c-6985-42c0-8041-2bb16a414839" providerId="ADAL" clId="{5C7B1B84-DD23-48EC-A567-B295FAD2ABAF}" dt="2023-11-08T19:52:55.227" v="51960"/>
          <ac:spMkLst>
            <pc:docMk/>
            <pc:sldMk cId="3184321266" sldId="296"/>
            <ac:spMk id="68" creationId="{73F4DC56-4ACE-7CF2-9887-2654DC647E84}"/>
          </ac:spMkLst>
        </pc:spChg>
        <pc:spChg chg="del">
          <ac:chgData name="Joelle Brehm" userId="a518f54c-6985-42c0-8041-2bb16a414839" providerId="ADAL" clId="{5C7B1B84-DD23-48EC-A567-B295FAD2ABAF}" dt="2023-11-08T19:52:56.654" v="51991"/>
          <ac:spMkLst>
            <pc:docMk/>
            <pc:sldMk cId="3184321266" sldId="296"/>
            <ac:spMk id="69" creationId="{DE2291CF-E337-7DDA-5968-40B109D88D57}"/>
          </ac:spMkLst>
        </pc:spChg>
        <pc:spChg chg="del mod">
          <ac:chgData name="Joelle Brehm" userId="a518f54c-6985-42c0-8041-2bb16a414839" providerId="ADAL" clId="{5C7B1B84-DD23-48EC-A567-B295FAD2ABAF}" dt="2023-11-08T20:27:41.205" v="55089"/>
          <ac:spMkLst>
            <pc:docMk/>
            <pc:sldMk cId="3184321266" sldId="296"/>
            <ac:spMk id="70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9:55:03.097" v="52877"/>
          <ac:spMkLst>
            <pc:docMk/>
            <pc:sldMk cId="3184321266" sldId="296"/>
            <ac:spMk id="72" creationId="{38BE0573-FB41-30AE-A94C-A70CEF85081D}"/>
          </ac:spMkLst>
        </pc:spChg>
        <pc:spChg chg="del">
          <ac:chgData name="Joelle Brehm" userId="a518f54c-6985-42c0-8041-2bb16a414839" providerId="ADAL" clId="{5C7B1B84-DD23-48EC-A567-B295FAD2ABAF}" dt="2023-11-08T19:52:58.191" v="52025"/>
          <ac:spMkLst>
            <pc:docMk/>
            <pc:sldMk cId="3184321266" sldId="296"/>
            <ac:spMk id="73" creationId="{9222FB5E-7628-BAAE-A4E4-E9F13F9B74EE}"/>
          </ac:spMkLst>
        </pc:spChg>
        <pc:spChg chg="del">
          <ac:chgData name="Joelle Brehm" userId="a518f54c-6985-42c0-8041-2bb16a414839" providerId="ADAL" clId="{5C7B1B84-DD23-48EC-A567-B295FAD2ABAF}" dt="2023-11-08T19:52:58.194" v="52033"/>
          <ac:spMkLst>
            <pc:docMk/>
            <pc:sldMk cId="3184321266" sldId="296"/>
            <ac:spMk id="74" creationId="{F958F86A-808B-E798-783E-1A1F613E0728}"/>
          </ac:spMkLst>
        </pc:spChg>
        <pc:spChg chg="add del mod ord replST">
          <ac:chgData name="Joelle Brehm" userId="a518f54c-6985-42c0-8041-2bb16a414839" providerId="ADAL" clId="{5C7B1B84-DD23-48EC-A567-B295FAD2ABAF}" dt="2023-11-08T19:55:12.810" v="52921"/>
          <ac:spMkLst>
            <pc:docMk/>
            <pc:sldMk cId="3184321266" sldId="296"/>
            <ac:spMk id="75" creationId="{7CAA3B95-4C78-4122-BECA-B5FB0F3F3764}"/>
          </ac:spMkLst>
        </pc:spChg>
        <pc:spChg chg="del">
          <ac:chgData name="Joelle Brehm" userId="a518f54c-6985-42c0-8041-2bb16a414839" providerId="ADAL" clId="{5C7B1B84-DD23-48EC-A567-B295FAD2ABAF}" dt="2023-11-08T19:52:55.226" v="51956"/>
          <ac:spMkLst>
            <pc:docMk/>
            <pc:sldMk cId="3184321266" sldId="296"/>
            <ac:spMk id="76" creationId="{8B86A84A-17AF-C0BB-9688-007EFA1F104D}"/>
          </ac:spMkLst>
        </pc:spChg>
        <pc:spChg chg="del mod">
          <ac:chgData name="Joelle Brehm" userId="a518f54c-6985-42c0-8041-2bb16a414839" providerId="ADAL" clId="{5C7B1B84-DD23-48EC-A567-B295FAD2ABAF}" dt="2023-11-08T20:27:41.205" v="55088"/>
          <ac:spMkLst>
            <pc:docMk/>
            <pc:sldMk cId="3184321266" sldId="296"/>
            <ac:spMk id="77" creationId="{60F97E40-1529-395D-816D-8834F0F881FD}"/>
          </ac:spMkLst>
        </pc:spChg>
        <pc:spChg chg="del">
          <ac:chgData name="Joelle Brehm" userId="a518f54c-6985-42c0-8041-2bb16a414839" providerId="ADAL" clId="{5C7B1B84-DD23-48EC-A567-B295FAD2ABAF}" dt="2023-11-08T19:52:58.193" v="52032"/>
          <ac:spMkLst>
            <pc:docMk/>
            <pc:sldMk cId="3184321266" sldId="296"/>
            <ac:spMk id="79" creationId="{7839083A-6222-21DF-942E-D412CB0A038D}"/>
          </ac:spMkLst>
        </pc:spChg>
        <pc:spChg chg="del">
          <ac:chgData name="Joelle Brehm" userId="a518f54c-6985-42c0-8041-2bb16a414839" providerId="ADAL" clId="{5C7B1B84-DD23-48EC-A567-B295FAD2ABAF}" dt="2023-11-08T19:52:56.653" v="51990"/>
          <ac:spMkLst>
            <pc:docMk/>
            <pc:sldMk cId="3184321266" sldId="296"/>
            <ac:spMk id="80" creationId="{322C1714-AD6A-A2C4-9548-45C6502F722D}"/>
          </ac:spMkLst>
        </pc:spChg>
        <pc:spChg chg="del">
          <ac:chgData name="Joelle Brehm" userId="a518f54c-6985-42c0-8041-2bb16a414839" providerId="ADAL" clId="{5C7B1B84-DD23-48EC-A567-B295FAD2ABAF}" dt="2023-11-08T19:52:58.189" v="52024"/>
          <ac:spMkLst>
            <pc:docMk/>
            <pc:sldMk cId="3184321266" sldId="296"/>
            <ac:spMk id="81" creationId="{6F4C96C8-F30F-B7F9-162B-D0B13BC90C2B}"/>
          </ac:spMkLst>
        </pc:spChg>
        <pc:spChg chg="add del mod modVis">
          <ac:chgData name="Joelle Brehm" userId="a518f54c-6985-42c0-8041-2bb16a414839" providerId="ADAL" clId="{5C7B1B84-DD23-48EC-A567-B295FAD2ABAF}" dt="2023-11-08T19:55:12.859" v="52974"/>
          <ac:spMkLst>
            <pc:docMk/>
            <pc:sldMk cId="3184321266" sldId="296"/>
            <ac:spMk id="82" creationId="{C434A2FB-B0B6-6CF2-BE01-FF6038AA22AD}"/>
          </ac:spMkLst>
        </pc:spChg>
        <pc:spChg chg="del">
          <ac:chgData name="Joelle Brehm" userId="a518f54c-6985-42c0-8041-2bb16a414839" providerId="ADAL" clId="{5C7B1B84-DD23-48EC-A567-B295FAD2ABAF}" dt="2023-11-08T19:52:56.655" v="51993"/>
          <ac:spMkLst>
            <pc:docMk/>
            <pc:sldMk cId="3184321266" sldId="296"/>
            <ac:spMk id="84" creationId="{C6FD14B3-2B6F-F354-0055-5C4DEDC0FDA2}"/>
          </ac:spMkLst>
        </pc:spChg>
        <pc:spChg chg="del">
          <ac:chgData name="Joelle Brehm" userId="a518f54c-6985-42c0-8041-2bb16a414839" providerId="ADAL" clId="{5C7B1B84-DD23-48EC-A567-B295FAD2ABAF}" dt="2023-11-08T19:52:55.226" v="51955"/>
          <ac:spMkLst>
            <pc:docMk/>
            <pc:sldMk cId="3184321266" sldId="296"/>
            <ac:spMk id="85" creationId="{87244ECD-ECFD-D89D-761C-DA74EBCF3463}"/>
          </ac:spMkLst>
        </pc:spChg>
        <pc:spChg chg="del">
          <ac:chgData name="Joelle Brehm" userId="a518f54c-6985-42c0-8041-2bb16a414839" providerId="ADAL" clId="{5C7B1B84-DD23-48EC-A567-B295FAD2ABAF}" dt="2023-11-08T19:52:58.188" v="52021"/>
          <ac:spMkLst>
            <pc:docMk/>
            <pc:sldMk cId="3184321266" sldId="296"/>
            <ac:spMk id="86" creationId="{8755EB97-A2D7-E12E-1034-20F2D9D1D86D}"/>
          </ac:spMkLst>
        </pc:spChg>
        <pc:spChg chg="del">
          <ac:chgData name="Joelle Brehm" userId="a518f54c-6985-42c0-8041-2bb16a414839" providerId="ADAL" clId="{5C7B1B84-DD23-48EC-A567-B295FAD2ABAF}" dt="2023-11-08T19:52:54.139" v="51897"/>
          <ac:spMkLst>
            <pc:docMk/>
            <pc:sldMk cId="3184321266" sldId="296"/>
            <ac:spMk id="87" creationId="{06946997-7AFB-6327-F61E-B25533F6C115}"/>
          </ac:spMkLst>
        </pc:spChg>
        <pc:spChg chg="del">
          <ac:chgData name="Joelle Brehm" userId="a518f54c-6985-42c0-8041-2bb16a414839" providerId="ADAL" clId="{5C7B1B84-DD23-48EC-A567-B295FAD2ABAF}" dt="2023-11-08T19:52:56.655" v="51992"/>
          <ac:spMkLst>
            <pc:docMk/>
            <pc:sldMk cId="3184321266" sldId="296"/>
            <ac:spMk id="89" creationId="{95B2D293-794F-A143-9799-33747A736BF9}"/>
          </ac:spMkLst>
        </pc:spChg>
        <pc:spChg chg="del">
          <ac:chgData name="Joelle Brehm" userId="a518f54c-6985-42c0-8041-2bb16a414839" providerId="ADAL" clId="{5C7B1B84-DD23-48EC-A567-B295FAD2ABAF}" dt="2023-11-08T19:52:58.187" v="52020"/>
          <ac:spMkLst>
            <pc:docMk/>
            <pc:sldMk cId="3184321266" sldId="296"/>
            <ac:spMk id="90" creationId="{5F5FA417-BFF1-F21F-47F8-135D335B8AB8}"/>
          </ac:spMkLst>
        </pc:spChg>
        <pc:spChg chg="del">
          <ac:chgData name="Joelle Brehm" userId="a518f54c-6985-42c0-8041-2bb16a414839" providerId="ADAL" clId="{5C7B1B84-DD23-48EC-A567-B295FAD2ABAF}" dt="2023-11-08T19:52:56.653" v="51989"/>
          <ac:spMkLst>
            <pc:docMk/>
            <pc:sldMk cId="3184321266" sldId="296"/>
            <ac:spMk id="91" creationId="{CC94F927-3930-8FBB-F700-00F80B097138}"/>
          </ac:spMkLst>
        </pc:spChg>
        <pc:spChg chg="del">
          <ac:chgData name="Joelle Brehm" userId="a518f54c-6985-42c0-8041-2bb16a414839" providerId="ADAL" clId="{5C7B1B84-DD23-48EC-A567-B295FAD2ABAF}" dt="2023-11-08T19:52:56.658" v="51999"/>
          <ac:spMkLst>
            <pc:docMk/>
            <pc:sldMk cId="3184321266" sldId="296"/>
            <ac:spMk id="93" creationId="{E3535E8F-2FE1-602D-1DEE-9C3D3425F046}"/>
          </ac:spMkLst>
        </pc:spChg>
        <pc:spChg chg="del">
          <ac:chgData name="Joelle Brehm" userId="a518f54c-6985-42c0-8041-2bb16a414839" providerId="ADAL" clId="{5C7B1B84-DD23-48EC-A567-B295FAD2ABAF}" dt="2023-11-08T19:52:55.224" v="51953"/>
          <ac:spMkLst>
            <pc:docMk/>
            <pc:sldMk cId="3184321266" sldId="296"/>
            <ac:spMk id="94" creationId="{0E9FC4C8-8568-8E89-A3E0-BD97D0B207CF}"/>
          </ac:spMkLst>
        </pc:spChg>
        <pc:spChg chg="del">
          <ac:chgData name="Joelle Brehm" userId="a518f54c-6985-42c0-8041-2bb16a414839" providerId="ADAL" clId="{5C7B1B84-DD23-48EC-A567-B295FAD2ABAF}" dt="2023-11-08T19:52:55.224" v="51954"/>
          <ac:spMkLst>
            <pc:docMk/>
            <pc:sldMk cId="3184321266" sldId="296"/>
            <ac:spMk id="95" creationId="{6ECADB09-7F96-4E09-271A-74E976547B47}"/>
          </ac:spMkLst>
        </pc:spChg>
        <pc:spChg chg="mod ord">
          <ac:chgData name="Joelle Brehm" userId="a518f54c-6985-42c0-8041-2bb16a414839" providerId="ADAL" clId="{5C7B1B84-DD23-48EC-A567-B295FAD2ABAF}" dt="2023-11-08T20:29:44.970" v="57114"/>
          <ac:spMkLst>
            <pc:docMk/>
            <pc:sldMk cId="3184321266" sldId="296"/>
            <ac:spMk id="96" creationId="{13AC7CFA-23AF-445A-96F6-EA0D2FF657A3}"/>
          </ac:spMkLst>
        </pc:spChg>
        <pc:spChg chg="del mod ord">
          <ac:chgData name="Joelle Brehm" userId="a518f54c-6985-42c0-8041-2bb16a414839" providerId="ADAL" clId="{5C7B1B84-DD23-48EC-A567-B295FAD2ABAF}" dt="2023-11-08T20:27:39.331" v="55076" actId="478"/>
          <ac:spMkLst>
            <pc:docMk/>
            <pc:sldMk cId="3184321266" sldId="296"/>
            <ac:spMk id="97" creationId="{64B2B8D7-E8A8-4757-99A4-69F1EAA48321}"/>
          </ac:spMkLst>
        </pc:spChg>
        <pc:spChg chg="del">
          <ac:chgData name="Joelle Brehm" userId="a518f54c-6985-42c0-8041-2bb16a414839" providerId="ADAL" clId="{5C7B1B84-DD23-48EC-A567-B295FAD2ABAF}" dt="2023-11-08T19:52:56.653" v="51988"/>
          <ac:spMkLst>
            <pc:docMk/>
            <pc:sldMk cId="3184321266" sldId="296"/>
            <ac:spMk id="99" creationId="{532CB703-5963-C57B-5D4D-6A2C18AD0509}"/>
          </ac:spMkLst>
        </pc:spChg>
        <pc:spChg chg="add del mod replST">
          <ac:chgData name="Joelle Brehm" userId="a518f54c-6985-42c0-8041-2bb16a414839" providerId="ADAL" clId="{5C7B1B84-DD23-48EC-A567-B295FAD2ABAF}" dt="2023-11-08T19:55:47.068" v="53320"/>
          <ac:spMkLst>
            <pc:docMk/>
            <pc:sldMk cId="3184321266" sldId="296"/>
            <ac:spMk id="102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9:55:42.942" v="53312"/>
          <ac:spMkLst>
            <pc:docMk/>
            <pc:sldMk cId="3184321266" sldId="296"/>
            <ac:spMk id="103" creationId="{6DEBB37B-4F38-88D2-C274-BE5C5838E3B5}"/>
          </ac:spMkLst>
        </pc:spChg>
        <pc:spChg chg="del">
          <ac:chgData name="Joelle Brehm" userId="a518f54c-6985-42c0-8041-2bb16a414839" providerId="ADAL" clId="{5C7B1B84-DD23-48EC-A567-B295FAD2ABAF}" dt="2023-11-08T19:52:58.189" v="52023"/>
          <ac:spMkLst>
            <pc:docMk/>
            <pc:sldMk cId="3184321266" sldId="296"/>
            <ac:spMk id="104" creationId="{FEE84FEA-7BD5-C89A-81E3-D4196031D1EF}"/>
          </ac:spMkLst>
        </pc:spChg>
        <pc:spChg chg="del">
          <ac:chgData name="Joelle Brehm" userId="a518f54c-6985-42c0-8041-2bb16a414839" providerId="ADAL" clId="{5C7B1B84-DD23-48EC-A567-B295FAD2ABAF}" dt="2023-11-08T19:52:56.652" v="51987"/>
          <ac:spMkLst>
            <pc:docMk/>
            <pc:sldMk cId="3184321266" sldId="296"/>
            <ac:spMk id="105" creationId="{6F17E07D-B1C5-FB93-9E06-748C948F3B84}"/>
          </ac:spMkLst>
        </pc:spChg>
        <pc:spChg chg="del">
          <ac:chgData name="Joelle Brehm" userId="a518f54c-6985-42c0-8041-2bb16a414839" providerId="ADAL" clId="{5C7B1B84-DD23-48EC-A567-B295FAD2ABAF}" dt="2023-11-08T19:53:38.313" v="52045" actId="478"/>
          <ac:spMkLst>
            <pc:docMk/>
            <pc:sldMk cId="3184321266" sldId="296"/>
            <ac:spMk id="106" creationId="{58013157-8B72-4777-A1DA-B9BACD5A28D4}"/>
          </ac:spMkLst>
        </pc:spChg>
        <pc:spChg chg="del">
          <ac:chgData name="Joelle Brehm" userId="a518f54c-6985-42c0-8041-2bb16a414839" providerId="ADAL" clId="{5C7B1B84-DD23-48EC-A567-B295FAD2ABAF}" dt="2023-11-08T19:52:58.188" v="52022"/>
          <ac:spMkLst>
            <pc:docMk/>
            <pc:sldMk cId="3184321266" sldId="296"/>
            <ac:spMk id="108" creationId="{A8F09F2D-DE68-133D-D131-2E68AE9E4F86}"/>
          </ac:spMkLst>
        </pc:spChg>
        <pc:spChg chg="del">
          <ac:chgData name="Joelle Brehm" userId="a518f54c-6985-42c0-8041-2bb16a414839" providerId="ADAL" clId="{5C7B1B84-DD23-48EC-A567-B295FAD2ABAF}" dt="2023-11-08T19:52:58.187" v="52019"/>
          <ac:spMkLst>
            <pc:docMk/>
            <pc:sldMk cId="3184321266" sldId="296"/>
            <ac:spMk id="109" creationId="{6190254C-63EA-3137-CA9E-EDEF286647D9}"/>
          </ac:spMkLst>
        </pc:spChg>
        <pc:spChg chg="del">
          <ac:chgData name="Joelle Brehm" userId="a518f54c-6985-42c0-8041-2bb16a414839" providerId="ADAL" clId="{5C7B1B84-DD23-48EC-A567-B295FAD2ABAF}" dt="2023-11-08T19:52:55.224" v="51952"/>
          <ac:spMkLst>
            <pc:docMk/>
            <pc:sldMk cId="3184321266" sldId="296"/>
            <ac:spMk id="110" creationId="{3E9DFF71-BC3D-F5AB-9F34-2E7EB64B1AD3}"/>
          </ac:spMkLst>
        </pc:spChg>
        <pc:spChg chg="del mod">
          <ac:chgData name="Joelle Brehm" userId="a518f54c-6985-42c0-8041-2bb16a414839" providerId="ADAL" clId="{5C7B1B84-DD23-48EC-A567-B295FAD2ABAF}" dt="2023-11-08T20:27:40.163" v="55077"/>
          <ac:spMkLst>
            <pc:docMk/>
            <pc:sldMk cId="3184321266" sldId="296"/>
            <ac:spMk id="112" creationId="{B1E326C2-2EEE-43D5-A109-95DDFA51B73B}"/>
          </ac:spMkLst>
        </pc:spChg>
        <pc:spChg chg="del">
          <ac:chgData name="Joelle Brehm" userId="a518f54c-6985-42c0-8041-2bb16a414839" providerId="ADAL" clId="{5C7B1B84-DD23-48EC-A567-B295FAD2ABAF}" dt="2023-11-08T19:52:58.187" v="52018"/>
          <ac:spMkLst>
            <pc:docMk/>
            <pc:sldMk cId="3184321266" sldId="296"/>
            <ac:spMk id="113" creationId="{345D71C8-6CA8-CC84-D4E5-408E5C14405E}"/>
          </ac:spMkLst>
        </pc:spChg>
        <pc:spChg chg="add del mod replST">
          <ac:chgData name="Joelle Brehm" userId="a518f54c-6985-42c0-8041-2bb16a414839" providerId="ADAL" clId="{5C7B1B84-DD23-48EC-A567-B295FAD2ABAF}" dt="2023-11-08T19:55:57.612" v="53839"/>
          <ac:spMkLst>
            <pc:docMk/>
            <pc:sldMk cId="3184321266" sldId="296"/>
            <ac:spMk id="114" creationId="{7CAA3B95-4C78-4122-BECA-B5FB0F3F3764}"/>
          </ac:spMkLst>
        </pc:spChg>
        <pc:spChg chg="del mod">
          <ac:chgData name="Joelle Brehm" userId="a518f54c-6985-42c0-8041-2bb16a414839" providerId="ADAL" clId="{5C7B1B84-DD23-48EC-A567-B295FAD2ABAF}" dt="2023-11-08T20:27:40.164" v="55078"/>
          <ac:spMkLst>
            <pc:docMk/>
            <pc:sldMk cId="3184321266" sldId="296"/>
            <ac:spMk id="115" creationId="{F83AC835-A6EF-4A7F-8442-CDE1F97238F5}"/>
          </ac:spMkLst>
        </pc:spChg>
        <pc:spChg chg="del">
          <ac:chgData name="Joelle Brehm" userId="a518f54c-6985-42c0-8041-2bb16a414839" providerId="ADAL" clId="{5C7B1B84-DD23-48EC-A567-B295FAD2ABAF}" dt="2023-11-08T19:52:56.652" v="51986"/>
          <ac:spMkLst>
            <pc:docMk/>
            <pc:sldMk cId="3184321266" sldId="296"/>
            <ac:spMk id="116" creationId="{E6B2D068-E691-A10D-15D8-F8578EFD4C29}"/>
          </ac:spMkLst>
        </pc:spChg>
        <pc:spChg chg="add del mod modVis">
          <ac:chgData name="Joelle Brehm" userId="a518f54c-6985-42c0-8041-2bb16a414839" providerId="ADAL" clId="{5C7B1B84-DD23-48EC-A567-B295FAD2ABAF}" dt="2023-11-08T19:55:47.728" v="53489"/>
          <ac:spMkLst>
            <pc:docMk/>
            <pc:sldMk cId="3184321266" sldId="296"/>
            <ac:spMk id="117" creationId="{992A3690-3F17-7586-015C-25AAE0CCB837}"/>
          </ac:spMkLst>
        </pc:spChg>
        <pc:spChg chg="del mod">
          <ac:chgData name="Joelle Brehm" userId="a518f54c-6985-42c0-8041-2bb16a414839" providerId="ADAL" clId="{5C7B1B84-DD23-48EC-A567-B295FAD2ABAF}" dt="2023-11-08T20:27:41.206" v="55091"/>
          <ac:spMkLst>
            <pc:docMk/>
            <pc:sldMk cId="3184321266" sldId="296"/>
            <ac:spMk id="119" creationId="{7CAA3B95-4C78-4122-BECA-B5FB0F3F3764}"/>
          </ac:spMkLst>
        </pc:spChg>
        <pc:spChg chg="del">
          <ac:chgData name="Joelle Brehm" userId="a518f54c-6985-42c0-8041-2bb16a414839" providerId="ADAL" clId="{5C7B1B84-DD23-48EC-A567-B295FAD2ABAF}" dt="2023-11-08T19:52:58.187" v="52017"/>
          <ac:spMkLst>
            <pc:docMk/>
            <pc:sldMk cId="3184321266" sldId="296"/>
            <ac:spMk id="124" creationId="{E29C0612-0AFE-B996-B33A-B76C1FA88F23}"/>
          </ac:spMkLst>
        </pc:spChg>
        <pc:spChg chg="del">
          <ac:chgData name="Joelle Brehm" userId="a518f54c-6985-42c0-8041-2bb16a414839" providerId="ADAL" clId="{5C7B1B84-DD23-48EC-A567-B295FAD2ABAF}" dt="2023-11-08T19:52:56.651" v="51985"/>
          <ac:spMkLst>
            <pc:docMk/>
            <pc:sldMk cId="3184321266" sldId="296"/>
            <ac:spMk id="125" creationId="{7946676C-3436-BEA2-4ED0-A4B3DECD2026}"/>
          </ac:spMkLst>
        </pc:spChg>
        <pc:spChg chg="del">
          <ac:chgData name="Joelle Brehm" userId="a518f54c-6985-42c0-8041-2bb16a414839" providerId="ADAL" clId="{5C7B1B84-DD23-48EC-A567-B295FAD2ABAF}" dt="2023-11-08T19:52:55.223" v="51949"/>
          <ac:spMkLst>
            <pc:docMk/>
            <pc:sldMk cId="3184321266" sldId="296"/>
            <ac:spMk id="126" creationId="{3D7E089F-9664-F836-3178-72CAB009D5F9}"/>
          </ac:spMkLst>
        </pc:spChg>
        <pc:spChg chg="del">
          <ac:chgData name="Joelle Brehm" userId="a518f54c-6985-42c0-8041-2bb16a414839" providerId="ADAL" clId="{5C7B1B84-DD23-48EC-A567-B295FAD2ABAF}" dt="2023-11-08T19:52:58.186" v="52016"/>
          <ac:spMkLst>
            <pc:docMk/>
            <pc:sldMk cId="3184321266" sldId="296"/>
            <ac:spMk id="127" creationId="{2CF9A986-1E95-AE1A-FD0F-F8AD045E4589}"/>
          </ac:spMkLst>
        </pc:spChg>
        <pc:spChg chg="add del mod modVis">
          <ac:chgData name="Joelle Brehm" userId="a518f54c-6985-42c0-8041-2bb16a414839" providerId="ADAL" clId="{5C7B1B84-DD23-48EC-A567-B295FAD2ABAF}" dt="2023-11-08T19:55:57.651" v="53888"/>
          <ac:spMkLst>
            <pc:docMk/>
            <pc:sldMk cId="3184321266" sldId="296"/>
            <ac:spMk id="129" creationId="{4B4527BD-74BC-7A2F-434C-ED25987EA455}"/>
          </ac:spMkLst>
        </pc:spChg>
        <pc:spChg chg="del">
          <ac:chgData name="Joelle Brehm" userId="a518f54c-6985-42c0-8041-2bb16a414839" providerId="ADAL" clId="{5C7B1B84-DD23-48EC-A567-B295FAD2ABAF}" dt="2023-11-08T19:52:55.222" v="51948"/>
          <ac:spMkLst>
            <pc:docMk/>
            <pc:sldMk cId="3184321266" sldId="296"/>
            <ac:spMk id="130" creationId="{DB0A6969-9BE6-DD88-9511-7F8FD934DA11}"/>
          </ac:spMkLst>
        </pc:spChg>
        <pc:spChg chg="del">
          <ac:chgData name="Joelle Brehm" userId="a518f54c-6985-42c0-8041-2bb16a414839" providerId="ADAL" clId="{5C7B1B84-DD23-48EC-A567-B295FAD2ABAF}" dt="2023-11-08T19:52:56.651" v="51984"/>
          <ac:spMkLst>
            <pc:docMk/>
            <pc:sldMk cId="3184321266" sldId="296"/>
            <ac:spMk id="132" creationId="{8E856E10-A2C3-3BD4-C02F-F3D2D343989C}"/>
          </ac:spMkLst>
        </pc:spChg>
        <pc:spChg chg="add mod replST">
          <ac:chgData name="Joelle Brehm" userId="a518f54c-6985-42c0-8041-2bb16a414839" providerId="ADAL" clId="{5C7B1B84-DD23-48EC-A567-B295FAD2ABAF}" dt="2023-11-08T20:29:44.973" v="57124"/>
          <ac:spMkLst>
            <pc:docMk/>
            <pc:sldMk cId="3184321266" sldId="296"/>
            <ac:spMk id="133" creationId="{7CAA3B95-4C78-4122-BECA-B5FB0F3F3764}"/>
          </ac:spMkLst>
        </pc:spChg>
        <pc:spChg chg="del">
          <ac:chgData name="Joelle Brehm" userId="a518f54c-6985-42c0-8041-2bb16a414839" providerId="ADAL" clId="{5C7B1B84-DD23-48EC-A567-B295FAD2ABAF}" dt="2023-11-08T19:52:54.139" v="51896"/>
          <ac:spMkLst>
            <pc:docMk/>
            <pc:sldMk cId="3184321266" sldId="296"/>
            <ac:spMk id="134" creationId="{4B21D98E-CBDB-7AFB-94BD-6B7A23D60EC2}"/>
          </ac:spMkLst>
        </pc:spChg>
        <pc:spChg chg="add del mod modVis">
          <ac:chgData name="Joelle Brehm" userId="a518f54c-6985-42c0-8041-2bb16a414839" providerId="ADAL" clId="{5C7B1B84-DD23-48EC-A567-B295FAD2ABAF}" dt="2023-11-08T19:55:58.502" v="54014"/>
          <ac:spMkLst>
            <pc:docMk/>
            <pc:sldMk cId="3184321266" sldId="296"/>
            <ac:spMk id="135" creationId="{F4A64370-EE58-2D02-722F-EB08F8E840D9}"/>
          </ac:spMkLst>
        </pc:spChg>
        <pc:spChg chg="del mod">
          <ac:chgData name="Joelle Brehm" userId="a518f54c-6985-42c0-8041-2bb16a414839" providerId="ADAL" clId="{5C7B1B84-DD23-48EC-A567-B295FAD2ABAF}" dt="2023-11-08T20:27:41.205" v="55090"/>
          <ac:spMkLst>
            <pc:docMk/>
            <pc:sldMk cId="3184321266" sldId="296"/>
            <ac:spMk id="136" creationId="{B0880886-62C0-5AA0-11B4-1A12280C6771}"/>
          </ac:spMkLst>
        </pc:spChg>
        <pc:spChg chg="del">
          <ac:chgData name="Joelle Brehm" userId="a518f54c-6985-42c0-8041-2bb16a414839" providerId="ADAL" clId="{5C7B1B84-DD23-48EC-A567-B295FAD2ABAF}" dt="2023-11-08T19:52:56.649" v="51981"/>
          <ac:spMkLst>
            <pc:docMk/>
            <pc:sldMk cId="3184321266" sldId="296"/>
            <ac:spMk id="138" creationId="{DA86F810-5DF9-CBB1-F1F5-C2AD168769DF}"/>
          </ac:spMkLst>
        </pc:spChg>
        <pc:spChg chg="del">
          <ac:chgData name="Joelle Brehm" userId="a518f54c-6985-42c0-8041-2bb16a414839" providerId="ADAL" clId="{5C7B1B84-DD23-48EC-A567-B295FAD2ABAF}" dt="2023-11-08T19:52:58.185" v="52015"/>
          <ac:spMkLst>
            <pc:docMk/>
            <pc:sldMk cId="3184321266" sldId="296"/>
            <ac:spMk id="139" creationId="{90D6C27A-2B60-467B-C5C7-9CCE43964040}"/>
          </ac:spMkLst>
        </pc:spChg>
        <pc:spChg chg="del">
          <ac:chgData name="Joelle Brehm" userId="a518f54c-6985-42c0-8041-2bb16a414839" providerId="ADAL" clId="{5C7B1B84-DD23-48EC-A567-B295FAD2ABAF}" dt="2023-11-08T19:52:54.138" v="51895"/>
          <ac:spMkLst>
            <pc:docMk/>
            <pc:sldMk cId="3184321266" sldId="296"/>
            <ac:spMk id="141" creationId="{E36F4C8D-EC2C-AF10-792A-6324A776E04A}"/>
          </ac:spMkLst>
        </pc:spChg>
        <pc:spChg chg="add del mod modVis">
          <ac:chgData name="Joelle Brehm" userId="a518f54c-6985-42c0-8041-2bb16a414839" providerId="ADAL" clId="{5C7B1B84-DD23-48EC-A567-B295FAD2ABAF}" dt="2023-11-08T19:56:00.464" v="54091"/>
          <ac:spMkLst>
            <pc:docMk/>
            <pc:sldMk cId="3184321266" sldId="296"/>
            <ac:spMk id="142" creationId="{0E7787C5-29F6-6A07-AD3B-11AEFC3E1E8F}"/>
          </ac:spMkLst>
        </pc:spChg>
        <pc:spChg chg="del">
          <ac:chgData name="Joelle Brehm" userId="a518f54c-6985-42c0-8041-2bb16a414839" providerId="ADAL" clId="{5C7B1B84-DD23-48EC-A567-B295FAD2ABAF}" dt="2023-11-08T19:52:58.185" v="52014"/>
          <ac:spMkLst>
            <pc:docMk/>
            <pc:sldMk cId="3184321266" sldId="296"/>
            <ac:spMk id="143" creationId="{8B4F9978-6CBD-ADA8-09AB-786FD14471F8}"/>
          </ac:spMkLst>
        </pc:spChg>
        <pc:spChg chg="add del mod modVis">
          <ac:chgData name="Joelle Brehm" userId="a518f54c-6985-42c0-8041-2bb16a414839" providerId="ADAL" clId="{5C7B1B84-DD23-48EC-A567-B295FAD2ABAF}" dt="2023-11-08T19:56:02.779" v="54172"/>
          <ac:spMkLst>
            <pc:docMk/>
            <pc:sldMk cId="3184321266" sldId="296"/>
            <ac:spMk id="145" creationId="{4263E81C-4DE5-9D42-69C9-1FCCA3BD70A9}"/>
          </ac:spMkLst>
        </pc:spChg>
        <pc:spChg chg="del">
          <ac:chgData name="Joelle Brehm" userId="a518f54c-6985-42c0-8041-2bb16a414839" providerId="ADAL" clId="{5C7B1B84-DD23-48EC-A567-B295FAD2ABAF}" dt="2023-11-08T19:52:56.649" v="51980"/>
          <ac:spMkLst>
            <pc:docMk/>
            <pc:sldMk cId="3184321266" sldId="296"/>
            <ac:spMk id="146" creationId="{6414DE83-49A9-C649-08EC-1FB84B54E2EA}"/>
          </ac:spMkLst>
        </pc:spChg>
        <pc:spChg chg="del">
          <ac:chgData name="Joelle Brehm" userId="a518f54c-6985-42c0-8041-2bb16a414839" providerId="ADAL" clId="{5C7B1B84-DD23-48EC-A567-B295FAD2ABAF}" dt="2023-11-08T19:52:55.223" v="51951"/>
          <ac:spMkLst>
            <pc:docMk/>
            <pc:sldMk cId="3184321266" sldId="296"/>
            <ac:spMk id="148" creationId="{82F554A9-08CC-6620-02ED-77323B513A8D}"/>
          </ac:spMkLst>
        </pc:spChg>
        <pc:spChg chg="del">
          <ac:chgData name="Joelle Brehm" userId="a518f54c-6985-42c0-8041-2bb16a414839" providerId="ADAL" clId="{5C7B1B84-DD23-48EC-A567-B295FAD2ABAF}" dt="2023-11-08T19:52:55.223" v="51950"/>
          <ac:spMkLst>
            <pc:docMk/>
            <pc:sldMk cId="3184321266" sldId="296"/>
            <ac:spMk id="149" creationId="{00B6D0BA-C100-DD7D-65CA-BA24D0FAE499}"/>
          </ac:spMkLst>
        </pc:spChg>
        <pc:spChg chg="del">
          <ac:chgData name="Joelle Brehm" userId="a518f54c-6985-42c0-8041-2bb16a414839" providerId="ADAL" clId="{5C7B1B84-DD23-48EC-A567-B295FAD2ABAF}" dt="2023-11-08T19:52:56.659" v="52001"/>
          <ac:spMkLst>
            <pc:docMk/>
            <pc:sldMk cId="3184321266" sldId="296"/>
            <ac:spMk id="151" creationId="{7EF7CCB6-B417-DC51-1AB2-68262CB2FA75}"/>
          </ac:spMkLst>
        </pc:spChg>
        <pc:spChg chg="del">
          <ac:chgData name="Joelle Brehm" userId="a518f54c-6985-42c0-8041-2bb16a414839" providerId="ADAL" clId="{5C7B1B84-DD23-48EC-A567-B295FAD2ABAF}" dt="2023-11-08T19:52:56.658" v="52000"/>
          <ac:spMkLst>
            <pc:docMk/>
            <pc:sldMk cId="3184321266" sldId="296"/>
            <ac:spMk id="152" creationId="{DA6FB46B-FE82-345B-FD6E-877AEF916054}"/>
          </ac:spMkLst>
        </pc:spChg>
        <pc:spChg chg="del">
          <ac:chgData name="Joelle Brehm" userId="a518f54c-6985-42c0-8041-2bb16a414839" providerId="ADAL" clId="{5C7B1B84-DD23-48EC-A567-B295FAD2ABAF}" dt="2023-11-08T19:52:58.183" v="52011"/>
          <ac:spMkLst>
            <pc:docMk/>
            <pc:sldMk cId="3184321266" sldId="296"/>
            <ac:spMk id="154" creationId="{A61E4EE9-FC3E-9FF2-7995-0C75440B927B}"/>
          </ac:spMkLst>
        </pc:spChg>
        <pc:spChg chg="add mod replST">
          <ac:chgData name="Joelle Brehm" userId="a518f54c-6985-42c0-8041-2bb16a414839" providerId="ADAL" clId="{5C7B1B84-DD23-48EC-A567-B295FAD2ABAF}" dt="2023-11-08T20:29:44.974" v="57126"/>
          <ac:spMkLst>
            <pc:docMk/>
            <pc:sldMk cId="3184321266" sldId="296"/>
            <ac:spMk id="155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19:56:11.354" v="54351"/>
          <ac:spMkLst>
            <pc:docMk/>
            <pc:sldMk cId="3184321266" sldId="296"/>
            <ac:spMk id="156" creationId="{E69F0B8A-0FFF-A0C2-2508-21391DF7CD36}"/>
          </ac:spMkLst>
        </pc:spChg>
        <pc:spChg chg="del">
          <ac:chgData name="Joelle Brehm" userId="a518f54c-6985-42c0-8041-2bb16a414839" providerId="ADAL" clId="{5C7B1B84-DD23-48EC-A567-B295FAD2ABAF}" dt="2023-11-08T19:52:58.185" v="52013"/>
          <ac:spMkLst>
            <pc:docMk/>
            <pc:sldMk cId="3184321266" sldId="296"/>
            <ac:spMk id="157" creationId="{59183E0F-2F9E-0EB4-0583-D09B06FA12EC}"/>
          </ac:spMkLst>
        </pc:spChg>
        <pc:spChg chg="del">
          <ac:chgData name="Joelle Brehm" userId="a518f54c-6985-42c0-8041-2bb16a414839" providerId="ADAL" clId="{5C7B1B84-DD23-48EC-A567-B295FAD2ABAF}" dt="2023-11-08T19:52:58.184" v="52012"/>
          <ac:spMkLst>
            <pc:docMk/>
            <pc:sldMk cId="3184321266" sldId="296"/>
            <ac:spMk id="158" creationId="{5B6F19F9-65BC-D043-328A-0D4F88644681}"/>
          </ac:spMkLst>
        </pc:spChg>
        <pc:spChg chg="del mod">
          <ac:chgData name="Joelle Brehm" userId="a518f54c-6985-42c0-8041-2bb16a414839" providerId="ADAL" clId="{5C7B1B84-DD23-48EC-A567-B295FAD2ABAF}" dt="2023-11-08T20:27:41.206" v="55092"/>
          <ac:spMkLst>
            <pc:docMk/>
            <pc:sldMk cId="3184321266" sldId="296"/>
            <ac:spMk id="160" creationId="{07C3E5D2-7583-63D0-37B6-7B151A712896}"/>
          </ac:spMkLst>
        </pc:spChg>
        <pc:spChg chg="add del mod modVis">
          <ac:chgData name="Joelle Brehm" userId="a518f54c-6985-42c0-8041-2bb16a414839" providerId="ADAL" clId="{5C7B1B84-DD23-48EC-A567-B295FAD2ABAF}" dt="2023-11-08T19:56:16.123" v="54436"/>
          <ac:spMkLst>
            <pc:docMk/>
            <pc:sldMk cId="3184321266" sldId="296"/>
            <ac:spMk id="161" creationId="{E4120D26-0425-0986-2CD6-94059F89925D}"/>
          </ac:spMkLst>
        </pc:spChg>
        <pc:spChg chg="del mod">
          <ac:chgData name="Joelle Brehm" userId="a518f54c-6985-42c0-8041-2bb16a414839" providerId="ADAL" clId="{5C7B1B84-DD23-48EC-A567-B295FAD2ABAF}" dt="2023-11-08T20:27:40.165" v="55081"/>
          <ac:spMkLst>
            <pc:docMk/>
            <pc:sldMk cId="3184321266" sldId="296"/>
            <ac:spMk id="162" creationId="{A162EB60-F907-7F32-BE30-A5DD5012E9B2}"/>
          </ac:spMkLst>
        </pc:spChg>
        <pc:spChg chg="del">
          <ac:chgData name="Joelle Brehm" userId="a518f54c-6985-42c0-8041-2bb16a414839" providerId="ADAL" clId="{5C7B1B84-DD23-48EC-A567-B295FAD2ABAF}" dt="2023-11-08T19:52:58.183" v="52010"/>
          <ac:spMkLst>
            <pc:docMk/>
            <pc:sldMk cId="3184321266" sldId="296"/>
            <ac:spMk id="163" creationId="{B4BF5702-9B69-493D-938D-23FA87022A8B}"/>
          </ac:spMkLst>
        </pc:spChg>
        <pc:spChg chg="del">
          <ac:chgData name="Joelle Brehm" userId="a518f54c-6985-42c0-8041-2bb16a414839" providerId="ADAL" clId="{5C7B1B84-DD23-48EC-A567-B295FAD2ABAF}" dt="2023-11-08T19:52:56.651" v="51983"/>
          <ac:spMkLst>
            <pc:docMk/>
            <pc:sldMk cId="3184321266" sldId="296"/>
            <ac:spMk id="166" creationId="{7AD10AD6-42C2-4283-AA98-7E6D620D7841}"/>
          </ac:spMkLst>
        </pc:spChg>
        <pc:spChg chg="del">
          <ac:chgData name="Joelle Brehm" userId="a518f54c-6985-42c0-8041-2bb16a414839" providerId="ADAL" clId="{5C7B1B84-DD23-48EC-A567-B295FAD2ABAF}" dt="2023-11-08T19:52:56.650" v="51982"/>
          <ac:spMkLst>
            <pc:docMk/>
            <pc:sldMk cId="3184321266" sldId="296"/>
            <ac:spMk id="167" creationId="{F4E87B54-979D-3FF4-CD65-15E354C7960B}"/>
          </ac:spMkLst>
        </pc:spChg>
        <pc:spChg chg="add del mod replST">
          <ac:chgData name="Joelle Brehm" userId="a518f54c-6985-42c0-8041-2bb16a414839" providerId="ADAL" clId="{5C7B1B84-DD23-48EC-A567-B295FAD2ABAF}" dt="2023-11-08T20:05:17.617" v="55066"/>
          <ac:spMkLst>
            <pc:docMk/>
            <pc:sldMk cId="3184321266" sldId="296"/>
            <ac:spMk id="175" creationId="{2C96BC6D-DCCF-59A2-B829-5C8551175EF7}"/>
          </ac:spMkLst>
        </pc:spChg>
        <pc:spChg chg="add del mod replST">
          <ac:chgData name="Joelle Brehm" userId="a518f54c-6985-42c0-8041-2bb16a414839" providerId="ADAL" clId="{5C7B1B84-DD23-48EC-A567-B295FAD2ABAF}" dt="2023-11-08T20:05:17.615" v="55064"/>
          <ac:spMkLst>
            <pc:docMk/>
            <pc:sldMk cId="3184321266" sldId="296"/>
            <ac:spMk id="176" creationId="{59246B63-BF83-8FE7-6A81-47CCAE173F04}"/>
          </ac:spMkLst>
        </pc:spChg>
        <pc:spChg chg="add del mod replST">
          <ac:chgData name="Joelle Brehm" userId="a518f54c-6985-42c0-8041-2bb16a414839" providerId="ADAL" clId="{5C7B1B84-DD23-48EC-A567-B295FAD2ABAF}" dt="2023-11-08T20:05:17.618" v="55067"/>
          <ac:spMkLst>
            <pc:docMk/>
            <pc:sldMk cId="3184321266" sldId="296"/>
            <ac:spMk id="177" creationId="{04E32167-80F9-6C4D-F919-CC7B7F5D7BF2}"/>
          </ac:spMkLst>
        </pc:spChg>
        <pc:spChg chg="add del mod replST">
          <ac:chgData name="Joelle Brehm" userId="a518f54c-6985-42c0-8041-2bb16a414839" providerId="ADAL" clId="{5C7B1B84-DD23-48EC-A567-B295FAD2ABAF}" dt="2023-11-08T20:05:17.617" v="55065"/>
          <ac:spMkLst>
            <pc:docMk/>
            <pc:sldMk cId="3184321266" sldId="296"/>
            <ac:spMk id="178" creationId="{A703D69A-BA17-AE19-C597-CF0621F050E5}"/>
          </ac:spMkLst>
        </pc:spChg>
        <pc:spChg chg="add del mod modVis">
          <ac:chgData name="Joelle Brehm" userId="a518f54c-6985-42c0-8041-2bb16a414839" providerId="ADAL" clId="{5C7B1B84-DD23-48EC-A567-B295FAD2ABAF}" dt="2023-11-08T20:05:04.613" v="54996"/>
          <ac:spMkLst>
            <pc:docMk/>
            <pc:sldMk cId="3184321266" sldId="296"/>
            <ac:spMk id="179" creationId="{A65E6D3C-8981-CDEE-8F9A-C39B7E712945}"/>
          </ac:spMkLst>
        </pc:spChg>
        <pc:spChg chg="add del mod replST">
          <ac:chgData name="Joelle Brehm" userId="a518f54c-6985-42c0-8041-2bb16a414839" providerId="ADAL" clId="{5C7B1B84-DD23-48EC-A567-B295FAD2ABAF}" dt="2023-11-08T20:28:02.527" v="55857"/>
          <ac:spMkLst>
            <pc:docMk/>
            <pc:sldMk cId="3184321266" sldId="296"/>
            <ac:spMk id="182" creationId="{7CAA3B95-4C78-4122-BECA-B5FB0F3F3764}"/>
          </ac:spMkLst>
        </pc:spChg>
        <pc:spChg chg="del">
          <ac:chgData name="Joelle Brehm" userId="a518f54c-6985-42c0-8041-2bb16a414839" providerId="ADAL" clId="{5C7B1B84-DD23-48EC-A567-B295FAD2ABAF}" dt="2023-11-08T19:52:56.657" v="51998"/>
          <ac:spMkLst>
            <pc:docMk/>
            <pc:sldMk cId="3184321266" sldId="296"/>
            <ac:spMk id="183" creationId="{AF9B10EE-106F-F48F-396B-6E0A5755F50A}"/>
          </ac:spMkLst>
        </pc:spChg>
        <pc:spChg chg="add del mod modVis">
          <ac:chgData name="Joelle Brehm" userId="a518f54c-6985-42c0-8041-2bb16a414839" providerId="ADAL" clId="{5C7B1B84-DD23-48EC-A567-B295FAD2ABAF}" dt="2023-11-08T20:27:50.718" v="55795"/>
          <ac:spMkLst>
            <pc:docMk/>
            <pc:sldMk cId="3184321266" sldId="296"/>
            <ac:spMk id="184" creationId="{30E17FE5-93BC-B882-5229-6833C8F2E85D}"/>
          </ac:spMkLst>
        </pc:spChg>
        <pc:spChg chg="add del mod replST">
          <ac:chgData name="Joelle Brehm" userId="a518f54c-6985-42c0-8041-2bb16a414839" providerId="ADAL" clId="{5C7B1B84-DD23-48EC-A567-B295FAD2ABAF}" dt="2023-11-08T20:27:55.283" v="55801"/>
          <ac:spMkLst>
            <pc:docMk/>
            <pc:sldMk cId="3184321266" sldId="296"/>
            <ac:spMk id="185" creationId="{7CAA3B95-4C78-4122-BECA-B5FB0F3F3764}"/>
          </ac:spMkLst>
        </pc:spChg>
        <pc:spChg chg="add del mod replST">
          <ac:chgData name="Joelle Brehm" userId="a518f54c-6985-42c0-8041-2bb16a414839" providerId="ADAL" clId="{5C7B1B84-DD23-48EC-A567-B295FAD2ABAF}" dt="2023-11-08T20:27:55.284" v="55803"/>
          <ac:spMkLst>
            <pc:docMk/>
            <pc:sldMk cId="3184321266" sldId="296"/>
            <ac:spMk id="186" creationId="{7CAA3B95-4C78-4122-BECA-B5FB0F3F3764}"/>
          </ac:spMkLst>
        </pc:spChg>
        <pc:spChg chg="add del mod replST">
          <ac:chgData name="Joelle Brehm" userId="a518f54c-6985-42c0-8041-2bb16a414839" providerId="ADAL" clId="{5C7B1B84-DD23-48EC-A567-B295FAD2ABAF}" dt="2023-11-08T20:28:24.429" v="56096"/>
          <ac:spMkLst>
            <pc:docMk/>
            <pc:sldMk cId="3184321266" sldId="296"/>
            <ac:spMk id="187" creationId="{7CAA3B95-4C78-4122-BECA-B5FB0F3F3764}"/>
          </ac:spMkLst>
        </pc:spChg>
        <pc:spChg chg="del mod">
          <ac:chgData name="Joelle Brehm" userId="a518f54c-6985-42c0-8041-2bb16a414839" providerId="ADAL" clId="{5C7B1B84-DD23-48EC-A567-B295FAD2ABAF}" dt="2023-11-08T20:27:41.202" v="55086"/>
          <ac:spMkLst>
            <pc:docMk/>
            <pc:sldMk cId="3184321266" sldId="296"/>
            <ac:spMk id="188" creationId="{3EAD5544-D356-497E-99A8-A208C0CDD275}"/>
          </ac:spMkLst>
        </pc:spChg>
        <pc:spChg chg="add del mod replST">
          <ac:chgData name="Joelle Brehm" userId="a518f54c-6985-42c0-8041-2bb16a414839" providerId="ADAL" clId="{5C7B1B84-DD23-48EC-A567-B295FAD2ABAF}" dt="2023-11-08T20:29:29.327" v="56817"/>
          <ac:spMkLst>
            <pc:docMk/>
            <pc:sldMk cId="3184321266" sldId="296"/>
            <ac:spMk id="189" creationId="{7CAA3B95-4C78-4122-BECA-B5FB0F3F3764}"/>
          </ac:spMkLst>
        </pc:spChg>
        <pc:spChg chg="add mod replST">
          <ac:chgData name="Joelle Brehm" userId="a518f54c-6985-42c0-8041-2bb16a414839" providerId="ADAL" clId="{5C7B1B84-DD23-48EC-A567-B295FAD2ABAF}" dt="2023-11-08T20:29:53.067" v="57156"/>
          <ac:spMkLst>
            <pc:docMk/>
            <pc:sldMk cId="3184321266" sldId="296"/>
            <ac:spMk id="190" creationId="{7CAA3B95-4C78-4122-BECA-B5FB0F3F3764}"/>
          </ac:spMkLst>
        </pc:spChg>
        <pc:spChg chg="add del mod replST">
          <ac:chgData name="Joelle Brehm" userId="a518f54c-6985-42c0-8041-2bb16a414839" providerId="ADAL" clId="{5C7B1B84-DD23-48EC-A567-B295FAD2ABAF}" dt="2023-11-08T20:29:17.390" v="56570"/>
          <ac:spMkLst>
            <pc:docMk/>
            <pc:sldMk cId="3184321266" sldId="296"/>
            <ac:spMk id="191" creationId="{7CAA3B95-4C78-4122-BECA-B5FB0F3F3764}"/>
          </ac:spMkLst>
        </pc:spChg>
        <pc:spChg chg="del">
          <ac:chgData name="Joelle Brehm" userId="a518f54c-6985-42c0-8041-2bb16a414839" providerId="ADAL" clId="{5C7B1B84-DD23-48EC-A567-B295FAD2ABAF}" dt="2023-11-08T19:52:58.193" v="52031"/>
          <ac:spMkLst>
            <pc:docMk/>
            <pc:sldMk cId="3184321266" sldId="296"/>
            <ac:spMk id="197" creationId="{722A3E0D-C28D-16CC-7C62-79D69B60F483}"/>
          </ac:spMkLst>
        </pc:spChg>
        <pc:spChg chg="del">
          <ac:chgData name="Joelle Brehm" userId="a518f54c-6985-42c0-8041-2bb16a414839" providerId="ADAL" clId="{5C7B1B84-DD23-48EC-A567-B295FAD2ABAF}" dt="2023-11-08T19:52:58.192" v="52029"/>
          <ac:spMkLst>
            <pc:docMk/>
            <pc:sldMk cId="3184321266" sldId="296"/>
            <ac:spMk id="200" creationId="{52DE169D-4200-00F1-2DE6-7AB331DC502C}"/>
          </ac:spMkLst>
        </pc:spChg>
        <pc:spChg chg="del">
          <ac:chgData name="Joelle Brehm" userId="a518f54c-6985-42c0-8041-2bb16a414839" providerId="ADAL" clId="{5C7B1B84-DD23-48EC-A567-B295FAD2ABAF}" dt="2023-11-08T19:52:58.192" v="52028"/>
          <ac:spMkLst>
            <pc:docMk/>
            <pc:sldMk cId="3184321266" sldId="296"/>
            <ac:spMk id="203" creationId="{826E7DC3-2A3A-F229-B420-4432543B4EC5}"/>
          </ac:spMkLst>
        </pc:spChg>
        <pc:spChg chg="mod ord">
          <ac:chgData name="Joelle Brehm" userId="a518f54c-6985-42c0-8041-2bb16a414839" providerId="ADAL" clId="{5C7B1B84-DD23-48EC-A567-B295FAD2ABAF}" dt="2023-11-08T20:29:44.971" v="57116"/>
          <ac:spMkLst>
            <pc:docMk/>
            <pc:sldMk cId="3184321266" sldId="296"/>
            <ac:spMk id="210" creationId="{2DBE4665-8B4A-4508-AC03-BDBC6AA30475}"/>
          </ac:spMkLst>
        </pc:spChg>
        <pc:spChg chg="del">
          <ac:chgData name="Joelle Brehm" userId="a518f54c-6985-42c0-8041-2bb16a414839" providerId="ADAL" clId="{5C7B1B84-DD23-48EC-A567-B295FAD2ABAF}" dt="2023-11-08T19:52:59.845" v="52043" actId="478"/>
          <ac:spMkLst>
            <pc:docMk/>
            <pc:sldMk cId="3184321266" sldId="296"/>
            <ac:spMk id="213" creationId="{9B0722AF-3DCB-CD84-F2F6-AA0AE2D38159}"/>
          </ac:spMkLst>
        </pc:spChg>
        <pc:spChg chg="add del mod replST">
          <ac:chgData name="Joelle Brehm" userId="a518f54c-6985-42c0-8041-2bb16a414839" providerId="ADAL" clId="{5C7B1B84-DD23-48EC-A567-B295FAD2ABAF}" dt="2023-11-08T20:29:21.818" v="56686"/>
          <ac:spMkLst>
            <pc:docMk/>
            <pc:sldMk cId="3184321266" sldId="296"/>
            <ac:spMk id="1024" creationId="{7CAA3B95-4C78-4122-BECA-B5FB0F3F3764}"/>
          </ac:spMkLst>
        </pc:spChg>
        <pc:spChg chg="add del mod replST">
          <ac:chgData name="Joelle Brehm" userId="a518f54c-6985-42c0-8041-2bb16a414839" providerId="ADAL" clId="{5C7B1B84-DD23-48EC-A567-B295FAD2ABAF}" dt="2023-11-08T20:27:55.283" v="55800"/>
          <ac:spMkLst>
            <pc:docMk/>
            <pc:sldMk cId="3184321266" sldId="296"/>
            <ac:spMk id="1025" creationId="{7CAA3B95-4C78-4122-BECA-B5FB0F3F3764}"/>
          </ac:spMkLst>
        </pc:spChg>
        <pc:spChg chg="add del mod replST">
          <ac:chgData name="Joelle Brehm" userId="a518f54c-6985-42c0-8041-2bb16a414839" providerId="ADAL" clId="{5C7B1B84-DD23-48EC-A567-B295FAD2ABAF}" dt="2023-11-08T20:27:55.284" v="55802"/>
          <ac:spMkLst>
            <pc:docMk/>
            <pc:sldMk cId="3184321266" sldId="296"/>
            <ac:spMk id="1027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20:28:19.314" v="55988"/>
          <ac:spMkLst>
            <pc:docMk/>
            <pc:sldMk cId="3184321266" sldId="296"/>
            <ac:spMk id="1033" creationId="{8B2B9A56-DCFC-E0A8-E28F-3C07FD61998C}"/>
          </ac:spMkLst>
        </pc:spChg>
        <pc:spChg chg="add del mod modVis">
          <ac:chgData name="Joelle Brehm" userId="a518f54c-6985-42c0-8041-2bb16a414839" providerId="ADAL" clId="{5C7B1B84-DD23-48EC-A567-B295FAD2ABAF}" dt="2023-11-08T20:28:21.389" v="56093"/>
          <ac:spMkLst>
            <pc:docMk/>
            <pc:sldMk cId="3184321266" sldId="296"/>
            <ac:spMk id="1035" creationId="{A838EEC6-CD8F-318F-71FE-EFD680DE768C}"/>
          </ac:spMkLst>
        </pc:spChg>
        <pc:spChg chg="add del mod modVis">
          <ac:chgData name="Joelle Brehm" userId="a518f54c-6985-42c0-8041-2bb16a414839" providerId="ADAL" clId="{5C7B1B84-DD23-48EC-A567-B295FAD2ABAF}" dt="2023-11-08T20:28:24.505" v="56178"/>
          <ac:spMkLst>
            <pc:docMk/>
            <pc:sldMk cId="3184321266" sldId="296"/>
            <ac:spMk id="1038" creationId="{F89C2FDF-3C43-99C6-2AB7-58E5E2FD5127}"/>
          </ac:spMkLst>
        </pc:spChg>
        <pc:spChg chg="add del mod modVis">
          <ac:chgData name="Joelle Brehm" userId="a518f54c-6985-42c0-8041-2bb16a414839" providerId="ADAL" clId="{5C7B1B84-DD23-48EC-A567-B295FAD2ABAF}" dt="2023-11-08T20:28:41.617" v="56252"/>
          <ac:spMkLst>
            <pc:docMk/>
            <pc:sldMk cId="3184321266" sldId="296"/>
            <ac:spMk id="1040" creationId="{DB265825-5381-F0EF-0659-D06E08969127}"/>
          </ac:spMkLst>
        </pc:spChg>
        <pc:spChg chg="add del mod modVis">
          <ac:chgData name="Joelle Brehm" userId="a518f54c-6985-42c0-8041-2bb16a414839" providerId="ADAL" clId="{5C7B1B84-DD23-48EC-A567-B295FAD2ABAF}" dt="2023-11-08T20:29:13.902" v="56564"/>
          <ac:spMkLst>
            <pc:docMk/>
            <pc:sldMk cId="3184321266" sldId="296"/>
            <ac:spMk id="1046" creationId="{530F6C20-7FB5-0CA4-D3A0-819C6420C842}"/>
          </ac:spMkLst>
        </pc:spChg>
        <pc:spChg chg="add del mod replST">
          <ac:chgData name="Joelle Brehm" userId="a518f54c-6985-42c0-8041-2bb16a414839" providerId="ADAL" clId="{5C7B1B84-DD23-48EC-A567-B295FAD2ABAF}" dt="2023-11-08T20:29:48.357" v="57141"/>
          <ac:spMkLst>
            <pc:docMk/>
            <pc:sldMk cId="3184321266" sldId="296"/>
            <ac:spMk id="1059" creationId="{7CAA3B95-4C78-4122-BECA-B5FB0F3F3764}"/>
          </ac:spMkLst>
        </pc:spChg>
        <pc:spChg chg="add del mod modVis">
          <ac:chgData name="Joelle Brehm" userId="a518f54c-6985-42c0-8041-2bb16a414839" providerId="ADAL" clId="{5C7B1B84-DD23-48EC-A567-B295FAD2ABAF}" dt="2023-11-08T20:29:44.978" v="57137"/>
          <ac:spMkLst>
            <pc:docMk/>
            <pc:sldMk cId="3184321266" sldId="296"/>
            <ac:spMk id="1060" creationId="{36D99401-7711-EBCE-2F6B-92379340998A}"/>
          </ac:spMkLst>
        </pc:spChg>
        <pc:spChg chg="add mod replST">
          <ac:chgData name="Joelle Brehm" userId="a518f54c-6985-42c0-8041-2bb16a414839" providerId="ADAL" clId="{5C7B1B84-DD23-48EC-A567-B295FAD2ABAF}" dt="2023-11-08T20:29:53.066" v="57154"/>
          <ac:spMkLst>
            <pc:docMk/>
            <pc:sldMk cId="3184321266" sldId="296"/>
            <ac:spMk id="1062" creationId="{AAB4FE2D-13B1-774A-33CC-02765FFAA2DA}"/>
          </ac:spMkLst>
        </pc:spChg>
        <pc:spChg chg="add del mod replST">
          <ac:chgData name="Joelle Brehm" userId="a518f54c-6985-42c0-8041-2bb16a414839" providerId="ADAL" clId="{5C7B1B84-DD23-48EC-A567-B295FAD2ABAF}" dt="2023-11-08T20:29:48.356" v="57140"/>
          <ac:spMkLst>
            <pc:docMk/>
            <pc:sldMk cId="3184321266" sldId="296"/>
            <ac:spMk id="1063" creationId="{C23E31AB-573C-B060-8D0D-87DE6AAF6309}"/>
          </ac:spMkLst>
        </pc:spChg>
        <pc:spChg chg="add del mod">
          <ac:chgData name="Joelle Brehm" userId="a518f54c-6985-42c0-8041-2bb16a414839" providerId="ADAL" clId="{5C7B1B84-DD23-48EC-A567-B295FAD2ABAF}" dt="2023-11-08T21:32:07.128" v="57266"/>
          <ac:spMkLst>
            <pc:docMk/>
            <pc:sldMk cId="3184321266" sldId="296"/>
            <ac:spMk id="1064" creationId="{BB78D87F-B68A-DC7E-0F50-081F28B706A4}"/>
          </ac:spMkLst>
        </pc:spChg>
        <pc:spChg chg="add mod">
          <ac:chgData name="Joelle Brehm" userId="a518f54c-6985-42c0-8041-2bb16a414839" providerId="ADAL" clId="{5C7B1B84-DD23-48EC-A567-B295FAD2ABAF}" dt="2023-11-08T22:32:09.392" v="57343" actId="1036"/>
          <ac:spMkLst>
            <pc:docMk/>
            <pc:sldMk cId="3184321266" sldId="296"/>
            <ac:spMk id="1065" creationId="{D8CB5779-D0CF-D5F7-B11D-0A8746941D75}"/>
          </ac:spMkLst>
        </pc:spChg>
        <pc:graphicFrameChg chg="mod">
          <ac:chgData name="Joelle Brehm" userId="a518f54c-6985-42c0-8041-2bb16a414839" providerId="ADAL" clId="{5C7B1B84-DD23-48EC-A567-B295FAD2ABAF}" dt="2023-11-08T20:29:53.076" v="57160"/>
          <ac:graphicFrameMkLst>
            <pc:docMk/>
            <pc:sldMk cId="3184321266" sldId="296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4:39.163" v="52343"/>
          <ac:graphicFrameMkLst>
            <pc:docMk/>
            <pc:sldMk cId="3184321266" sldId="296"/>
            <ac:graphicFrameMk id="23" creationId="{AC629607-5113-D797-6B72-D17AB24BA77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4:41.475" v="52427"/>
          <ac:graphicFrameMkLst>
            <pc:docMk/>
            <pc:sldMk cId="3184321266" sldId="296"/>
            <ac:graphicFrameMk id="33" creationId="{2AC4268B-B100-8D6D-6053-C9D25898AC8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4:43.215" v="52482"/>
          <ac:graphicFrameMkLst>
            <pc:docMk/>
            <pc:sldMk cId="3184321266" sldId="296"/>
            <ac:graphicFrameMk id="48" creationId="{D0CCC556-A580-5FA1-BC1D-AA7115DC8FE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4:44.061" v="52539"/>
          <ac:graphicFrameMkLst>
            <pc:docMk/>
            <pc:sldMk cId="3184321266" sldId="296"/>
            <ac:graphicFrameMk id="49" creationId="{5922A69B-BB69-2B16-68B8-57366D0D4B0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4:56.877" v="52679"/>
          <ac:graphicFrameMkLst>
            <pc:docMk/>
            <pc:sldMk cId="3184321266" sldId="296"/>
            <ac:graphicFrameMk id="53" creationId="{01B50E3C-43B0-0359-908E-90EAE88D5AA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03.051" v="52832"/>
          <ac:graphicFrameMkLst>
            <pc:docMk/>
            <pc:sldMk cId="3184321266" sldId="296"/>
            <ac:graphicFrameMk id="71" creationId="{ED2D02FC-7A2D-5491-CC62-C0285DB8004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12.818" v="52931"/>
          <ac:graphicFrameMkLst>
            <pc:docMk/>
            <pc:sldMk cId="3184321266" sldId="296"/>
            <ac:graphicFrameMk id="78" creationId="{25D137E0-22A8-3AF3-8FF4-51206D462E9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18.163" v="52990"/>
          <ac:graphicFrameMkLst>
            <pc:docMk/>
            <pc:sldMk cId="3184321266" sldId="296"/>
            <ac:graphicFrameMk id="83" creationId="{CB0B5EFB-6C3F-4F82-8F01-3A3F34CD726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21.196" v="53047"/>
          <ac:graphicFrameMkLst>
            <pc:docMk/>
            <pc:sldMk cId="3184321266" sldId="296"/>
            <ac:graphicFrameMk id="88" creationId="{1596E1D8-D29F-F0F8-BDF8-4089141A25A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29.154" v="53096"/>
          <ac:graphicFrameMkLst>
            <pc:docMk/>
            <pc:sldMk cId="3184321266" sldId="296"/>
            <ac:graphicFrameMk id="92" creationId="{19B05693-0DFB-0374-C701-8B8844BB8CC1}"/>
          </ac:graphicFrameMkLst>
        </pc:graphicFrameChg>
        <pc:graphicFrameChg chg="del mod ord">
          <ac:chgData name="Joelle Brehm" userId="a518f54c-6985-42c0-8041-2bb16a414839" providerId="ADAL" clId="{5C7B1B84-DD23-48EC-A567-B295FAD2ABAF}" dt="2023-11-08T20:27:41.208" v="55094"/>
          <ac:graphicFrameMkLst>
            <pc:docMk/>
            <pc:sldMk cId="3184321266" sldId="296"/>
            <ac:graphicFrameMk id="98" creationId="{E4330C6A-7C84-015A-D75F-78E375E17F5A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36.219" v="53145"/>
          <ac:graphicFrameMkLst>
            <pc:docMk/>
            <pc:sldMk cId="3184321266" sldId="296"/>
            <ac:graphicFrameMk id="100" creationId="{1C187308-E965-7D4E-15F9-3430949539F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42.914" v="53268"/>
          <ac:graphicFrameMkLst>
            <pc:docMk/>
            <pc:sldMk cId="3184321266" sldId="296"/>
            <ac:graphicFrameMk id="101" creationId="{CF0B20CF-ADA8-EB6A-9B46-31F11EB4C73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47.070" v="53322"/>
          <ac:graphicFrameMkLst>
            <pc:docMk/>
            <pc:sldMk cId="3184321266" sldId="296"/>
            <ac:graphicFrameMk id="107" creationId="{BB7AF93E-7110-C937-2F09-43C1DD28C5B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47.700" v="53445"/>
          <ac:graphicFrameMkLst>
            <pc:docMk/>
            <pc:sldMk cId="3184321266" sldId="296"/>
            <ac:graphicFrameMk id="111" creationId="{8917569B-0B4F-886E-422D-666D0F5E8265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57.616" v="53845"/>
          <ac:graphicFrameMkLst>
            <pc:docMk/>
            <pc:sldMk cId="3184321266" sldId="296"/>
            <ac:graphicFrameMk id="118" creationId="{5156A64B-A51B-FC21-668F-DB298827BE42}"/>
          </ac:graphicFrameMkLst>
        </pc:graphicFrameChg>
        <pc:graphicFrameChg chg="add del mod ord replST delST">
          <ac:chgData name="Joelle Brehm" userId="a518f54c-6985-42c0-8041-2bb16a414839" providerId="ADAL" clId="{5C7B1B84-DD23-48EC-A567-B295FAD2ABAF}" dt="2023-11-08T19:55:56.793" v="53788" actId="1076"/>
          <ac:graphicFrameMkLst>
            <pc:docMk/>
            <pc:sldMk cId="3184321266" sldId="296"/>
            <ac:graphicFrameMk id="120" creationId="{E67FCFD7-85F2-8DAF-B971-50A0EB5692CB}"/>
          </ac:graphicFrameMkLst>
        </pc:graphicFrameChg>
        <pc:graphicFrameChg chg="add del mod ord replST delST">
          <ac:chgData name="Joelle Brehm" userId="a518f54c-6985-42c0-8041-2bb16a414839" providerId="ADAL" clId="{5C7B1B84-DD23-48EC-A567-B295FAD2ABAF}" dt="2023-11-08T19:55:56.277" v="53767" actId="1076"/>
          <ac:graphicFrameMkLst>
            <pc:docMk/>
            <pc:sldMk cId="3184321266" sldId="296"/>
            <ac:graphicFrameMk id="121" creationId="{FFF9B3D8-D2C6-55A9-AC76-6C9B319EE170}"/>
          </ac:graphicFrameMkLst>
        </pc:graphicFrameChg>
        <pc:graphicFrameChg chg="add del mod ord replST delST">
          <ac:chgData name="Joelle Brehm" userId="a518f54c-6985-42c0-8041-2bb16a414839" providerId="ADAL" clId="{5C7B1B84-DD23-48EC-A567-B295FAD2ABAF}" dt="2023-11-08T19:55:55.456" v="53746" actId="1076"/>
          <ac:graphicFrameMkLst>
            <pc:docMk/>
            <pc:sldMk cId="3184321266" sldId="296"/>
            <ac:graphicFrameMk id="122" creationId="{DA6F1AE9-D5C6-42EE-79C9-6495E1BF662F}"/>
          </ac:graphicFrameMkLst>
        </pc:graphicFrameChg>
        <pc:graphicFrameChg chg="del">
          <ac:chgData name="Joelle Brehm" userId="a518f54c-6985-42c0-8041-2bb16a414839" providerId="ADAL" clId="{5C7B1B84-DD23-48EC-A567-B295FAD2ABAF}" dt="2023-11-08T19:52:54.148" v="51918"/>
          <ac:graphicFrameMkLst>
            <pc:docMk/>
            <pc:sldMk cId="3184321266" sldId="296"/>
            <ac:graphicFrameMk id="123" creationId="{176B01E5-7BB0-E33D-D82C-FC3F6250B95F}"/>
          </ac:graphicFrameMkLst>
        </pc:graphicFrameChg>
        <pc:graphicFrameChg chg="add mod ord replST delST">
          <ac:chgData name="Joelle Brehm" userId="a518f54c-6985-42c0-8041-2bb16a414839" providerId="ADAL" clId="{5C7B1B84-DD23-48EC-A567-B295FAD2ABAF}" dt="2023-11-08T19:55:55.441" v="53729" actId="1076"/>
          <ac:graphicFrameMkLst>
            <pc:docMk/>
            <pc:sldMk cId="3184321266" sldId="296"/>
            <ac:graphicFrameMk id="128" creationId="{6302F65B-407E-D3FE-81F4-3F9B73BE0DA7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5:58.472" v="53970"/>
          <ac:graphicFrameMkLst>
            <pc:docMk/>
            <pc:sldMk cId="3184321266" sldId="296"/>
            <ac:graphicFrameMk id="131" creationId="{4037CAE8-C630-4A18-A0E3-0905A708C169}"/>
          </ac:graphicFrameMkLst>
        </pc:graphicFrameChg>
        <pc:graphicFrameChg chg="del">
          <ac:chgData name="Joelle Brehm" userId="a518f54c-6985-42c0-8041-2bb16a414839" providerId="ADAL" clId="{5C7B1B84-DD23-48EC-A567-B295FAD2ABAF}" dt="2023-11-08T19:52:55.233" v="51973"/>
          <ac:graphicFrameMkLst>
            <pc:docMk/>
            <pc:sldMk cId="3184321266" sldId="296"/>
            <ac:graphicFrameMk id="137" creationId="{8462B2D5-8857-5A6C-3E18-27F5DD4CC6B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6:00.432" v="54047"/>
          <ac:graphicFrameMkLst>
            <pc:docMk/>
            <pc:sldMk cId="3184321266" sldId="296"/>
            <ac:graphicFrameMk id="140" creationId="{91ECB02E-A49A-AD70-4748-1819FE29964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6:02.739" v="54128"/>
          <ac:graphicFrameMkLst>
            <pc:docMk/>
            <pc:sldMk cId="3184321266" sldId="296"/>
            <ac:graphicFrameMk id="144" creationId="{8BF3E7C7-8B35-796B-79AD-2DD55047B8A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6:03.722" v="54181"/>
          <ac:graphicFrameMkLst>
            <pc:docMk/>
            <pc:sldMk cId="3184321266" sldId="296"/>
            <ac:graphicFrameMk id="147" creationId="{83A8C8FB-2BCD-8667-3861-58F49C98B72C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6:11.323" v="54306"/>
          <ac:graphicFrameMkLst>
            <pc:docMk/>
            <pc:sldMk cId="3184321266" sldId="296"/>
            <ac:graphicFrameMk id="150" creationId="{B667510D-1E04-20D5-07B2-6367899133D9}"/>
          </ac:graphicFrameMkLst>
        </pc:graphicFrameChg>
        <pc:graphicFrameChg chg="del">
          <ac:chgData name="Joelle Brehm" userId="a518f54c-6985-42c0-8041-2bb16a414839" providerId="ADAL" clId="{5C7B1B84-DD23-48EC-A567-B295FAD2ABAF}" dt="2023-11-08T19:52:56.661" v="52003"/>
          <ac:graphicFrameMkLst>
            <pc:docMk/>
            <pc:sldMk cId="3184321266" sldId="296"/>
            <ac:graphicFrameMk id="153" creationId="{BC7EF866-BB0F-2F8C-2622-CADCE0A9B0D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6:16.040" v="54391"/>
          <ac:graphicFrameMkLst>
            <pc:docMk/>
            <pc:sldMk cId="3184321266" sldId="296"/>
            <ac:graphicFrameMk id="159" creationId="{8150C32B-7D41-AF2E-1EC5-1D9F2C610FC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19:56:17.177" v="54446"/>
          <ac:graphicFrameMkLst>
            <pc:docMk/>
            <pc:sldMk cId="3184321266" sldId="296"/>
            <ac:graphicFrameMk id="164" creationId="{30E6501E-F82D-99AB-A4D3-CB540692B57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04:04.154" v="54515"/>
          <ac:graphicFrameMkLst>
            <pc:docMk/>
            <pc:sldMk cId="3184321266" sldId="296"/>
            <ac:graphicFrameMk id="165" creationId="{A1EB1E47-A23C-C92C-4E8D-F7FD19598C48}"/>
          </ac:graphicFrameMkLst>
        </pc:graphicFrameChg>
        <pc:graphicFrameChg chg="del">
          <ac:chgData name="Joelle Brehm" userId="a518f54c-6985-42c0-8041-2bb16a414839" providerId="ADAL" clId="{5C7B1B84-DD23-48EC-A567-B295FAD2ABAF}" dt="2023-11-08T19:52:58.195" v="52035"/>
          <ac:graphicFrameMkLst>
            <pc:docMk/>
            <pc:sldMk cId="3184321266" sldId="296"/>
            <ac:graphicFrameMk id="168" creationId="{C9CD5985-6C4B-5D15-5B4F-D95E10E7AC3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04:05.726" v="54584"/>
          <ac:graphicFrameMkLst>
            <pc:docMk/>
            <pc:sldMk cId="3184321266" sldId="296"/>
            <ac:graphicFrameMk id="170" creationId="{344689F6-C694-0373-3C34-8F11A73298A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04:34.717" v="54700"/>
          <ac:graphicFrameMkLst>
            <pc:docMk/>
            <pc:sldMk cId="3184321266" sldId="296"/>
            <ac:graphicFrameMk id="171" creationId="{B247B13B-8C96-5C4B-5271-7F957BA99A7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04:36.095" v="54767"/>
          <ac:graphicFrameMkLst>
            <pc:docMk/>
            <pc:sldMk cId="3184321266" sldId="296"/>
            <ac:graphicFrameMk id="172" creationId="{0BE8EFD1-45B9-F6E0-A379-E2FA1FD3B83D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20:29:44.973" v="57123"/>
          <ac:graphicFrameMkLst>
            <pc:docMk/>
            <pc:sldMk cId="3184321266" sldId="296"/>
            <ac:graphicFrameMk id="173" creationId="{B49DAEA3-A5BA-7CE2-C4FA-53B2019F631D}"/>
          </ac:graphicFrameMkLst>
        </pc:graphicFrameChg>
        <pc:graphicFrameChg chg="add del mod replST">
          <ac:chgData name="Joelle Brehm" userId="a518f54c-6985-42c0-8041-2bb16a414839" providerId="ADAL" clId="{5C7B1B84-DD23-48EC-A567-B295FAD2ABAF}" dt="2023-11-08T20:05:04.581" v="54947"/>
          <ac:graphicFrameMkLst>
            <pc:docMk/>
            <pc:sldMk cId="3184321266" sldId="296"/>
            <ac:graphicFrameMk id="174" creationId="{572C71EC-3D1F-953E-2D65-AF0426B6955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05:07.047" v="55014"/>
          <ac:graphicFrameMkLst>
            <pc:docMk/>
            <pc:sldMk cId="3184321266" sldId="296"/>
            <ac:graphicFrameMk id="180" creationId="{E9D97551-291B-7ECB-7824-684E2FCD8FB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05:17.619" v="55069"/>
          <ac:graphicFrameMkLst>
            <pc:docMk/>
            <pc:sldMk cId="3184321266" sldId="296"/>
            <ac:graphicFrameMk id="181" creationId="{CB153841-AEF7-1A66-EE5C-2892ABAB8D3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7:55.298" v="55817"/>
          <ac:graphicFrameMkLst>
            <pc:docMk/>
            <pc:sldMk cId="3184321266" sldId="296"/>
            <ac:graphicFrameMk id="1030" creationId="{0DD28BE1-D7E1-3EA6-BC21-F18D67C85B7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8:02.534" v="55864"/>
          <ac:graphicFrameMkLst>
            <pc:docMk/>
            <pc:sldMk cId="3184321266" sldId="296"/>
            <ac:graphicFrameMk id="1031" creationId="{A557EE1E-0BF6-E3B7-A86B-110C29606886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8:19.280" v="55952"/>
          <ac:graphicFrameMkLst>
            <pc:docMk/>
            <pc:sldMk cId="3184321266" sldId="296"/>
            <ac:graphicFrameMk id="1032" creationId="{D100F006-71ED-06BE-0DCA-D3B9D94B3FA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8:21.363" v="56055"/>
          <ac:graphicFrameMkLst>
            <pc:docMk/>
            <pc:sldMk cId="3184321266" sldId="296"/>
            <ac:graphicFrameMk id="1034" creationId="{5575A366-D0C0-A888-633F-7D44C885FA4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8:24.478" v="56143"/>
          <ac:graphicFrameMkLst>
            <pc:docMk/>
            <pc:sldMk cId="3184321266" sldId="296"/>
            <ac:graphicFrameMk id="1037" creationId="{9BCEF199-21A4-6A8B-5014-1276DFCBC7C1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8:41.589" v="56217"/>
          <ac:graphicFrameMkLst>
            <pc:docMk/>
            <pc:sldMk cId="3184321266" sldId="296"/>
            <ac:graphicFrameMk id="1039" creationId="{149AF6B7-2CE2-3F33-A8DB-BE12878A01F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8:44.107" v="56284"/>
          <ac:graphicFrameMkLst>
            <pc:docMk/>
            <pc:sldMk cId="3184321266" sldId="296"/>
            <ac:graphicFrameMk id="1041" creationId="{93682368-5011-73DF-BA1E-3856FED98735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8:45.725" v="56349"/>
          <ac:graphicFrameMkLst>
            <pc:docMk/>
            <pc:sldMk cId="3184321266" sldId="296"/>
            <ac:graphicFrameMk id="1042" creationId="{BA0DBE67-54CB-D077-F195-000F80083B52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01.152" v="56390"/>
          <ac:graphicFrameMkLst>
            <pc:docMk/>
            <pc:sldMk cId="3184321266" sldId="296"/>
            <ac:graphicFrameMk id="1043" creationId="{19459377-DD3C-CB13-1382-868A9BFE9198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13.875" v="56529"/>
          <ac:graphicFrameMkLst>
            <pc:docMk/>
            <pc:sldMk cId="3184321266" sldId="296"/>
            <ac:graphicFrameMk id="1044" creationId="{D0E8CEA7-1F8B-DA8F-F5F5-70502BAF904C}"/>
          </ac:graphicFrameMkLst>
        </pc:graphicFrameChg>
        <pc:graphicFrameChg chg="add mod ord replST delST">
          <ac:chgData name="Joelle Brehm" userId="a518f54c-6985-42c0-8041-2bb16a414839" providerId="ADAL" clId="{5C7B1B84-DD23-48EC-A567-B295FAD2ABAF}" dt="2023-11-08T20:29:09.506" v="56484"/>
          <ac:graphicFrameMkLst>
            <pc:docMk/>
            <pc:sldMk cId="3184321266" sldId="296"/>
            <ac:graphicFrameMk id="1045" creationId="{51337339-B57E-16F5-BA4B-FB90718A07DB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17.398" v="56575"/>
          <ac:graphicFrameMkLst>
            <pc:docMk/>
            <pc:sldMk cId="3184321266" sldId="296"/>
            <ac:graphicFrameMk id="1047" creationId="{F390EB85-7F1B-9F7A-36E5-1FA977D704AD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19.914" v="56612"/>
          <ac:graphicFrameMkLst>
            <pc:docMk/>
            <pc:sldMk cId="3184321266" sldId="296"/>
            <ac:graphicFrameMk id="1048" creationId="{004434EF-4E17-F05B-6F20-F60FE5B23BE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20.954" v="56652"/>
          <ac:graphicFrameMkLst>
            <pc:docMk/>
            <pc:sldMk cId="3184321266" sldId="296"/>
            <ac:graphicFrameMk id="1049" creationId="{633328DF-7901-F293-9E7C-28AE9538F40F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21.822" v="56690"/>
          <ac:graphicFrameMkLst>
            <pc:docMk/>
            <pc:sldMk cId="3184321266" sldId="296"/>
            <ac:graphicFrameMk id="1050" creationId="{F4F4D767-FE7E-06F5-B6B5-DF3FAF41B869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24.009" v="56735"/>
          <ac:graphicFrameMkLst>
            <pc:docMk/>
            <pc:sldMk cId="3184321266" sldId="296"/>
            <ac:graphicFrameMk id="1051" creationId="{99A6283A-AD55-BC18-7E55-3FC1B0B734C0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26.315" v="56785"/>
          <ac:graphicFrameMkLst>
            <pc:docMk/>
            <pc:sldMk cId="3184321266" sldId="296"/>
            <ac:graphicFrameMk id="1052" creationId="{DA59930B-C19D-9957-8E35-72B90BD6FB0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29.333" v="56820"/>
          <ac:graphicFrameMkLst>
            <pc:docMk/>
            <pc:sldMk cId="3184321266" sldId="296"/>
            <ac:graphicFrameMk id="1053" creationId="{68C14864-D0E1-9C62-410C-EF51D54D0A43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32.157" v="56857"/>
          <ac:graphicFrameMkLst>
            <pc:docMk/>
            <pc:sldMk cId="3184321266" sldId="296"/>
            <ac:graphicFrameMk id="1054" creationId="{12DD52EA-6472-7FEF-A280-B0BD241D6C9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34.483" v="56894"/>
          <ac:graphicFrameMkLst>
            <pc:docMk/>
            <pc:sldMk cId="3184321266" sldId="296"/>
            <ac:graphicFrameMk id="1055" creationId="{384360C6-7D2F-9A87-D49B-2EE20E7DBE1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38.076" v="56929"/>
          <ac:graphicFrameMkLst>
            <pc:docMk/>
            <pc:sldMk cId="3184321266" sldId="296"/>
            <ac:graphicFrameMk id="1056" creationId="{11BC28F4-97A8-3808-C5EB-DEDFD782DEFE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43.140" v="56966"/>
          <ac:graphicFrameMkLst>
            <pc:docMk/>
            <pc:sldMk cId="3184321266" sldId="296"/>
            <ac:graphicFrameMk id="1057" creationId="{3CF09A57-A2B1-58E8-9543-D6CF9FC681C4}"/>
          </ac:graphicFrameMkLst>
        </pc:graphicFrameChg>
        <pc:graphicFrameChg chg="add del mod ord replST">
          <ac:chgData name="Joelle Brehm" userId="a518f54c-6985-42c0-8041-2bb16a414839" providerId="ADAL" clId="{5C7B1B84-DD23-48EC-A567-B295FAD2ABAF}" dt="2023-11-08T20:29:44.933" v="57066"/>
          <ac:graphicFrameMkLst>
            <pc:docMk/>
            <pc:sldMk cId="3184321266" sldId="296"/>
            <ac:graphicFrameMk id="1058" creationId="{0C2E206C-8857-BA24-5D99-1BA7F3617B38}"/>
          </ac:graphicFrameMkLst>
        </pc:graphicFrameChg>
        <pc:graphicFrameChg chg="add mod ord replST">
          <ac:chgData name="Joelle Brehm" userId="a518f54c-6985-42c0-8041-2bb16a414839" providerId="ADAL" clId="{5C7B1B84-DD23-48EC-A567-B295FAD2ABAF}" dt="2023-11-08T20:29:44.975" v="57129"/>
          <ac:graphicFrameMkLst>
            <pc:docMk/>
            <pc:sldMk cId="3184321266" sldId="296"/>
            <ac:graphicFrameMk id="1061" creationId="{4BB1A171-0559-9595-BD87-AF34DEF207D0}"/>
          </ac:graphicFrameMkLst>
        </pc:graphicFrameChg>
        <pc:picChg chg="del">
          <ac:chgData name="Joelle Brehm" userId="a518f54c-6985-42c0-8041-2bb16a414839" providerId="ADAL" clId="{5C7B1B84-DD23-48EC-A567-B295FAD2ABAF}" dt="2023-11-06T17:24:16.376" v="84" actId="478"/>
          <ac:picMkLst>
            <pc:docMk/>
            <pc:sldMk cId="3184321266" sldId="296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5C7B1B84-DD23-48EC-A567-B295FAD2ABAF}" dt="2023-11-08T20:04:25.369" v="54654" actId="478"/>
          <ac:picMkLst>
            <pc:docMk/>
            <pc:sldMk cId="3184321266" sldId="296"/>
            <ac:picMk id="169" creationId="{DADE924F-8C5E-DC57-5E03-CC0ED0AAAC6B}"/>
          </ac:picMkLst>
        </pc:picChg>
        <pc:picChg chg="add mod">
          <ac:chgData name="Joelle Brehm" userId="a518f54c-6985-42c0-8041-2bb16a414839" providerId="ADAL" clId="{5C7B1B84-DD23-48EC-A567-B295FAD2ABAF}" dt="2023-11-08T20:29:44.971" v="57117"/>
          <ac:picMkLst>
            <pc:docMk/>
            <pc:sldMk cId="3184321266" sldId="296"/>
            <ac:picMk id="1026" creationId="{A81E4029-9E9C-E6AC-16A9-5E0666C1EEB4}"/>
          </ac:picMkLst>
        </pc:picChg>
        <pc:cxnChg chg="add del mod ord replST">
          <ac:chgData name="Joelle Brehm" userId="a518f54c-6985-42c0-8041-2bb16a414839" providerId="ADAL" clId="{5C7B1B84-DD23-48EC-A567-B295FAD2ABAF}" dt="2023-11-08T20:27:55.281" v="55799"/>
          <ac:cxnSpMkLst>
            <pc:docMk/>
            <pc:sldMk cId="3184321266" sldId="296"/>
            <ac:cxnSpMk id="1028" creationId="{51F9B621-0D89-29A8-D7E1-EC5EEEF4E025}"/>
          </ac:cxnSpMkLst>
        </pc:cxnChg>
        <pc:cxnChg chg="add del mod ord replST">
          <ac:chgData name="Joelle Brehm" userId="a518f54c-6985-42c0-8041-2bb16a414839" providerId="ADAL" clId="{5C7B1B84-DD23-48EC-A567-B295FAD2ABAF}" dt="2023-11-08T20:29:17.390" v="56569"/>
          <ac:cxnSpMkLst>
            <pc:docMk/>
            <pc:sldMk cId="3184321266" sldId="296"/>
            <ac:cxnSpMk id="1029" creationId="{FC0A9906-BD04-1416-9287-8A92D33F5BBC}"/>
          </ac:cxnSpMkLst>
        </pc:cxnChg>
        <pc:cxnChg chg="add del mod ord replST">
          <ac:chgData name="Joelle Brehm" userId="a518f54c-6985-42c0-8041-2bb16a414839" providerId="ADAL" clId="{5C7B1B84-DD23-48EC-A567-B295FAD2ABAF}" dt="2023-11-08T20:28:24.474" v="56133"/>
          <ac:cxnSpMkLst>
            <pc:docMk/>
            <pc:sldMk cId="3184321266" sldId="296"/>
            <ac:cxnSpMk id="1036" creationId="{327FB237-0A98-8A91-78A4-5F9D55A96F69}"/>
          </ac:cxnSpMkLst>
        </pc:cxnChg>
      </pc:sldChg>
      <pc:sldChg chg="addSp delSp modSp add del mod">
        <pc:chgData name="Joelle Brehm" userId="a518f54c-6985-42c0-8041-2bb16a414839" providerId="ADAL" clId="{5C7B1B84-DD23-48EC-A567-B295FAD2ABAF}" dt="2023-11-08T20:57:02.111" v="57263"/>
        <pc:sldMkLst>
          <pc:docMk/>
          <pc:sldMk cId="3982539626" sldId="297"/>
        </pc:sldMkLst>
        <pc:spChg chg="mod">
          <ac:chgData name="Joelle Brehm" userId="a518f54c-6985-42c0-8041-2bb16a414839" providerId="ADAL" clId="{5C7B1B84-DD23-48EC-A567-B295FAD2ABAF}" dt="2023-11-08T20:57:02.111" v="57263"/>
          <ac:spMkLst>
            <pc:docMk/>
            <pc:sldMk cId="3982539626" sldId="297"/>
            <ac:spMk id="2" creationId="{05CA88D0-0645-F4BD-39BD-C3051BF1E8D7}"/>
          </ac:spMkLst>
        </pc:spChg>
        <pc:spChg chg="add del mod modVis">
          <ac:chgData name="Joelle Brehm" userId="a518f54c-6985-42c0-8041-2bb16a414839" providerId="ADAL" clId="{5C7B1B84-DD23-48EC-A567-B295FAD2ABAF}" dt="2023-11-08T20:57:02.111" v="57263"/>
          <ac:spMkLst>
            <pc:docMk/>
            <pc:sldMk cId="3982539626" sldId="297"/>
            <ac:spMk id="4" creationId="{ADA66449-13A1-0360-51E4-5119F59BBED9}"/>
          </ac:spMkLst>
        </pc:spChg>
        <pc:graphicFrameChg chg="add del mod ord modVis replST delST">
          <ac:chgData name="Joelle Brehm" userId="a518f54c-6985-42c0-8041-2bb16a414839" providerId="ADAL" clId="{5C7B1B84-DD23-48EC-A567-B295FAD2ABAF}" dt="2023-11-08T20:57:02.111" v="57263"/>
          <ac:graphicFrameMkLst>
            <pc:docMk/>
            <pc:sldMk cId="3982539626" sldId="297"/>
            <ac:graphicFrameMk id="5" creationId="{39A4027B-8414-610F-92C1-77A1C59C4A5C}"/>
          </ac:graphicFrameMkLst>
        </pc:graphicFrameChg>
      </pc:sldChg>
    </pc:docChg>
  </pc:docChgLst>
  <pc:docChgLst>
    <pc:chgData name="Joelle Brehm" userId="a518f54c-6985-42c0-8041-2bb16a414839" providerId="ADAL" clId="{12516E80-A0D9-4B76-86FD-A48ADB9E65BE}"/>
    <pc:docChg chg="undo custSel delSld modSld replTag">
      <pc:chgData name="Joelle Brehm" userId="a518f54c-6985-42c0-8041-2bb16a414839" providerId="ADAL" clId="{12516E80-A0D9-4B76-86FD-A48ADB9E65BE}" dt="2024-01-04T22:42:38.271" v="54584" actId="20577"/>
      <pc:docMkLst>
        <pc:docMk/>
      </pc:docMkLst>
      <pc:sldChg chg="addSp delSp modSp mod">
        <pc:chgData name="Joelle Brehm" userId="a518f54c-6985-42c0-8041-2bb16a414839" providerId="ADAL" clId="{12516E80-A0D9-4B76-86FD-A48ADB9E65BE}" dt="2024-01-04T17:50:59.205" v="54515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12516E80-A0D9-4B76-86FD-A48ADB9E65BE}" dt="2024-01-02T16:34:24.254" v="50497" actId="478"/>
          <ac:spMkLst>
            <pc:docMk/>
            <pc:sldMk cId="3839614074" sldId="258"/>
            <ac:spMk id="2" creationId="{E7E231F7-19E1-89B9-DC81-CB03A23E7F8A}"/>
          </ac:spMkLst>
        </pc:spChg>
        <pc:spChg chg="add mod">
          <ac:chgData name="Joelle Brehm" userId="a518f54c-6985-42c0-8041-2bb16a414839" providerId="ADAL" clId="{12516E80-A0D9-4B76-86FD-A48ADB9E65BE}" dt="2024-01-04T17:50:59.205" v="54515" actId="20577"/>
          <ac:spMkLst>
            <pc:docMk/>
            <pc:sldMk cId="3839614074" sldId="258"/>
            <ac:spMk id="2" creationId="{FBB30BE9-479D-E193-6F63-D5096624A2D4}"/>
          </ac:spMkLst>
        </pc:spChg>
        <pc:spChg chg="mod">
          <ac:chgData name="Joelle Brehm" userId="a518f54c-6985-42c0-8041-2bb16a414839" providerId="ADAL" clId="{12516E80-A0D9-4B76-86FD-A48ADB9E65BE}" dt="2024-01-02T16:34:45.529" v="50518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12516E80-A0D9-4B76-86FD-A48ADB9E65BE}" dt="2024-01-02T16:34:13.462" v="50495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12516E80-A0D9-4B76-86FD-A48ADB9E65BE}" dt="2024-01-01T19:42:59.586" v="10817"/>
        <pc:sldMkLst>
          <pc:docMk/>
          <pc:sldMk cId="3798164587" sldId="259"/>
        </pc:sldMkLst>
        <pc:spChg chg="mod ord">
          <ac:chgData name="Joelle Brehm" userId="a518f54c-6985-42c0-8041-2bb16a414839" providerId="ADAL" clId="{12516E80-A0D9-4B76-86FD-A48ADB9E65BE}" dt="2024-01-01T19:42:59.562" v="10811"/>
          <ac:spMkLst>
            <pc:docMk/>
            <pc:sldMk cId="3798164587" sldId="259"/>
            <ac:spMk id="2" creationId="{8EDF2A74-9587-4C1D-91CA-8D21248ED6E8}"/>
          </ac:spMkLst>
        </pc:spChg>
        <pc:spChg chg="add del mod">
          <ac:chgData name="Joelle Brehm" userId="a518f54c-6985-42c0-8041-2bb16a414839" providerId="ADAL" clId="{12516E80-A0D9-4B76-86FD-A48ADB9E65BE}" dt="2024-01-01T19:41:51.637" v="8738" actId="478"/>
          <ac:spMkLst>
            <pc:docMk/>
            <pc:sldMk cId="3798164587" sldId="259"/>
            <ac:spMk id="3" creationId="{6863EC2E-0420-A1CA-4869-5175002D96E2}"/>
          </ac:spMkLst>
        </pc:spChg>
        <pc:spChg chg="mod ord">
          <ac:chgData name="Joelle Brehm" userId="a518f54c-6985-42c0-8041-2bb16a414839" providerId="ADAL" clId="{12516E80-A0D9-4B76-86FD-A48ADB9E65BE}" dt="2024-01-01T19:42:59.531" v="10726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2516E80-A0D9-4B76-86FD-A48ADB9E65BE}" dt="2024-01-01T19:42:03.163" v="8974"/>
          <ac:spMkLst>
            <pc:docMk/>
            <pc:sldMk cId="3798164587" sldId="259"/>
            <ac:spMk id="8" creationId="{45302C7D-A64A-ECB0-F7DC-24F9A290A50F}"/>
          </ac:spMkLst>
        </pc:spChg>
        <pc:spChg chg="mod">
          <ac:chgData name="Joelle Brehm" userId="a518f54c-6985-42c0-8041-2bb16a414839" providerId="ADAL" clId="{12516E80-A0D9-4B76-86FD-A48ADB9E65BE}" dt="2024-01-01T19:42:59.531" v="10737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42:59.531" v="10733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42:59.531" v="10734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42:59.531" v="10731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42:59.531" v="10732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42:59.531" v="10735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42:59.531" v="10736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42:59.531" v="10738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42:59.531" v="10739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42:59.546" v="10740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42:59.546" v="10741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42:59.546" v="10742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42:59.546" v="10744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42:59.546" v="10745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42:59.546" v="10747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42:59.546" v="10746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42:59.546" v="10749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42:59.546" v="10750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42:59.546" v="10748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42:59.546" v="10752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42:59.546" v="10783"/>
          <ac:spMkLst>
            <pc:docMk/>
            <pc:sldMk cId="3798164587" sldId="259"/>
            <ac:spMk id="32" creationId="{2EFC59B1-C208-1816-2539-FFF2F0D2CED4}"/>
          </ac:spMkLst>
        </pc:spChg>
        <pc:spChg chg="mod">
          <ac:chgData name="Joelle Brehm" userId="a518f54c-6985-42c0-8041-2bb16a414839" providerId="ADAL" clId="{12516E80-A0D9-4B76-86FD-A48ADB9E65BE}" dt="2024-01-01T19:42:59.546" v="10774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12516E80-A0D9-4B76-86FD-A48ADB9E65BE}" dt="2024-01-01T19:42:59.546" v="10773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12516E80-A0D9-4B76-86FD-A48ADB9E65BE}" dt="2024-01-01T19:42:59.546" v="10778"/>
          <ac:spMkLst>
            <pc:docMk/>
            <pc:sldMk cId="3798164587" sldId="259"/>
            <ac:spMk id="36" creationId="{24FD96C4-2F4A-AA43-27EB-B5B3270F9A1D}"/>
          </ac:spMkLst>
        </pc:spChg>
        <pc:spChg chg="mod">
          <ac:chgData name="Joelle Brehm" userId="a518f54c-6985-42c0-8041-2bb16a414839" providerId="ADAL" clId="{12516E80-A0D9-4B76-86FD-A48ADB9E65BE}" dt="2024-01-01T19:42:59.546" v="10788"/>
          <ac:spMkLst>
            <pc:docMk/>
            <pc:sldMk cId="3798164587" sldId="259"/>
            <ac:spMk id="37" creationId="{E3EAC238-37CE-FE97-F754-1E4E04FB6278}"/>
          </ac:spMkLst>
        </pc:spChg>
        <pc:spChg chg="mod">
          <ac:chgData name="Joelle Brehm" userId="a518f54c-6985-42c0-8041-2bb16a414839" providerId="ADAL" clId="{12516E80-A0D9-4B76-86FD-A48ADB9E65BE}" dt="2024-01-01T19:42:59.546" v="10780"/>
          <ac:spMkLst>
            <pc:docMk/>
            <pc:sldMk cId="3798164587" sldId="259"/>
            <ac:spMk id="38" creationId="{76111FA9-1A54-7051-3AE8-877C73800496}"/>
          </ac:spMkLst>
        </pc:spChg>
        <pc:spChg chg="mod">
          <ac:chgData name="Joelle Brehm" userId="a518f54c-6985-42c0-8041-2bb16a414839" providerId="ADAL" clId="{12516E80-A0D9-4B76-86FD-A48ADB9E65BE}" dt="2024-01-01T19:42:59.546" v="10777"/>
          <ac:spMkLst>
            <pc:docMk/>
            <pc:sldMk cId="3798164587" sldId="259"/>
            <ac:spMk id="39" creationId="{D4D13DFD-8B8D-47B0-DF09-93358F670D14}"/>
          </ac:spMkLst>
        </pc:spChg>
        <pc:spChg chg="mod">
          <ac:chgData name="Joelle Brehm" userId="a518f54c-6985-42c0-8041-2bb16a414839" providerId="ADAL" clId="{12516E80-A0D9-4B76-86FD-A48ADB9E65BE}" dt="2024-01-01T19:42:59.546" v="10776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12516E80-A0D9-4B76-86FD-A48ADB9E65BE}" dt="2024-01-01T19:42:59.546" v="10775"/>
          <ac:spMkLst>
            <pc:docMk/>
            <pc:sldMk cId="3798164587" sldId="259"/>
            <ac:spMk id="41" creationId="{AAEA4991-6EDC-4585-53B3-43FCB8287F41}"/>
          </ac:spMkLst>
        </pc:spChg>
        <pc:spChg chg="add del mod modVis">
          <ac:chgData name="Joelle Brehm" userId="a518f54c-6985-42c0-8041-2bb16a414839" providerId="ADAL" clId="{12516E80-A0D9-4B76-86FD-A48ADB9E65BE}" dt="2024-01-01T19:42:33.176" v="9243"/>
          <ac:spMkLst>
            <pc:docMk/>
            <pc:sldMk cId="3798164587" sldId="259"/>
            <ac:spMk id="42" creationId="{B70CE981-3FE3-5B90-9FD6-DF199AEC2ABD}"/>
          </ac:spMkLst>
        </pc:spChg>
        <pc:spChg chg="del mod">
          <ac:chgData name="Joelle Brehm" userId="a518f54c-6985-42c0-8041-2bb16a414839" providerId="ADAL" clId="{12516E80-A0D9-4B76-86FD-A48ADB9E65BE}" dt="2024-01-01T19:42:50.789" v="9832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12516E80-A0D9-4B76-86FD-A48ADB9E65BE}" dt="2024-01-01T19:42:59.546" v="10765"/>
          <ac:spMkLst>
            <pc:docMk/>
            <pc:sldMk cId="3798164587" sldId="259"/>
            <ac:spMk id="44" creationId="{7811DB17-6E2D-499D-5AC3-3E65B529EA69}"/>
          </ac:spMkLst>
        </pc:spChg>
        <pc:spChg chg="del mod">
          <ac:chgData name="Joelle Brehm" userId="a518f54c-6985-42c0-8041-2bb16a414839" providerId="ADAL" clId="{12516E80-A0D9-4B76-86FD-A48ADB9E65BE}" dt="2024-01-01T19:42:50.921" v="9880"/>
          <ac:spMkLst>
            <pc:docMk/>
            <pc:sldMk cId="3798164587" sldId="259"/>
            <ac:spMk id="45" creationId="{7CAA3B95-4C78-4122-BECA-B5FB0F3F3764}"/>
          </ac:spMkLst>
        </pc:spChg>
        <pc:spChg chg="del mod">
          <ac:chgData name="Joelle Brehm" userId="a518f54c-6985-42c0-8041-2bb16a414839" providerId="ADAL" clId="{12516E80-A0D9-4B76-86FD-A48ADB9E65BE}" dt="2024-01-01T19:42:50.921" v="9879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46" v="10757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12516E80-A0D9-4B76-86FD-A48ADB9E65BE}" dt="2024-01-01T19:42:59.546" v="10769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12516E80-A0D9-4B76-86FD-A48ADB9E65BE}" dt="2024-01-01T19:42:59.546" v="10771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12516E80-A0D9-4B76-86FD-A48ADB9E65BE}" dt="2024-01-01T19:42:59.546" v="10767"/>
          <ac:spMkLst>
            <pc:docMk/>
            <pc:sldMk cId="3798164587" sldId="259"/>
            <ac:spMk id="50" creationId="{6E0EEE28-854C-B3D5-8CC6-BD69B0BE61B8}"/>
          </ac:spMkLst>
        </pc:spChg>
        <pc:spChg chg="mod">
          <ac:chgData name="Joelle Brehm" userId="a518f54c-6985-42c0-8041-2bb16a414839" providerId="ADAL" clId="{12516E80-A0D9-4B76-86FD-A48ADB9E65BE}" dt="2024-01-01T19:42:59.546" v="10785"/>
          <ac:spMkLst>
            <pc:docMk/>
            <pc:sldMk cId="3798164587" sldId="259"/>
            <ac:spMk id="51" creationId="{3CCC5AEF-7BB6-2440-B43E-35D020EB1B82}"/>
          </ac:spMkLst>
        </pc:spChg>
        <pc:spChg chg="mod">
          <ac:chgData name="Joelle Brehm" userId="a518f54c-6985-42c0-8041-2bb16a414839" providerId="ADAL" clId="{12516E80-A0D9-4B76-86FD-A48ADB9E65BE}" dt="2024-01-01T19:42:59.546" v="10784"/>
          <ac:spMkLst>
            <pc:docMk/>
            <pc:sldMk cId="3798164587" sldId="259"/>
            <ac:spMk id="52" creationId="{D8EE27B5-3F46-02AD-6192-2B83C625A7E3}"/>
          </ac:spMkLst>
        </pc:spChg>
        <pc:spChg chg="mod">
          <ac:chgData name="Joelle Brehm" userId="a518f54c-6985-42c0-8041-2bb16a414839" providerId="ADAL" clId="{12516E80-A0D9-4B76-86FD-A48ADB9E65BE}" dt="2024-01-01T19:42:59.546" v="10787"/>
          <ac:spMkLst>
            <pc:docMk/>
            <pc:sldMk cId="3798164587" sldId="259"/>
            <ac:spMk id="54" creationId="{2CEA7E2C-E3CA-7941-ACCF-262308344C45}"/>
          </ac:spMkLst>
        </pc:spChg>
        <pc:spChg chg="mod">
          <ac:chgData name="Joelle Brehm" userId="a518f54c-6985-42c0-8041-2bb16a414839" providerId="ADAL" clId="{12516E80-A0D9-4B76-86FD-A48ADB9E65BE}" dt="2024-01-01T19:42:59.546" v="10786"/>
          <ac:spMkLst>
            <pc:docMk/>
            <pc:sldMk cId="3798164587" sldId="259"/>
            <ac:spMk id="55" creationId="{02AD7D81-8D13-B15E-2594-BD31882D675C}"/>
          </ac:spMkLst>
        </pc:spChg>
        <pc:spChg chg="add mod replST">
          <ac:chgData name="Joelle Brehm" userId="a518f54c-6985-42c0-8041-2bb16a414839" providerId="ADAL" clId="{12516E80-A0D9-4B76-86FD-A48ADB9E65BE}" dt="2024-01-01T19:42:59.546" v="10781"/>
          <ac:spMkLst>
            <pc:docMk/>
            <pc:sldMk cId="3798164587" sldId="259"/>
            <ac:spMk id="56" creationId="{D0866A98-946F-C9DC-4025-403A17183A3F}"/>
          </ac:spMkLst>
        </pc:spChg>
        <pc:spChg chg="add mod replST">
          <ac:chgData name="Joelle Brehm" userId="a518f54c-6985-42c0-8041-2bb16a414839" providerId="ADAL" clId="{12516E80-A0D9-4B76-86FD-A48ADB9E65BE}" dt="2024-01-01T19:42:59.546" v="10782"/>
          <ac:spMkLst>
            <pc:docMk/>
            <pc:sldMk cId="3798164587" sldId="259"/>
            <ac:spMk id="57" creationId="{9FDD95CB-347D-31C2-8C7C-8885536C3772}"/>
          </ac:spMkLst>
        </pc:spChg>
        <pc:spChg chg="add del mod modVis">
          <ac:chgData name="Joelle Brehm" userId="a518f54c-6985-42c0-8041-2bb16a414839" providerId="ADAL" clId="{12516E80-A0D9-4B76-86FD-A48ADB9E65BE}" dt="2024-01-01T19:42:46.326" v="9628"/>
          <ac:spMkLst>
            <pc:docMk/>
            <pc:sldMk cId="3798164587" sldId="259"/>
            <ac:spMk id="58" creationId="{EC4F40BA-37D0-B6CC-16CB-EAE8A04C4467}"/>
          </ac:spMkLst>
        </pc:spChg>
        <pc:spChg chg="mod ord">
          <ac:chgData name="Joelle Brehm" userId="a518f54c-6985-42c0-8041-2bb16a414839" providerId="ADAL" clId="{12516E80-A0D9-4B76-86FD-A48ADB9E65BE}" dt="2024-01-01T19:42:59.546" v="10779"/>
          <ac:spMkLst>
            <pc:docMk/>
            <pc:sldMk cId="3798164587" sldId="259"/>
            <ac:spMk id="59" creationId="{FC0B19CE-D222-373E-7B18-A491724F2CFE}"/>
          </ac:spMkLst>
        </pc:spChg>
        <pc:spChg chg="mod">
          <ac:chgData name="Joelle Brehm" userId="a518f54c-6985-42c0-8041-2bb16a414839" providerId="ADAL" clId="{12516E80-A0D9-4B76-86FD-A48ADB9E65BE}" dt="2024-01-01T19:42:59.546" v="10759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12516E80-A0D9-4B76-86FD-A48ADB9E65BE}" dt="2024-01-01T19:42:59.546" v="10755"/>
          <ac:spMkLst>
            <pc:docMk/>
            <pc:sldMk cId="3798164587" sldId="259"/>
            <ac:spMk id="62" creationId="{E621A99F-79E6-44D1-808B-D950A3930E70}"/>
          </ac:spMkLst>
        </pc:spChg>
        <pc:spChg chg="add del mod modVis">
          <ac:chgData name="Joelle Brehm" userId="a518f54c-6985-42c0-8041-2bb16a414839" providerId="ADAL" clId="{12516E80-A0D9-4B76-86FD-A48ADB9E65BE}" dt="2024-01-01T19:42:48.002" v="9829"/>
          <ac:spMkLst>
            <pc:docMk/>
            <pc:sldMk cId="3798164587" sldId="259"/>
            <ac:spMk id="63" creationId="{20C12A95-BB1F-6E71-972F-517507081939}"/>
          </ac:spMkLst>
        </pc:spChg>
        <pc:spChg chg="mod">
          <ac:chgData name="Joelle Brehm" userId="a518f54c-6985-42c0-8041-2bb16a414839" providerId="ADAL" clId="{12516E80-A0D9-4B76-86FD-A48ADB9E65BE}" dt="2024-01-01T19:42:59.546" v="10756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12516E80-A0D9-4B76-86FD-A48ADB9E65BE}" dt="2024-01-01T19:42:51.790" v="10428"/>
          <ac:spMkLst>
            <pc:docMk/>
            <pc:sldMk cId="3798164587" sldId="259"/>
            <ac:spMk id="66" creationId="{867C3267-3C69-8C3E-7492-C416D5C0F7AA}"/>
          </ac:spMkLst>
        </pc:spChg>
        <pc:spChg chg="add mod replST">
          <ac:chgData name="Joelle Brehm" userId="a518f54c-6985-42c0-8041-2bb16a414839" providerId="ADAL" clId="{12516E80-A0D9-4B76-86FD-A48ADB9E65BE}" dt="2024-01-01T19:42:59.546" v="10760"/>
          <ac:spMkLst>
            <pc:docMk/>
            <pc:sldMk cId="3798164587" sldId="259"/>
            <ac:spMk id="67" creationId="{7CAA3B95-4C78-4122-BECA-B5FB0F3F3764}"/>
          </ac:spMkLst>
        </pc:spChg>
        <pc:spChg chg="add mod replST">
          <ac:chgData name="Joelle Brehm" userId="a518f54c-6985-42c0-8041-2bb16a414839" providerId="ADAL" clId="{12516E80-A0D9-4B76-86FD-A48ADB9E65BE}" dt="2024-01-01T19:42:59.546" v="10761"/>
          <ac:spMkLst>
            <pc:docMk/>
            <pc:sldMk cId="3798164587" sldId="259"/>
            <ac:spMk id="69" creationId="{7CAA3B95-4C78-4122-BECA-B5FB0F3F3764}"/>
          </ac:spMkLst>
        </pc:spChg>
        <pc:spChg chg="add mod replST">
          <ac:chgData name="Joelle Brehm" userId="a518f54c-6985-42c0-8041-2bb16a414839" providerId="ADAL" clId="{12516E80-A0D9-4B76-86FD-A48ADB9E65BE}" dt="2024-01-01T19:42:59.546" v="10762"/>
          <ac:spMkLst>
            <pc:docMk/>
            <pc:sldMk cId="3798164587" sldId="259"/>
            <ac:spMk id="71" creationId="{7CAA3B95-4C78-4122-BECA-B5FB0F3F3764}"/>
          </ac:spMkLst>
        </pc:spChg>
        <pc:spChg chg="add mod replST">
          <ac:chgData name="Joelle Brehm" userId="a518f54c-6985-42c0-8041-2bb16a414839" providerId="ADAL" clId="{12516E80-A0D9-4B76-86FD-A48ADB9E65BE}" dt="2024-01-01T19:42:59.546" v="10763"/>
          <ac:spMkLst>
            <pc:docMk/>
            <pc:sldMk cId="3798164587" sldId="259"/>
            <ac:spMk id="72" creationId="{7CAA3B95-4C78-4122-BECA-B5FB0F3F3764}"/>
          </ac:spMkLst>
        </pc:spChg>
        <pc:spChg chg="add mod replST">
          <ac:chgData name="Joelle Brehm" userId="a518f54c-6985-42c0-8041-2bb16a414839" providerId="ADAL" clId="{12516E80-A0D9-4B76-86FD-A48ADB9E65BE}" dt="2024-01-01T19:42:59.546" v="10764"/>
          <ac:spMkLst>
            <pc:docMk/>
            <pc:sldMk cId="3798164587" sldId="259"/>
            <ac:spMk id="73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42:56.382" v="10618"/>
          <ac:spMkLst>
            <pc:docMk/>
            <pc:sldMk cId="3798164587" sldId="259"/>
            <ac:spMk id="75" creationId="{6186247F-52D9-8197-6E04-E472B2098F68}"/>
          </ac:spMkLst>
        </pc:spChg>
        <pc:spChg chg="add del mod modVis">
          <ac:chgData name="Joelle Brehm" userId="a518f54c-6985-42c0-8041-2bb16a414839" providerId="ADAL" clId="{12516E80-A0D9-4B76-86FD-A48ADB9E65BE}" dt="2024-01-01T19:42:59.562" v="10815"/>
          <ac:spMkLst>
            <pc:docMk/>
            <pc:sldMk cId="3798164587" sldId="259"/>
            <ac:spMk id="77" creationId="{9BE96B91-1CD1-1357-31D3-362FD7D88AB1}"/>
          </ac:spMkLst>
        </pc:spChg>
        <pc:spChg chg="mod ord">
          <ac:chgData name="Joelle Brehm" userId="a518f54c-6985-42c0-8041-2bb16a414839" providerId="ADAL" clId="{12516E80-A0D9-4B76-86FD-A48ADB9E65BE}" dt="2024-01-01T19:42:59.562" v="10790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42:59.562" v="10792"/>
          <ac:spMkLst>
            <pc:docMk/>
            <pc:sldMk cId="3798164587" sldId="259"/>
            <ac:spMk id="79" creationId="{F1476AC4-694B-4D83-BFD8-8DCAA4BB1923}"/>
          </ac:spMkLst>
        </pc:spChg>
        <pc:spChg chg="del mod">
          <ac:chgData name="Joelle Brehm" userId="a518f54c-6985-42c0-8041-2bb16a414839" providerId="ADAL" clId="{12516E80-A0D9-4B76-86FD-A48ADB9E65BE}" dt="2024-01-01T19:42:50.789" v="9833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46" v="10758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46" v="10766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46" v="10768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46" v="10770"/>
          <ac:spMkLst>
            <pc:docMk/>
            <pc:sldMk cId="3798164587" sldId="259"/>
            <ac:spMk id="95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42:59.562" v="10794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12516E80-A0D9-4B76-86FD-A48ADB9E65BE}" dt="2024-01-01T19:42:59.546" v="10772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42:59.562" v="10796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42:59.562" v="10798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42:59.562" v="10800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42:59.562" v="10803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62" v="10804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62" v="10805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2:59.562" v="10806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42:59.562" v="10807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42:59.586" v="10817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2:59.531" v="10730"/>
          <ac:graphicFrameMkLst>
            <pc:docMk/>
            <pc:sldMk cId="3798164587" sldId="259"/>
            <ac:graphicFrameMk id="9" creationId="{8555D847-A0A7-A056-7B24-E7E3720CC490}"/>
          </ac:graphicFrameMkLst>
        </pc:graphicFrameChg>
        <pc:graphicFrameChg chg="del">
          <ac:chgData name="Joelle Brehm" userId="a518f54c-6985-42c0-8041-2bb16a414839" providerId="ADAL" clId="{12516E80-A0D9-4B76-86FD-A48ADB9E65BE}" dt="2024-01-01T19:42:03.088" v="8872"/>
          <ac:graphicFrameMkLst>
            <pc:docMk/>
            <pc:sldMk cId="3798164587" sldId="259"/>
            <ac:graphicFrameMk id="31" creationId="{6B61A58E-189B-25CB-70DB-41581BB55DBC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2:59.562" v="10802"/>
          <ac:graphicFrameMkLst>
            <pc:docMk/>
            <pc:sldMk cId="3798164587" sldId="259"/>
            <ac:graphicFrameMk id="53" creationId="{8B190D96-7380-E657-A22A-91BD5F99DA2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2:47.938" v="9729"/>
          <ac:graphicFrameMkLst>
            <pc:docMk/>
            <pc:sldMk cId="3798164587" sldId="259"/>
            <ac:graphicFrameMk id="60" creationId="{47ADEEEC-8A1E-85B2-E96B-36B98CB4377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2:51.711" v="10326"/>
          <ac:graphicFrameMkLst>
            <pc:docMk/>
            <pc:sldMk cId="3798164587" sldId="259"/>
            <ac:graphicFrameMk id="65" creationId="{7AAD88C0-BCC9-3337-AB55-F730292E6D8B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2:46.265" v="9528"/>
          <ac:graphicFrameMkLst>
            <pc:docMk/>
            <pc:sldMk cId="3798164587" sldId="259"/>
            <ac:graphicFrameMk id="68" creationId="{1050EF48-D14A-2660-62D3-7628DB0FF1EC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2:33.128" v="9145"/>
          <ac:graphicFrameMkLst>
            <pc:docMk/>
            <pc:sldMk cId="3798164587" sldId="259"/>
            <ac:graphicFrameMk id="70" creationId="{56977088-A488-8187-D83A-E7D58964C8B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2:56.344" v="10516"/>
          <ac:graphicFrameMkLst>
            <pc:docMk/>
            <pc:sldMk cId="3798164587" sldId="259"/>
            <ac:graphicFrameMk id="74" creationId="{65FC5A4D-B5EC-127F-961B-9A5A5620AA9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2:59.515" v="10714"/>
          <ac:graphicFrameMkLst>
            <pc:docMk/>
            <pc:sldMk cId="3798164587" sldId="259"/>
            <ac:graphicFrameMk id="76" creationId="{6FC2F26F-914C-5FAD-EE87-FCAEAEC44847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2:59.546" v="10754"/>
          <ac:graphicFrameMkLst>
            <pc:docMk/>
            <pc:sldMk cId="3798164587" sldId="259"/>
            <ac:graphicFrameMk id="80" creationId="{F0CA4BA0-6127-EE8F-3D67-67EFE484E1A7}"/>
          </ac:graphicFrameMkLst>
        </pc:graphicFrameChg>
        <pc:picChg chg="mod ord">
          <ac:chgData name="Joelle Brehm" userId="a518f54c-6985-42c0-8041-2bb16a414839" providerId="ADAL" clId="{12516E80-A0D9-4B76-86FD-A48ADB9E65BE}" dt="2024-01-01T19:42:59.531" v="10724"/>
          <ac:picMkLst>
            <pc:docMk/>
            <pc:sldMk cId="3798164587" sldId="259"/>
            <ac:picMk id="5" creationId="{8F4A2CF4-0CF3-47E4-B23B-AC49D50CFFA1}"/>
          </ac:picMkLst>
        </pc:picChg>
        <pc:picChg chg="add mod ord">
          <ac:chgData name="Joelle Brehm" userId="a518f54c-6985-42c0-8041-2bb16a414839" providerId="ADAL" clId="{12516E80-A0D9-4B76-86FD-A48ADB9E65BE}" dt="2024-01-01T19:42:59.531" v="10722"/>
          <ac:picMkLst>
            <pc:docMk/>
            <pc:sldMk cId="3798164587" sldId="259"/>
            <ac:picMk id="10" creationId="{D6A98A64-B25C-B59B-0356-6B47FCA91D79}"/>
          </ac:picMkLst>
        </pc:picChg>
        <pc:picChg chg="del mod ord">
          <ac:chgData name="Joelle Brehm" userId="a518f54c-6985-42c0-8041-2bb16a414839" providerId="ADAL" clId="{12516E80-A0D9-4B76-86FD-A48ADB9E65BE}" dt="2024-01-01T19:42:23.719" v="9084" actId="478"/>
          <ac:picMkLst>
            <pc:docMk/>
            <pc:sldMk cId="3798164587" sldId="259"/>
            <ac:picMk id="33" creationId="{2A3E7775-090D-7387-C206-A6F79D23C4DB}"/>
          </ac:picMkLst>
        </pc:picChg>
        <pc:picChg chg="mod ord">
          <ac:chgData name="Joelle Brehm" userId="a518f54c-6985-42c0-8041-2bb16a414839" providerId="ADAL" clId="{12516E80-A0D9-4B76-86FD-A48ADB9E65BE}" dt="2024-01-01T19:42:59.562" v="10809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42:59.531" v="10728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12516E80-A0D9-4B76-86FD-A48ADB9E65BE}" dt="2024-01-01T18:12:53.177" v="7" actId="20577"/>
        <pc:sldMkLst>
          <pc:docMk/>
          <pc:sldMk cId="4090961396" sldId="260"/>
        </pc:sldMkLst>
        <pc:spChg chg="mod">
          <ac:chgData name="Joelle Brehm" userId="a518f54c-6985-42c0-8041-2bb16a414839" providerId="ADAL" clId="{12516E80-A0D9-4B76-86FD-A48ADB9E65BE}" dt="2024-01-01T18:12:53.177" v="7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modSp del mod">
        <pc:chgData name="Joelle Brehm" userId="a518f54c-6985-42c0-8041-2bb16a414839" providerId="ADAL" clId="{12516E80-A0D9-4B76-86FD-A48ADB9E65BE}" dt="2024-01-04T17:52:10.593" v="54516" actId="47"/>
        <pc:sldMkLst>
          <pc:docMk/>
          <pc:sldMk cId="2525895214" sldId="262"/>
        </pc:sldMkLst>
        <pc:spChg chg="add mod">
          <ac:chgData name="Joelle Brehm" userId="a518f54c-6985-42c0-8041-2bb16a414839" providerId="ADAL" clId="{12516E80-A0D9-4B76-86FD-A48ADB9E65BE}" dt="2024-01-03T21:18:12.346" v="51852" actId="14100"/>
          <ac:spMkLst>
            <pc:docMk/>
            <pc:sldMk cId="2525895214" sldId="262"/>
            <ac:spMk id="3" creationId="{1537E1CF-162C-37A1-1156-FF8BBD52C647}"/>
          </ac:spMkLst>
        </pc:spChg>
      </pc:sldChg>
      <pc:sldChg chg="addSp delSp modSp mod">
        <pc:chgData name="Joelle Brehm" userId="a518f54c-6985-42c0-8041-2bb16a414839" providerId="ADAL" clId="{12516E80-A0D9-4B76-86FD-A48ADB9E65BE}" dt="2024-01-01T19:33:04.101" v="386" actId="1037"/>
        <pc:sldMkLst>
          <pc:docMk/>
          <pc:sldMk cId="3980989934" sldId="263"/>
        </pc:sldMkLst>
        <pc:spChg chg="mod ord">
          <ac:chgData name="Joelle Brehm" userId="a518f54c-6985-42c0-8041-2bb16a414839" providerId="ADAL" clId="{12516E80-A0D9-4B76-86FD-A48ADB9E65BE}" dt="2024-01-01T19:31:53.636" v="375"/>
          <ac:spMkLst>
            <pc:docMk/>
            <pc:sldMk cId="3980989934" sldId="263"/>
            <ac:spMk id="2" creationId="{75C72E1E-661F-4997-A353-2798333F5BE3}"/>
          </ac:spMkLst>
        </pc:spChg>
        <pc:spChg chg="mod ord">
          <ac:chgData name="Joelle Brehm" userId="a518f54c-6985-42c0-8041-2bb16a414839" providerId="ADAL" clId="{12516E80-A0D9-4B76-86FD-A48ADB9E65BE}" dt="2024-01-01T19:31:53.620" v="350"/>
          <ac:spMkLst>
            <pc:docMk/>
            <pc:sldMk cId="3980989934" sldId="263"/>
            <ac:spMk id="5" creationId="{7B827F87-784E-46DA-B4AC-26C5F16C015D}"/>
          </ac:spMkLst>
        </pc:spChg>
        <pc:spChg chg="add del mod ord">
          <ac:chgData name="Joelle Brehm" userId="a518f54c-6985-42c0-8041-2bb16a414839" providerId="ADAL" clId="{12516E80-A0D9-4B76-86FD-A48ADB9E65BE}" dt="2024-01-01T19:31:00.085" v="88" actId="478"/>
          <ac:spMkLst>
            <pc:docMk/>
            <pc:sldMk cId="3980989934" sldId="263"/>
            <ac:spMk id="7" creationId="{99A9EFF0-440C-F707-F3C9-44714AC2B997}"/>
          </ac:spMkLst>
        </pc:spChg>
        <pc:spChg chg="mod">
          <ac:chgData name="Joelle Brehm" userId="a518f54c-6985-42c0-8041-2bb16a414839" providerId="ADAL" clId="{12516E80-A0D9-4B76-86FD-A48ADB9E65BE}" dt="2024-01-01T19:31:53.620" v="359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12516E80-A0D9-4B76-86FD-A48ADB9E65BE}" dt="2024-01-01T19:31:53.620" v="355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12516E80-A0D9-4B76-86FD-A48ADB9E65BE}" dt="2024-01-01T19:31:53.620" v="353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12516E80-A0D9-4B76-86FD-A48ADB9E65BE}" dt="2024-01-01T19:31:53.620" v="354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12516E80-A0D9-4B76-86FD-A48ADB9E65BE}" dt="2024-01-01T19:31:53.620" v="356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12516E80-A0D9-4B76-86FD-A48ADB9E65BE}" dt="2024-01-01T19:31:53.620" v="362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12516E80-A0D9-4B76-86FD-A48ADB9E65BE}" dt="2024-01-01T19:31:53.620" v="357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12516E80-A0D9-4B76-86FD-A48ADB9E65BE}" dt="2024-01-01T19:31:53.620" v="360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12516E80-A0D9-4B76-86FD-A48ADB9E65BE}" dt="2024-01-01T19:31:53.620" v="358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12516E80-A0D9-4B76-86FD-A48ADB9E65BE}" dt="2024-01-01T19:31:53.620" v="361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12516E80-A0D9-4B76-86FD-A48ADB9E65BE}" dt="2024-01-01T19:31:53.620" v="363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12516E80-A0D9-4B76-86FD-A48ADB9E65BE}" dt="2024-01-01T19:31:53.620" v="364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12516E80-A0D9-4B76-86FD-A48ADB9E65BE}" dt="2024-01-01T19:31:53.620" v="366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12516E80-A0D9-4B76-86FD-A48ADB9E65BE}" dt="2024-01-01T19:31:53.620" v="368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12516E80-A0D9-4B76-86FD-A48ADB9E65BE}" dt="2024-01-01T19:31:37.754" v="338"/>
          <ac:spMkLst>
            <pc:docMk/>
            <pc:sldMk cId="3980989934" sldId="263"/>
            <ac:spMk id="24" creationId="{59770164-EE4B-556C-EF42-553227C444BF}"/>
          </ac:spMkLst>
        </pc:spChg>
        <pc:spChg chg="mod ord">
          <ac:chgData name="Joelle Brehm" userId="a518f54c-6985-42c0-8041-2bb16a414839" providerId="ADAL" clId="{12516E80-A0D9-4B76-86FD-A48ADB9E65BE}" dt="2024-01-01T19:31:53.636" v="377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12516E80-A0D9-4B76-86FD-A48ADB9E65BE}" dt="2024-01-01T19:31:53.636" v="370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12516E80-A0D9-4B76-86FD-A48ADB9E65BE}" dt="2024-01-01T19:31:53.636" v="372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12516E80-A0D9-4B76-86FD-A48ADB9E65BE}" dt="2024-01-01T19:31:53.636" v="381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31:37.721" v="295"/>
          <ac:graphicFrameMkLst>
            <pc:docMk/>
            <pc:sldMk cId="3980989934" sldId="263"/>
            <ac:graphicFrameMk id="22" creationId="{D78F3FCF-6A7E-FDC0-0523-F8B77F267DC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31:53.620" v="352"/>
          <ac:graphicFrameMkLst>
            <pc:docMk/>
            <pc:sldMk cId="3980989934" sldId="263"/>
            <ac:graphicFrameMk id="25" creationId="{2EC6D6CD-1F24-7A13-2183-C653E1C9659F}"/>
          </ac:graphicFrameMkLst>
        </pc:graphicFrameChg>
        <pc:picChg chg="del mod ord">
          <ac:chgData name="Joelle Brehm" userId="a518f54c-6985-42c0-8041-2bb16a414839" providerId="ADAL" clId="{12516E80-A0D9-4B76-86FD-A48ADB9E65BE}" dt="2024-01-01T19:31:55.466" v="382" actId="478"/>
          <ac:picMkLst>
            <pc:docMk/>
            <pc:sldMk cId="3980989934" sldId="263"/>
            <ac:picMk id="3" creationId="{24193762-35C1-B1FB-A1FD-12F1CDF75B92}"/>
          </ac:picMkLst>
        </pc:picChg>
        <pc:picChg chg="del mod ord">
          <ac:chgData name="Joelle Brehm" userId="a518f54c-6985-42c0-8041-2bb16a414839" providerId="ADAL" clId="{12516E80-A0D9-4B76-86FD-A48ADB9E65BE}" dt="2024-01-01T19:30:59.032" v="87" actId="478"/>
          <ac:picMkLst>
            <pc:docMk/>
            <pc:sldMk cId="3980989934" sldId="263"/>
            <ac:picMk id="6" creationId="{929150D8-E823-C896-F983-B58387CE9A94}"/>
          </ac:picMkLst>
        </pc:picChg>
        <pc:picChg chg="add mod ord">
          <ac:chgData name="Joelle Brehm" userId="a518f54c-6985-42c0-8041-2bb16a414839" providerId="ADAL" clId="{12516E80-A0D9-4B76-86FD-A48ADB9E65BE}" dt="2024-01-01T19:31:53.620" v="346"/>
          <ac:picMkLst>
            <pc:docMk/>
            <pc:sldMk cId="3980989934" sldId="263"/>
            <ac:picMk id="23" creationId="{3A031BA8-2A33-6831-8C5E-971CC3CFB922}"/>
          </ac:picMkLst>
        </pc:picChg>
        <pc:picChg chg="add del mod ord">
          <ac:chgData name="Joelle Brehm" userId="a518f54c-6985-42c0-8041-2bb16a414839" providerId="ADAL" clId="{12516E80-A0D9-4B76-86FD-A48ADB9E65BE}" dt="2024-01-01T19:31:58.291" v="383" actId="478"/>
          <ac:picMkLst>
            <pc:docMk/>
            <pc:sldMk cId="3980989934" sldId="263"/>
            <ac:picMk id="26" creationId="{ED67B6E4-C8D3-10BB-90E5-361A2E7C1F42}"/>
          </ac:picMkLst>
        </pc:picChg>
        <pc:picChg chg="add mod">
          <ac:chgData name="Joelle Brehm" userId="a518f54c-6985-42c0-8041-2bb16a414839" providerId="ADAL" clId="{12516E80-A0D9-4B76-86FD-A48ADB9E65BE}" dt="2024-01-01T19:33:04.101" v="386" actId="1037"/>
          <ac:picMkLst>
            <pc:docMk/>
            <pc:sldMk cId="3980989934" sldId="263"/>
            <ac:picMk id="27" creationId="{A553D7AD-995A-2ABD-FDC5-ABD483D3726E}"/>
          </ac:picMkLst>
        </pc:picChg>
        <pc:picChg chg="mod">
          <ac:chgData name="Joelle Brehm" userId="a518f54c-6985-42c0-8041-2bb16a414839" providerId="ADAL" clId="{12516E80-A0D9-4B76-86FD-A48ADB9E65BE}" dt="2024-01-01T19:31:53.636" v="373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12516E80-A0D9-4B76-86FD-A48ADB9E65BE}" dt="2024-01-03T21:42:43.856" v="54414"/>
        <pc:sldMkLst>
          <pc:docMk/>
          <pc:sldMk cId="1450446987" sldId="264"/>
        </pc:sldMkLst>
        <pc:spChg chg="add del mod ord">
          <ac:chgData name="Joelle Brehm" userId="a518f54c-6985-42c0-8041-2bb16a414839" providerId="ADAL" clId="{12516E80-A0D9-4B76-86FD-A48ADB9E65BE}" dt="2024-01-03T21:41:47.367" v="51864" actId="478"/>
          <ac:spMkLst>
            <pc:docMk/>
            <pc:sldMk cId="1450446987" sldId="264"/>
            <ac:spMk id="2" creationId="{60C6EEC4-F59E-2A33-E357-4DEEB2EE1167}"/>
          </ac:spMkLst>
        </pc:spChg>
        <pc:spChg chg="mod ord">
          <ac:chgData name="Joelle Brehm" userId="a518f54c-6985-42c0-8041-2bb16a414839" providerId="ADAL" clId="{12516E80-A0D9-4B76-86FD-A48ADB9E65BE}" dt="2024-01-03T21:42:36.376" v="54173"/>
          <ac:spMkLst>
            <pc:docMk/>
            <pc:sldMk cId="1450446987" sldId="264"/>
            <ac:spMk id="5" creationId="{7B827F87-784E-46DA-B4AC-26C5F16C015D}"/>
          </ac:spMkLst>
        </pc:spChg>
        <pc:spChg chg="add mod replST">
          <ac:chgData name="Joelle Brehm" userId="a518f54c-6985-42c0-8041-2bb16a414839" providerId="ADAL" clId="{12516E80-A0D9-4B76-86FD-A48ADB9E65BE}" dt="2024-01-03T21:42:36.404" v="54243"/>
          <ac:spMkLst>
            <pc:docMk/>
            <pc:sldMk cId="1450446987" sldId="264"/>
            <ac:spMk id="6" creationId="{94041F47-DFC6-9E3F-6F9D-DC51588D95FB}"/>
          </ac:spMkLst>
        </pc:spChg>
        <pc:spChg chg="mod">
          <ac:chgData name="Joelle Brehm" userId="a518f54c-6985-42c0-8041-2bb16a414839" providerId="ADAL" clId="{12516E80-A0D9-4B76-86FD-A48ADB9E65BE}" dt="2024-01-03T21:42:36.403" v="54240"/>
          <ac:spMkLst>
            <pc:docMk/>
            <pc:sldMk cId="1450446987" sldId="264"/>
            <ac:spMk id="7" creationId="{DE57A07F-6746-6404-6ACC-31B88A8A6B3A}"/>
          </ac:spMkLst>
        </pc:spChg>
        <pc:spChg chg="mod">
          <ac:chgData name="Joelle Brehm" userId="a518f54c-6985-42c0-8041-2bb16a414839" providerId="ADAL" clId="{12516E80-A0D9-4B76-86FD-A48ADB9E65BE}" dt="2024-01-03T21:42:36.404" v="54242"/>
          <ac:spMkLst>
            <pc:docMk/>
            <pc:sldMk cId="1450446987" sldId="264"/>
            <ac:spMk id="8" creationId="{58B78C31-BB5C-89ED-34D3-7C1F9D71DB92}"/>
          </ac:spMkLst>
        </pc:spChg>
        <pc:spChg chg="add del mod modVis">
          <ac:chgData name="Joelle Brehm" userId="a518f54c-6985-42c0-8041-2bb16a414839" providerId="ADAL" clId="{12516E80-A0D9-4B76-86FD-A48ADB9E65BE}" dt="2024-01-01T19:37:29.082" v="5255"/>
          <ac:spMkLst>
            <pc:docMk/>
            <pc:sldMk cId="1450446987" sldId="264"/>
            <ac:spMk id="9" creationId="{15CA7178-5860-72FE-2911-989477D0D037}"/>
          </ac:spMkLst>
        </pc:spChg>
        <pc:spChg chg="del mod">
          <ac:chgData name="Joelle Brehm" userId="a518f54c-6985-42c0-8041-2bb16a414839" providerId="ADAL" clId="{12516E80-A0D9-4B76-86FD-A48ADB9E65BE}" dt="2024-01-03T21:41:58.447" v="51866"/>
          <ac:spMkLst>
            <pc:docMk/>
            <pc:sldMk cId="1450446987" sldId="264"/>
            <ac:spMk id="10" creationId="{A7CA38A3-6BEF-7C41-AB98-2D1AE5A23C95}"/>
          </ac:spMkLst>
        </pc:spChg>
        <pc:spChg chg="mod">
          <ac:chgData name="Joelle Brehm" userId="a518f54c-6985-42c0-8041-2bb16a414839" providerId="ADAL" clId="{12516E80-A0D9-4B76-86FD-A48ADB9E65BE}" dt="2024-01-03T21:42:36.403" v="54241"/>
          <ac:spMkLst>
            <pc:docMk/>
            <pc:sldMk cId="1450446987" sldId="264"/>
            <ac:spMk id="11" creationId="{D34BD6AF-79B7-0201-A9E6-DEFEE9B380F3}"/>
          </ac:spMkLst>
        </pc:spChg>
        <pc:spChg chg="mod">
          <ac:chgData name="Joelle Brehm" userId="a518f54c-6985-42c0-8041-2bb16a414839" providerId="ADAL" clId="{12516E80-A0D9-4B76-86FD-A48ADB9E65BE}" dt="2024-01-03T21:42:36.400" v="54234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12516E80-A0D9-4B76-86FD-A48ADB9E65BE}" dt="2024-01-03T21:42:36.408" v="54254"/>
          <ac:spMkLst>
            <pc:docMk/>
            <pc:sldMk cId="1450446987" sldId="264"/>
            <ac:spMk id="15" creationId="{78323779-3C77-06EC-7E74-E6B35BABC750}"/>
          </ac:spMkLst>
        </pc:spChg>
        <pc:spChg chg="mod ord">
          <ac:chgData name="Joelle Brehm" userId="a518f54c-6985-42c0-8041-2bb16a414839" providerId="ADAL" clId="{12516E80-A0D9-4B76-86FD-A48ADB9E65BE}" dt="2024-01-03T21:42:43.835" v="54406"/>
          <ac:spMkLst>
            <pc:docMk/>
            <pc:sldMk cId="1450446987" sldId="264"/>
            <ac:spMk id="16" creationId="{0F83DE65-1B4F-815C-7155-32FC819C40A5}"/>
          </ac:spMkLst>
        </pc:spChg>
        <pc:spChg chg="add mod replST">
          <ac:chgData name="Joelle Brehm" userId="a518f54c-6985-42c0-8041-2bb16a414839" providerId="ADAL" clId="{12516E80-A0D9-4B76-86FD-A48ADB9E65BE}" dt="2024-01-03T21:42:36.408" v="54255"/>
          <ac:spMkLst>
            <pc:docMk/>
            <pc:sldMk cId="1450446987" sldId="264"/>
            <ac:spMk id="17" creationId="{A63BB7A4-7E0B-7C45-80AE-587ED115AADD}"/>
          </ac:spMkLst>
        </pc:spChg>
        <pc:spChg chg="mod">
          <ac:chgData name="Joelle Brehm" userId="a518f54c-6985-42c0-8041-2bb16a414839" providerId="ADAL" clId="{12516E80-A0D9-4B76-86FD-A48ADB9E65BE}" dt="2024-01-03T21:42:36.421" v="54285"/>
          <ac:spMkLst>
            <pc:docMk/>
            <pc:sldMk cId="1450446987" sldId="264"/>
            <ac:spMk id="18" creationId="{7CE63A35-6A90-6D8B-CF40-7241933EF0EF}"/>
          </ac:spMkLst>
        </pc:spChg>
        <pc:spChg chg="add del mod modVis">
          <ac:chgData name="Joelle Brehm" userId="a518f54c-6985-42c0-8041-2bb16a414839" providerId="ADAL" clId="{12516E80-A0D9-4B76-86FD-A48ADB9E65BE}" dt="2024-01-01T19:37:37.159" v="5712"/>
          <ac:spMkLst>
            <pc:docMk/>
            <pc:sldMk cId="1450446987" sldId="264"/>
            <ac:spMk id="20" creationId="{830A6CCD-0416-9296-81E2-C06A806D64A0}"/>
          </ac:spMkLst>
        </pc:spChg>
        <pc:spChg chg="mod">
          <ac:chgData name="Joelle Brehm" userId="a518f54c-6985-42c0-8041-2bb16a414839" providerId="ADAL" clId="{12516E80-A0D9-4B76-86FD-A48ADB9E65BE}" dt="2024-01-03T21:42:36.399" v="54232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12516E80-A0D9-4B76-86FD-A48ADB9E65BE}" dt="2024-01-03T21:42:36.425" v="54297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12516E80-A0D9-4B76-86FD-A48ADB9E65BE}" dt="2024-01-03T21:42:36.408" v="54253"/>
          <ac:spMkLst>
            <pc:docMk/>
            <pc:sldMk cId="1450446987" sldId="264"/>
            <ac:spMk id="23" creationId="{ECE85BCC-DA74-38B9-C409-63F89574AA2B}"/>
          </ac:spMkLst>
        </pc:spChg>
        <pc:spChg chg="mod">
          <ac:chgData name="Joelle Brehm" userId="a518f54c-6985-42c0-8041-2bb16a414839" providerId="ADAL" clId="{12516E80-A0D9-4B76-86FD-A48ADB9E65BE}" dt="2024-01-03T21:42:36.382" v="54190"/>
          <ac:spMkLst>
            <pc:docMk/>
            <pc:sldMk cId="1450446987" sldId="264"/>
            <ac:spMk id="24" creationId="{E5D53381-936F-04EC-A4BF-61AC62630B7E}"/>
          </ac:spMkLst>
        </pc:spChg>
        <pc:spChg chg="mod">
          <ac:chgData name="Joelle Brehm" userId="a518f54c-6985-42c0-8041-2bb16a414839" providerId="ADAL" clId="{12516E80-A0D9-4B76-86FD-A48ADB9E65BE}" dt="2024-01-03T21:42:36.400" v="54235"/>
          <ac:spMkLst>
            <pc:docMk/>
            <pc:sldMk cId="1450446987" sldId="264"/>
            <ac:spMk id="25" creationId="{DDCB9CFD-6336-9FEE-8109-046E7B1EDE09}"/>
          </ac:spMkLst>
        </pc:spChg>
        <pc:spChg chg="del mod">
          <ac:chgData name="Joelle Brehm" userId="a518f54c-6985-42c0-8041-2bb16a414839" providerId="ADAL" clId="{12516E80-A0D9-4B76-86FD-A48ADB9E65BE}" dt="2024-01-01T19:37:30.730" v="5259"/>
          <ac:spMkLst>
            <pc:docMk/>
            <pc:sldMk cId="1450446987" sldId="264"/>
            <ac:spMk id="27" creationId="{7F5EB4C1-D71D-BF03-066C-3EB62DE130E1}"/>
          </ac:spMkLst>
        </pc:spChg>
        <pc:spChg chg="del mod">
          <ac:chgData name="Joelle Brehm" userId="a518f54c-6985-42c0-8041-2bb16a414839" providerId="ADAL" clId="{12516E80-A0D9-4B76-86FD-A48ADB9E65BE}" dt="2024-01-03T21:41:58.446" v="51865"/>
          <ac:spMkLst>
            <pc:docMk/>
            <pc:sldMk cId="1450446987" sldId="264"/>
            <ac:spMk id="28" creationId="{7CAA3B95-4C78-4122-BECA-B5FB0F3F3764}"/>
          </ac:spMkLst>
        </pc:spChg>
        <pc:spChg chg="add mod replST">
          <ac:chgData name="Joelle Brehm" userId="a518f54c-6985-42c0-8041-2bb16a414839" providerId="ADAL" clId="{12516E80-A0D9-4B76-86FD-A48ADB9E65BE}" dt="2024-01-03T21:42:36.383" v="54191"/>
          <ac:spMkLst>
            <pc:docMk/>
            <pc:sldMk cId="1450446987" sldId="264"/>
            <ac:spMk id="29" creationId="{D93C115D-D127-7D81-3796-9889DB2B0610}"/>
          </ac:spMkLst>
        </pc:spChg>
        <pc:spChg chg="mod">
          <ac:chgData name="Joelle Brehm" userId="a518f54c-6985-42c0-8041-2bb16a414839" providerId="ADAL" clId="{12516E80-A0D9-4B76-86FD-A48ADB9E65BE}" dt="2024-01-03T21:42:36.404" v="54244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12516E80-A0D9-4B76-86FD-A48ADB9E65BE}" dt="2024-01-03T21:42:36.401" v="54236"/>
          <ac:spMkLst>
            <pc:docMk/>
            <pc:sldMk cId="1450446987" sldId="264"/>
            <ac:spMk id="31" creationId="{CA321323-2C4C-2167-68A7-B60C766BB3D9}"/>
          </ac:spMkLst>
        </pc:spChg>
        <pc:spChg chg="add del mod modVis">
          <ac:chgData name="Joelle Brehm" userId="a518f54c-6985-42c0-8041-2bb16a414839" providerId="ADAL" clId="{12516E80-A0D9-4B76-86FD-A48ADB9E65BE}" dt="2024-01-01T19:37:44.453" v="5993"/>
          <ac:spMkLst>
            <pc:docMk/>
            <pc:sldMk cId="1450446987" sldId="264"/>
            <ac:spMk id="32" creationId="{59569473-9ACA-87A3-0334-B0F51E2190D7}"/>
          </ac:spMkLst>
        </pc:spChg>
        <pc:spChg chg="del mod">
          <ac:chgData name="Joelle Brehm" userId="a518f54c-6985-42c0-8041-2bb16a414839" providerId="ADAL" clId="{12516E80-A0D9-4B76-86FD-A48ADB9E65BE}" dt="2024-01-03T21:42:09.691" v="52393"/>
          <ac:spMkLst>
            <pc:docMk/>
            <pc:sldMk cId="1450446987" sldId="264"/>
            <ac:spMk id="33" creationId="{A7632DC7-939F-70B3-1798-A2C67D8CCF13}"/>
          </ac:spMkLst>
        </pc:spChg>
        <pc:spChg chg="mod">
          <ac:chgData name="Joelle Brehm" userId="a518f54c-6985-42c0-8041-2bb16a414839" providerId="ADAL" clId="{12516E80-A0D9-4B76-86FD-A48ADB9E65BE}" dt="2024-01-03T21:42:36.405" v="54247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12516E80-A0D9-4B76-86FD-A48ADB9E65BE}" dt="2024-01-03T21:42:36.405" v="54246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12516E80-A0D9-4B76-86FD-A48ADB9E65BE}" dt="2024-01-03T21:42:36.407" v="54252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12516E80-A0D9-4B76-86FD-A48ADB9E65BE}" dt="2024-01-03T21:42:36.406" v="54248"/>
          <ac:spMkLst>
            <pc:docMk/>
            <pc:sldMk cId="1450446987" sldId="264"/>
            <ac:spMk id="37" creationId="{F4881349-7857-4045-CB14-ED7B5F3DF7AB}"/>
          </ac:spMkLst>
        </pc:spChg>
        <pc:spChg chg="del mod">
          <ac:chgData name="Joelle Brehm" userId="a518f54c-6985-42c0-8041-2bb16a414839" providerId="ADAL" clId="{12516E80-A0D9-4B76-86FD-A48ADB9E65BE}" dt="2024-01-01T19:37:30.730" v="5258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12516E80-A0D9-4B76-86FD-A48ADB9E65BE}" dt="2024-01-03T21:42:36.378" v="54180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12516E80-A0D9-4B76-86FD-A48ADB9E65BE}" dt="2024-01-03T21:42:36.400" v="54233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12516E80-A0D9-4B76-86FD-A48ADB9E65BE}" dt="2024-01-03T21:42:36.401" v="54237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12516E80-A0D9-4B76-86FD-A48ADB9E65BE}" dt="2024-01-03T21:42:36.380" v="54183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12516E80-A0D9-4B76-86FD-A48ADB9E65BE}" dt="2024-01-03T21:42:36.383" v="54192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12516E80-A0D9-4B76-86FD-A48ADB9E65BE}" dt="2024-01-03T21:42:36.405" v="54245"/>
          <ac:spMkLst>
            <pc:docMk/>
            <pc:sldMk cId="1450446987" sldId="264"/>
            <ac:spMk id="45" creationId="{8BD270EF-C1D9-9334-E736-146815435DFD}"/>
          </ac:spMkLst>
        </pc:spChg>
        <pc:spChg chg="del mod">
          <ac:chgData name="Joelle Brehm" userId="a518f54c-6985-42c0-8041-2bb16a414839" providerId="ADAL" clId="{12516E80-A0D9-4B76-86FD-A48ADB9E65BE}" dt="2024-01-01T19:37:46.687" v="5997"/>
          <ac:spMkLst>
            <pc:docMk/>
            <pc:sldMk cId="1450446987" sldId="264"/>
            <ac:spMk id="46" creationId="{42ABD060-FEE1-EDE0-E99B-69A399E6BFE4}"/>
          </ac:spMkLst>
        </pc:spChg>
        <pc:spChg chg="mod">
          <ac:chgData name="Joelle Brehm" userId="a518f54c-6985-42c0-8041-2bb16a414839" providerId="ADAL" clId="{12516E80-A0D9-4B76-86FD-A48ADB9E65BE}" dt="2024-01-03T21:42:36.382" v="54189"/>
          <ac:spMkLst>
            <pc:docMk/>
            <pc:sldMk cId="1450446987" sldId="264"/>
            <ac:spMk id="47" creationId="{6D64FB34-D8B2-66AB-BCB4-DA6A0216CA2C}"/>
          </ac:spMkLst>
        </pc:spChg>
        <pc:spChg chg="mod">
          <ac:chgData name="Joelle Brehm" userId="a518f54c-6985-42c0-8041-2bb16a414839" providerId="ADAL" clId="{12516E80-A0D9-4B76-86FD-A48ADB9E65BE}" dt="2024-01-03T21:42:36.388" v="54202"/>
          <ac:spMkLst>
            <pc:docMk/>
            <pc:sldMk cId="1450446987" sldId="264"/>
            <ac:spMk id="49" creationId="{6C902FB1-9C72-CCD9-9F28-79FEEA1EBE9E}"/>
          </ac:spMkLst>
        </pc:spChg>
        <pc:spChg chg="mod">
          <ac:chgData name="Joelle Brehm" userId="a518f54c-6985-42c0-8041-2bb16a414839" providerId="ADAL" clId="{12516E80-A0D9-4B76-86FD-A48ADB9E65BE}" dt="2024-01-03T21:42:36.402" v="54238"/>
          <ac:spMkLst>
            <pc:docMk/>
            <pc:sldMk cId="1450446987" sldId="264"/>
            <ac:spMk id="50" creationId="{5FE9258F-A945-F4FF-832B-478FD9BAC76D}"/>
          </ac:spMkLst>
        </pc:spChg>
        <pc:spChg chg="del mod">
          <ac:chgData name="Joelle Brehm" userId="a518f54c-6985-42c0-8041-2bb16a414839" providerId="ADAL" clId="{12516E80-A0D9-4B76-86FD-A48ADB9E65BE}" dt="2024-01-01T19:37:46.687" v="5996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12516E80-A0D9-4B76-86FD-A48ADB9E65BE}" dt="2024-01-03T21:42:36.420" v="54284"/>
          <ac:spMkLst>
            <pc:docMk/>
            <pc:sldMk cId="1450446987" sldId="264"/>
            <ac:spMk id="52" creationId="{35E94CE7-373A-9E4A-3654-13C7C305FD02}"/>
          </ac:spMkLst>
        </pc:spChg>
        <pc:spChg chg="add mod replST">
          <ac:chgData name="Joelle Brehm" userId="a518f54c-6985-42c0-8041-2bb16a414839" providerId="ADAL" clId="{12516E80-A0D9-4B76-86FD-A48ADB9E65BE}" dt="2024-01-03T21:42:36.388" v="54203"/>
          <ac:spMkLst>
            <pc:docMk/>
            <pc:sldMk cId="1450446987" sldId="264"/>
            <ac:spMk id="53" creationId="{522E8E80-2D36-FBB2-D9BA-CCEAD36B44DA}"/>
          </ac:spMkLst>
        </pc:spChg>
        <pc:spChg chg="mod">
          <ac:chgData name="Joelle Brehm" userId="a518f54c-6985-42c0-8041-2bb16a414839" providerId="ADAL" clId="{12516E80-A0D9-4B76-86FD-A48ADB9E65BE}" dt="2024-01-03T21:42:36.384" v="54195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12516E80-A0D9-4B76-86FD-A48ADB9E65BE}" dt="2024-01-03T21:42:36.379" v="54181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12516E80-A0D9-4B76-86FD-A48ADB9E65BE}" dt="2024-01-03T21:42:36.425" v="54296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12516E80-A0D9-4B76-86FD-A48ADB9E65BE}" dt="2024-01-03T21:42:36.379" v="54182"/>
          <ac:spMkLst>
            <pc:docMk/>
            <pc:sldMk cId="1450446987" sldId="264"/>
            <ac:spMk id="57" creationId="{691D1289-3B15-0AD2-5838-E87715C40325}"/>
          </ac:spMkLst>
        </pc:spChg>
        <pc:spChg chg="mod">
          <ac:chgData name="Joelle Brehm" userId="a518f54c-6985-42c0-8041-2bb16a414839" providerId="ADAL" clId="{12516E80-A0D9-4B76-86FD-A48ADB9E65BE}" dt="2024-01-03T21:42:36.387" v="54201"/>
          <ac:spMkLst>
            <pc:docMk/>
            <pc:sldMk cId="1450446987" sldId="264"/>
            <ac:spMk id="58" creationId="{998C3F37-48B7-D5CB-D2DD-2BF1FE08D1D9}"/>
          </ac:spMkLst>
        </pc:spChg>
        <pc:spChg chg="mod">
          <ac:chgData name="Joelle Brehm" userId="a518f54c-6985-42c0-8041-2bb16a414839" providerId="ADAL" clId="{12516E80-A0D9-4B76-86FD-A48ADB9E65BE}" dt="2024-01-03T21:42:36.380" v="54184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12516E80-A0D9-4B76-86FD-A48ADB9E65BE}" dt="2024-01-03T21:42:36.410" v="54257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12516E80-A0D9-4B76-86FD-A48ADB9E65BE}" dt="2024-01-03T21:42:36.411" v="54259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12516E80-A0D9-4B76-86FD-A48ADB9E65BE}" dt="2024-01-03T21:42:36.411" v="54261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12516E80-A0D9-4B76-86FD-A48ADB9E65BE}" dt="2024-01-03T21:42:36.390" v="54206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12516E80-A0D9-4B76-86FD-A48ADB9E65BE}" dt="2024-01-03T21:42:36.406" v="54249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12516E80-A0D9-4B76-86FD-A48ADB9E65BE}" dt="2024-01-03T21:42:36.383" v="54193"/>
          <ac:spMkLst>
            <pc:docMk/>
            <pc:sldMk cId="1450446987" sldId="264"/>
            <ac:spMk id="65" creationId="{3157109A-3120-04A6-D693-60F57F766A08}"/>
          </ac:spMkLst>
        </pc:spChg>
        <pc:spChg chg="mod">
          <ac:chgData name="Joelle Brehm" userId="a518f54c-6985-42c0-8041-2bb16a414839" providerId="ADAL" clId="{12516E80-A0D9-4B76-86FD-A48ADB9E65BE}" dt="2024-01-03T21:42:36.394" v="54218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12516E80-A0D9-4B76-86FD-A48ADB9E65BE}" dt="2024-01-03T21:42:36.384" v="54194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12516E80-A0D9-4B76-86FD-A48ADB9E65BE}" dt="2024-01-03T21:42:36.422" v="54287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12516E80-A0D9-4B76-86FD-A48ADB9E65BE}" dt="2024-01-03T21:42:36.424" v="54294"/>
          <ac:spMkLst>
            <pc:docMk/>
            <pc:sldMk cId="1450446987" sldId="264"/>
            <ac:spMk id="70" creationId="{13EDC3FB-EAD9-A2B2-8DFB-9D4FBEC4B5A3}"/>
          </ac:spMkLst>
        </pc:spChg>
        <pc:spChg chg="add del mod modVis">
          <ac:chgData name="Joelle Brehm" userId="a518f54c-6985-42c0-8041-2bb16a414839" providerId="ADAL" clId="{12516E80-A0D9-4B76-86FD-A48ADB9E65BE}" dt="2024-01-01T19:37:55.707" v="6472"/>
          <ac:spMkLst>
            <pc:docMk/>
            <pc:sldMk cId="1450446987" sldId="264"/>
            <ac:spMk id="71" creationId="{AF60347D-382E-843C-A6FE-E4A1AEA0950C}"/>
          </ac:spMkLst>
        </pc:spChg>
        <pc:spChg chg="mod">
          <ac:chgData name="Joelle Brehm" userId="a518f54c-6985-42c0-8041-2bb16a414839" providerId="ADAL" clId="{12516E80-A0D9-4B76-86FD-A48ADB9E65BE}" dt="2024-01-03T21:42:36.424" v="54293"/>
          <ac:spMkLst>
            <pc:docMk/>
            <pc:sldMk cId="1450446987" sldId="264"/>
            <ac:spMk id="72" creationId="{083CFBB9-44A9-ECE4-4C8E-DC2ED54DB4C5}"/>
          </ac:spMkLst>
        </pc:spChg>
        <pc:spChg chg="mod">
          <ac:chgData name="Joelle Brehm" userId="a518f54c-6985-42c0-8041-2bb16a414839" providerId="ADAL" clId="{12516E80-A0D9-4B76-86FD-A48ADB9E65BE}" dt="2024-01-03T21:42:36.390" v="54207"/>
          <ac:spMkLst>
            <pc:docMk/>
            <pc:sldMk cId="1450446987" sldId="264"/>
            <ac:spMk id="73" creationId="{9222FB5E-7628-BAAE-A4E4-E9F13F9B74EE}"/>
          </ac:spMkLst>
        </pc:spChg>
        <pc:spChg chg="del mod">
          <ac:chgData name="Joelle Brehm" userId="a518f54c-6985-42c0-8041-2bb16a414839" providerId="ADAL" clId="{12516E80-A0D9-4B76-86FD-A48ADB9E65BE}" dt="2024-01-03T21:42:16.651" v="52855"/>
          <ac:spMkLst>
            <pc:docMk/>
            <pc:sldMk cId="1450446987" sldId="264"/>
            <ac:spMk id="75" creationId="{56383866-27D0-418B-13C0-142BC112CF57}"/>
          </ac:spMkLst>
        </pc:spChg>
        <pc:spChg chg="mod">
          <ac:chgData name="Joelle Brehm" userId="a518f54c-6985-42c0-8041-2bb16a414839" providerId="ADAL" clId="{12516E80-A0D9-4B76-86FD-A48ADB9E65BE}" dt="2024-01-03T21:42:36.384" v="54196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12516E80-A0D9-4B76-86FD-A48ADB9E65BE}" dt="2024-01-03T21:42:36.414" v="54268"/>
          <ac:spMkLst>
            <pc:docMk/>
            <pc:sldMk cId="1450446987" sldId="264"/>
            <ac:spMk id="77" creationId="{60F97E40-1529-395D-816D-8834F0F881FD}"/>
          </ac:spMkLst>
        </pc:spChg>
        <pc:spChg chg="add del mod modVis">
          <ac:chgData name="Joelle Brehm" userId="a518f54c-6985-42c0-8041-2bb16a414839" providerId="ADAL" clId="{12516E80-A0D9-4B76-86FD-A48ADB9E65BE}" dt="2024-01-01T19:38:00.330" v="6724"/>
          <ac:spMkLst>
            <pc:docMk/>
            <pc:sldMk cId="1450446987" sldId="264"/>
            <ac:spMk id="78" creationId="{58261CD3-FF37-9B92-50BB-D033963EC963}"/>
          </ac:spMkLst>
        </pc:spChg>
        <pc:spChg chg="mod">
          <ac:chgData name="Joelle Brehm" userId="a518f54c-6985-42c0-8041-2bb16a414839" providerId="ADAL" clId="{12516E80-A0D9-4B76-86FD-A48ADB9E65BE}" dt="2024-01-03T21:42:36.430" v="54306"/>
          <ac:spMkLst>
            <pc:docMk/>
            <pc:sldMk cId="1450446987" sldId="264"/>
            <ac:spMk id="79" creationId="{23BEFDDE-D63B-813D-AA9B-DD3758088EEA}"/>
          </ac:spMkLst>
        </pc:spChg>
        <pc:spChg chg="mod">
          <ac:chgData name="Joelle Brehm" userId="a518f54c-6985-42c0-8041-2bb16a414839" providerId="ADAL" clId="{12516E80-A0D9-4B76-86FD-A48ADB9E65BE}" dt="2024-01-03T21:42:36.427" v="54299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12516E80-A0D9-4B76-86FD-A48ADB9E65BE}" dt="2024-01-03T21:42:36.395" v="54219"/>
          <ac:spMkLst>
            <pc:docMk/>
            <pc:sldMk cId="1450446987" sldId="264"/>
            <ac:spMk id="81" creationId="{6F4C96C8-F30F-B7F9-162B-D0B13BC90C2B}"/>
          </ac:spMkLst>
        </pc:spChg>
        <pc:spChg chg="mod">
          <ac:chgData name="Joelle Brehm" userId="a518f54c-6985-42c0-8041-2bb16a414839" providerId="ADAL" clId="{12516E80-A0D9-4B76-86FD-A48ADB9E65BE}" dt="2024-01-03T21:42:36.430" v="54305"/>
          <ac:spMkLst>
            <pc:docMk/>
            <pc:sldMk cId="1450446987" sldId="264"/>
            <ac:spMk id="83" creationId="{A21D7036-40FA-BB0C-4CA6-E61688467FC8}"/>
          </ac:spMkLst>
        </pc:spChg>
        <pc:spChg chg="mod">
          <ac:chgData name="Joelle Brehm" userId="a518f54c-6985-42c0-8041-2bb16a414839" providerId="ADAL" clId="{12516E80-A0D9-4B76-86FD-A48ADB9E65BE}" dt="2024-01-03T21:42:36.421" v="54286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12516E80-A0D9-4B76-86FD-A48ADB9E65BE}" dt="2024-01-03T21:42:36.380" v="54185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12516E80-A0D9-4B76-86FD-A48ADB9E65BE}" dt="2024-01-03T21:42:36.391" v="54209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12516E80-A0D9-4B76-86FD-A48ADB9E65BE}" dt="2024-01-03T21:42:36.407" v="54250"/>
          <ac:spMkLst>
            <pc:docMk/>
            <pc:sldMk cId="1450446987" sldId="264"/>
            <ac:spMk id="87" creationId="{06946997-7AFB-6327-F61E-B25533F6C115}"/>
          </ac:spMkLst>
        </pc:spChg>
        <pc:spChg chg="mod">
          <ac:chgData name="Joelle Brehm" userId="a518f54c-6985-42c0-8041-2bb16a414839" providerId="ADAL" clId="{12516E80-A0D9-4B76-86FD-A48ADB9E65BE}" dt="2024-01-03T21:42:36.426" v="54298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12516E80-A0D9-4B76-86FD-A48ADB9E65BE}" dt="2024-01-03T21:42:36.395" v="54221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12516E80-A0D9-4B76-86FD-A48ADB9E65BE}" dt="2024-01-03T21:42:36.422" v="54288"/>
          <ac:spMkLst>
            <pc:docMk/>
            <pc:sldMk cId="1450446987" sldId="264"/>
            <ac:spMk id="91" creationId="{CC94F927-3930-8FBB-F700-00F80B097138}"/>
          </ac:spMkLst>
        </pc:spChg>
        <pc:spChg chg="add mod replST">
          <ac:chgData name="Joelle Brehm" userId="a518f54c-6985-42c0-8041-2bb16a414839" providerId="ADAL" clId="{12516E80-A0D9-4B76-86FD-A48ADB9E65BE}" dt="2024-01-03T21:42:36.424" v="54295"/>
          <ac:spMkLst>
            <pc:docMk/>
            <pc:sldMk cId="1450446987" sldId="264"/>
            <ac:spMk id="92" creationId="{04EED9C4-BB27-D966-447B-295E7E5DB4D0}"/>
          </ac:spMkLst>
        </pc:spChg>
        <pc:spChg chg="del mod">
          <ac:chgData name="Joelle Brehm" userId="a518f54c-6985-42c0-8041-2bb16a414839" providerId="ADAL" clId="{12516E80-A0D9-4B76-86FD-A48ADB9E65BE}" dt="2024-01-01T19:38:06.280" v="6961"/>
          <ac:spMkLst>
            <pc:docMk/>
            <pc:sldMk cId="1450446987" sldId="264"/>
            <ac:spMk id="93" creationId="{E3535E8F-2FE1-602D-1DEE-9C3D3425F046}"/>
          </ac:spMkLst>
        </pc:spChg>
        <pc:spChg chg="mod">
          <ac:chgData name="Joelle Brehm" userId="a518f54c-6985-42c0-8041-2bb16a414839" providerId="ADAL" clId="{12516E80-A0D9-4B76-86FD-A48ADB9E65BE}" dt="2024-01-03T21:42:36.381" v="54186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12516E80-A0D9-4B76-86FD-A48ADB9E65BE}" dt="2024-01-03T21:42:36.385" v="54197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12516E80-A0D9-4B76-86FD-A48ADB9E65BE}" dt="2024-01-03T21:42:36.412" v="54263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12516E80-A0D9-4B76-86FD-A48ADB9E65BE}" dt="2024-01-03T21:42:36.413" v="54265"/>
          <ac:spMkLst>
            <pc:docMk/>
            <pc:sldMk cId="1450446987" sldId="264"/>
            <ac:spMk id="97" creationId="{64B2B8D7-E8A8-4757-99A4-69F1EAA48321}"/>
          </ac:spMkLst>
        </pc:spChg>
        <pc:spChg chg="mod">
          <ac:chgData name="Joelle Brehm" userId="a518f54c-6985-42c0-8041-2bb16a414839" providerId="ADAL" clId="{12516E80-A0D9-4B76-86FD-A48ADB9E65BE}" dt="2024-01-03T21:42:36.393" v="54216"/>
          <ac:spMkLst>
            <pc:docMk/>
            <pc:sldMk cId="1450446987" sldId="264"/>
            <ac:spMk id="98" creationId="{41685772-BE3E-26B1-D464-B2AD278CB65F}"/>
          </ac:spMkLst>
        </pc:spChg>
        <pc:spChg chg="mod">
          <ac:chgData name="Joelle Brehm" userId="a518f54c-6985-42c0-8041-2bb16a414839" providerId="ADAL" clId="{12516E80-A0D9-4B76-86FD-A48ADB9E65BE}" dt="2024-01-03T21:42:36.427" v="54300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12516E80-A0D9-4B76-86FD-A48ADB9E65BE}" dt="2024-01-01T19:38:04.046" v="6957"/>
          <ac:spMkLst>
            <pc:docMk/>
            <pc:sldMk cId="1450446987" sldId="264"/>
            <ac:spMk id="100" creationId="{AEB943C5-A84A-F850-F39E-C23D14EA31BC}"/>
          </ac:spMkLst>
        </pc:spChg>
        <pc:spChg chg="mod">
          <ac:chgData name="Joelle Brehm" userId="a518f54c-6985-42c0-8041-2bb16a414839" providerId="ADAL" clId="{12516E80-A0D9-4B76-86FD-A48ADB9E65BE}" dt="2024-01-03T21:42:36.393" v="54215"/>
          <ac:spMkLst>
            <pc:docMk/>
            <pc:sldMk cId="1450446987" sldId="264"/>
            <ac:spMk id="102" creationId="{6333F09A-AE56-74E1-7B04-F4A5E3860BA0}"/>
          </ac:spMkLst>
        </pc:spChg>
        <pc:spChg chg="del mod">
          <ac:chgData name="Joelle Brehm" userId="a518f54c-6985-42c0-8041-2bb16a414839" providerId="ADAL" clId="{12516E80-A0D9-4B76-86FD-A48ADB9E65BE}" dt="2024-01-03T21:42:16.651" v="52856"/>
          <ac:spMkLst>
            <pc:docMk/>
            <pc:sldMk cId="1450446987" sldId="264"/>
            <ac:spMk id="103" creationId="{3011ECED-3070-20FC-DA3F-5A467219A673}"/>
          </ac:spMkLst>
        </pc:spChg>
        <pc:spChg chg="mod">
          <ac:chgData name="Joelle Brehm" userId="a518f54c-6985-42c0-8041-2bb16a414839" providerId="ADAL" clId="{12516E80-A0D9-4B76-86FD-A48ADB9E65BE}" dt="2024-01-03T21:42:36.390" v="54208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12516E80-A0D9-4B76-86FD-A48ADB9E65BE}" dt="2024-01-03T21:42:36.422" v="54289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12516E80-A0D9-4B76-86FD-A48ADB9E65BE}" dt="2024-01-03T21:42:36.377" v="54175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12516E80-A0D9-4B76-86FD-A48ADB9E65BE}" dt="2024-01-03T21:42:36.398" v="54228"/>
          <ac:spMkLst>
            <pc:docMk/>
            <pc:sldMk cId="1450446987" sldId="264"/>
            <ac:spMk id="107" creationId="{5A262282-AA4F-2691-1334-7CF06DA0EFE3}"/>
          </ac:spMkLst>
        </pc:spChg>
        <pc:spChg chg="mod">
          <ac:chgData name="Joelle Brehm" userId="a518f54c-6985-42c0-8041-2bb16a414839" providerId="ADAL" clId="{12516E80-A0D9-4B76-86FD-A48ADB9E65BE}" dt="2024-01-03T21:42:36.395" v="54220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12516E80-A0D9-4B76-86FD-A48ADB9E65BE}" dt="2024-01-03T21:42:36.391" v="54210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12516E80-A0D9-4B76-86FD-A48ADB9E65BE}" dt="2024-01-03T21:42:36.386" v="54198"/>
          <ac:spMkLst>
            <pc:docMk/>
            <pc:sldMk cId="1450446987" sldId="264"/>
            <ac:spMk id="110" creationId="{3E9DFF71-BC3D-F5AB-9F34-2E7EB64B1AD3}"/>
          </ac:spMkLst>
        </pc:spChg>
        <pc:spChg chg="mod">
          <ac:chgData name="Joelle Brehm" userId="a518f54c-6985-42c0-8041-2bb16a414839" providerId="ADAL" clId="{12516E80-A0D9-4B76-86FD-A48ADB9E65BE}" dt="2024-01-03T21:42:43.827" v="54386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12516E80-A0D9-4B76-86FD-A48ADB9E65BE}" dt="2024-01-03T21:42:36.396" v="54222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12516E80-A0D9-4B76-86FD-A48ADB9E65BE}" dt="2024-01-03T21:42:43.829" v="54390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12516E80-A0D9-4B76-86FD-A48ADB9E65BE}" dt="2024-01-03T21:42:36.427" v="54301"/>
          <ac:spMkLst>
            <pc:docMk/>
            <pc:sldMk cId="1450446987" sldId="264"/>
            <ac:spMk id="116" creationId="{E6B2D068-E691-A10D-15D8-F8578EFD4C29}"/>
          </ac:spMkLst>
        </pc:spChg>
        <pc:spChg chg="mod">
          <ac:chgData name="Joelle Brehm" userId="a518f54c-6985-42c0-8041-2bb16a414839" providerId="ADAL" clId="{12516E80-A0D9-4B76-86FD-A48ADB9E65BE}" dt="2024-01-03T21:42:36.397" v="54227"/>
          <ac:spMkLst>
            <pc:docMk/>
            <pc:sldMk cId="1450446987" sldId="264"/>
            <ac:spMk id="118" creationId="{64C7D22E-FE71-8346-6A8B-BCCE734C030C}"/>
          </ac:spMkLst>
        </pc:spChg>
        <pc:spChg chg="add mod replST">
          <ac:chgData name="Joelle Brehm" userId="a518f54c-6985-42c0-8041-2bb16a414839" providerId="ADAL" clId="{12516E80-A0D9-4B76-86FD-A48ADB9E65BE}" dt="2024-01-03T21:42:36.430" v="54307"/>
          <ac:spMkLst>
            <pc:docMk/>
            <pc:sldMk cId="1450446987" sldId="264"/>
            <ac:spMk id="119" creationId="{68A51B41-5F1C-51E6-B7D6-26BE9B80F9FE}"/>
          </ac:spMkLst>
        </pc:spChg>
        <pc:spChg chg="add del mod modVis">
          <ac:chgData name="Joelle Brehm" userId="a518f54c-6985-42c0-8041-2bb16a414839" providerId="ADAL" clId="{12516E80-A0D9-4B76-86FD-A48ADB9E65BE}" dt="2024-01-01T19:38:13.291" v="7414"/>
          <ac:spMkLst>
            <pc:docMk/>
            <pc:sldMk cId="1450446987" sldId="264"/>
            <ac:spMk id="120" creationId="{EF74D29D-E729-7A2D-B6B9-C639850CC989}"/>
          </ac:spMkLst>
        </pc:spChg>
        <pc:spChg chg="add mod replST">
          <ac:chgData name="Joelle Brehm" userId="a518f54c-6985-42c0-8041-2bb16a414839" providerId="ADAL" clId="{12516E80-A0D9-4B76-86FD-A48ADB9E65BE}" dt="2024-01-03T21:42:36.394" v="54217"/>
          <ac:spMkLst>
            <pc:docMk/>
            <pc:sldMk cId="1450446987" sldId="264"/>
            <ac:spMk id="122" creationId="{EE58AE63-B2BC-C11A-1802-02E107E19990}"/>
          </ac:spMkLst>
        </pc:spChg>
        <pc:spChg chg="add del mod modVis">
          <ac:chgData name="Joelle Brehm" userId="a518f54c-6985-42c0-8041-2bb16a414839" providerId="ADAL" clId="{12516E80-A0D9-4B76-86FD-A48ADB9E65BE}" dt="2024-01-01T19:38:20.261" v="7695"/>
          <ac:spMkLst>
            <pc:docMk/>
            <pc:sldMk cId="1450446987" sldId="264"/>
            <ac:spMk id="123" creationId="{0807849A-C91F-8459-6097-038CA7B2A9F6}"/>
          </ac:spMkLst>
        </pc:spChg>
        <pc:spChg chg="mod">
          <ac:chgData name="Joelle Brehm" userId="a518f54c-6985-42c0-8041-2bb16a414839" providerId="ADAL" clId="{12516E80-A0D9-4B76-86FD-A48ADB9E65BE}" dt="2024-01-03T21:42:36.391" v="54211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12516E80-A0D9-4B76-86FD-A48ADB9E65BE}" dt="2024-01-03T21:42:36.423" v="54290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12516E80-A0D9-4B76-86FD-A48ADB9E65BE}" dt="2024-01-03T21:42:36.382" v="54188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12516E80-A0D9-4B76-86FD-A48ADB9E65BE}" dt="2024-01-03T21:42:36.396" v="54223"/>
          <ac:spMkLst>
            <pc:docMk/>
            <pc:sldMk cId="1450446987" sldId="264"/>
            <ac:spMk id="127" creationId="{2CF9A986-1E95-AE1A-FD0F-F8AD045E4589}"/>
          </ac:spMkLst>
        </pc:spChg>
        <pc:spChg chg="mod">
          <ac:chgData name="Joelle Brehm" userId="a518f54c-6985-42c0-8041-2bb16a414839" providerId="ADAL" clId="{12516E80-A0D9-4B76-86FD-A48ADB9E65BE}" dt="2024-01-03T21:42:36.387" v="54200"/>
          <ac:spMkLst>
            <pc:docMk/>
            <pc:sldMk cId="1450446987" sldId="264"/>
            <ac:spMk id="130" creationId="{DB0A6969-9BE6-DD88-9511-7F8FD934DA11}"/>
          </ac:spMkLst>
        </pc:spChg>
        <pc:spChg chg="add mod replST">
          <ac:chgData name="Joelle Brehm" userId="a518f54c-6985-42c0-8041-2bb16a414839" providerId="ADAL" clId="{12516E80-A0D9-4B76-86FD-A48ADB9E65BE}" dt="2024-01-03T21:42:36.398" v="54229"/>
          <ac:spMkLst>
            <pc:docMk/>
            <pc:sldMk cId="1450446987" sldId="264"/>
            <ac:spMk id="131" creationId="{1E95563A-161A-F388-D6A8-05A228809377}"/>
          </ac:spMkLst>
        </pc:spChg>
        <pc:spChg chg="mod">
          <ac:chgData name="Joelle Brehm" userId="a518f54c-6985-42c0-8041-2bb16a414839" providerId="ADAL" clId="{12516E80-A0D9-4B76-86FD-A48ADB9E65BE}" dt="2024-01-03T21:42:36.428" v="54302"/>
          <ac:spMkLst>
            <pc:docMk/>
            <pc:sldMk cId="1450446987" sldId="264"/>
            <ac:spMk id="132" creationId="{8E856E10-A2C3-3BD4-C02F-F3D2D343989C}"/>
          </ac:spMkLst>
        </pc:spChg>
        <pc:spChg chg="add del mod modVis">
          <ac:chgData name="Joelle Brehm" userId="a518f54c-6985-42c0-8041-2bb16a414839" providerId="ADAL" clId="{12516E80-A0D9-4B76-86FD-A48ADB9E65BE}" dt="2024-01-01T19:38:28.714" v="8152"/>
          <ac:spMkLst>
            <pc:docMk/>
            <pc:sldMk cId="1450446987" sldId="264"/>
            <ac:spMk id="133" creationId="{023198AC-8D01-DEB5-8009-E28433883223}"/>
          </ac:spMkLst>
        </pc:spChg>
        <pc:spChg chg="mod">
          <ac:chgData name="Joelle Brehm" userId="a518f54c-6985-42c0-8041-2bb16a414839" providerId="ADAL" clId="{12516E80-A0D9-4B76-86FD-A48ADB9E65BE}" dt="2024-01-03T21:42:36.402" v="54239"/>
          <ac:spMkLst>
            <pc:docMk/>
            <pc:sldMk cId="1450446987" sldId="264"/>
            <ac:spMk id="134" creationId="{4B21D98E-CBDB-7AFB-94BD-6B7A23D60EC2}"/>
          </ac:spMkLst>
        </pc:spChg>
        <pc:spChg chg="mod">
          <ac:chgData name="Joelle Brehm" userId="a518f54c-6985-42c0-8041-2bb16a414839" providerId="ADAL" clId="{12516E80-A0D9-4B76-86FD-A48ADB9E65BE}" dt="2024-01-03T21:42:43.833" v="54398"/>
          <ac:spMkLst>
            <pc:docMk/>
            <pc:sldMk cId="1450446987" sldId="264"/>
            <ac:spMk id="135" creationId="{005E4CB4-2A31-DB1F-88CB-2FBBBD0C091B}"/>
          </ac:spMkLst>
        </pc:spChg>
        <pc:spChg chg="mod">
          <ac:chgData name="Joelle Brehm" userId="a518f54c-6985-42c0-8041-2bb16a414839" providerId="ADAL" clId="{12516E80-A0D9-4B76-86FD-A48ADB9E65BE}" dt="2024-01-03T21:42:36.415" v="54270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12516E80-A0D9-4B76-86FD-A48ADB9E65BE}" dt="2024-01-03T21:42:36.423" v="54292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12516E80-A0D9-4B76-86FD-A48ADB9E65BE}" dt="2024-01-03T21:42:36.392" v="54212"/>
          <ac:spMkLst>
            <pc:docMk/>
            <pc:sldMk cId="1450446987" sldId="264"/>
            <ac:spMk id="139" creationId="{90D6C27A-2B60-467B-C5C7-9CCE43964040}"/>
          </ac:spMkLst>
        </pc:spChg>
        <pc:spChg chg="mod">
          <ac:chgData name="Joelle Brehm" userId="a518f54c-6985-42c0-8041-2bb16a414839" providerId="ADAL" clId="{12516E80-A0D9-4B76-86FD-A48ADB9E65BE}" dt="2024-01-03T21:42:36.407" v="54251"/>
          <ac:spMkLst>
            <pc:docMk/>
            <pc:sldMk cId="1450446987" sldId="264"/>
            <ac:spMk id="141" creationId="{E36F4C8D-EC2C-AF10-792A-6324A776E04A}"/>
          </ac:spMkLst>
        </pc:spChg>
        <pc:spChg chg="add del mod modVis">
          <ac:chgData name="Joelle Brehm" userId="a518f54c-6985-42c0-8041-2bb16a414839" providerId="ADAL" clId="{12516E80-A0D9-4B76-86FD-A48ADB9E65BE}" dt="2024-01-01T19:38:33.265" v="8370"/>
          <ac:spMkLst>
            <pc:docMk/>
            <pc:sldMk cId="1450446987" sldId="264"/>
            <ac:spMk id="142" creationId="{50E12048-4915-FC89-58AF-48BC6FD031AB}"/>
          </ac:spMkLst>
        </pc:spChg>
        <pc:spChg chg="mod">
          <ac:chgData name="Joelle Brehm" userId="a518f54c-6985-42c0-8041-2bb16a414839" providerId="ADAL" clId="{12516E80-A0D9-4B76-86FD-A48ADB9E65BE}" dt="2024-01-03T21:42:36.396" v="54224"/>
          <ac:spMkLst>
            <pc:docMk/>
            <pc:sldMk cId="1450446987" sldId="264"/>
            <ac:spMk id="143" creationId="{8B4F9978-6CBD-ADA8-09AB-786FD14471F8}"/>
          </ac:spMkLst>
        </pc:spChg>
        <pc:spChg chg="mod">
          <ac:chgData name="Joelle Brehm" userId="a518f54c-6985-42c0-8041-2bb16a414839" providerId="ADAL" clId="{12516E80-A0D9-4B76-86FD-A48ADB9E65BE}" dt="2024-01-03T21:42:43.831" v="54394"/>
          <ac:spMkLst>
            <pc:docMk/>
            <pc:sldMk cId="1450446987" sldId="264"/>
            <ac:spMk id="144" creationId="{5181FAC4-6DC3-041D-2CC1-374608CD8D5F}"/>
          </ac:spMkLst>
        </pc:spChg>
        <pc:spChg chg="mod">
          <ac:chgData name="Joelle Brehm" userId="a518f54c-6985-42c0-8041-2bb16a414839" providerId="ADAL" clId="{12516E80-A0D9-4B76-86FD-A48ADB9E65BE}" dt="2024-01-03T21:42:36.429" v="54304"/>
          <ac:spMkLst>
            <pc:docMk/>
            <pc:sldMk cId="1450446987" sldId="264"/>
            <ac:spMk id="146" creationId="{6414DE83-49A9-C649-08EC-1FB84B54E2EA}"/>
          </ac:spMkLst>
        </pc:spChg>
        <pc:spChg chg="mod">
          <ac:chgData name="Joelle Brehm" userId="a518f54c-6985-42c0-8041-2bb16a414839" providerId="ADAL" clId="{12516E80-A0D9-4B76-86FD-A48ADB9E65BE}" dt="2024-01-03T21:42:36.381" v="54187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12516E80-A0D9-4B76-86FD-A48ADB9E65BE}" dt="2024-01-03T21:42:36.386" v="54199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12516E80-A0D9-4B76-86FD-A48ADB9E65BE}" dt="2024-01-03T21:41:58.757" v="52126"/>
          <ac:spMkLst>
            <pc:docMk/>
            <pc:sldMk cId="1450446987" sldId="264"/>
            <ac:spMk id="150" creationId="{A875FC63-EF84-ABDC-8B82-4643E4AE4888}"/>
          </ac:spMkLst>
        </pc:spChg>
        <pc:spChg chg="add del mod modVis">
          <ac:chgData name="Joelle Brehm" userId="a518f54c-6985-42c0-8041-2bb16a414839" providerId="ADAL" clId="{12516E80-A0D9-4B76-86FD-A48ADB9E65BE}" dt="2024-01-03T21:42:09.002" v="52389"/>
          <ac:spMkLst>
            <pc:docMk/>
            <pc:sldMk cId="1450446987" sldId="264"/>
            <ac:spMk id="152" creationId="{2706B8AF-BDD2-E271-CE10-602C930E2082}"/>
          </ac:spMkLst>
        </pc:spChg>
        <pc:spChg chg="add del mod replST">
          <ac:chgData name="Joelle Brehm" userId="a518f54c-6985-42c0-8041-2bb16a414839" providerId="ADAL" clId="{12516E80-A0D9-4B76-86FD-A48ADB9E65BE}" dt="2024-01-03T21:42:09.691" v="52392"/>
          <ac:spMkLst>
            <pc:docMk/>
            <pc:sldMk cId="1450446987" sldId="264"/>
            <ac:spMk id="15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21:42:36.393" v="54214"/>
          <ac:spMkLst>
            <pc:docMk/>
            <pc:sldMk cId="1450446987" sldId="264"/>
            <ac:spMk id="154" creationId="{A61E4EE9-FC3E-9FF2-7995-0C75440B927B}"/>
          </ac:spMkLst>
        </pc:spChg>
        <pc:spChg chg="mod">
          <ac:chgData name="Joelle Brehm" userId="a518f54c-6985-42c0-8041-2bb16a414839" providerId="ADAL" clId="{12516E80-A0D9-4B76-86FD-A48ADB9E65BE}" dt="2024-01-03T21:42:36.392" v="54213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12516E80-A0D9-4B76-86FD-A48ADB9E65BE}" dt="2024-01-03T21:42:36.397" v="54225"/>
          <ac:spMkLst>
            <pc:docMk/>
            <pc:sldMk cId="1450446987" sldId="264"/>
            <ac:spMk id="158" creationId="{5B6F19F9-65BC-D043-328A-0D4F88644681}"/>
          </ac:spMkLst>
        </pc:spChg>
        <pc:spChg chg="add mod replST">
          <ac:chgData name="Joelle Brehm" userId="a518f54c-6985-42c0-8041-2bb16a414839" providerId="ADAL" clId="{12516E80-A0D9-4B76-86FD-A48ADB9E65BE}" dt="2024-01-03T21:42:36.415" v="54271"/>
          <ac:spMkLst>
            <pc:docMk/>
            <pc:sldMk cId="1450446987" sldId="264"/>
            <ac:spMk id="159" creationId="{35B271FB-A1D6-D982-7784-49F30BEC4F67}"/>
          </ac:spMkLst>
        </pc:spChg>
        <pc:spChg chg="mod">
          <ac:chgData name="Joelle Brehm" userId="a518f54c-6985-42c0-8041-2bb16a414839" providerId="ADAL" clId="{12516E80-A0D9-4B76-86FD-A48ADB9E65BE}" dt="2024-01-03T21:42:36.415" v="54269"/>
          <ac:spMkLst>
            <pc:docMk/>
            <pc:sldMk cId="1450446987" sldId="264"/>
            <ac:spMk id="160" creationId="{07C3E5D2-7583-63D0-37B6-7B151A712896}"/>
          </ac:spMkLst>
        </pc:spChg>
        <pc:spChg chg="add del mod modVis">
          <ac:chgData name="Joelle Brehm" userId="a518f54c-6985-42c0-8041-2bb16a414839" providerId="ADAL" clId="{12516E80-A0D9-4B76-86FD-A48ADB9E65BE}" dt="2024-01-03T21:42:11.071" v="52852"/>
          <ac:spMkLst>
            <pc:docMk/>
            <pc:sldMk cId="1450446987" sldId="264"/>
            <ac:spMk id="161" creationId="{1214E66A-BBFD-1503-3BBB-47FF8B668E78}"/>
          </ac:spMkLst>
        </pc:spChg>
        <pc:spChg chg="mod">
          <ac:chgData name="Joelle Brehm" userId="a518f54c-6985-42c0-8041-2bb16a414839" providerId="ADAL" clId="{12516E80-A0D9-4B76-86FD-A48ADB9E65BE}" dt="2024-01-03T21:42:43.837" v="54410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12516E80-A0D9-4B76-86FD-A48ADB9E65BE}" dt="2024-01-03T21:42:36.397" v="54226"/>
          <ac:spMkLst>
            <pc:docMk/>
            <pc:sldMk cId="1450446987" sldId="264"/>
            <ac:spMk id="163" creationId="{B4BF5702-9B69-493D-938D-23FA87022A8B}"/>
          </ac:spMkLst>
        </pc:spChg>
        <pc:spChg chg="add mod replST">
          <ac:chgData name="Joelle Brehm" userId="a518f54c-6985-42c0-8041-2bb16a414839" providerId="ADAL" clId="{12516E80-A0D9-4B76-86FD-A48ADB9E65BE}" dt="2024-01-03T21:42:36.416" v="54272"/>
          <ac:spMkLst>
            <pc:docMk/>
            <pc:sldMk cId="1450446987" sldId="264"/>
            <ac:spMk id="16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21:42:36.423" v="54291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12516E80-A0D9-4B76-86FD-A48ADB9E65BE}" dt="2024-01-03T21:42:36.428" v="54303"/>
          <ac:spMkLst>
            <pc:docMk/>
            <pc:sldMk cId="1450446987" sldId="264"/>
            <ac:spMk id="167" creationId="{F4E87B54-979D-3FF4-CD65-15E354C7960B}"/>
          </ac:spMkLst>
        </pc:spChg>
        <pc:spChg chg="add del mod modVis">
          <ac:chgData name="Joelle Brehm" userId="a518f54c-6985-42c0-8041-2bb16a414839" providerId="ADAL" clId="{12516E80-A0D9-4B76-86FD-A48ADB9E65BE}" dt="2024-01-03T21:42:21.331" v="53289"/>
          <ac:spMkLst>
            <pc:docMk/>
            <pc:sldMk cId="1450446987" sldId="264"/>
            <ac:spMk id="169" creationId="{A152AE41-05F3-2F1B-FB54-C48BE1FDAC4F}"/>
          </ac:spMkLst>
        </pc:spChg>
        <pc:spChg chg="add del mod replST">
          <ac:chgData name="Joelle Brehm" userId="a518f54c-6985-42c0-8041-2bb16a414839" providerId="ADAL" clId="{12516E80-A0D9-4B76-86FD-A48ADB9E65BE}" dt="2024-01-03T21:42:21.775" v="53332"/>
          <ac:spMkLst>
            <pc:docMk/>
            <pc:sldMk cId="1450446987" sldId="264"/>
            <ac:spMk id="170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3T21:42:21.880" v="53486"/>
          <ac:spMkLst>
            <pc:docMk/>
            <pc:sldMk cId="1450446987" sldId="264"/>
            <ac:spMk id="172" creationId="{A6D8F287-D087-754A-5798-B83DA26F88E4}"/>
          </ac:spMkLst>
        </pc:spChg>
        <pc:spChg chg="add del mod modVis">
          <ac:chgData name="Joelle Brehm" userId="a518f54c-6985-42c0-8041-2bb16a414839" providerId="ADAL" clId="{12516E80-A0D9-4B76-86FD-A48ADB9E65BE}" dt="2024-01-03T21:42:29.147" v="53687"/>
          <ac:spMkLst>
            <pc:docMk/>
            <pc:sldMk cId="1450446987" sldId="264"/>
            <ac:spMk id="174" creationId="{E72F38BF-B45E-6ADD-17C9-A55BD2FC9F72}"/>
          </ac:spMkLst>
        </pc:spChg>
        <pc:spChg chg="add del mod modVis">
          <ac:chgData name="Joelle Brehm" userId="a518f54c-6985-42c0-8041-2bb16a414839" providerId="ADAL" clId="{12516E80-A0D9-4B76-86FD-A48ADB9E65BE}" dt="2024-01-03T21:42:30.803" v="53940"/>
          <ac:spMkLst>
            <pc:docMk/>
            <pc:sldMk cId="1450446987" sldId="264"/>
            <ac:spMk id="176" creationId="{42236D7E-CF64-4751-670D-27C8CC366E1B}"/>
          </ac:spMkLst>
        </pc:spChg>
        <pc:spChg chg="add del mod replST">
          <ac:chgData name="Joelle Brehm" userId="a518f54c-6985-42c0-8041-2bb16a414839" providerId="ADAL" clId="{12516E80-A0D9-4B76-86FD-A48ADB9E65BE}" dt="2024-01-03T21:42:31.505" v="53987"/>
          <ac:spMkLst>
            <pc:docMk/>
            <pc:sldMk cId="1450446987" sldId="264"/>
            <ac:spMk id="177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3T21:42:31.593" v="54141"/>
          <ac:spMkLst>
            <pc:docMk/>
            <pc:sldMk cId="1450446987" sldId="264"/>
            <ac:spMk id="179" creationId="{E1EDC17D-EF2F-1353-C599-FF6EA825DFC9}"/>
          </ac:spMkLst>
        </pc:spChg>
        <pc:spChg chg="del mod">
          <ac:chgData name="Joelle Brehm" userId="a518f54c-6985-42c0-8041-2bb16a414839" providerId="ADAL" clId="{12516E80-A0D9-4B76-86FD-A48ADB9E65BE}" dt="2024-01-01T19:38:06.280" v="6960"/>
          <ac:spMkLst>
            <pc:docMk/>
            <pc:sldMk cId="1450446987" sldId="264"/>
            <ac:spMk id="183" creationId="{AF9B10EE-106F-F48F-396B-6E0A5755F50A}"/>
          </ac:spMkLst>
        </pc:spChg>
        <pc:spChg chg="del mod">
          <ac:chgData name="Joelle Brehm" userId="a518f54c-6985-42c0-8041-2bb16a414839" providerId="ADAL" clId="{12516E80-A0D9-4B76-86FD-A48ADB9E65BE}" dt="2024-01-01T19:38:21.747" v="7699"/>
          <ac:spMkLst>
            <pc:docMk/>
            <pc:sldMk cId="1450446987" sldId="264"/>
            <ac:spMk id="200" creationId="{52DE169D-4200-00F1-2DE6-7AB331DC502C}"/>
          </ac:spMkLst>
        </pc:spChg>
        <pc:spChg chg="del mod">
          <ac:chgData name="Joelle Brehm" userId="a518f54c-6985-42c0-8041-2bb16a414839" providerId="ADAL" clId="{12516E80-A0D9-4B76-86FD-A48ADB9E65BE}" dt="2024-01-01T19:38:21.747" v="7698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12516E80-A0D9-4B76-86FD-A48ADB9E65BE}" dt="2024-01-03T21:42:36.420" v="54281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12516E80-A0D9-4B76-86FD-A48ADB9E65BE}" dt="2024-01-03T21:42:36.431" v="54309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12516E80-A0D9-4B76-86FD-A48ADB9E65BE}" dt="2024-01-03T21:42:43.856" v="54414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7:30.770" v="5333"/>
          <ac:graphicFrameMkLst>
            <pc:docMk/>
            <pc:sldMk cId="1450446987" sldId="264"/>
            <ac:graphicFrameMk id="13" creationId="{FC0B159C-7FCF-1260-0536-9FDCB58353D5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7:37.059" v="5557"/>
          <ac:graphicFrameMkLst>
            <pc:docMk/>
            <pc:sldMk cId="1450446987" sldId="264"/>
            <ac:graphicFrameMk id="14" creationId="{817AA14D-C1DA-2ECC-DEFC-F57EBEF7F3F7}"/>
          </ac:graphicFrameMkLst>
        </pc:graphicFrameChg>
        <pc:graphicFrameChg chg="del">
          <ac:chgData name="Joelle Brehm" userId="a518f54c-6985-42c0-8041-2bb16a414839" providerId="ADAL" clId="{12516E80-A0D9-4B76-86FD-A48ADB9E65BE}" dt="2024-01-01T19:37:28.991" v="5099"/>
          <ac:graphicFrameMkLst>
            <pc:docMk/>
            <pc:sldMk cId="1450446987" sldId="264"/>
            <ac:graphicFrameMk id="19" creationId="{FDC8FA5E-9D88-A814-28B7-6DB0C9798BC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21:42:36.399" v="54231"/>
          <ac:graphicFrameMkLst>
            <pc:docMk/>
            <pc:sldMk cId="1450446987" sldId="264"/>
            <ac:graphicFrameMk id="26" creationId="{CEDA1C07-6B8F-68DE-E89E-A5B31B73771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7:46.750" v="6093"/>
          <ac:graphicFrameMkLst>
            <pc:docMk/>
            <pc:sldMk cId="1450446987" sldId="264"/>
            <ac:graphicFrameMk id="41" creationId="{02CAA847-8C61-2B12-2740-E84A1C44B0A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7:55.616" v="6317"/>
          <ac:graphicFrameMkLst>
            <pc:docMk/>
            <pc:sldMk cId="1450446987" sldId="264"/>
            <ac:graphicFrameMk id="48" creationId="{ADE2D710-063D-DDC8-2829-B26647D8B488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37:44.374" v="5837"/>
          <ac:graphicFrameMkLst>
            <pc:docMk/>
            <pc:sldMk cId="1450446987" sldId="264"/>
            <ac:graphicFrameMk id="66" creationId="{55191657-7484-34FC-47F9-578C0CBE234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21:42:36.378" v="54179"/>
          <ac:graphicFrameMkLst>
            <pc:docMk/>
            <pc:sldMk cId="1450446987" sldId="264"/>
            <ac:graphicFrameMk id="74" creationId="{8AB9E8F7-B319-B29E-864A-3F7C7B9F50D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8:03.950" v="6801"/>
          <ac:graphicFrameMkLst>
            <pc:docMk/>
            <pc:sldMk cId="1450446987" sldId="264"/>
            <ac:graphicFrameMk id="82" creationId="{832339F0-FD69-0C0E-9B12-760BD9CD08B4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38:00.251" v="6569"/>
          <ac:graphicFrameMkLst>
            <pc:docMk/>
            <pc:sldMk cId="1450446987" sldId="264"/>
            <ac:graphicFrameMk id="88" creationId="{FE38E7E2-D915-7800-FFEB-7B2E734952E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8:06.328" v="7035"/>
          <ac:graphicFrameMkLst>
            <pc:docMk/>
            <pc:sldMk cId="1450446987" sldId="264"/>
            <ac:graphicFrameMk id="101" creationId="{9A74AB13-9370-8D91-6205-8FFE6C8515B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8:13.196" v="7259"/>
          <ac:graphicFrameMkLst>
            <pc:docMk/>
            <pc:sldMk cId="1450446987" sldId="264"/>
            <ac:graphicFrameMk id="111" creationId="{349D2601-9D9E-E0A4-7430-A681F855378F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38:20.170" v="7539"/>
          <ac:graphicFrameMkLst>
            <pc:docMk/>
            <pc:sldMk cId="1450446987" sldId="264"/>
            <ac:graphicFrameMk id="114" creationId="{FEAB63EC-B126-4509-2080-BB92708FEBC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21:42:36.420" v="54283"/>
          <ac:graphicFrameMkLst>
            <pc:docMk/>
            <pc:sldMk cId="1450446987" sldId="264"/>
            <ac:graphicFrameMk id="121" creationId="{3600351A-8CEC-7223-6A21-4DC58659A93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8:21.810" v="7773"/>
          <ac:graphicFrameMkLst>
            <pc:docMk/>
            <pc:sldMk cId="1450446987" sldId="264"/>
            <ac:graphicFrameMk id="128" creationId="{05D6DC14-E213-7AFE-534D-36D472747E07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8:28.631" v="7997"/>
          <ac:graphicFrameMkLst>
            <pc:docMk/>
            <pc:sldMk cId="1450446987" sldId="264"/>
            <ac:graphicFrameMk id="129" creationId="{3A558AED-74A4-44C3-CC8B-91DAB413B5E9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8:33.186" v="8215"/>
          <ac:graphicFrameMkLst>
            <pc:docMk/>
            <pc:sldMk cId="1450446987" sldId="264"/>
            <ac:graphicFrameMk id="137" creationId="{985B122C-312E-A1C6-0BF4-6803ED1C88B5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3T21:41:58.647" v="51975"/>
          <ac:graphicFrameMkLst>
            <pc:docMk/>
            <pc:sldMk cId="1450446987" sldId="264"/>
            <ac:graphicFrameMk id="140" creationId="{0111BDA7-A013-5282-55BC-E7338FE1693F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21:42:36.389" v="54205"/>
          <ac:graphicFrameMkLst>
            <pc:docMk/>
            <pc:sldMk cId="1450446987" sldId="264"/>
            <ac:graphicFrameMk id="145" creationId="{448AE6B4-59BB-9C39-1D90-20789A56DDD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08.916" v="52237"/>
          <ac:graphicFrameMkLst>
            <pc:docMk/>
            <pc:sldMk cId="1450446987" sldId="264"/>
            <ac:graphicFrameMk id="151" creationId="{F4DD72BA-3052-B3D9-CC93-92052707786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09.722" v="52413"/>
          <ac:graphicFrameMkLst>
            <pc:docMk/>
            <pc:sldMk cId="1450446987" sldId="264"/>
            <ac:graphicFrameMk id="155" creationId="{4BE17DB3-0FD4-68A1-2215-D1870B28B5C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10.979" v="52700"/>
          <ac:graphicFrameMkLst>
            <pc:docMk/>
            <pc:sldMk cId="1450446987" sldId="264"/>
            <ac:graphicFrameMk id="156" creationId="{F3A216F0-5993-9189-C853-8BAB73C1E26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16.681" v="52882"/>
          <ac:graphicFrameMkLst>
            <pc:docMk/>
            <pc:sldMk cId="1450446987" sldId="264"/>
            <ac:graphicFrameMk id="165" creationId="{9DE39962-A4BA-AD89-F27D-A8FA25D8885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21.241" v="53138"/>
          <ac:graphicFrameMkLst>
            <pc:docMk/>
            <pc:sldMk cId="1450446987" sldId="264"/>
            <ac:graphicFrameMk id="168" creationId="{F2098B74-143F-A50B-89A0-B8E6A28D9A1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21.778" v="53336"/>
          <ac:graphicFrameMkLst>
            <pc:docMk/>
            <pc:sldMk cId="1450446987" sldId="264"/>
            <ac:graphicFrameMk id="171" creationId="{9B21209F-F9F4-B25F-F215-0080148E48D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29.062" v="53537"/>
          <ac:graphicFrameMkLst>
            <pc:docMk/>
            <pc:sldMk cId="1450446987" sldId="264"/>
            <ac:graphicFrameMk id="173" creationId="{C296F749-C717-2D9B-6C6F-EA00A6E541C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30.694" v="53789"/>
          <ac:graphicFrameMkLst>
            <pc:docMk/>
            <pc:sldMk cId="1450446987" sldId="264"/>
            <ac:graphicFrameMk id="175" creationId="{58459FAB-D97D-B427-CFE0-80C30CFC34DE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31.507" v="53991"/>
          <ac:graphicFrameMkLst>
            <pc:docMk/>
            <pc:sldMk cId="1450446987" sldId="264"/>
            <ac:graphicFrameMk id="178" creationId="{7C564531-0BC9-E5E4-E6EC-27DD9D92950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21:42:36.347" v="54163"/>
          <ac:graphicFrameMkLst>
            <pc:docMk/>
            <pc:sldMk cId="1450446987" sldId="264"/>
            <ac:graphicFrameMk id="180" creationId="{70366617-F8F8-E125-3B42-891CDF7FF42B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21:42:36.413" v="54267"/>
          <ac:graphicFrameMkLst>
            <pc:docMk/>
            <pc:sldMk cId="1450446987" sldId="264"/>
            <ac:graphicFrameMk id="181" creationId="{1AC05109-3A22-17C3-5DA0-8579959CCFCA}"/>
          </ac:graphicFrameMkLst>
        </pc:graphicFrameChg>
        <pc:picChg chg="mod ord">
          <ac:chgData name="Joelle Brehm" userId="a518f54c-6985-42c0-8041-2bb16a414839" providerId="ADAL" clId="{12516E80-A0D9-4B76-86FD-A48ADB9E65BE}" dt="2024-01-03T21:42:36.377" v="54177"/>
          <ac:picMkLst>
            <pc:docMk/>
            <pc:sldMk cId="1450446987" sldId="264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12516E80-A0D9-4B76-86FD-A48ADB9E65BE}" dt="2024-01-01T19:38:53.410" v="8529" actId="478"/>
          <ac:picMkLst>
            <pc:docMk/>
            <pc:sldMk cId="1450446987" sldId="264"/>
            <ac:picMk id="117" creationId="{85D5A758-2A79-B137-9AFE-B52FFE445088}"/>
          </ac:picMkLst>
        </pc:picChg>
        <pc:picChg chg="add mod ord">
          <ac:chgData name="Joelle Brehm" userId="a518f54c-6985-42c0-8041-2bb16a414839" providerId="ADAL" clId="{12516E80-A0D9-4B76-86FD-A48ADB9E65BE}" dt="2024-01-03T21:42:36.375" v="54171"/>
          <ac:picMkLst>
            <pc:docMk/>
            <pc:sldMk cId="1450446987" sldId="264"/>
            <ac:picMk id="147" creationId="{2CF83CC8-961B-1D20-60BC-7579ABEDD577}"/>
          </ac:picMkLst>
        </pc:picChg>
      </pc:sldChg>
      <pc:sldChg chg="addSp delSp modSp mod">
        <pc:chgData name="Joelle Brehm" userId="a518f54c-6985-42c0-8041-2bb16a414839" providerId="ADAL" clId="{12516E80-A0D9-4B76-86FD-A48ADB9E65BE}" dt="2024-01-01T19:45:06.634" v="13936"/>
        <pc:sldMkLst>
          <pc:docMk/>
          <pc:sldMk cId="3436037945" sldId="265"/>
        </pc:sldMkLst>
        <pc:spChg chg="mod ord">
          <ac:chgData name="Joelle Brehm" userId="a518f54c-6985-42c0-8041-2bb16a414839" providerId="ADAL" clId="{12516E80-A0D9-4B76-86FD-A48ADB9E65BE}" dt="2024-01-01T19:45:06.618" v="13930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12516E80-A0D9-4B76-86FD-A48ADB9E65BE}" dt="2024-01-01T19:44:21.963" v="12521" actId="478"/>
          <ac:spMkLst>
            <pc:docMk/>
            <pc:sldMk cId="3436037945" sldId="265"/>
            <ac:spMk id="3" creationId="{C73F191D-05B8-117A-E202-4AE013EF95AF}"/>
          </ac:spMkLst>
        </pc:spChg>
        <pc:spChg chg="add del mod modVis">
          <ac:chgData name="Joelle Brehm" userId="a518f54c-6985-42c0-8041-2bb16a414839" providerId="ADAL" clId="{12516E80-A0D9-4B76-86FD-A48ADB9E65BE}" dt="2024-01-01T19:44:25.496" v="12734"/>
          <ac:spMkLst>
            <pc:docMk/>
            <pc:sldMk cId="3436037945" sldId="265"/>
            <ac:spMk id="5" creationId="{F5ED7548-997A-3044-95D9-0ECE09672884}"/>
          </ac:spMkLst>
        </pc:spChg>
        <pc:spChg chg="mod ord">
          <ac:chgData name="Joelle Brehm" userId="a518f54c-6985-42c0-8041-2bb16a414839" providerId="ADAL" clId="{12516E80-A0D9-4B76-86FD-A48ADB9E65BE}" dt="2024-01-01T19:45:06.603" v="13865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45:06.603" v="13894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12516E80-A0D9-4B76-86FD-A48ADB9E65BE}" dt="2024-01-01T19:45:06.603" v="13876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45:06.603" v="13872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45:06.603" v="13873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45:06.603" v="13870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45:06.603" v="13871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45:06.603" v="13874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45:06.603" v="13875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45:06.603" v="13877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45:06.603" v="13878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45:06.603" v="13879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45:06.603" v="13880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45:06.603" v="13881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45:06.603" v="13883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45:06.603" v="13884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45:06.603" v="13886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45:06.603" v="13885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45:06.603" v="13888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45:06.603" v="13889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45:06.603" v="13887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45:06.603" v="13891"/>
          <ac:spMkLst>
            <pc:docMk/>
            <pc:sldMk cId="3436037945" sldId="265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45:06.618" v="13903"/>
          <ac:spMkLst>
            <pc:docMk/>
            <pc:sldMk cId="3436037945" sldId="265"/>
            <ac:spMk id="33" creationId="{88A51C86-CC1A-E0E0-4190-57AF874D78E8}"/>
          </ac:spMkLst>
        </pc:spChg>
        <pc:spChg chg="mod">
          <ac:chgData name="Joelle Brehm" userId="a518f54c-6985-42c0-8041-2bb16a414839" providerId="ADAL" clId="{12516E80-A0D9-4B76-86FD-A48ADB9E65BE}" dt="2024-01-01T19:45:06.618" v="13904"/>
          <ac:spMkLst>
            <pc:docMk/>
            <pc:sldMk cId="3436037945" sldId="265"/>
            <ac:spMk id="34" creationId="{553B3276-AAC9-7700-1361-C4731F1BB052}"/>
          </ac:spMkLst>
        </pc:spChg>
        <pc:spChg chg="add del mod modVis">
          <ac:chgData name="Joelle Brehm" userId="a518f54c-6985-42c0-8041-2bb16a414839" providerId="ADAL" clId="{12516E80-A0D9-4B76-86FD-A48ADB9E65BE}" dt="2024-01-01T19:44:50.529" v="13018"/>
          <ac:spMkLst>
            <pc:docMk/>
            <pc:sldMk cId="3436037945" sldId="265"/>
            <ac:spMk id="35" creationId="{1B08000C-CDCF-F69A-D803-92C4ED7A693E}"/>
          </ac:spMkLst>
        </pc:spChg>
        <pc:spChg chg="del mod">
          <ac:chgData name="Joelle Brehm" userId="a518f54c-6985-42c0-8041-2bb16a414839" providerId="ADAL" clId="{12516E80-A0D9-4B76-86FD-A48ADB9E65BE}" dt="2024-01-01T19:45:01.202" v="13537"/>
          <ac:spMkLst>
            <pc:docMk/>
            <pc:sldMk cId="3436037945" sldId="265"/>
            <ac:spMk id="36" creationId="{0BBAC582-1932-357A-D778-84237C43CF05}"/>
          </ac:spMkLst>
        </pc:spChg>
        <pc:spChg chg="mod">
          <ac:chgData name="Joelle Brehm" userId="a518f54c-6985-42c0-8041-2bb16a414839" providerId="ADAL" clId="{12516E80-A0D9-4B76-86FD-A48ADB9E65BE}" dt="2024-01-01T19:45:06.603" v="13895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12516E80-A0D9-4B76-86FD-A48ADB9E65BE}" dt="2024-01-01T19:45:06.603" v="13896"/>
          <ac:spMkLst>
            <pc:docMk/>
            <pc:sldMk cId="3436037945" sldId="265"/>
            <ac:spMk id="39" creationId="{D3B6923F-EF2F-5CB1-1EC9-23DAFECD1AD3}"/>
          </ac:spMkLst>
        </pc:spChg>
        <pc:spChg chg="add mod replST">
          <ac:chgData name="Joelle Brehm" userId="a518f54c-6985-42c0-8041-2bb16a414839" providerId="ADAL" clId="{12516E80-A0D9-4B76-86FD-A48ADB9E65BE}" dt="2024-01-01T19:45:06.618" v="13905"/>
          <ac:spMkLst>
            <pc:docMk/>
            <pc:sldMk cId="3436037945" sldId="265"/>
            <ac:spMk id="40" creationId="{2A43095D-ADFF-616D-2F9C-314A2CAEAAAB}"/>
          </ac:spMkLst>
        </pc:spChg>
        <pc:spChg chg="mod">
          <ac:chgData name="Joelle Brehm" userId="a518f54c-6985-42c0-8041-2bb16a414839" providerId="ADAL" clId="{12516E80-A0D9-4B76-86FD-A48ADB9E65BE}" dt="2024-01-01T19:45:06.618" v="13900"/>
          <ac:spMkLst>
            <pc:docMk/>
            <pc:sldMk cId="3436037945" sldId="265"/>
            <ac:spMk id="41" creationId="{16B778E2-8712-DA55-C5AD-4A641096111C}"/>
          </ac:spMkLst>
        </pc:spChg>
        <pc:spChg chg="mod">
          <ac:chgData name="Joelle Brehm" userId="a518f54c-6985-42c0-8041-2bb16a414839" providerId="ADAL" clId="{12516E80-A0D9-4B76-86FD-A48ADB9E65BE}" dt="2024-01-01T19:45:06.603" v="13897"/>
          <ac:spMkLst>
            <pc:docMk/>
            <pc:sldMk cId="3436037945" sldId="265"/>
            <ac:spMk id="42" creationId="{C3432236-FD50-8E13-A648-6A2FCA3BBBAE}"/>
          </ac:spMkLst>
        </pc:spChg>
        <pc:spChg chg="mod">
          <ac:chgData name="Joelle Brehm" userId="a518f54c-6985-42c0-8041-2bb16a414839" providerId="ADAL" clId="{12516E80-A0D9-4B76-86FD-A48ADB9E65BE}" dt="2024-01-01T19:45:06.618" v="13901"/>
          <ac:spMkLst>
            <pc:docMk/>
            <pc:sldMk cId="3436037945" sldId="265"/>
            <ac:spMk id="43" creationId="{75C463B6-6FC6-0A00-1C57-A6F7C4BD145A}"/>
          </ac:spMkLst>
        </pc:spChg>
        <pc:spChg chg="mod">
          <ac:chgData name="Joelle Brehm" userId="a518f54c-6985-42c0-8041-2bb16a414839" providerId="ADAL" clId="{12516E80-A0D9-4B76-86FD-A48ADB9E65BE}" dt="2024-01-01T19:45:06.618" v="13898"/>
          <ac:spMkLst>
            <pc:docMk/>
            <pc:sldMk cId="3436037945" sldId="265"/>
            <ac:spMk id="44" creationId="{16F84182-CECA-3CD8-7D89-52B39ECEBFE4}"/>
          </ac:spMkLst>
        </pc:spChg>
        <pc:spChg chg="mod">
          <ac:chgData name="Joelle Brehm" userId="a518f54c-6985-42c0-8041-2bb16a414839" providerId="ADAL" clId="{12516E80-A0D9-4B76-86FD-A48ADB9E65BE}" dt="2024-01-01T19:45:06.618" v="13902"/>
          <ac:spMkLst>
            <pc:docMk/>
            <pc:sldMk cId="3436037945" sldId="265"/>
            <ac:spMk id="45" creationId="{790AE0EA-D2B0-6BC1-21FA-449B7C18A555}"/>
          </ac:spMkLst>
        </pc:spChg>
        <pc:spChg chg="add del mod modVis">
          <ac:chgData name="Joelle Brehm" userId="a518f54c-6985-42c0-8041-2bb16a414839" providerId="ADAL" clId="{12516E80-A0D9-4B76-86FD-A48ADB9E65BE}" dt="2024-01-01T19:44:57.234" v="13396"/>
          <ac:spMkLst>
            <pc:docMk/>
            <pc:sldMk cId="3436037945" sldId="265"/>
            <ac:spMk id="46" creationId="{273B0850-A79F-DC52-79E9-DE9B776B5345}"/>
          </ac:spMkLst>
        </pc:spChg>
        <pc:spChg chg="mod">
          <ac:chgData name="Joelle Brehm" userId="a518f54c-6985-42c0-8041-2bb16a414839" providerId="ADAL" clId="{12516E80-A0D9-4B76-86FD-A48ADB9E65BE}" dt="2024-01-01T19:45:06.618" v="13899"/>
          <ac:spMkLst>
            <pc:docMk/>
            <pc:sldMk cId="3436037945" sldId="265"/>
            <ac:spMk id="47" creationId="{DA382430-2E3A-48A8-BD50-8227787BBF7B}"/>
          </ac:spMkLst>
        </pc:spChg>
        <pc:spChg chg="add del mod modVis">
          <ac:chgData name="Joelle Brehm" userId="a518f54c-6985-42c0-8041-2bb16a414839" providerId="ADAL" clId="{12516E80-A0D9-4B76-86FD-A48ADB9E65BE}" dt="2024-01-01T19:44:59.121" v="13534"/>
          <ac:spMkLst>
            <pc:docMk/>
            <pc:sldMk cId="3436037945" sldId="265"/>
            <ac:spMk id="49" creationId="{E5E86F32-0B27-0A7B-CA9C-79739B02159F}"/>
          </ac:spMkLst>
        </pc:spChg>
        <pc:spChg chg="add del mod modVis">
          <ac:chgData name="Joelle Brehm" userId="a518f54c-6985-42c0-8041-2bb16a414839" providerId="ADAL" clId="{12516E80-A0D9-4B76-86FD-A48ADB9E65BE}" dt="2024-01-01T19:45:01.897" v="13797"/>
          <ac:spMkLst>
            <pc:docMk/>
            <pc:sldMk cId="3436037945" sldId="265"/>
            <ac:spMk id="52" creationId="{408A35CC-9321-87AD-81B3-017C0E428CA3}"/>
          </ac:spMkLst>
        </pc:spChg>
        <pc:spChg chg="add del mod ord replST">
          <ac:chgData name="Joelle Brehm" userId="a518f54c-6985-42c0-8041-2bb16a414839" providerId="ADAL" clId="{12516E80-A0D9-4B76-86FD-A48ADB9E65BE}" dt="2024-01-01T19:45:06.571" v="13853"/>
          <ac:spMkLst>
            <pc:docMk/>
            <pc:sldMk cId="3436037945" sldId="265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45:06.618" v="13934"/>
          <ac:spMkLst>
            <pc:docMk/>
            <pc:sldMk cId="3436037945" sldId="265"/>
            <ac:spMk id="56" creationId="{20B55C67-C6DD-F11B-53E7-A9860ACC9BCF}"/>
          </ac:spMkLst>
        </pc:spChg>
        <pc:spChg chg="mod ord">
          <ac:chgData name="Joelle Brehm" userId="a518f54c-6985-42c0-8041-2bb16a414839" providerId="ADAL" clId="{12516E80-A0D9-4B76-86FD-A48ADB9E65BE}" dt="2024-01-01T19:45:06.618" v="13907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45:06.618" v="13909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19:45:06.618" v="13911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45:06.618" v="13913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45:06.618" v="13915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45:06.618" v="13917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12516E80-A0D9-4B76-86FD-A48ADB9E65BE}" dt="2024-01-01T19:45:06.618" v="13928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12516E80-A0D9-4B76-86FD-A48ADB9E65BE}" dt="2024-01-01T19:45:06.618" v="13920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5:06.618" v="13921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5:06.618" v="13922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5:06.618" v="13923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45:06.618" v="13924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45:06.634" v="13936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44:25.412" v="12651"/>
          <ac:graphicFrameMkLst>
            <pc:docMk/>
            <pc:sldMk cId="3436037945" sldId="265"/>
            <ac:graphicFrameMk id="8" creationId="{ACE94562-818F-4958-23A9-932AB581B77D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5:06.603" v="13869"/>
          <ac:graphicFrameMkLst>
            <pc:docMk/>
            <pc:sldMk cId="3436037945" sldId="265"/>
            <ac:graphicFrameMk id="31" creationId="{3053AB32-049A-47C8-4AE7-92208BED6F4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5:06.618" v="13919"/>
          <ac:graphicFrameMkLst>
            <pc:docMk/>
            <pc:sldMk cId="3436037945" sldId="265"/>
            <ac:graphicFrameMk id="37" creationId="{64366138-6F49-7000-3A13-9D158AA1CF51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4:59.057" v="13454"/>
          <ac:graphicFrameMkLst>
            <pc:docMk/>
            <pc:sldMk cId="3436037945" sldId="265"/>
            <ac:graphicFrameMk id="48" creationId="{61753437-6701-68E9-48F9-4F3C8C1C5F28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4:57.171" v="13303"/>
          <ac:graphicFrameMkLst>
            <pc:docMk/>
            <pc:sldMk cId="3436037945" sldId="265"/>
            <ac:graphicFrameMk id="50" creationId="{C2F7D2E6-EA0A-422F-743A-C08052F89BB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5:01.726" v="13703"/>
          <ac:graphicFrameMkLst>
            <pc:docMk/>
            <pc:sldMk cId="3436037945" sldId="265"/>
            <ac:graphicFrameMk id="51" creationId="{FB18CD77-A21A-5D07-7491-040B0F24A92C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4:50.472" v="12939"/>
          <ac:graphicFrameMkLst>
            <pc:docMk/>
            <pc:sldMk cId="3436037945" sldId="265"/>
            <ac:graphicFrameMk id="53" creationId="{D245D564-2144-6D26-22C5-FD5E79914F8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5:06.571" v="13855"/>
          <ac:graphicFrameMkLst>
            <pc:docMk/>
            <pc:sldMk cId="3436037945" sldId="265"/>
            <ac:graphicFrameMk id="55" creationId="{C3723B6B-F889-D274-2969-AAECCB3D3F74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5:06.603" v="13893"/>
          <ac:graphicFrameMkLst>
            <pc:docMk/>
            <pc:sldMk cId="3436037945" sldId="265"/>
            <ac:graphicFrameMk id="57" creationId="{10C00D3E-5ACD-1934-09EC-0672F6BF4932}"/>
          </ac:graphicFrameMkLst>
        </pc:graphicFrameChg>
        <pc:picChg chg="del mod ord">
          <ac:chgData name="Joelle Brehm" userId="a518f54c-6985-42c0-8041-2bb16a414839" providerId="ADAL" clId="{12516E80-A0D9-4B76-86FD-A48ADB9E65BE}" dt="2024-01-01T19:44:43.164" v="12822" actId="478"/>
          <ac:picMkLst>
            <pc:docMk/>
            <pc:sldMk cId="3436037945" sldId="265"/>
            <ac:picMk id="10" creationId="{022F0A71-BBEC-127F-524E-793DDC1DD66A}"/>
          </ac:picMkLst>
        </pc:picChg>
        <pc:picChg chg="add mod ord">
          <ac:chgData name="Joelle Brehm" userId="a518f54c-6985-42c0-8041-2bb16a414839" providerId="ADAL" clId="{12516E80-A0D9-4B76-86FD-A48ADB9E65BE}" dt="2024-01-01T19:45:06.603" v="13863"/>
          <ac:picMkLst>
            <pc:docMk/>
            <pc:sldMk cId="3436037945" sldId="265"/>
            <ac:picMk id="32" creationId="{C593BB82-F982-FEA1-7C22-6BAC472A72E7}"/>
          </ac:picMkLst>
        </pc:picChg>
        <pc:picChg chg="mod ord">
          <ac:chgData name="Joelle Brehm" userId="a518f54c-6985-42c0-8041-2bb16a414839" providerId="ADAL" clId="{12516E80-A0D9-4B76-86FD-A48ADB9E65BE}" dt="2024-01-01T19:45:06.618" v="13926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45:06.603" v="13867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44:06.102" v="12520"/>
        <pc:sldMkLst>
          <pc:docMk/>
          <pc:sldMk cId="2057745716" sldId="266"/>
        </pc:sldMkLst>
        <pc:spChg chg="mod ord">
          <ac:chgData name="Joelle Brehm" userId="a518f54c-6985-42c0-8041-2bb16a414839" providerId="ADAL" clId="{12516E80-A0D9-4B76-86FD-A48ADB9E65BE}" dt="2024-01-01T19:44:06.071" v="12514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12516E80-A0D9-4B76-86FD-A48ADB9E65BE}" dt="2024-01-01T19:43:17.345" v="10818" actId="478"/>
          <ac:spMkLst>
            <pc:docMk/>
            <pc:sldMk cId="2057745716" sldId="266"/>
            <ac:spMk id="3" creationId="{107F9936-6DB5-1669-30B1-852E77ED5523}"/>
          </ac:spMkLst>
        </pc:spChg>
        <pc:spChg chg="add del mod modVis">
          <ac:chgData name="Joelle Brehm" userId="a518f54c-6985-42c0-8041-2bb16a414839" providerId="ADAL" clId="{12516E80-A0D9-4B76-86FD-A48ADB9E65BE}" dt="2024-01-01T19:43:21.337" v="11049"/>
          <ac:spMkLst>
            <pc:docMk/>
            <pc:sldMk cId="2057745716" sldId="266"/>
            <ac:spMk id="5" creationId="{EAABC421-EB46-8171-6823-CB53C2BE2544}"/>
          </ac:spMkLst>
        </pc:spChg>
        <pc:spChg chg="mod ord">
          <ac:chgData name="Joelle Brehm" userId="a518f54c-6985-42c0-8041-2bb16a414839" providerId="ADAL" clId="{12516E80-A0D9-4B76-86FD-A48ADB9E65BE}" dt="2024-01-01T19:44:06.030" v="12432"/>
          <ac:spMkLst>
            <pc:docMk/>
            <pc:sldMk cId="2057745716" sldId="266"/>
            <ac:spMk id="6" creationId="{B47CE71D-7819-4857-B121-737A3BD39B4D}"/>
          </ac:spMkLst>
        </pc:spChg>
        <pc:spChg chg="del mod">
          <ac:chgData name="Joelle Brehm" userId="a518f54c-6985-42c0-8041-2bb16a414839" providerId="ADAL" clId="{12516E80-A0D9-4B76-86FD-A48ADB9E65BE}" dt="2024-01-01T19:43:52.097" v="11721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12516E80-A0D9-4B76-86FD-A48ADB9E65BE}" dt="2024-01-01T19:44:06.034" v="12443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44:06.033" v="12439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44:06.033" v="12440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44:06.032" v="12437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44:06.032" v="12438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44:06.034" v="12441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44:06.034" v="12442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44:06.035" v="12444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44:06.036" v="12445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44:06.036" v="12446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44:06.036" v="12447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44:06.036" v="12448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44:06.036" v="12450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44:06.036" v="12451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44:06.039" v="12453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44:06.036" v="12452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44:06.040" v="12455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44:06.041" v="12456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44:06.040" v="12454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44:06.041" v="12458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44:06.046" v="12473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12516E80-A0D9-4B76-86FD-A48ADB9E65BE}" dt="2024-01-01T19:44:06.054" v="12485"/>
          <ac:spMkLst>
            <pc:docMk/>
            <pc:sldMk cId="2057745716" sldId="266"/>
            <ac:spMk id="33" creationId="{4776A783-F061-E03D-5F78-B2DE3144370E}"/>
          </ac:spMkLst>
        </pc:spChg>
        <pc:spChg chg="mod">
          <ac:chgData name="Joelle Brehm" userId="a518f54c-6985-42c0-8041-2bb16a414839" providerId="ADAL" clId="{12516E80-A0D9-4B76-86FD-A48ADB9E65BE}" dt="2024-01-01T19:44:06.054" v="12487"/>
          <ac:spMkLst>
            <pc:docMk/>
            <pc:sldMk cId="2057745716" sldId="266"/>
            <ac:spMk id="35" creationId="{07FC4FF1-C9FC-C6C2-5A5D-6EECA837BD15}"/>
          </ac:spMkLst>
        </pc:spChg>
        <pc:spChg chg="add mod replST">
          <ac:chgData name="Joelle Brehm" userId="a518f54c-6985-42c0-8041-2bb16a414839" providerId="ADAL" clId="{12516E80-A0D9-4B76-86FD-A48ADB9E65BE}" dt="2024-01-01T19:44:06.054" v="12488"/>
          <ac:spMkLst>
            <pc:docMk/>
            <pc:sldMk cId="2057745716" sldId="266"/>
            <ac:spMk id="36" creationId="{3764C828-0438-D875-2C45-33FA7010F8CA}"/>
          </ac:spMkLst>
        </pc:spChg>
        <pc:spChg chg="add mod ord replST">
          <ac:chgData name="Joelle Brehm" userId="a518f54c-6985-42c0-8041-2bb16a414839" providerId="ADAL" clId="{12516E80-A0D9-4B76-86FD-A48ADB9E65BE}" dt="2024-01-01T19:44:06.057" v="12489"/>
          <ac:spMkLst>
            <pc:docMk/>
            <pc:sldMk cId="2057745716" sldId="266"/>
            <ac:spMk id="37" creationId="{33181A84-3557-D464-C31E-C60C3CBB82A3}"/>
          </ac:spMkLst>
        </pc:spChg>
        <pc:spChg chg="add del mod modVis">
          <ac:chgData name="Joelle Brehm" userId="a518f54c-6985-42c0-8041-2bb16a414839" providerId="ADAL" clId="{12516E80-A0D9-4B76-86FD-A48ADB9E65BE}" dt="2024-01-01T19:43:48.880" v="11523"/>
          <ac:spMkLst>
            <pc:docMk/>
            <pc:sldMk cId="2057745716" sldId="266"/>
            <ac:spMk id="38" creationId="{C40F146C-FB41-E29D-8F20-8C404EF0CBCC}"/>
          </ac:spMkLst>
        </pc:spChg>
        <pc:spChg chg="del mod">
          <ac:chgData name="Joelle Brehm" userId="a518f54c-6985-42c0-8041-2bb16a414839" providerId="ADAL" clId="{12516E80-A0D9-4B76-86FD-A48ADB9E65BE}" dt="2024-01-01T19:43:52.096" v="11720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12516E80-A0D9-4B76-86FD-A48ADB9E65BE}" dt="2024-01-01T19:44:06.046" v="12471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12516E80-A0D9-4B76-86FD-A48ADB9E65BE}" dt="2024-01-01T19:44:06.046" v="12467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12516E80-A0D9-4B76-86FD-A48ADB9E65BE}" dt="2024-01-01T19:44:06.046" v="12469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12516E80-A0D9-4B76-86FD-A48ADB9E65BE}" dt="2024-01-01T19:44:06.046" v="12470"/>
          <ac:spMkLst>
            <pc:docMk/>
            <pc:sldMk cId="2057745716" sldId="266"/>
            <ac:spMk id="44" creationId="{3B42FA95-5355-D814-0F19-1287A982B05E}"/>
          </ac:spMkLst>
        </pc:spChg>
        <pc:spChg chg="mod ord">
          <ac:chgData name="Joelle Brehm" userId="a518f54c-6985-42c0-8041-2bb16a414839" providerId="ADAL" clId="{12516E80-A0D9-4B76-86FD-A48ADB9E65BE}" dt="2024-01-01T19:44:06.046" v="12466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12516E80-A0D9-4B76-86FD-A48ADB9E65BE}" dt="2024-01-01T19:44:06.054" v="12486"/>
          <ac:spMkLst>
            <pc:docMk/>
            <pc:sldMk cId="2057745716" sldId="266"/>
            <ac:spMk id="46" creationId="{F71F0A63-DF39-49D4-2B0A-063A8976E855}"/>
          </ac:spMkLst>
        </pc:spChg>
        <pc:spChg chg="mod">
          <ac:chgData name="Joelle Brehm" userId="a518f54c-6985-42c0-8041-2bb16a414839" providerId="ADAL" clId="{12516E80-A0D9-4B76-86FD-A48ADB9E65BE}" dt="2024-01-01T19:44:06.046" v="12468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12516E80-A0D9-4B76-86FD-A48ADB9E65BE}" dt="2024-01-01T19:44:06.054" v="12484"/>
          <ac:spMkLst>
            <pc:docMk/>
            <pc:sldMk cId="2057745716" sldId="266"/>
            <ac:spMk id="48" creationId="{83D70FB8-70C1-9516-ECF9-CBF5EA76AE37}"/>
          </ac:spMkLst>
        </pc:spChg>
        <pc:spChg chg="mod">
          <ac:chgData name="Joelle Brehm" userId="a518f54c-6985-42c0-8041-2bb16a414839" providerId="ADAL" clId="{12516E80-A0D9-4B76-86FD-A48ADB9E65BE}" dt="2024-01-01T19:44:06.046" v="12472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12516E80-A0D9-4B76-86FD-A48ADB9E65BE}" dt="2024-01-01T19:44:06.050" v="12475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12516E80-A0D9-4B76-86FD-A48ADB9E65BE}" dt="2024-01-01T19:44:06.050" v="12474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12516E80-A0D9-4B76-86FD-A48ADB9E65BE}" dt="2024-01-01T19:44:06.053" v="12481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12516E80-A0D9-4B76-86FD-A48ADB9E65BE}" dt="2024-01-01T19:44:06.052" v="12480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12516E80-A0D9-4B76-86FD-A48ADB9E65BE}" dt="2024-01-01T19:44:06.050" v="12477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12516E80-A0D9-4B76-86FD-A48ADB9E65BE}" dt="2024-01-01T19:44:06.050" v="12476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12516E80-A0D9-4B76-86FD-A48ADB9E65BE}" dt="2024-01-01T19:44:06.052" v="12479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12516E80-A0D9-4B76-86FD-A48ADB9E65BE}" dt="2024-01-01T19:44:06.052" v="12478"/>
          <ac:spMkLst>
            <pc:docMk/>
            <pc:sldMk cId="2057745716" sldId="266"/>
            <ac:spMk id="57" creationId="{5B53372F-C271-7F94-7100-D104F06C3037}"/>
          </ac:spMkLst>
        </pc:spChg>
        <pc:spChg chg="mod">
          <ac:chgData name="Joelle Brehm" userId="a518f54c-6985-42c0-8041-2bb16a414839" providerId="ADAL" clId="{12516E80-A0D9-4B76-86FD-A48ADB9E65BE}" dt="2024-01-01T19:44:06.054" v="12483"/>
          <ac:spMkLst>
            <pc:docMk/>
            <pc:sldMk cId="2057745716" sldId="266"/>
            <ac:spMk id="58" creationId="{DAA22F52-9C0E-72DF-927C-E34B49E164A2}"/>
          </ac:spMkLst>
        </pc:spChg>
        <pc:spChg chg="add del mod modVis">
          <ac:chgData name="Joelle Brehm" userId="a518f54c-6985-42c0-8041-2bb16a414839" providerId="ADAL" clId="{12516E80-A0D9-4B76-86FD-A48ADB9E65BE}" dt="2024-01-01T19:43:50.446" v="11717"/>
          <ac:spMkLst>
            <pc:docMk/>
            <pc:sldMk cId="2057745716" sldId="266"/>
            <ac:spMk id="59" creationId="{A8CD0A52-0AA8-AEEC-5303-51EA3991CF12}"/>
          </ac:spMkLst>
        </pc:spChg>
        <pc:spChg chg="mod">
          <ac:chgData name="Joelle Brehm" userId="a518f54c-6985-42c0-8041-2bb16a414839" providerId="ADAL" clId="{12516E80-A0D9-4B76-86FD-A48ADB9E65BE}" dt="2024-01-01T19:44:06.054" v="12482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12516E80-A0D9-4B76-86FD-A48ADB9E65BE}" dt="2024-01-01T19:43:52.447" v="11954"/>
          <ac:spMkLst>
            <pc:docMk/>
            <pc:sldMk cId="2057745716" sldId="266"/>
            <ac:spMk id="62" creationId="{95966BC1-56B3-FC48-5D43-B250BFD3D585}"/>
          </ac:spMkLst>
        </pc:spChg>
        <pc:spChg chg="add del mod modVis">
          <ac:chgData name="Joelle Brehm" userId="a518f54c-6985-42c0-8041-2bb16a414839" providerId="ADAL" clId="{12516E80-A0D9-4B76-86FD-A48ADB9E65BE}" dt="2024-01-01T19:43:55.832" v="12131"/>
          <ac:spMkLst>
            <pc:docMk/>
            <pc:sldMk cId="2057745716" sldId="266"/>
            <ac:spMk id="64" creationId="{0E356C3F-E166-1B25-606A-F3C4C6B1722C}"/>
          </ac:spMkLst>
        </pc:spChg>
        <pc:spChg chg="add del mod modVis">
          <ac:chgData name="Joelle Brehm" userId="a518f54c-6985-42c0-8041-2bb16a414839" providerId="ADAL" clId="{12516E80-A0D9-4B76-86FD-A48ADB9E65BE}" dt="2024-01-01T19:43:58.324" v="12303"/>
          <ac:spMkLst>
            <pc:docMk/>
            <pc:sldMk cId="2057745716" sldId="266"/>
            <ac:spMk id="67" creationId="{A6AF501F-7527-54D9-979A-0EB487F2ED61}"/>
          </ac:spMkLst>
        </pc:spChg>
        <pc:spChg chg="add del mod modVis">
          <ac:chgData name="Joelle Brehm" userId="a518f54c-6985-42c0-8041-2bb16a414839" providerId="ADAL" clId="{12516E80-A0D9-4B76-86FD-A48ADB9E65BE}" dt="2024-01-01T19:44:06.075" v="12518"/>
          <ac:spMkLst>
            <pc:docMk/>
            <pc:sldMk cId="2057745716" sldId="266"/>
            <ac:spMk id="70" creationId="{2CA6AA8E-2468-7E67-BDC6-4A8B1FEB3311}"/>
          </ac:spMkLst>
        </pc:spChg>
        <pc:spChg chg="mod ord">
          <ac:chgData name="Joelle Brehm" userId="a518f54c-6985-42c0-8041-2bb16a414839" providerId="ADAL" clId="{12516E80-A0D9-4B76-86FD-A48ADB9E65BE}" dt="2024-01-01T19:44:06.059" v="12491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44:06.060" v="12493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12516E80-A0D9-4B76-86FD-A48ADB9E65BE}" dt="2024-01-01T19:44:06.046" v="12465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44:06.060" v="12495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44:06.063" v="12497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44:06.063" v="12499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44:06.065" v="12501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44:06.043" v="12462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4:06.043" v="12463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4:06.043" v="12464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4:06.043" v="12461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4:06.067" v="12504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4:06.067" v="12505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4:06.067" v="12506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4:06.068" v="12507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44:06.068" v="12508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44:06.102" v="12520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4:06.030" v="12436"/>
          <ac:graphicFrameMkLst>
            <pc:docMk/>
            <pc:sldMk cId="2057745716" sldId="266"/>
            <ac:graphicFrameMk id="8" creationId="{D0E670CC-828F-ED50-C4B5-7DD2235AD2F3}"/>
          </ac:graphicFrameMkLst>
        </pc:graphicFrameChg>
        <pc:graphicFrameChg chg="del">
          <ac:chgData name="Joelle Brehm" userId="a518f54c-6985-42c0-8041-2bb16a414839" providerId="ADAL" clId="{12516E80-A0D9-4B76-86FD-A48ADB9E65BE}" dt="2024-01-01T19:43:21.274" v="10949"/>
          <ac:graphicFrameMkLst>
            <pc:docMk/>
            <pc:sldMk cId="2057745716" sldId="266"/>
            <ac:graphicFrameMk id="31" creationId="{6831011B-6F69-13BE-F365-8A4CBFA4F89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3:50.400" v="11618"/>
          <ac:graphicFrameMkLst>
            <pc:docMk/>
            <pc:sldMk cId="2057745716" sldId="266"/>
            <ac:graphicFrameMk id="41" creationId="{C4A8A816-7751-EE09-95AB-0C1F66182B0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3:52.305" v="11856"/>
          <ac:graphicFrameMkLst>
            <pc:docMk/>
            <pc:sldMk cId="2057745716" sldId="266"/>
            <ac:graphicFrameMk id="60" creationId="{399340A3-C423-8C70-2D27-274A6AAC76A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3:55.784" v="12034"/>
          <ac:graphicFrameMkLst>
            <pc:docMk/>
            <pc:sldMk cId="2057745716" sldId="266"/>
            <ac:graphicFrameMk id="63" creationId="{51884FEF-C51D-4FDD-A688-8699E2E8EB2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3:58.277" v="12207"/>
          <ac:graphicFrameMkLst>
            <pc:docMk/>
            <pc:sldMk cId="2057745716" sldId="266"/>
            <ac:graphicFrameMk id="65" creationId="{71D98E7C-5C70-EA33-0A84-E593AA337D46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3:48.833" v="11424"/>
          <ac:graphicFrameMkLst>
            <pc:docMk/>
            <pc:sldMk cId="2057745716" sldId="266"/>
            <ac:graphicFrameMk id="66" creationId="{0D25B0AC-C326-4C05-E2F4-A12FF522165A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4:06.043" v="12460"/>
          <ac:graphicFrameMkLst>
            <pc:docMk/>
            <pc:sldMk cId="2057745716" sldId="266"/>
            <ac:graphicFrameMk id="68" creationId="{51BBB343-4AAD-5953-31E4-B529618F50CB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4:05.994" v="12422"/>
          <ac:graphicFrameMkLst>
            <pc:docMk/>
            <pc:sldMk cId="2057745716" sldId="266"/>
            <ac:graphicFrameMk id="69" creationId="{A41F58E6-CB5D-B93E-533C-94DC5ADE171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4:06.066" v="12503"/>
          <ac:graphicFrameMkLst>
            <pc:docMk/>
            <pc:sldMk cId="2057745716" sldId="266"/>
            <ac:graphicFrameMk id="71" creationId="{A83487CA-0A28-9A39-4AE6-B54CF08779CC}"/>
          </ac:graphicFrameMkLst>
        </pc:graphicFrameChg>
        <pc:picChg chg="add mod ord">
          <ac:chgData name="Joelle Brehm" userId="a518f54c-6985-42c0-8041-2bb16a414839" providerId="ADAL" clId="{12516E80-A0D9-4B76-86FD-A48ADB9E65BE}" dt="2024-01-01T19:44:06.028" v="12430"/>
          <ac:picMkLst>
            <pc:docMk/>
            <pc:sldMk cId="2057745716" sldId="266"/>
            <ac:picMk id="9" creationId="{255EC860-4A4A-A109-DA2D-290977C8C91E}"/>
          </ac:picMkLst>
        </pc:picChg>
        <pc:picChg chg="del mod ord">
          <ac:chgData name="Joelle Brehm" userId="a518f54c-6985-42c0-8041-2bb16a414839" providerId="ADAL" clId="{12516E80-A0D9-4B76-86FD-A48ADB9E65BE}" dt="2024-01-01T19:43:35.673" v="11149" actId="478"/>
          <ac:picMkLst>
            <pc:docMk/>
            <pc:sldMk cId="2057745716" sldId="266"/>
            <ac:picMk id="34" creationId="{99B10E0B-550F-3A4A-7967-820E3D8F8729}"/>
          </ac:picMkLst>
        </pc:picChg>
        <pc:picChg chg="mod ord">
          <ac:chgData name="Joelle Brehm" userId="a518f54c-6985-42c0-8041-2bb16a414839" providerId="ADAL" clId="{12516E80-A0D9-4B76-86FD-A48ADB9E65BE}" dt="2024-01-01T19:44:06.071" v="12512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12516E80-A0D9-4B76-86FD-A48ADB9E65BE}" dt="2024-01-01T19:44:06.070" v="12510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44:06.030" v="12434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47:33.712" v="15162"/>
        <pc:sldMkLst>
          <pc:docMk/>
          <pc:sldMk cId="3795966898" sldId="267"/>
        </pc:sldMkLst>
        <pc:spChg chg="mod ord">
          <ac:chgData name="Joelle Brehm" userId="a518f54c-6985-42c0-8041-2bb16a414839" providerId="ADAL" clId="{12516E80-A0D9-4B76-86FD-A48ADB9E65BE}" dt="2024-01-01T19:47:33.696" v="15156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12516E80-A0D9-4B76-86FD-A48ADB9E65BE}" dt="2024-01-01T19:46:40.296" v="13937" actId="478"/>
          <ac:spMkLst>
            <pc:docMk/>
            <pc:sldMk cId="3795966898" sldId="267"/>
            <ac:spMk id="3" creationId="{95E89739-2836-2628-39A1-A8E6B81BB99C}"/>
          </ac:spMkLst>
        </pc:spChg>
        <pc:spChg chg="add del mod modVis">
          <ac:chgData name="Joelle Brehm" userId="a518f54c-6985-42c0-8041-2bb16a414839" providerId="ADAL" clId="{12516E80-A0D9-4B76-86FD-A48ADB9E65BE}" dt="2024-01-01T19:46:50.563" v="14154"/>
          <ac:spMkLst>
            <pc:docMk/>
            <pc:sldMk cId="3795966898" sldId="267"/>
            <ac:spMk id="5" creationId="{F7258820-91A2-C01A-64C4-261A5ED77FCC}"/>
          </ac:spMkLst>
        </pc:spChg>
        <pc:spChg chg="mod ord">
          <ac:chgData name="Joelle Brehm" userId="a518f54c-6985-42c0-8041-2bb16a414839" providerId="ADAL" clId="{12516E80-A0D9-4B76-86FD-A48ADB9E65BE}" dt="2024-01-01T19:47:33.664" v="15091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47:33.680" v="15102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47:33.664" v="15098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47:33.664" v="15099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47:33.664" v="15096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47:33.664" v="15097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47:33.664" v="15100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47:33.664" v="15101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47:33.680" v="15103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47:33.680" v="15104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47:33.680" v="15105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47:33.680" v="15106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47:33.680" v="15107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47:33.680" v="15109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47:33.680" v="15110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47:33.680" v="15112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47:33.680" v="15111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47:33.680" v="15114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47:33.680" v="15115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47:33.680" v="15113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47:33.680" v="15117"/>
          <ac:spMkLst>
            <pc:docMk/>
            <pc:sldMk cId="3795966898" sldId="267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12516E80-A0D9-4B76-86FD-A48ADB9E65BE}" dt="2024-01-01T19:46:58.271" v="14373"/>
          <ac:spMkLst>
            <pc:docMk/>
            <pc:sldMk cId="3795966898" sldId="267"/>
            <ac:spMk id="31" creationId="{EEC7E092-F2CE-8ACE-A7A5-12A6BF56016B}"/>
          </ac:spMkLst>
        </pc:spChg>
        <pc:spChg chg="mod">
          <ac:chgData name="Joelle Brehm" userId="a518f54c-6985-42c0-8041-2bb16a414839" providerId="ADAL" clId="{12516E80-A0D9-4B76-86FD-A48ADB9E65BE}" dt="2024-01-01T19:47:33.680" v="15126"/>
          <ac:spMkLst>
            <pc:docMk/>
            <pc:sldMk cId="3795966898" sldId="267"/>
            <ac:spMk id="32" creationId="{D88A5B48-AEEB-61CD-49C8-685CA2FA5FCC}"/>
          </ac:spMkLst>
        </pc:spChg>
        <pc:spChg chg="del mod">
          <ac:chgData name="Joelle Brehm" userId="a518f54c-6985-42c0-8041-2bb16a414839" providerId="ADAL" clId="{12516E80-A0D9-4B76-86FD-A48ADB9E65BE}" dt="2024-01-01T19:47:33.564" v="14981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12516E80-A0D9-4B76-86FD-A48ADB9E65BE}" dt="2024-01-01T19:47:33.680" v="15120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12516E80-A0D9-4B76-86FD-A48ADB9E65BE}" dt="2024-01-01T19:47:33.680" v="15121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12516E80-A0D9-4B76-86FD-A48ADB9E65BE}" dt="2024-01-01T19:47:33.680" v="15129"/>
          <ac:spMkLst>
            <pc:docMk/>
            <pc:sldMk cId="3795966898" sldId="267"/>
            <ac:spMk id="37" creationId="{0A296482-73A5-3697-F8D4-5A660F4A5947}"/>
          </ac:spMkLst>
        </pc:spChg>
        <pc:spChg chg="mod">
          <ac:chgData name="Joelle Brehm" userId="a518f54c-6985-42c0-8041-2bb16a414839" providerId="ADAL" clId="{12516E80-A0D9-4B76-86FD-A48ADB9E65BE}" dt="2024-01-01T19:47:33.680" v="15122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12516E80-A0D9-4B76-86FD-A48ADB9E65BE}" dt="2024-01-01T19:47:33.680" v="15124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12516E80-A0D9-4B76-86FD-A48ADB9E65BE}" dt="2024-01-01T19:47:33.680" v="15123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12516E80-A0D9-4B76-86FD-A48ADB9E65BE}" dt="2024-01-01T19:47:33.680" v="15127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12516E80-A0D9-4B76-86FD-A48ADB9E65BE}" dt="2024-01-01T19:47:33.680" v="15125"/>
          <ac:spMkLst>
            <pc:docMk/>
            <pc:sldMk cId="3795966898" sldId="267"/>
            <ac:spMk id="44" creationId="{40B65240-400F-5791-7F3E-FCB0C3838579}"/>
          </ac:spMkLst>
        </pc:spChg>
        <pc:spChg chg="mod">
          <ac:chgData name="Joelle Brehm" userId="a518f54c-6985-42c0-8041-2bb16a414839" providerId="ADAL" clId="{12516E80-A0D9-4B76-86FD-A48ADB9E65BE}" dt="2024-01-01T19:47:33.680" v="15130"/>
          <ac:spMkLst>
            <pc:docMk/>
            <pc:sldMk cId="3795966898" sldId="267"/>
            <ac:spMk id="45" creationId="{5ACDDB66-5F72-9CF8-8B82-2B020F8894AD}"/>
          </ac:spMkLst>
        </pc:spChg>
        <pc:spChg chg="mod">
          <ac:chgData name="Joelle Brehm" userId="a518f54c-6985-42c0-8041-2bb16a414839" providerId="ADAL" clId="{12516E80-A0D9-4B76-86FD-A48ADB9E65BE}" dt="2024-01-01T19:47:33.680" v="15128"/>
          <ac:spMkLst>
            <pc:docMk/>
            <pc:sldMk cId="3795966898" sldId="267"/>
            <ac:spMk id="46" creationId="{2B2E11F0-202F-7C08-CDCD-D9021CA2670F}"/>
          </ac:spMkLst>
        </pc:spChg>
        <pc:spChg chg="add mod replST">
          <ac:chgData name="Joelle Brehm" userId="a518f54c-6985-42c0-8041-2bb16a414839" providerId="ADAL" clId="{12516E80-A0D9-4B76-86FD-A48ADB9E65BE}" dt="2024-01-01T19:47:33.680" v="15131"/>
          <ac:spMkLst>
            <pc:docMk/>
            <pc:sldMk cId="3795966898" sldId="267"/>
            <ac:spMk id="47" creationId="{3DBF8D64-4F6D-0CD0-9A0D-73552A46C028}"/>
          </ac:spMkLst>
        </pc:spChg>
        <pc:spChg chg="mod">
          <ac:chgData name="Joelle Brehm" userId="a518f54c-6985-42c0-8041-2bb16a414839" providerId="ADAL" clId="{12516E80-A0D9-4B76-86FD-A48ADB9E65BE}" dt="2024-01-01T19:47:33.696" v="15148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12516E80-A0D9-4B76-86FD-A48ADB9E65BE}" dt="2024-01-01T19:47:28.111" v="14838"/>
          <ac:spMkLst>
            <pc:docMk/>
            <pc:sldMk cId="3795966898" sldId="267"/>
            <ac:spMk id="49" creationId="{BDC108F9-0E78-8BFC-ED7B-F17D66CD2E93}"/>
          </ac:spMkLst>
        </pc:spChg>
        <pc:spChg chg="add del mod modVis">
          <ac:chgData name="Joelle Brehm" userId="a518f54c-6985-42c0-8041-2bb16a414839" providerId="ADAL" clId="{12516E80-A0D9-4B76-86FD-A48ADB9E65BE}" dt="2024-01-01T19:47:30.293" v="14978"/>
          <ac:spMkLst>
            <pc:docMk/>
            <pc:sldMk cId="3795966898" sldId="267"/>
            <ac:spMk id="51" creationId="{3AD78ABA-FAB9-4E0B-08C5-E52D24D91CFD}"/>
          </ac:spMkLst>
        </pc:spChg>
        <pc:spChg chg="add del mod modVis">
          <ac:chgData name="Joelle Brehm" userId="a518f54c-6985-42c0-8041-2bb16a414839" providerId="ADAL" clId="{12516E80-A0D9-4B76-86FD-A48ADB9E65BE}" dt="2024-01-01T19:47:33.696" v="15160"/>
          <ac:spMkLst>
            <pc:docMk/>
            <pc:sldMk cId="3795966898" sldId="267"/>
            <ac:spMk id="53" creationId="{97572613-8C61-D50B-539F-72D32A96FB13}"/>
          </ac:spMkLst>
        </pc:spChg>
        <pc:spChg chg="mod ord">
          <ac:chgData name="Joelle Brehm" userId="a518f54c-6985-42c0-8041-2bb16a414839" providerId="ADAL" clId="{12516E80-A0D9-4B76-86FD-A48ADB9E65BE}" dt="2024-01-01T19:47:33.680" v="15133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47:33.680" v="15135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19:47:33.680" v="15137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47:33.696" v="15154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12516E80-A0D9-4B76-86FD-A48ADB9E65BE}" dt="2024-01-01T19:47:33.680" v="15139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47:33.680" v="15141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47:33.680" v="15143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47:33.696" v="15146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7:33.696" v="15147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7:33.696" v="15149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47:33.696" v="15150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47:33.712" v="15162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46:50.485" v="14071"/>
          <ac:graphicFrameMkLst>
            <pc:docMk/>
            <pc:sldMk cId="3795966898" sldId="267"/>
            <ac:graphicFrameMk id="8" creationId="{3807D41B-5E25-5DA2-AE7B-E127CB28E9C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7:33.664" v="15095"/>
          <ac:graphicFrameMkLst>
            <pc:docMk/>
            <pc:sldMk cId="3795966898" sldId="267"/>
            <ac:graphicFrameMk id="9" creationId="{55086ED5-24F8-87D4-1284-45C8797D521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7:33.680" v="15145"/>
          <ac:graphicFrameMkLst>
            <pc:docMk/>
            <pc:sldMk cId="3795966898" sldId="267"/>
            <ac:graphicFrameMk id="33" creationId="{20C20CEF-43DB-6F41-203A-CF1A2F3A19D9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6:58.219" v="14294"/>
          <ac:graphicFrameMkLst>
            <pc:docMk/>
            <pc:sldMk cId="3795966898" sldId="267"/>
            <ac:graphicFrameMk id="41" creationId="{3A7D8A38-9CCF-57A5-8467-A4C76C047FE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7:30.243" v="14898"/>
          <ac:graphicFrameMkLst>
            <pc:docMk/>
            <pc:sldMk cId="3795966898" sldId="267"/>
            <ac:graphicFrameMk id="50" creationId="{924AB782-7023-23CD-3B57-AE9A756D2E3E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7:33.648" v="15081"/>
          <ac:graphicFrameMkLst>
            <pc:docMk/>
            <pc:sldMk cId="3795966898" sldId="267"/>
            <ac:graphicFrameMk id="52" creationId="{904A3882-3F5D-BE9D-E7BB-CF4F79272EE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7:33.680" v="15119"/>
          <ac:graphicFrameMkLst>
            <pc:docMk/>
            <pc:sldMk cId="3795966898" sldId="267"/>
            <ac:graphicFrameMk id="54" creationId="{04600C40-F8EF-4FED-5F01-25413E0BC0C1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7:28.048" v="14752"/>
          <ac:graphicFrameMkLst>
            <pc:docMk/>
            <pc:sldMk cId="3795966898" sldId="267"/>
            <ac:graphicFrameMk id="58" creationId="{B92A9B8D-12CB-DC33-45AF-EBC5960A472C}"/>
          </ac:graphicFrameMkLst>
        </pc:graphicFrameChg>
        <pc:picChg chg="del mod ord">
          <ac:chgData name="Joelle Brehm" userId="a518f54c-6985-42c0-8041-2bb16a414839" providerId="ADAL" clId="{12516E80-A0D9-4B76-86FD-A48ADB9E65BE}" dt="2024-01-01T19:47:21.217" v="14460" actId="478"/>
          <ac:picMkLst>
            <pc:docMk/>
            <pc:sldMk cId="3795966898" sldId="267"/>
            <ac:picMk id="10" creationId="{C77AD6B3-7467-7F66-D769-63DF380EE62D}"/>
          </ac:picMkLst>
        </pc:picChg>
        <pc:picChg chg="add mod ord">
          <ac:chgData name="Joelle Brehm" userId="a518f54c-6985-42c0-8041-2bb16a414839" providerId="ADAL" clId="{12516E80-A0D9-4B76-86FD-A48ADB9E65BE}" dt="2024-01-01T19:47:33.664" v="15089"/>
          <ac:picMkLst>
            <pc:docMk/>
            <pc:sldMk cId="3795966898" sldId="267"/>
            <ac:picMk id="39" creationId="{6F94A58B-E658-4819-177C-B563F989B75F}"/>
          </ac:picMkLst>
        </pc:picChg>
        <pc:picChg chg="mod ord">
          <ac:chgData name="Joelle Brehm" userId="a518f54c-6985-42c0-8041-2bb16a414839" providerId="ADAL" clId="{12516E80-A0D9-4B76-86FD-A48ADB9E65BE}" dt="2024-01-01T19:47:33.696" v="15152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47:33.664" v="15093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48:40.884" v="16517"/>
        <pc:sldMkLst>
          <pc:docMk/>
          <pc:sldMk cId="622078465" sldId="269"/>
        </pc:sldMkLst>
        <pc:spChg chg="add del mod">
          <ac:chgData name="Joelle Brehm" userId="a518f54c-6985-42c0-8041-2bb16a414839" providerId="ADAL" clId="{12516E80-A0D9-4B76-86FD-A48ADB9E65BE}" dt="2024-01-01T19:47:55.327" v="15163" actId="478"/>
          <ac:spMkLst>
            <pc:docMk/>
            <pc:sldMk cId="622078465" sldId="269"/>
            <ac:spMk id="2" creationId="{BFC9906F-078D-AC79-CFF9-F5538B2779D9}"/>
          </ac:spMkLst>
        </pc:spChg>
        <pc:spChg chg="mod ord">
          <ac:chgData name="Joelle Brehm" userId="a518f54c-6985-42c0-8041-2bb16a414839" providerId="ADAL" clId="{12516E80-A0D9-4B76-86FD-A48ADB9E65BE}" dt="2024-01-01T19:48:40.868" v="16511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12516E80-A0D9-4B76-86FD-A48ADB9E65BE}" dt="2024-01-01T19:47:58.684" v="15390"/>
          <ac:spMkLst>
            <pc:docMk/>
            <pc:sldMk cId="622078465" sldId="269"/>
            <ac:spMk id="5" creationId="{85AA4320-079E-AE74-565D-235404C85885}"/>
          </ac:spMkLst>
        </pc:spChg>
        <pc:spChg chg="mod ord">
          <ac:chgData name="Joelle Brehm" userId="a518f54c-6985-42c0-8041-2bb16a414839" providerId="ADAL" clId="{12516E80-A0D9-4B76-86FD-A48ADB9E65BE}" dt="2024-01-01T19:48:40.852" v="16446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48:40.868" v="16480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12516E80-A0D9-4B76-86FD-A48ADB9E65BE}" dt="2024-01-01T19:48:40.852" v="16457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48:40.852" v="16453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48:40.852" v="16454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48:40.852" v="16451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48:40.852" v="16452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48:40.852" v="16455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48:40.852" v="16456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48:40.852" v="16458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48:40.852" v="16459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48:40.852" v="16460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48:40.852" v="16461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48:40.852" v="16462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48:40.852" v="16464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48:40.852" v="16465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48:40.852" v="16467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48:40.852" v="16466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48:40.852" v="16469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48:40.852" v="16470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48:40.852" v="16468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48:40.852" v="16472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48:40.852" v="16478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12516E80-A0D9-4B76-86FD-A48ADB9E65BE}" dt="2024-01-01T19:48:40.868" v="16479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12516E80-A0D9-4B76-86FD-A48ADB9E65BE}" dt="2024-01-01T19:48:40.852" v="16477"/>
          <ac:spMkLst>
            <pc:docMk/>
            <pc:sldMk cId="622078465" sldId="269"/>
            <ac:spMk id="34" creationId="{361A309D-582A-9EF2-AAA6-D0365E1E80AF}"/>
          </ac:spMkLst>
        </pc:spChg>
        <pc:spChg chg="mod">
          <ac:chgData name="Joelle Brehm" userId="a518f54c-6985-42c0-8041-2bb16a414839" providerId="ADAL" clId="{12516E80-A0D9-4B76-86FD-A48ADB9E65BE}" dt="2024-01-01T19:48:40.868" v="16484"/>
          <ac:spMkLst>
            <pc:docMk/>
            <pc:sldMk cId="622078465" sldId="269"/>
            <ac:spMk id="36" creationId="{68733CF5-8A2C-4045-0CB9-423CA4B0F6E1}"/>
          </ac:spMkLst>
        </pc:spChg>
        <pc:spChg chg="mod">
          <ac:chgData name="Joelle Brehm" userId="a518f54c-6985-42c0-8041-2bb16a414839" providerId="ADAL" clId="{12516E80-A0D9-4B76-86FD-A48ADB9E65BE}" dt="2024-01-01T19:48:40.868" v="16481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12516E80-A0D9-4B76-86FD-A48ADB9E65BE}" dt="2024-01-01T19:48:40.868" v="16482"/>
          <ac:spMkLst>
            <pc:docMk/>
            <pc:sldMk cId="622078465" sldId="269"/>
            <ac:spMk id="38" creationId="{81A34C8B-3AB7-1E3C-EABE-00492913B3D2}"/>
          </ac:spMkLst>
        </pc:spChg>
        <pc:spChg chg="add del mod modVis">
          <ac:chgData name="Joelle Brehm" userId="a518f54c-6985-42c0-8041-2bb16a414839" providerId="ADAL" clId="{12516E80-A0D9-4B76-86FD-A48ADB9E65BE}" dt="2024-01-01T19:48:27.914" v="15682"/>
          <ac:spMkLst>
            <pc:docMk/>
            <pc:sldMk cId="622078465" sldId="269"/>
            <ac:spMk id="39" creationId="{630D980B-7541-7B9E-3F02-EDE0ADECDCEF}"/>
          </ac:spMkLst>
        </pc:spChg>
        <pc:spChg chg="mod">
          <ac:chgData name="Joelle Brehm" userId="a518f54c-6985-42c0-8041-2bb16a414839" providerId="ADAL" clId="{12516E80-A0D9-4B76-86FD-A48ADB9E65BE}" dt="2024-01-01T19:48:40.868" v="16483"/>
          <ac:spMkLst>
            <pc:docMk/>
            <pc:sldMk cId="622078465" sldId="269"/>
            <ac:spMk id="40" creationId="{88D90EFE-E362-B516-8CB5-42E8A0F19B96}"/>
          </ac:spMkLst>
        </pc:spChg>
        <pc:spChg chg="mod">
          <ac:chgData name="Joelle Brehm" userId="a518f54c-6985-42c0-8041-2bb16a414839" providerId="ADAL" clId="{12516E80-A0D9-4B76-86FD-A48ADB9E65BE}" dt="2024-01-01T19:48:40.868" v="16485"/>
          <ac:spMkLst>
            <pc:docMk/>
            <pc:sldMk cId="622078465" sldId="269"/>
            <ac:spMk id="42" creationId="{D1BED0AC-AAFB-7B18-5C9F-F7242C07E3F7}"/>
          </ac:spMkLst>
        </pc:spChg>
        <pc:spChg chg="add mod replST">
          <ac:chgData name="Joelle Brehm" userId="a518f54c-6985-42c0-8041-2bb16a414839" providerId="ADAL" clId="{12516E80-A0D9-4B76-86FD-A48ADB9E65BE}" dt="2024-01-01T19:48:40.868" v="16486"/>
          <ac:spMkLst>
            <pc:docMk/>
            <pc:sldMk cId="622078465" sldId="269"/>
            <ac:spMk id="44" creationId="{7CF7601D-52B5-FA09-CF16-65EB783A2223}"/>
          </ac:spMkLst>
        </pc:spChg>
        <pc:spChg chg="add del mod modVis">
          <ac:chgData name="Joelle Brehm" userId="a518f54c-6985-42c0-8041-2bb16a414839" providerId="ADAL" clId="{12516E80-A0D9-4B76-86FD-A48ADB9E65BE}" dt="2024-01-01T19:48:33.867" v="16027"/>
          <ac:spMkLst>
            <pc:docMk/>
            <pc:sldMk cId="622078465" sldId="269"/>
            <ac:spMk id="45" creationId="{13CADDEA-74E8-CBF1-3B90-A6738D774F8C}"/>
          </ac:spMkLst>
        </pc:spChg>
        <pc:spChg chg="add del mod modVis">
          <ac:chgData name="Joelle Brehm" userId="a518f54c-6985-42c0-8041-2bb16a414839" providerId="ADAL" clId="{12516E80-A0D9-4B76-86FD-A48ADB9E65BE}" dt="2024-01-01T19:48:34.955" v="16201"/>
          <ac:spMkLst>
            <pc:docMk/>
            <pc:sldMk cId="622078465" sldId="269"/>
            <ac:spMk id="47" creationId="{782448C5-412F-D2DC-213F-D55856FDE6C9}"/>
          </ac:spMkLst>
        </pc:spChg>
        <pc:spChg chg="mod">
          <ac:chgData name="Joelle Brehm" userId="a518f54c-6985-42c0-8041-2bb16a414839" providerId="ADAL" clId="{12516E80-A0D9-4B76-86FD-A48ADB9E65BE}" dt="2024-01-01T19:48:40.868" v="16505"/>
          <ac:spMkLst>
            <pc:docMk/>
            <pc:sldMk cId="622078465" sldId="269"/>
            <ac:spMk id="50" creationId="{69BAD6A3-FF64-4C04-1D02-164463F908A1}"/>
          </ac:spMkLst>
        </pc:spChg>
        <pc:spChg chg="add del mod modVis">
          <ac:chgData name="Joelle Brehm" userId="a518f54c-6985-42c0-8041-2bb16a414839" providerId="ADAL" clId="{12516E80-A0D9-4B76-86FD-A48ADB9E65BE}" dt="2024-01-01T19:48:37.057" v="16381"/>
          <ac:spMkLst>
            <pc:docMk/>
            <pc:sldMk cId="622078465" sldId="269"/>
            <ac:spMk id="51" creationId="{93CF30E7-DAFC-4E8E-9A32-4AC0612C1A8F}"/>
          </ac:spMkLst>
        </pc:spChg>
        <pc:spChg chg="add del mod modVis">
          <ac:chgData name="Joelle Brehm" userId="a518f54c-6985-42c0-8041-2bb16a414839" providerId="ADAL" clId="{12516E80-A0D9-4B76-86FD-A48ADB9E65BE}" dt="2024-01-01T19:48:40.868" v="16515"/>
          <ac:spMkLst>
            <pc:docMk/>
            <pc:sldMk cId="622078465" sldId="269"/>
            <ac:spMk id="53" creationId="{E46EA11D-2C70-46C2-9611-9C78A40B2412}"/>
          </ac:spMkLst>
        </pc:spChg>
        <pc:spChg chg="mod ord">
          <ac:chgData name="Joelle Brehm" userId="a518f54c-6985-42c0-8041-2bb16a414839" providerId="ADAL" clId="{12516E80-A0D9-4B76-86FD-A48ADB9E65BE}" dt="2024-01-01T19:48:40.868" v="16509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12516E80-A0D9-4B76-86FD-A48ADB9E65BE}" dt="2024-01-01T19:48:40.868" v="16488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48:40.868" v="16490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12516E80-A0D9-4B76-86FD-A48ADB9E65BE}" dt="2024-01-01T19:48:36.929" v="16204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8:40.852" v="16475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8:40.852" v="16476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48:40.868" v="16492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48:40.868" v="16494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48:40.868" v="16496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48:40.868" v="16498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48:40.868" v="16501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8:40.868" v="16502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48:40.868" v="16503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48:40.868" v="16504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48:40.884" v="16517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47:58.611" v="15309"/>
          <ac:graphicFrameMkLst>
            <pc:docMk/>
            <pc:sldMk cId="622078465" sldId="269"/>
            <ac:graphicFrameMk id="8" creationId="{CD5ACF19-9D21-09E5-5F5B-0F5EEDB9645F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8:40.852" v="16450"/>
          <ac:graphicFrameMkLst>
            <pc:docMk/>
            <pc:sldMk cId="622078465" sldId="269"/>
            <ac:graphicFrameMk id="9" creationId="{23C5C5FD-50AF-072B-A29A-A22357ED4E70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8:27.835" v="15603"/>
          <ac:graphicFrameMkLst>
            <pc:docMk/>
            <pc:sldMk cId="622078465" sldId="269"/>
            <ac:graphicFrameMk id="41" creationId="{B58A2A7A-A11B-2B8A-6A5E-E98E6C5BB20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8:40.868" v="16500"/>
          <ac:graphicFrameMkLst>
            <pc:docMk/>
            <pc:sldMk cId="622078465" sldId="269"/>
            <ac:graphicFrameMk id="43" creationId="{FFE1785F-5ABA-41A4-EC0D-7AD5C33C8FE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8:34.869" v="16108"/>
          <ac:graphicFrameMkLst>
            <pc:docMk/>
            <pc:sldMk cId="622078465" sldId="269"/>
            <ac:graphicFrameMk id="46" creationId="{68DC5AD5-9A5D-F599-3066-B936E5CAE8B5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8:33.809" v="15939"/>
          <ac:graphicFrameMkLst>
            <pc:docMk/>
            <pc:sldMk cId="622078465" sldId="269"/>
            <ac:graphicFrameMk id="48" creationId="{E7E4436C-0D7E-F748-2EE2-BE3FE478D72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8:37.003" v="16302"/>
          <ac:graphicFrameMkLst>
            <pc:docMk/>
            <pc:sldMk cId="622078465" sldId="269"/>
            <ac:graphicFrameMk id="49" creationId="{327112E9-7B0B-25EC-F7E0-76D6BE6D7F7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8:40.820" v="16436"/>
          <ac:graphicFrameMkLst>
            <pc:docMk/>
            <pc:sldMk cId="622078465" sldId="269"/>
            <ac:graphicFrameMk id="52" creationId="{81D3A4D8-EAB2-0491-9A7F-474C604EDF5F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8:40.852" v="16474"/>
          <ac:graphicFrameMkLst>
            <pc:docMk/>
            <pc:sldMk cId="622078465" sldId="269"/>
            <ac:graphicFrameMk id="54" creationId="{56F3E0A4-2C67-2ECC-EE70-813E92954662}"/>
          </ac:graphicFrameMkLst>
        </pc:graphicFrameChg>
        <pc:picChg chg="del mod ord">
          <ac:chgData name="Joelle Brehm" userId="a518f54c-6985-42c0-8041-2bb16a414839" providerId="ADAL" clId="{12516E80-A0D9-4B76-86FD-A48ADB9E65BE}" dt="2024-01-01T19:48:15.545" v="15476" actId="478"/>
          <ac:picMkLst>
            <pc:docMk/>
            <pc:sldMk cId="622078465" sldId="269"/>
            <ac:picMk id="31" creationId="{4E55038F-DA93-3645-B801-5707FFD91E71}"/>
          </ac:picMkLst>
        </pc:picChg>
        <pc:picChg chg="add mod ord">
          <ac:chgData name="Joelle Brehm" userId="a518f54c-6985-42c0-8041-2bb16a414839" providerId="ADAL" clId="{12516E80-A0D9-4B76-86FD-A48ADB9E65BE}" dt="2024-01-01T19:48:40.852" v="16444"/>
          <ac:picMkLst>
            <pc:docMk/>
            <pc:sldMk cId="622078465" sldId="269"/>
            <ac:picMk id="35" creationId="{1C868E87-1661-F239-E5DC-97AB66E68B6D}"/>
          </ac:picMkLst>
        </pc:picChg>
        <pc:picChg chg="mod ord">
          <ac:chgData name="Joelle Brehm" userId="a518f54c-6985-42c0-8041-2bb16a414839" providerId="ADAL" clId="{12516E80-A0D9-4B76-86FD-A48ADB9E65BE}" dt="2024-01-01T19:48:40.868" v="16507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48:40.852" v="16448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20:06:11.758" v="35938"/>
        <pc:sldMkLst>
          <pc:docMk/>
          <pc:sldMk cId="1002023985" sldId="270"/>
        </pc:sldMkLst>
        <pc:spChg chg="mod ord">
          <ac:chgData name="Joelle Brehm" userId="a518f54c-6985-42c0-8041-2bb16a414839" providerId="ADAL" clId="{12516E80-A0D9-4B76-86FD-A48ADB9E65BE}" dt="2024-01-01T20:06:11.742" v="35932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12516E80-A0D9-4B76-86FD-A48ADB9E65BE}" dt="2024-01-01T20:02:01.683" v="30809" actId="478"/>
          <ac:spMkLst>
            <pc:docMk/>
            <pc:sldMk cId="1002023985" sldId="270"/>
            <ac:spMk id="3" creationId="{5B398668-5311-D750-8A87-8B0850168915}"/>
          </ac:spMkLst>
        </pc:spChg>
        <pc:spChg chg="add del mod modVis">
          <ac:chgData name="Joelle Brehm" userId="a518f54c-6985-42c0-8041-2bb16a414839" providerId="ADAL" clId="{12516E80-A0D9-4B76-86FD-A48ADB9E65BE}" dt="2024-01-01T20:03:05.166" v="31040"/>
          <ac:spMkLst>
            <pc:docMk/>
            <pc:sldMk cId="1002023985" sldId="270"/>
            <ac:spMk id="5" creationId="{860547B0-DBDF-2FC5-0C12-C4670B475FFE}"/>
          </ac:spMkLst>
        </pc:spChg>
        <pc:spChg chg="mod ord">
          <ac:chgData name="Joelle Brehm" userId="a518f54c-6985-42c0-8041-2bb16a414839" providerId="ADAL" clId="{12516E80-A0D9-4B76-86FD-A48ADB9E65BE}" dt="2024-01-01T20:06:11.710" v="35844"/>
          <ac:spMkLst>
            <pc:docMk/>
            <pc:sldMk cId="1002023985" sldId="270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20:06:11.726" v="35887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12516E80-A0D9-4B76-86FD-A48ADB9E65BE}" dt="2024-01-01T20:06:11.710" v="35855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20:06:11.710" v="35851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20:06:11.710" v="35852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20:06:11.710" v="35849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20:06:11.710" v="35850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20:06:11.710" v="35853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20:06:11.710" v="35854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20:06:11.710" v="35856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20:06:11.710" v="35857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20:06:11.710" v="35858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20:06:11.710" v="35859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20:06:11.710" v="35860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20:06:11.710" v="35862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20:06:11.710" v="35865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20:06:11.726" v="35867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20:06:11.710" v="35866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20:06:11.726" v="35870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20:06:11.726" v="35871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20:06:11.726" v="35869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20:06:11.726" v="35873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20:06:11.726" v="35901"/>
          <ac:spMkLst>
            <pc:docMk/>
            <pc:sldMk cId="1002023985" sldId="270"/>
            <ac:spMk id="32" creationId="{08AA1604-C221-6E9B-740F-41449B8DB0E9}"/>
          </ac:spMkLst>
        </pc:spChg>
        <pc:spChg chg="mod ord">
          <ac:chgData name="Joelle Brehm" userId="a518f54c-6985-42c0-8041-2bb16a414839" providerId="ADAL" clId="{12516E80-A0D9-4B76-86FD-A48ADB9E65BE}" dt="2024-01-01T20:06:11.726" v="35886"/>
          <ac:spMkLst>
            <pc:docMk/>
            <pc:sldMk cId="1002023985" sldId="270"/>
            <ac:spMk id="33" creationId="{F76D64DC-4154-E4CF-EF48-9A68CB6317E4}"/>
          </ac:spMkLst>
        </pc:spChg>
        <pc:spChg chg="del mod">
          <ac:chgData name="Joelle Brehm" userId="a518f54c-6985-42c0-8041-2bb16a414839" providerId="ADAL" clId="{12516E80-A0D9-4B76-86FD-A48ADB9E65BE}" dt="2024-01-01T20:05:42.654" v="35348"/>
          <ac:spMkLst>
            <pc:docMk/>
            <pc:sldMk cId="1002023985" sldId="270"/>
            <ac:spMk id="34" creationId="{D8810295-9C9B-37E0-6CF6-C91E7262F475}"/>
          </ac:spMkLst>
        </pc:spChg>
        <pc:spChg chg="add del mod modVis">
          <ac:chgData name="Joelle Brehm" userId="a518f54c-6985-42c0-8041-2bb16a414839" providerId="ADAL" clId="{12516E80-A0D9-4B76-86FD-A48ADB9E65BE}" dt="2024-01-01T20:04:10.797" v="34039"/>
          <ac:spMkLst>
            <pc:docMk/>
            <pc:sldMk cId="1002023985" sldId="270"/>
            <ac:spMk id="36" creationId="{9032F151-C423-8C22-8252-C8A4DD85F0D6}"/>
          </ac:spMkLst>
        </pc:spChg>
        <pc:spChg chg="mod ord">
          <ac:chgData name="Joelle Brehm" userId="a518f54c-6985-42c0-8041-2bb16a414839" providerId="ADAL" clId="{12516E80-A0D9-4B76-86FD-A48ADB9E65BE}" dt="2024-01-01T20:06:11.710" v="35864"/>
          <ac:spMkLst>
            <pc:docMk/>
            <pc:sldMk cId="1002023985" sldId="270"/>
            <ac:spMk id="37" creationId="{6E6D97FF-E2E0-42EA-A83A-C3DF9F3514AE}"/>
          </ac:spMkLst>
        </pc:spChg>
        <pc:spChg chg="add del mod">
          <ac:chgData name="Joelle Brehm" userId="a518f54c-6985-42c0-8041-2bb16a414839" providerId="ADAL" clId="{12516E80-A0D9-4B76-86FD-A48ADB9E65BE}" dt="2024-01-01T20:04:51.423" v="34866"/>
          <ac:spMkLst>
            <pc:docMk/>
            <pc:sldMk cId="1002023985" sldId="270"/>
            <ac:spMk id="39" creationId="{5A7D87EE-5E78-D677-2C56-AEF290436EA5}"/>
          </ac:spMkLst>
        </pc:spChg>
        <pc:spChg chg="add del mod">
          <ac:chgData name="Joelle Brehm" userId="a518f54c-6985-42c0-8041-2bb16a414839" providerId="ADAL" clId="{12516E80-A0D9-4B76-86FD-A48ADB9E65BE}" dt="2024-01-01T20:04:51.423" v="34864"/>
          <ac:spMkLst>
            <pc:docMk/>
            <pc:sldMk cId="1002023985" sldId="270"/>
            <ac:spMk id="40" creationId="{976E98D4-3DE4-DCEF-3711-E5DC7ED75881}"/>
          </ac:spMkLst>
        </pc:spChg>
        <pc:spChg chg="del mod">
          <ac:chgData name="Joelle Brehm" userId="a518f54c-6985-42c0-8041-2bb16a414839" providerId="ADAL" clId="{12516E80-A0D9-4B76-86FD-A48ADB9E65BE}" dt="2024-01-01T20:04:51.423" v="34867"/>
          <ac:spMkLst>
            <pc:docMk/>
            <pc:sldMk cId="1002023985" sldId="270"/>
            <ac:spMk id="41" creationId="{51DF5FF8-D483-FA48-6208-139CC6F687D3}"/>
          </ac:spMkLst>
        </pc:spChg>
        <pc:spChg chg="del mod">
          <ac:chgData name="Joelle Brehm" userId="a518f54c-6985-42c0-8041-2bb16a414839" providerId="ADAL" clId="{12516E80-A0D9-4B76-86FD-A48ADB9E65BE}" dt="2024-01-01T20:04:51.423" v="34865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12516E80-A0D9-4B76-86FD-A48ADB9E65BE}" dt="2024-01-01T20:06:11.726" v="35885"/>
          <ac:spMkLst>
            <pc:docMk/>
            <pc:sldMk cId="1002023985" sldId="270"/>
            <ac:spMk id="43" creationId="{29357330-070C-17EC-0CAB-CAD445419341}"/>
          </ac:spMkLst>
        </pc:spChg>
        <pc:spChg chg="mod ord">
          <ac:chgData name="Joelle Brehm" userId="a518f54c-6985-42c0-8041-2bb16a414839" providerId="ADAL" clId="{12516E80-A0D9-4B76-86FD-A48ADB9E65BE}" dt="2024-01-01T20:06:11.726" v="35884"/>
          <ac:spMkLst>
            <pc:docMk/>
            <pc:sldMk cId="1002023985" sldId="270"/>
            <ac:spMk id="44" creationId="{D21335E5-EBC4-9286-DD2D-7735A09D41EB}"/>
          </ac:spMkLst>
        </pc:spChg>
        <pc:spChg chg="add mod replST">
          <ac:chgData name="Joelle Brehm" userId="a518f54c-6985-42c0-8041-2bb16a414839" providerId="ADAL" clId="{12516E80-A0D9-4B76-86FD-A48ADB9E65BE}" dt="2024-01-01T20:04:10.256" v="33960"/>
          <ac:spMkLst>
            <pc:docMk/>
            <pc:sldMk cId="1002023985" sldId="270"/>
            <ac:spMk id="45" creationId="{982B60E6-E893-10E1-42FA-83BB9848F8E9}"/>
          </ac:spMkLst>
        </pc:spChg>
        <pc:spChg chg="mod">
          <ac:chgData name="Joelle Brehm" userId="a518f54c-6985-42c0-8041-2bb16a414839" providerId="ADAL" clId="{12516E80-A0D9-4B76-86FD-A48ADB9E65BE}" dt="2024-01-01T20:06:11.726" v="35894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12516E80-A0D9-4B76-86FD-A48ADB9E65BE}" dt="2024-01-01T20:06:11.726" v="35896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12516E80-A0D9-4B76-86FD-A48ADB9E65BE}" dt="2024-01-01T20:06:11.726" v="35893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12516E80-A0D9-4B76-86FD-A48ADB9E65BE}" dt="2024-01-01T20:06:11.726" v="35895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12516E80-A0D9-4B76-86FD-A48ADB9E65BE}" dt="2024-01-01T20:06:11.726" v="35891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12516E80-A0D9-4B76-86FD-A48ADB9E65BE}" dt="2024-01-01T20:06:11.726" v="35889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12516E80-A0D9-4B76-86FD-A48ADB9E65BE}" dt="2024-01-01T20:06:11.726" v="35890"/>
          <ac:spMkLst>
            <pc:docMk/>
            <pc:sldMk cId="1002023985" sldId="270"/>
            <ac:spMk id="52" creationId="{CDAA8CD8-B796-5FFD-8D34-2773F7AB7F1D}"/>
          </ac:spMkLst>
        </pc:spChg>
        <pc:spChg chg="add mod replST">
          <ac:chgData name="Joelle Brehm" userId="a518f54c-6985-42c0-8041-2bb16a414839" providerId="ADAL" clId="{12516E80-A0D9-4B76-86FD-A48ADB9E65BE}" dt="2024-01-01T20:04:10.256" v="33960"/>
          <ac:spMkLst>
            <pc:docMk/>
            <pc:sldMk cId="1002023985" sldId="270"/>
            <ac:spMk id="53" creationId="{4B6C5377-36D1-B618-4EB7-54E0B98875D9}"/>
          </ac:spMkLst>
        </pc:spChg>
        <pc:spChg chg="mod">
          <ac:chgData name="Joelle Brehm" userId="a518f54c-6985-42c0-8041-2bb16a414839" providerId="ADAL" clId="{12516E80-A0D9-4B76-86FD-A48ADB9E65BE}" dt="2024-01-01T20:06:11.726" v="35900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12516E80-A0D9-4B76-86FD-A48ADB9E65BE}" dt="2024-01-01T20:06:11.726" v="35898"/>
          <ac:spMkLst>
            <pc:docMk/>
            <pc:sldMk cId="1002023985" sldId="270"/>
            <ac:spMk id="55" creationId="{E5519A9A-9BE6-DCEA-87DD-CC3F6748DE83}"/>
          </ac:spMkLst>
        </pc:spChg>
        <pc:spChg chg="mod">
          <ac:chgData name="Joelle Brehm" userId="a518f54c-6985-42c0-8041-2bb16a414839" providerId="ADAL" clId="{12516E80-A0D9-4B76-86FD-A48ADB9E65BE}" dt="2024-01-01T20:06:11.726" v="35888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12516E80-A0D9-4B76-86FD-A48ADB9E65BE}" dt="2024-01-01T20:06:11.726" v="35892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12516E80-A0D9-4B76-86FD-A48ADB9E65BE}" dt="2024-01-01T20:06:11.726" v="35907"/>
          <ac:spMkLst>
            <pc:docMk/>
            <pc:sldMk cId="1002023985" sldId="270"/>
            <ac:spMk id="59" creationId="{15DED5C0-8834-6FCE-242E-76495D4381EE}"/>
          </ac:spMkLst>
        </pc:spChg>
        <pc:spChg chg="mod">
          <ac:chgData name="Joelle Brehm" userId="a518f54c-6985-42c0-8041-2bb16a414839" providerId="ADAL" clId="{12516E80-A0D9-4B76-86FD-A48ADB9E65BE}" dt="2024-01-01T20:06:11.726" v="35897"/>
          <ac:spMkLst>
            <pc:docMk/>
            <pc:sldMk cId="1002023985" sldId="270"/>
            <ac:spMk id="60" creationId="{0C74CE89-8513-C13D-30DC-F81C311B717E}"/>
          </ac:spMkLst>
        </pc:spChg>
        <pc:spChg chg="add del mod modVis">
          <ac:chgData name="Joelle Brehm" userId="a518f54c-6985-42c0-8041-2bb16a414839" providerId="ADAL" clId="{12516E80-A0D9-4B76-86FD-A48ADB9E65BE}" dt="2024-01-01T20:04:10.256" v="33960"/>
          <ac:spMkLst>
            <pc:docMk/>
            <pc:sldMk cId="1002023985" sldId="270"/>
            <ac:spMk id="61" creationId="{A885B62E-035C-6E32-C836-55D8061499E0}"/>
          </ac:spMkLst>
        </pc:spChg>
        <pc:spChg chg="mod">
          <ac:chgData name="Joelle Brehm" userId="a518f54c-6985-42c0-8041-2bb16a414839" providerId="ADAL" clId="{12516E80-A0D9-4B76-86FD-A48ADB9E65BE}" dt="2024-01-01T20:06:11.726" v="35883"/>
          <ac:spMkLst>
            <pc:docMk/>
            <pc:sldMk cId="1002023985" sldId="270"/>
            <ac:spMk id="6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26" v="35899"/>
          <ac:spMkLst>
            <pc:docMk/>
            <pc:sldMk cId="1002023985" sldId="270"/>
            <ac:spMk id="64" creationId="{41EAF63A-0EB0-1655-3104-FBA53C392892}"/>
          </ac:spMkLst>
        </pc:spChg>
        <pc:spChg chg="add del mod modVis">
          <ac:chgData name="Joelle Brehm" userId="a518f54c-6985-42c0-8041-2bb16a414839" providerId="ADAL" clId="{12516E80-A0D9-4B76-86FD-A48ADB9E65BE}" dt="2024-01-01T20:04:09.565" v="33794"/>
          <ac:spMkLst>
            <pc:docMk/>
            <pc:sldMk cId="1002023985" sldId="270"/>
            <ac:spMk id="65" creationId="{1C368684-8A3C-7EB4-1F05-24AEABC06762}"/>
          </ac:spMkLst>
        </pc:spChg>
        <pc:spChg chg="add del mod modVis">
          <ac:chgData name="Joelle Brehm" userId="a518f54c-6985-42c0-8041-2bb16a414839" providerId="ADAL" clId="{12516E80-A0D9-4B76-86FD-A48ADB9E65BE}" dt="2024-01-01T20:04:09.213" v="33723"/>
          <ac:spMkLst>
            <pc:docMk/>
            <pc:sldMk cId="1002023985" sldId="270"/>
            <ac:spMk id="67" creationId="{520C3300-2398-84E2-5553-D9E418D9F400}"/>
          </ac:spMkLst>
        </pc:spChg>
        <pc:spChg chg="mod">
          <ac:chgData name="Joelle Brehm" userId="a518f54c-6985-42c0-8041-2bb16a414839" providerId="ADAL" clId="{12516E80-A0D9-4B76-86FD-A48ADB9E65BE}" dt="2024-01-01T20:06:11.726" v="35876"/>
          <ac:spMkLst>
            <pc:docMk/>
            <pc:sldMk cId="1002023985" sldId="270"/>
            <ac:spMk id="68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26" v="35877"/>
          <ac:spMkLst>
            <pc:docMk/>
            <pc:sldMk cId="1002023985" sldId="270"/>
            <ac:spMk id="69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26" v="35878"/>
          <ac:spMkLst>
            <pc:docMk/>
            <pc:sldMk cId="1002023985" sldId="270"/>
            <ac:spMk id="70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26" v="35879"/>
          <ac:spMkLst>
            <pc:docMk/>
            <pc:sldMk cId="1002023985" sldId="270"/>
            <ac:spMk id="71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26" v="35881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26" v="35882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26" v="35868"/>
          <ac:spMkLst>
            <pc:docMk/>
            <pc:sldMk cId="1002023985" sldId="270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12516E80-A0D9-4B76-86FD-A48ADB9E65BE}" dt="2024-01-01T20:04:08.800" v="33657"/>
          <ac:spMkLst>
            <pc:docMk/>
            <pc:sldMk cId="1002023985" sldId="270"/>
            <ac:spMk id="77" creationId="{1694DB09-74BF-3505-42C8-ED9A1EEAFC16}"/>
          </ac:spMkLst>
        </pc:spChg>
        <pc:spChg chg="mod ord">
          <ac:chgData name="Joelle Brehm" userId="a518f54c-6985-42c0-8041-2bb16a414839" providerId="ADAL" clId="{12516E80-A0D9-4B76-86FD-A48ADB9E65BE}" dt="2024-01-01T20:06:11.726" v="35909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20:06:11.742" v="35911"/>
          <ac:spMkLst>
            <pc:docMk/>
            <pc:sldMk cId="1002023985" sldId="270"/>
            <ac:spMk id="79" creationId="{F1476AC4-694B-4D83-BFD8-8DCAA4BB1923}"/>
          </ac:spMkLst>
        </pc:spChg>
        <pc:spChg chg="add del mod modVis">
          <ac:chgData name="Joelle Brehm" userId="a518f54c-6985-42c0-8041-2bb16a414839" providerId="ADAL" clId="{12516E80-A0D9-4B76-86FD-A48ADB9E65BE}" dt="2024-01-01T20:03:58.850" v="33022"/>
          <ac:spMkLst>
            <pc:docMk/>
            <pc:sldMk cId="1002023985" sldId="270"/>
            <ac:spMk id="82" creationId="{A48BD8D5-524F-909E-7A3D-2B6219D8AB73}"/>
          </ac:spMkLst>
        </pc:spChg>
        <pc:spChg chg="add mod replST">
          <ac:chgData name="Joelle Brehm" userId="a518f54c-6985-42c0-8041-2bb16a414839" providerId="ADAL" clId="{12516E80-A0D9-4B76-86FD-A48ADB9E65BE}" dt="2024-01-01T20:03:57.996" v="32950"/>
          <ac:spMkLst>
            <pc:docMk/>
            <pc:sldMk cId="1002023985" sldId="270"/>
            <ac:spMk id="84" creationId="{D255AD58-A889-F8FC-A08F-0901B0C611A0}"/>
          </ac:spMkLst>
        </pc:spChg>
        <pc:spChg chg="add mod replST">
          <ac:chgData name="Joelle Brehm" userId="a518f54c-6985-42c0-8041-2bb16a414839" providerId="ADAL" clId="{12516E80-A0D9-4B76-86FD-A48ADB9E65BE}" dt="2024-01-01T20:03:57.996" v="32950"/>
          <ac:spMkLst>
            <pc:docMk/>
            <pc:sldMk cId="1002023985" sldId="270"/>
            <ac:spMk id="85" creationId="{560AF236-9C95-7AB4-0800-5ADB2CF8C757}"/>
          </ac:spMkLst>
        </pc:spChg>
        <pc:spChg chg="add del mod modVis">
          <ac:chgData name="Joelle Brehm" userId="a518f54c-6985-42c0-8041-2bb16a414839" providerId="ADAL" clId="{12516E80-A0D9-4B76-86FD-A48ADB9E65BE}" dt="2024-01-01T20:03:57.996" v="32950"/>
          <ac:spMkLst>
            <pc:docMk/>
            <pc:sldMk cId="1002023985" sldId="270"/>
            <ac:spMk id="86" creationId="{EB574D2B-74A0-D488-F487-3A047859BA6A}"/>
          </ac:spMkLst>
        </pc:spChg>
        <pc:spChg chg="add mod replST">
          <ac:chgData name="Joelle Brehm" userId="a518f54c-6985-42c0-8041-2bb16a414839" providerId="ADAL" clId="{12516E80-A0D9-4B76-86FD-A48ADB9E65BE}" dt="2024-01-01T20:04:08.508" v="33582"/>
          <ac:spMkLst>
            <pc:docMk/>
            <pc:sldMk cId="1002023985" sldId="270"/>
            <ac:spMk id="88" creationId="{91E08683-BD8A-2696-B487-373E988A9B5F}"/>
          </ac:spMkLst>
        </pc:spChg>
        <pc:spChg chg="add del mod modVis">
          <ac:chgData name="Joelle Brehm" userId="a518f54c-6985-42c0-8041-2bb16a414839" providerId="ADAL" clId="{12516E80-A0D9-4B76-86FD-A48ADB9E65BE}" dt="2024-01-01T20:04:08.508" v="33582"/>
          <ac:spMkLst>
            <pc:docMk/>
            <pc:sldMk cId="1002023985" sldId="270"/>
            <ac:spMk id="89" creationId="{D04C8D87-DB11-BA46-4FBB-F31F36613587}"/>
          </ac:spMkLst>
        </pc:spChg>
        <pc:spChg chg="add del mod modVis">
          <ac:chgData name="Joelle Brehm" userId="a518f54c-6985-42c0-8041-2bb16a414839" providerId="ADAL" clId="{12516E80-A0D9-4B76-86FD-A48ADB9E65BE}" dt="2024-01-01T20:04:25.811" v="34233"/>
          <ac:spMkLst>
            <pc:docMk/>
            <pc:sldMk cId="1002023985" sldId="270"/>
            <ac:spMk id="91" creationId="{52135126-7B76-6258-2A67-A252AAD1D11C}"/>
          </ac:spMkLst>
        </pc:spChg>
        <pc:spChg chg="add mod replST">
          <ac:chgData name="Joelle Brehm" userId="a518f54c-6985-42c0-8041-2bb16a414839" providerId="ADAL" clId="{12516E80-A0D9-4B76-86FD-A48ADB9E65BE}" dt="2024-01-01T20:06:11.726" v="35902"/>
          <ac:spMkLst>
            <pc:docMk/>
            <pc:sldMk cId="1002023985" sldId="270"/>
            <ac:spMk id="93" creationId="{B1BBD422-A0F8-8CC0-B23C-8A9CB3A1C6D6}"/>
          </ac:spMkLst>
        </pc:spChg>
        <pc:spChg chg="add mod replST">
          <ac:chgData name="Joelle Brehm" userId="a518f54c-6985-42c0-8041-2bb16a414839" providerId="ADAL" clId="{12516E80-A0D9-4B76-86FD-A48ADB9E65BE}" dt="2024-01-01T20:06:11.726" v="35903"/>
          <ac:spMkLst>
            <pc:docMk/>
            <pc:sldMk cId="1002023985" sldId="270"/>
            <ac:spMk id="94" creationId="{51EBDFDB-5209-9250-277A-278A1E76D5CD}"/>
          </ac:spMkLst>
        </pc:spChg>
        <pc:spChg chg="add del mod modVis">
          <ac:chgData name="Joelle Brehm" userId="a518f54c-6985-42c0-8041-2bb16a414839" providerId="ADAL" clId="{12516E80-A0D9-4B76-86FD-A48ADB9E65BE}" dt="2024-01-01T20:04:44.911" v="34639"/>
          <ac:spMkLst>
            <pc:docMk/>
            <pc:sldMk cId="1002023985" sldId="270"/>
            <ac:spMk id="95" creationId="{D571E7B6-F049-ED7D-81AF-B9EE43447020}"/>
          </ac:spMkLst>
        </pc:spChg>
        <pc:spChg chg="add mod replST">
          <ac:chgData name="Joelle Brehm" userId="a518f54c-6985-42c0-8041-2bb16a414839" providerId="ADAL" clId="{12516E80-A0D9-4B76-86FD-A48ADB9E65BE}" dt="2024-01-01T20:06:11.726" v="35904"/>
          <ac:spMkLst>
            <pc:docMk/>
            <pc:sldMk cId="1002023985" sldId="270"/>
            <ac:spMk id="97" creationId="{C2B1B1FC-2665-491D-9D8C-8903880B36C8}"/>
          </ac:spMkLst>
        </pc:spChg>
        <pc:spChg chg="add del mod modVis">
          <ac:chgData name="Joelle Brehm" userId="a518f54c-6985-42c0-8041-2bb16a414839" providerId="ADAL" clId="{12516E80-A0D9-4B76-86FD-A48ADB9E65BE}" dt="2024-01-01T20:04:49.121" v="34861"/>
          <ac:spMkLst>
            <pc:docMk/>
            <pc:sldMk cId="1002023985" sldId="270"/>
            <ac:spMk id="98" creationId="{505AF9B6-D6D0-D4E2-4C80-D1CEE0F1754F}"/>
          </ac:spMkLst>
        </pc:spChg>
        <pc:spChg chg="mod ord">
          <ac:chgData name="Joelle Brehm" userId="a518f54c-6985-42c0-8041-2bb16a414839" providerId="ADAL" clId="{12516E80-A0D9-4B76-86FD-A48ADB9E65BE}" dt="2024-01-01T20:06:11.742" v="35913"/>
          <ac:spMkLst>
            <pc:docMk/>
            <pc:sldMk cId="1002023985" sldId="270"/>
            <ac:spMk id="100" creationId="{8B5667AB-609C-4AEA-83B3-24E395C8F420}"/>
          </ac:spMkLst>
        </pc:spChg>
        <pc:spChg chg="add del mod modVis">
          <ac:chgData name="Joelle Brehm" userId="a518f54c-6985-42c0-8041-2bb16a414839" providerId="ADAL" clId="{12516E80-A0D9-4B76-86FD-A48ADB9E65BE}" dt="2024-01-01T20:04:51.725" v="35128"/>
          <ac:spMkLst>
            <pc:docMk/>
            <pc:sldMk cId="1002023985" sldId="270"/>
            <ac:spMk id="101" creationId="{1BF5AEBB-1389-D678-7309-F180DAADC5B5}"/>
          </ac:spMkLst>
        </pc:spChg>
        <pc:spChg chg="add mod replST">
          <ac:chgData name="Joelle Brehm" userId="a518f54c-6985-42c0-8041-2bb16a414839" providerId="ADAL" clId="{12516E80-A0D9-4B76-86FD-A48ADB9E65BE}" dt="2024-01-01T20:06:11.726" v="35905"/>
          <ac:spMkLst>
            <pc:docMk/>
            <pc:sldMk cId="1002023985" sldId="270"/>
            <ac:spMk id="103" creationId="{7690AA4A-71C2-2257-266C-E805FC265889}"/>
          </ac:spMkLst>
        </pc:spChg>
        <pc:spChg chg="add del mod modVis">
          <ac:chgData name="Joelle Brehm" userId="a518f54c-6985-42c0-8041-2bb16a414839" providerId="ADAL" clId="{12516E80-A0D9-4B76-86FD-A48ADB9E65BE}" dt="2024-01-01T20:05:31.857" v="35344"/>
          <ac:spMkLst>
            <pc:docMk/>
            <pc:sldMk cId="1002023985" sldId="270"/>
            <ac:spMk id="104" creationId="{DD1C9ECB-FCED-B205-E852-62EE9134E3A8}"/>
          </ac:spMkLst>
        </pc:spChg>
        <pc:spChg chg="add del mod modVis">
          <ac:chgData name="Joelle Brehm" userId="a518f54c-6985-42c0-8041-2bb16a414839" providerId="ADAL" clId="{12516E80-A0D9-4B76-86FD-A48ADB9E65BE}" dt="2024-01-01T20:05:42.978" v="35525"/>
          <ac:spMkLst>
            <pc:docMk/>
            <pc:sldMk cId="1002023985" sldId="270"/>
            <ac:spMk id="106" creationId="{ADE06E40-578B-E148-81AC-48F629AE3832}"/>
          </ac:spMkLst>
        </pc:spChg>
        <pc:spChg chg="mod ord">
          <ac:chgData name="Joelle Brehm" userId="a518f54c-6985-42c0-8041-2bb16a414839" providerId="ADAL" clId="{12516E80-A0D9-4B76-86FD-A48ADB9E65BE}" dt="2024-01-01T20:06:11.742" v="35915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20:06:11.742" v="35917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20:06:11.742" v="35919"/>
          <ac:spMkLst>
            <pc:docMk/>
            <pc:sldMk cId="1002023985" sldId="270"/>
            <ac:spMk id="110" creationId="{76D5A471-E342-4112-9B61-678EA0C3F282}"/>
          </ac:spMkLst>
        </pc:spChg>
        <pc:spChg chg="add mod replST">
          <ac:chgData name="Joelle Brehm" userId="a518f54c-6985-42c0-8041-2bb16a414839" providerId="ADAL" clId="{12516E80-A0D9-4B76-86FD-A48ADB9E65BE}" dt="2024-01-01T20:06:11.726" v="35906"/>
          <ac:spMkLst>
            <pc:docMk/>
            <pc:sldMk cId="1002023985" sldId="270"/>
            <ac:spMk id="111" creationId="{DD839E76-A267-BB7D-5F18-E1B3B8823A3B}"/>
          </ac:spMkLst>
        </pc:spChg>
        <pc:spChg chg="add del mod modVis">
          <ac:chgData name="Joelle Brehm" userId="a518f54c-6985-42c0-8041-2bb16a414839" providerId="ADAL" clId="{12516E80-A0D9-4B76-86FD-A48ADB9E65BE}" dt="2024-01-01T20:06:05.463" v="35743"/>
          <ac:spMkLst>
            <pc:docMk/>
            <pc:sldMk cId="1002023985" sldId="270"/>
            <ac:spMk id="112" creationId="{FCCA4847-0BAC-E6F0-231F-4CD1C270705A}"/>
          </ac:spMkLst>
        </pc:spChg>
        <pc:spChg chg="add del mod modVis">
          <ac:chgData name="Joelle Brehm" userId="a518f54c-6985-42c0-8041-2bb16a414839" providerId="ADAL" clId="{12516E80-A0D9-4B76-86FD-A48ADB9E65BE}" dt="2024-01-01T20:06:11.742" v="35936"/>
          <ac:spMkLst>
            <pc:docMk/>
            <pc:sldMk cId="1002023985" sldId="270"/>
            <ac:spMk id="114" creationId="{CC8BE1A3-C5A9-AAAA-A81F-ADBA9CEB8BD4}"/>
          </ac:spMkLst>
        </pc:spChg>
        <pc:spChg chg="mod">
          <ac:chgData name="Joelle Brehm" userId="a518f54c-6985-42c0-8041-2bb16a414839" providerId="ADAL" clId="{12516E80-A0D9-4B76-86FD-A48ADB9E65BE}" dt="2024-01-01T20:06:11.742" v="35922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42" v="35923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42" v="35924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6:11.742" v="35925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20:06:11.742" v="35926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12516E80-A0D9-4B76-86FD-A48ADB9E65BE}" dt="2024-01-01T20:06:11.726" v="35880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12516E80-A0D9-4B76-86FD-A48ADB9E65BE}" dt="2024-01-01T20:06:11.758" v="35938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20:03:05.103" v="30934"/>
          <ac:graphicFrameMkLst>
            <pc:docMk/>
            <pc:sldMk cId="1002023985" sldId="270"/>
            <ac:graphicFrameMk id="8" creationId="{F6E9AD4E-A56B-73B8-0427-4D70249B0E8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6:11.710" v="35848"/>
          <ac:graphicFrameMkLst>
            <pc:docMk/>
            <pc:sldMk cId="1002023985" sldId="270"/>
            <ac:graphicFrameMk id="31" creationId="{DC8B7FE7-B0FD-ED27-3856-B88AC4C61D69}"/>
          </ac:graphicFrameMkLst>
        </pc:graphicFrameChg>
        <pc:graphicFrameChg chg="add mod ord replST delST">
          <ac:chgData name="Joelle Brehm" userId="a518f54c-6985-42c0-8041-2bb16a414839" providerId="ADAL" clId="{12516E80-A0D9-4B76-86FD-A48ADB9E65BE}" dt="2024-01-01T20:04:10.797" v="34039"/>
          <ac:graphicFrameMkLst>
            <pc:docMk/>
            <pc:sldMk cId="1002023985" sldId="270"/>
            <ac:graphicFrameMk id="38" creationId="{7106CE4E-5C21-BC3E-CD76-E1EA25917293}"/>
          </ac:graphicFrameMkLst>
        </pc:graphicFrameChg>
        <pc:graphicFrameChg chg="add del mod ord replST delST">
          <ac:chgData name="Joelle Brehm" userId="a518f54c-6985-42c0-8041-2bb16a414839" providerId="ADAL" clId="{12516E80-A0D9-4B76-86FD-A48ADB9E65BE}" dt="2024-01-01T20:04:10.256" v="33960"/>
          <ac:graphicFrameMkLst>
            <pc:docMk/>
            <pc:sldMk cId="1002023985" sldId="270"/>
            <ac:graphicFrameMk id="63" creationId="{9DCF943C-8601-03C9-78F3-A675D8367F9C}"/>
          </ac:graphicFrameMkLst>
        </pc:graphicFrameChg>
        <pc:graphicFrameChg chg="add del mod ord replST delST">
          <ac:chgData name="Joelle Brehm" userId="a518f54c-6985-42c0-8041-2bb16a414839" providerId="ADAL" clId="{12516E80-A0D9-4B76-86FD-A48ADB9E65BE}" dt="2024-01-01T20:04:09.565" v="33794"/>
          <ac:graphicFrameMkLst>
            <pc:docMk/>
            <pc:sldMk cId="1002023985" sldId="270"/>
            <ac:graphicFrameMk id="66" creationId="{2DC1595F-E84F-93AC-2AB5-7618E8ABA081}"/>
          </ac:graphicFrameMkLst>
        </pc:graphicFrameChg>
        <pc:graphicFrameChg chg="add del mod ord replST delST">
          <ac:chgData name="Joelle Brehm" userId="a518f54c-6985-42c0-8041-2bb16a414839" providerId="ADAL" clId="{12516E80-A0D9-4B76-86FD-A48ADB9E65BE}" dt="2024-01-01T20:04:09.213" v="33723"/>
          <ac:graphicFrameMkLst>
            <pc:docMk/>
            <pc:sldMk cId="1002023985" sldId="270"/>
            <ac:graphicFrameMk id="75" creationId="{F08E2571-CA47-9D5C-5E9B-C7F6C3EF901A}"/>
          </ac:graphicFrameMkLst>
        </pc:graphicFrameChg>
        <pc:graphicFrameChg chg="add del mod ord">
          <ac:chgData name="Joelle Brehm" userId="a518f54c-6985-42c0-8041-2bb16a414839" providerId="ADAL" clId="{12516E80-A0D9-4B76-86FD-A48ADB9E65BE}" dt="2024-01-01T20:04:44.861" v="34534"/>
          <ac:graphicFrameMkLst>
            <pc:docMk/>
            <pc:sldMk cId="1002023985" sldId="270"/>
            <ac:graphicFrameMk id="76" creationId="{0FFDB30D-353D-6D9B-BFDE-92AAAAC7EB7F}"/>
          </ac:graphicFrameMkLst>
        </pc:graphicFrameChg>
        <pc:graphicFrameChg chg="add del mod ord">
          <ac:chgData name="Joelle Brehm" userId="a518f54c-6985-42c0-8041-2bb16a414839" providerId="ADAL" clId="{12516E80-A0D9-4B76-86FD-A48ADB9E65BE}" dt="2024-01-01T20:04:25.698" v="34131"/>
          <ac:graphicFrameMkLst>
            <pc:docMk/>
            <pc:sldMk cId="1002023985" sldId="270"/>
            <ac:graphicFrameMk id="80" creationId="{AB081A0C-CBBD-9BAD-1C5E-EB18ED04D5CA}"/>
          </ac:graphicFrameMkLst>
        </pc:graphicFrameChg>
        <pc:graphicFrameChg chg="add del mod ord replST delST">
          <ac:chgData name="Joelle Brehm" userId="a518f54c-6985-42c0-8041-2bb16a414839" providerId="ADAL" clId="{12516E80-A0D9-4B76-86FD-A48ADB9E65BE}" dt="2024-01-01T20:04:08.800" v="33657"/>
          <ac:graphicFrameMkLst>
            <pc:docMk/>
            <pc:sldMk cId="1002023985" sldId="270"/>
            <ac:graphicFrameMk id="81" creationId="{E70FCFA1-FFDB-15B9-7D3C-322BB9F965EE}"/>
          </ac:graphicFrameMkLst>
        </pc:graphicFrameChg>
        <pc:graphicFrameChg chg="add del mod ord replST delST">
          <ac:chgData name="Joelle Brehm" userId="a518f54c-6985-42c0-8041-2bb16a414839" providerId="ADAL" clId="{12516E80-A0D9-4B76-86FD-A48ADB9E65BE}" dt="2024-01-01T20:03:58.850" v="33022"/>
          <ac:graphicFrameMkLst>
            <pc:docMk/>
            <pc:sldMk cId="1002023985" sldId="270"/>
            <ac:graphicFrameMk id="83" creationId="{030EE538-2894-8B6F-176A-BD95731FCD10}"/>
          </ac:graphicFrameMkLst>
        </pc:graphicFrameChg>
        <pc:graphicFrameChg chg="add mod ord replST delST">
          <ac:chgData name="Joelle Brehm" userId="a518f54c-6985-42c0-8041-2bb16a414839" providerId="ADAL" clId="{12516E80-A0D9-4B76-86FD-A48ADB9E65BE}" dt="2024-01-01T20:03:57.996" v="32950"/>
          <ac:graphicFrameMkLst>
            <pc:docMk/>
            <pc:sldMk cId="1002023985" sldId="270"/>
            <ac:graphicFrameMk id="87" creationId="{79DDBDDE-586B-FBA2-1EC9-C66252846D6E}"/>
          </ac:graphicFrameMkLst>
        </pc:graphicFrameChg>
        <pc:graphicFrameChg chg="add mod ord replST delST">
          <ac:chgData name="Joelle Brehm" userId="a518f54c-6985-42c0-8041-2bb16a414839" providerId="ADAL" clId="{12516E80-A0D9-4B76-86FD-A48ADB9E65BE}" dt="2024-01-01T20:04:08.508" v="33582"/>
          <ac:graphicFrameMkLst>
            <pc:docMk/>
            <pc:sldMk cId="1002023985" sldId="270"/>
            <ac:graphicFrameMk id="90" creationId="{8902CDA0-709C-43E4-C1D4-8A9C3CA81218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6:11.742" v="35921"/>
          <ac:graphicFrameMkLst>
            <pc:docMk/>
            <pc:sldMk cId="1002023985" sldId="270"/>
            <ac:graphicFrameMk id="92" creationId="{FE5191B7-76AE-CE0A-7CA9-6F39D82D47B9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4:49.038" v="34755"/>
          <ac:graphicFrameMkLst>
            <pc:docMk/>
            <pc:sldMk cId="1002023985" sldId="270"/>
            <ac:graphicFrameMk id="96" creationId="{FF1C55FE-185E-2D72-A483-3FB024F0F36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4:51.603" v="35026"/>
          <ac:graphicFrameMkLst>
            <pc:docMk/>
            <pc:sldMk cId="1002023985" sldId="270"/>
            <ac:graphicFrameMk id="99" creationId="{C7724FDC-8D66-1657-5632-35A4EC32F72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5:31.730" v="35241"/>
          <ac:graphicFrameMkLst>
            <pc:docMk/>
            <pc:sldMk cId="1002023985" sldId="270"/>
            <ac:graphicFrameMk id="102" creationId="{5DFA22A5-FC22-33A4-11C5-3CA4BDE3D85C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5:42.821" v="35423"/>
          <ac:graphicFrameMkLst>
            <pc:docMk/>
            <pc:sldMk cId="1002023985" sldId="270"/>
            <ac:graphicFrameMk id="105" creationId="{517B6B2A-0547-E6AD-8FA9-70CCC1E02C9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6:05.325" v="35640"/>
          <ac:graphicFrameMkLst>
            <pc:docMk/>
            <pc:sldMk cId="1002023985" sldId="270"/>
            <ac:graphicFrameMk id="107" creationId="{92CB538B-BE17-706A-3675-827E0FC87E5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6:11.678" v="35834"/>
          <ac:graphicFrameMkLst>
            <pc:docMk/>
            <pc:sldMk cId="1002023985" sldId="270"/>
            <ac:graphicFrameMk id="113" creationId="{8AEF6DA4-16C1-A827-F361-2DB080F70E1D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6:11.726" v="35875"/>
          <ac:graphicFrameMkLst>
            <pc:docMk/>
            <pc:sldMk cId="1002023985" sldId="270"/>
            <ac:graphicFrameMk id="115" creationId="{BD8CE6DF-FEE6-3FF7-496B-B06FD75BBD8C}"/>
          </ac:graphicFrameMkLst>
        </pc:graphicFrameChg>
        <pc:picChg chg="del mod ord">
          <ac:chgData name="Joelle Brehm" userId="a518f54c-6985-42c0-8041-2bb16a414839" providerId="ADAL" clId="{12516E80-A0D9-4B76-86FD-A48ADB9E65BE}" dt="2024-01-01T20:03:22.109" v="31156" actId="478"/>
          <ac:picMkLst>
            <pc:docMk/>
            <pc:sldMk cId="1002023985" sldId="270"/>
            <ac:picMk id="9" creationId="{4EA4E923-62BC-002E-F2C5-1E5CE359FDCC}"/>
          </ac:picMkLst>
        </pc:picChg>
        <pc:picChg chg="add mod ord">
          <ac:chgData name="Joelle Brehm" userId="a518f54c-6985-42c0-8041-2bb16a414839" providerId="ADAL" clId="{12516E80-A0D9-4B76-86FD-A48ADB9E65BE}" dt="2024-01-01T20:06:11.710" v="35842"/>
          <ac:picMkLst>
            <pc:docMk/>
            <pc:sldMk cId="1002023985" sldId="270"/>
            <ac:picMk id="35" creationId="{62107706-A9D9-4F59-535E-551E24A22EDB}"/>
          </ac:picMkLst>
        </pc:picChg>
        <pc:picChg chg="mod ord">
          <ac:chgData name="Joelle Brehm" userId="a518f54c-6985-42c0-8041-2bb16a414839" providerId="ADAL" clId="{12516E80-A0D9-4B76-86FD-A48ADB9E65BE}" dt="2024-01-01T20:06:11.742" v="35930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12516E80-A0D9-4B76-86FD-A48ADB9E65BE}" dt="2024-01-01T20:06:11.742" v="35928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20:06:11.710" v="35846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51:34.653" v="18127"/>
        <pc:sldMkLst>
          <pc:docMk/>
          <pc:sldMk cId="2815334483" sldId="271"/>
        </pc:sldMkLst>
        <pc:spChg chg="add del mod">
          <ac:chgData name="Joelle Brehm" userId="a518f54c-6985-42c0-8041-2bb16a414839" providerId="ADAL" clId="{12516E80-A0D9-4B76-86FD-A48ADB9E65BE}" dt="2024-01-01T19:48:52.366" v="16518" actId="478"/>
          <ac:spMkLst>
            <pc:docMk/>
            <pc:sldMk cId="2815334483" sldId="271"/>
            <ac:spMk id="2" creationId="{B645230A-023F-593E-FC8B-626133575C0A}"/>
          </ac:spMkLst>
        </pc:spChg>
        <pc:spChg chg="mod ord">
          <ac:chgData name="Joelle Brehm" userId="a518f54c-6985-42c0-8041-2bb16a414839" providerId="ADAL" clId="{12516E80-A0D9-4B76-86FD-A48ADB9E65BE}" dt="2024-01-01T19:51:34.637" v="18121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12516E80-A0D9-4B76-86FD-A48ADB9E65BE}" dt="2024-01-01T19:49:05.193" v="16723"/>
          <ac:spMkLst>
            <pc:docMk/>
            <pc:sldMk cId="2815334483" sldId="271"/>
            <ac:spMk id="5" creationId="{AC7167CC-0450-ECB8-AE9F-85612A941A87}"/>
          </ac:spMkLst>
        </pc:spChg>
        <pc:spChg chg="mod ord">
          <ac:chgData name="Joelle Brehm" userId="a518f54c-6985-42c0-8041-2bb16a414839" providerId="ADAL" clId="{12516E80-A0D9-4B76-86FD-A48ADB9E65BE}" dt="2024-01-01T19:51:34.621" v="18056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51:34.637" v="18086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12516E80-A0D9-4B76-86FD-A48ADB9E65BE}" dt="2024-01-01T19:51:34.621" v="18067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51:34.621" v="18063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51:34.621" v="18064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51:34.621" v="18061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51:34.621" v="18062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51:34.621" v="18065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51:34.621" v="18066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51:34.621" v="18068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51:34.621" v="18069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51:34.621" v="18070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51:34.621" v="18071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51:34.621" v="18072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51:34.621" v="18074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51:34.621" v="18075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51:34.621" v="18077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51:34.621" v="18076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51:34.621" v="18079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51:34.621" v="18080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51:34.621" v="18078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51:34.637" v="18082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51:34.637" v="18089"/>
          <ac:spMkLst>
            <pc:docMk/>
            <pc:sldMk cId="2815334483" sldId="271"/>
            <ac:spMk id="32" creationId="{8777249A-D943-16C1-E900-269856ADE995}"/>
          </ac:spMkLst>
        </pc:spChg>
        <pc:spChg chg="mod">
          <ac:chgData name="Joelle Brehm" userId="a518f54c-6985-42c0-8041-2bb16a414839" providerId="ADAL" clId="{12516E80-A0D9-4B76-86FD-A48ADB9E65BE}" dt="2024-01-01T19:51:34.637" v="18095"/>
          <ac:spMkLst>
            <pc:docMk/>
            <pc:sldMk cId="2815334483" sldId="271"/>
            <ac:spMk id="34" creationId="{A8CE6006-892B-02A7-FD6F-1A7CFF52A860}"/>
          </ac:spMkLst>
        </pc:spChg>
        <pc:spChg chg="add mod replST">
          <ac:chgData name="Joelle Brehm" userId="a518f54c-6985-42c0-8041-2bb16a414839" providerId="ADAL" clId="{12516E80-A0D9-4B76-86FD-A48ADB9E65BE}" dt="2024-01-01T19:51:34.637" v="18112"/>
          <ac:spMkLst>
            <pc:docMk/>
            <pc:sldMk cId="2815334483" sldId="271"/>
            <ac:spMk id="35" creationId="{45572655-755F-8D0B-3A48-D4124A0ED0D7}"/>
          </ac:spMkLst>
        </pc:spChg>
        <pc:spChg chg="del mod">
          <ac:chgData name="Joelle Brehm" userId="a518f54c-6985-42c0-8041-2bb16a414839" providerId="ADAL" clId="{12516E80-A0D9-4B76-86FD-A48ADB9E65BE}" dt="2024-01-01T19:51:26.839" v="17818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12516E80-A0D9-4B76-86FD-A48ADB9E65BE}" dt="2024-01-01T19:51:34.637" v="18085"/>
          <ac:spMkLst>
            <pc:docMk/>
            <pc:sldMk cId="2815334483" sldId="271"/>
            <ac:spMk id="37" creationId="{3DD674ED-1D1B-D5B2-8B23-FE127DE17AA5}"/>
          </ac:spMkLst>
        </pc:spChg>
        <pc:spChg chg="add mod replST">
          <ac:chgData name="Joelle Brehm" userId="a518f54c-6985-42c0-8041-2bb16a414839" providerId="ADAL" clId="{12516E80-A0D9-4B76-86FD-A48ADB9E65BE}" dt="2024-01-01T19:51:34.637" v="18113"/>
          <ac:spMkLst>
            <pc:docMk/>
            <pc:sldMk cId="2815334483" sldId="271"/>
            <ac:spMk id="38" creationId="{93F58660-4061-9E2B-E06A-098BB1CF0FFF}"/>
          </ac:spMkLst>
        </pc:spChg>
        <pc:spChg chg="mod">
          <ac:chgData name="Joelle Brehm" userId="a518f54c-6985-42c0-8041-2bb16a414839" providerId="ADAL" clId="{12516E80-A0D9-4B76-86FD-A48ADB9E65BE}" dt="2024-01-01T19:51:34.637" v="18094"/>
          <ac:spMkLst>
            <pc:docMk/>
            <pc:sldMk cId="2815334483" sldId="271"/>
            <ac:spMk id="39" creationId="{3FE8D96F-1EA9-E112-7607-E4758CD02F39}"/>
          </ac:spMkLst>
        </pc:spChg>
        <pc:spChg chg="add mod replST">
          <ac:chgData name="Joelle Brehm" userId="a518f54c-6985-42c0-8041-2bb16a414839" providerId="ADAL" clId="{12516E80-A0D9-4B76-86FD-A48ADB9E65BE}" dt="2024-01-01T19:51:34.637" v="18114"/>
          <ac:spMkLst>
            <pc:docMk/>
            <pc:sldMk cId="2815334483" sldId="271"/>
            <ac:spMk id="40" creationId="{33780D94-8B0A-E364-5A19-A4B2AB6B6976}"/>
          </ac:spMkLst>
        </pc:spChg>
        <pc:spChg chg="mod">
          <ac:chgData name="Joelle Brehm" userId="a518f54c-6985-42c0-8041-2bb16a414839" providerId="ADAL" clId="{12516E80-A0D9-4B76-86FD-A48ADB9E65BE}" dt="2024-01-01T19:51:34.637" v="18090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12516E80-A0D9-4B76-86FD-A48ADB9E65BE}" dt="2024-01-01T19:51:34.637" v="18087"/>
          <ac:spMkLst>
            <pc:docMk/>
            <pc:sldMk cId="2815334483" sldId="271"/>
            <ac:spMk id="42" creationId="{6259DA9A-2854-0028-25DD-8E34BDEB2937}"/>
          </ac:spMkLst>
        </pc:spChg>
        <pc:spChg chg="add mod replST">
          <ac:chgData name="Joelle Brehm" userId="a518f54c-6985-42c0-8041-2bb16a414839" providerId="ADAL" clId="{12516E80-A0D9-4B76-86FD-A48ADB9E65BE}" dt="2024-01-01T19:51:34.637" v="18115"/>
          <ac:spMkLst>
            <pc:docMk/>
            <pc:sldMk cId="2815334483" sldId="271"/>
            <ac:spMk id="43" creationId="{5D904BC7-CC0E-1989-F3A8-B1ADF5AF819F}"/>
          </ac:spMkLst>
        </pc:spChg>
        <pc:spChg chg="mod">
          <ac:chgData name="Joelle Brehm" userId="a518f54c-6985-42c0-8041-2bb16a414839" providerId="ADAL" clId="{12516E80-A0D9-4B76-86FD-A48ADB9E65BE}" dt="2024-01-01T19:51:34.637" v="18091"/>
          <ac:spMkLst>
            <pc:docMk/>
            <pc:sldMk cId="2815334483" sldId="271"/>
            <ac:spMk id="44" creationId="{2A226A46-FF6E-9786-3934-AE547CB60305}"/>
          </ac:spMkLst>
        </pc:spChg>
        <pc:spChg chg="add del mod modVis">
          <ac:chgData name="Joelle Brehm" userId="a518f54c-6985-42c0-8041-2bb16a414839" providerId="ADAL" clId="{12516E80-A0D9-4B76-86FD-A48ADB9E65BE}" dt="2024-01-01T19:51:09.395" v="17085"/>
          <ac:spMkLst>
            <pc:docMk/>
            <pc:sldMk cId="2815334483" sldId="271"/>
            <ac:spMk id="45" creationId="{625B66EC-0904-1CF4-B953-045368B06F84}"/>
          </ac:spMkLst>
        </pc:spChg>
        <pc:spChg chg="mod">
          <ac:chgData name="Joelle Brehm" userId="a518f54c-6985-42c0-8041-2bb16a414839" providerId="ADAL" clId="{12516E80-A0D9-4B76-86FD-A48ADB9E65BE}" dt="2024-01-01T19:51:34.637" v="18092"/>
          <ac:spMkLst>
            <pc:docMk/>
            <pc:sldMk cId="2815334483" sldId="271"/>
            <ac:spMk id="46" creationId="{930ECC5A-4534-E4CB-B946-9975134BC620}"/>
          </ac:spMkLst>
        </pc:spChg>
        <pc:spChg chg="mod">
          <ac:chgData name="Joelle Brehm" userId="a518f54c-6985-42c0-8041-2bb16a414839" providerId="ADAL" clId="{12516E80-A0D9-4B76-86FD-A48ADB9E65BE}" dt="2024-01-01T19:51:34.637" v="18088"/>
          <ac:spMkLst>
            <pc:docMk/>
            <pc:sldMk cId="2815334483" sldId="271"/>
            <ac:spMk id="48" creationId="{E51CFCE3-4E32-6059-9327-A1EFC827F040}"/>
          </ac:spMkLst>
        </pc:spChg>
        <pc:spChg chg="add mod replST">
          <ac:chgData name="Joelle Brehm" userId="a518f54c-6985-42c0-8041-2bb16a414839" providerId="ADAL" clId="{12516E80-A0D9-4B76-86FD-A48ADB9E65BE}" dt="2024-01-01T19:51:34.637" v="18096"/>
          <ac:spMkLst>
            <pc:docMk/>
            <pc:sldMk cId="2815334483" sldId="271"/>
            <ac:spMk id="51" creationId="{D8AE21DE-2650-D35B-B0CE-FC60DFB87981}"/>
          </ac:spMkLst>
        </pc:spChg>
        <pc:spChg chg="add del mod modVis">
          <ac:chgData name="Joelle Brehm" userId="a518f54c-6985-42c0-8041-2bb16a414839" providerId="ADAL" clId="{12516E80-A0D9-4B76-86FD-A48ADB9E65BE}" dt="2024-01-01T19:51:23.525" v="17681"/>
          <ac:spMkLst>
            <pc:docMk/>
            <pc:sldMk cId="2815334483" sldId="271"/>
            <ac:spMk id="52" creationId="{2353D9F5-EAC3-ECD0-49B3-E42FACC3561A}"/>
          </ac:spMkLst>
        </pc:spChg>
        <pc:spChg chg="mod">
          <ac:chgData name="Joelle Brehm" userId="a518f54c-6985-42c0-8041-2bb16a414839" providerId="ADAL" clId="{12516E80-A0D9-4B76-86FD-A48ADB9E65BE}" dt="2024-01-01T19:51:34.637" v="18093"/>
          <ac:spMkLst>
            <pc:docMk/>
            <pc:sldMk cId="2815334483" sldId="271"/>
            <ac:spMk id="54" creationId="{040A7AC0-BA49-481C-2E93-53505ECC740A}"/>
          </ac:spMkLst>
        </pc:spChg>
        <pc:spChg chg="add del mod modVis">
          <ac:chgData name="Joelle Brehm" userId="a518f54c-6985-42c0-8041-2bb16a414839" providerId="ADAL" clId="{12516E80-A0D9-4B76-86FD-A48ADB9E65BE}" dt="2024-01-01T19:51:25.274" v="17815"/>
          <ac:spMkLst>
            <pc:docMk/>
            <pc:sldMk cId="2815334483" sldId="271"/>
            <ac:spMk id="55" creationId="{E9E1CB85-091F-84A7-56E4-596640A320E9}"/>
          </ac:spMkLst>
        </pc:spChg>
        <pc:spChg chg="add del mod modVis">
          <ac:chgData name="Joelle Brehm" userId="a518f54c-6985-42c0-8041-2bb16a414839" providerId="ADAL" clId="{12516E80-A0D9-4B76-86FD-A48ADB9E65BE}" dt="2024-01-01T19:51:27.107" v="17993"/>
          <ac:spMkLst>
            <pc:docMk/>
            <pc:sldMk cId="2815334483" sldId="271"/>
            <ac:spMk id="57" creationId="{1211E572-9C96-8E98-B3BA-8774C54BDA33}"/>
          </ac:spMkLst>
        </pc:spChg>
        <pc:spChg chg="mod ord">
          <ac:chgData name="Joelle Brehm" userId="a518f54c-6985-42c0-8041-2bb16a414839" providerId="ADAL" clId="{12516E80-A0D9-4B76-86FD-A48ADB9E65BE}" dt="2024-01-01T19:51:34.637" v="18119"/>
          <ac:spMkLst>
            <pc:docMk/>
            <pc:sldMk cId="2815334483" sldId="271"/>
            <ac:spMk id="58" creationId="{13D3C19C-081E-48C7-8BE2-5EF3E8A1DEEB}"/>
          </ac:spMkLst>
        </pc:spChg>
        <pc:spChg chg="add del mod modVis">
          <ac:chgData name="Joelle Brehm" userId="a518f54c-6985-42c0-8041-2bb16a414839" providerId="ADAL" clId="{12516E80-A0D9-4B76-86FD-A48ADB9E65BE}" dt="2024-01-01T19:51:34.637" v="18125"/>
          <ac:spMkLst>
            <pc:docMk/>
            <pc:sldMk cId="2815334483" sldId="271"/>
            <ac:spMk id="60" creationId="{F6C58CE5-7CA5-FA3A-54D5-99B2A777F69A}"/>
          </ac:spMkLst>
        </pc:spChg>
        <pc:spChg chg="mod ord">
          <ac:chgData name="Joelle Brehm" userId="a518f54c-6985-42c0-8041-2bb16a414839" providerId="ADAL" clId="{12516E80-A0D9-4B76-86FD-A48ADB9E65BE}" dt="2024-01-01T19:51:34.637" v="18098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51:34.637" v="18100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19:51:34.637" v="18102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51:34.637" v="18104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51:34.637" v="18106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51:34.637" v="18108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51:34.637" v="18111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51:34.653" v="18127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49:05.061" v="16642"/>
          <ac:graphicFrameMkLst>
            <pc:docMk/>
            <pc:sldMk cId="2815334483" sldId="271"/>
            <ac:graphicFrameMk id="8" creationId="{3D06FA19-715A-B50B-DC95-B4DD9F70DB4F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1:34.621" v="18060"/>
          <ac:graphicFrameMkLst>
            <pc:docMk/>
            <pc:sldMk cId="2815334483" sldId="271"/>
            <ac:graphicFrameMk id="9" creationId="{395CDB5B-CE1A-CD7F-B1AD-B1A67DCAE73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1:12.800" v="17107"/>
          <ac:graphicFrameMkLst>
            <pc:docMk/>
            <pc:sldMk cId="2815334483" sldId="271"/>
            <ac:graphicFrameMk id="47" creationId="{A1CE2642-809E-701E-8E9D-B65FB74A1CE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1:14.870" v="17206"/>
          <ac:graphicFrameMkLst>
            <pc:docMk/>
            <pc:sldMk cId="2815334483" sldId="271"/>
            <ac:graphicFrameMk id="49" creationId="{B572C89B-CB29-D960-712E-38B262DCDBD2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1:34.637" v="18110"/>
          <ac:graphicFrameMkLst>
            <pc:docMk/>
            <pc:sldMk cId="2815334483" sldId="271"/>
            <ac:graphicFrameMk id="50" creationId="{3FED44BE-CF21-ABB6-0E74-151229D452D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1:25.142" v="17735"/>
          <ac:graphicFrameMkLst>
            <pc:docMk/>
            <pc:sldMk cId="2815334483" sldId="271"/>
            <ac:graphicFrameMk id="53" creationId="{FB1340E0-C469-5971-57B1-22594D84D9E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1:27.011" v="17914"/>
          <ac:graphicFrameMkLst>
            <pc:docMk/>
            <pc:sldMk cId="2815334483" sldId="271"/>
            <ac:graphicFrameMk id="56" creationId="{42261E24-7D53-2E62-39F9-9441BE1C64F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1:34.606" v="18046"/>
          <ac:graphicFrameMkLst>
            <pc:docMk/>
            <pc:sldMk cId="2815334483" sldId="271"/>
            <ac:graphicFrameMk id="59" creationId="{9FE631BB-7AD3-B022-4920-7A92C1D8C83C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1:34.637" v="18084"/>
          <ac:graphicFrameMkLst>
            <pc:docMk/>
            <pc:sldMk cId="2815334483" sldId="271"/>
            <ac:graphicFrameMk id="61" creationId="{6D78C517-2C22-0F98-A7D1-2C3A74560A5A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1:23.413" v="17595"/>
          <ac:graphicFrameMkLst>
            <pc:docMk/>
            <pc:sldMk cId="2815334483" sldId="271"/>
            <ac:graphicFrameMk id="66" creationId="{39552D7C-EC73-3CDD-EBCE-1D04833A81B6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1:09.337" v="17006"/>
          <ac:graphicFrameMkLst>
            <pc:docMk/>
            <pc:sldMk cId="2815334483" sldId="271"/>
            <ac:graphicFrameMk id="67" creationId="{20841721-E1E6-F8E0-8BED-A69A4E299CA0}"/>
          </ac:graphicFrameMkLst>
        </pc:graphicFrameChg>
        <pc:picChg chg="del mod ord">
          <ac:chgData name="Joelle Brehm" userId="a518f54c-6985-42c0-8041-2bb16a414839" providerId="ADAL" clId="{12516E80-A0D9-4B76-86FD-A48ADB9E65BE}" dt="2024-01-01T19:49:28.015" v="16826" actId="478"/>
          <ac:picMkLst>
            <pc:docMk/>
            <pc:sldMk cId="2815334483" sldId="271"/>
            <ac:picMk id="31" creationId="{0B4B16A3-6F48-6A83-43AE-45EBAB090EDF}"/>
          </ac:picMkLst>
        </pc:picChg>
        <pc:picChg chg="add mod ord">
          <ac:chgData name="Joelle Brehm" userId="a518f54c-6985-42c0-8041-2bb16a414839" providerId="ADAL" clId="{12516E80-A0D9-4B76-86FD-A48ADB9E65BE}" dt="2024-01-01T19:51:34.621" v="18054"/>
          <ac:picMkLst>
            <pc:docMk/>
            <pc:sldMk cId="2815334483" sldId="271"/>
            <ac:picMk id="33" creationId="{652D2DC7-5159-B9E5-C92E-08CFCFAF315F}"/>
          </ac:picMkLst>
        </pc:picChg>
        <pc:picChg chg="mod ord">
          <ac:chgData name="Joelle Brehm" userId="a518f54c-6985-42c0-8041-2bb16a414839" providerId="ADAL" clId="{12516E80-A0D9-4B76-86FD-A48ADB9E65BE}" dt="2024-01-01T19:51:34.637" v="18117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51:34.621" v="18058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53:03.176" v="19614"/>
        <pc:sldMkLst>
          <pc:docMk/>
          <pc:sldMk cId="1407012127" sldId="272"/>
        </pc:sldMkLst>
        <pc:spChg chg="mod ord">
          <ac:chgData name="Joelle Brehm" userId="a518f54c-6985-42c0-8041-2bb16a414839" providerId="ADAL" clId="{12516E80-A0D9-4B76-86FD-A48ADB9E65BE}" dt="2024-01-01T19:53:03.155" v="19608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12516E80-A0D9-4B76-86FD-A48ADB9E65BE}" dt="2024-01-01T19:51:53.210" v="18128" actId="478"/>
          <ac:spMkLst>
            <pc:docMk/>
            <pc:sldMk cId="1407012127" sldId="272"/>
            <ac:spMk id="3" creationId="{B45C338F-61CB-0E7F-C565-88756B1C77F9}"/>
          </ac:spMkLst>
        </pc:spChg>
        <pc:spChg chg="add del mod modVis">
          <ac:chgData name="Joelle Brehm" userId="a518f54c-6985-42c0-8041-2bb16a414839" providerId="ADAL" clId="{12516E80-A0D9-4B76-86FD-A48ADB9E65BE}" dt="2024-01-01T19:51:56.172" v="18343"/>
          <ac:spMkLst>
            <pc:docMk/>
            <pc:sldMk cId="1407012127" sldId="272"/>
            <ac:spMk id="5" creationId="{75482798-ED5B-3F2B-AF4A-411C79E7DBDC}"/>
          </ac:spMkLst>
        </pc:spChg>
        <pc:spChg chg="mod ord">
          <ac:chgData name="Joelle Brehm" userId="a518f54c-6985-42c0-8041-2bb16a414839" providerId="ADAL" clId="{12516E80-A0D9-4B76-86FD-A48ADB9E65BE}" dt="2024-01-01T19:53:03.127" v="19543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53:03.131" v="19554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53:03.129" v="19550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53:03.130" v="19551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53:03.129" v="19548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53:03.129" v="19549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53:03.130" v="19552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53:03.131" v="19553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53:03.131" v="19555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53:03.132" v="19556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53:03.132" v="19557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53:03.133" v="19558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53:03.133" v="19559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53:03.134" v="19561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53:03.134" v="19562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53:03.135" v="19564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53:03.135" v="19563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53:03.136" v="19566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53:03.137" v="19567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53:03.136" v="19565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53:03.137" v="19569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53:03.143" v="19578"/>
          <ac:spMkLst>
            <pc:docMk/>
            <pc:sldMk cId="1407012127" sldId="272"/>
            <ac:spMk id="31" creationId="{12D405BD-09A7-5DE2-D31C-098B6254BA48}"/>
          </ac:spMkLst>
        </pc:spChg>
        <pc:spChg chg="mod">
          <ac:chgData name="Joelle Brehm" userId="a518f54c-6985-42c0-8041-2bb16a414839" providerId="ADAL" clId="{12516E80-A0D9-4B76-86FD-A48ADB9E65BE}" dt="2024-01-01T19:53:03.144" v="19582"/>
          <ac:spMkLst>
            <pc:docMk/>
            <pc:sldMk cId="1407012127" sldId="272"/>
            <ac:spMk id="33" creationId="{DEE0E245-78E9-7A67-664E-EC2B0754BE35}"/>
          </ac:spMkLst>
        </pc:spChg>
        <pc:spChg chg="add del">
          <ac:chgData name="Joelle Brehm" userId="a518f54c-6985-42c0-8041-2bb16a414839" providerId="ADAL" clId="{12516E80-A0D9-4B76-86FD-A48ADB9E65BE}" dt="2024-01-01T19:52:03.258" v="18348" actId="22"/>
          <ac:spMkLst>
            <pc:docMk/>
            <pc:sldMk cId="1407012127" sldId="272"/>
            <ac:spMk id="34" creationId="{A9A6E60F-56FA-E4AE-8FE4-5E1D08FF67D0}"/>
          </ac:spMkLst>
        </pc:spChg>
        <pc:spChg chg="del mod">
          <ac:chgData name="Joelle Brehm" userId="a518f54c-6985-42c0-8041-2bb16a414839" providerId="ADAL" clId="{12516E80-A0D9-4B76-86FD-A48ADB9E65BE}" dt="2024-01-01T19:52:58.950" v="19292"/>
          <ac:spMkLst>
            <pc:docMk/>
            <pc:sldMk cId="1407012127" sldId="272"/>
            <ac:spMk id="35" creationId="{4B6310D6-23E5-0588-F042-388EAC57E1DA}"/>
          </ac:spMkLst>
        </pc:spChg>
        <pc:spChg chg="mod">
          <ac:chgData name="Joelle Brehm" userId="a518f54c-6985-42c0-8041-2bb16a414839" providerId="ADAL" clId="{12516E80-A0D9-4B76-86FD-A48ADB9E65BE}" dt="2024-01-01T19:53:03.143" v="19580"/>
          <ac:spMkLst>
            <pc:docMk/>
            <pc:sldMk cId="1407012127" sldId="272"/>
            <ac:spMk id="36" creationId="{C8D3E2C2-3C12-3A42-5737-E5E3D3EAF8EA}"/>
          </ac:spMkLst>
        </pc:spChg>
        <pc:spChg chg="mod">
          <ac:chgData name="Joelle Brehm" userId="a518f54c-6985-42c0-8041-2bb16a414839" providerId="ADAL" clId="{12516E80-A0D9-4B76-86FD-A48ADB9E65BE}" dt="2024-01-01T19:53:03.139" v="19572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12516E80-A0D9-4B76-86FD-A48ADB9E65BE}" dt="2024-01-01T19:53:03.139" v="19573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12516E80-A0D9-4B76-86FD-A48ADB9E65BE}" dt="2024-01-01T19:53:03.140" v="19575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12516E80-A0D9-4B76-86FD-A48ADB9E65BE}" dt="2024-01-01T19:53:03.141" v="19577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12516E80-A0D9-4B76-86FD-A48ADB9E65BE}" dt="2024-01-01T19:53:03.139" v="19574"/>
          <ac:spMkLst>
            <pc:docMk/>
            <pc:sldMk cId="1407012127" sldId="272"/>
            <ac:spMk id="41" creationId="{3B0A3A52-5D18-7245-58AE-791EE368F68D}"/>
          </ac:spMkLst>
        </pc:spChg>
        <pc:spChg chg="mod">
          <ac:chgData name="Joelle Brehm" userId="a518f54c-6985-42c0-8041-2bb16a414839" providerId="ADAL" clId="{12516E80-A0D9-4B76-86FD-A48ADB9E65BE}" dt="2024-01-01T19:53:03.144" v="19581"/>
          <ac:spMkLst>
            <pc:docMk/>
            <pc:sldMk cId="1407012127" sldId="272"/>
            <ac:spMk id="42" creationId="{1CCE2CD3-9785-B79A-EAFB-8C7C97C912CB}"/>
          </ac:spMkLst>
        </pc:spChg>
        <pc:spChg chg="mod">
          <ac:chgData name="Joelle Brehm" userId="a518f54c-6985-42c0-8041-2bb16a414839" providerId="ADAL" clId="{12516E80-A0D9-4B76-86FD-A48ADB9E65BE}" dt="2024-01-01T19:53:03.141" v="19576"/>
          <ac:spMkLst>
            <pc:docMk/>
            <pc:sldMk cId="1407012127" sldId="272"/>
            <ac:spMk id="43" creationId="{FB4FB43F-D084-EE9C-5BF8-B064116032D0}"/>
          </ac:spMkLst>
        </pc:spChg>
        <pc:spChg chg="mod">
          <ac:chgData name="Joelle Brehm" userId="a518f54c-6985-42c0-8041-2bb16a414839" providerId="ADAL" clId="{12516E80-A0D9-4B76-86FD-A48ADB9E65BE}" dt="2024-01-01T19:53:03.143" v="19579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12516E80-A0D9-4B76-86FD-A48ADB9E65BE}" dt="2024-01-01T19:52:49.959" v="18635"/>
          <ac:spMkLst>
            <pc:docMk/>
            <pc:sldMk cId="1407012127" sldId="272"/>
            <ac:spMk id="46" creationId="{84E18A7B-A3CD-512C-8CBF-EDD22964B478}"/>
          </ac:spMkLst>
        </pc:spChg>
        <pc:spChg chg="del mod ord">
          <ac:chgData name="Joelle Brehm" userId="a518f54c-6985-42c0-8041-2bb16a414839" providerId="ADAL" clId="{12516E80-A0D9-4B76-86FD-A48ADB9E65BE}" dt="2024-01-01T19:53:03.089" v="19531"/>
          <ac:spMkLst>
            <pc:docMk/>
            <pc:sldMk cId="1407012127" sldId="272"/>
            <ac:spMk id="47" creationId="{7CAA3B95-4C78-4122-BECA-B5FB0F3F3764}"/>
          </ac:spMkLst>
        </pc:spChg>
        <pc:spChg chg="add mod replST">
          <ac:chgData name="Joelle Brehm" userId="a518f54c-6985-42c0-8041-2bb16a414839" providerId="ADAL" clId="{12516E80-A0D9-4B76-86FD-A48ADB9E65BE}" dt="2024-01-01T19:53:03.145" v="19583"/>
          <ac:spMkLst>
            <pc:docMk/>
            <pc:sldMk cId="1407012127" sldId="272"/>
            <ac:spMk id="49" creationId="{BFBE4DAB-6CE3-A4D4-76EB-EE4B23B402B6}"/>
          </ac:spMkLst>
        </pc:spChg>
        <pc:spChg chg="add del mod replST">
          <ac:chgData name="Joelle Brehm" userId="a518f54c-6985-42c0-8041-2bb16a414839" providerId="ADAL" clId="{12516E80-A0D9-4B76-86FD-A48ADB9E65BE}" dt="2024-01-01T19:52:55.775" v="19013"/>
          <ac:spMkLst>
            <pc:docMk/>
            <pc:sldMk cId="1407012127" sldId="272"/>
            <ac:spMk id="50" creationId="{A4D5EF44-7D62-7810-6182-33770B9BC7A2}"/>
          </ac:spMkLst>
        </pc:spChg>
        <pc:spChg chg="add del mod modVis">
          <ac:chgData name="Joelle Brehm" userId="a518f54c-6985-42c0-8041-2bb16a414839" providerId="ADAL" clId="{12516E80-A0D9-4B76-86FD-A48ADB9E65BE}" dt="2024-01-01T19:52:55.887" v="19111"/>
          <ac:spMkLst>
            <pc:docMk/>
            <pc:sldMk cId="1407012127" sldId="272"/>
            <ac:spMk id="51" creationId="{8073CDE6-78B3-7656-C66C-830AD03B4013}"/>
          </ac:spMkLst>
        </pc:spChg>
        <pc:spChg chg="add del mod ord replST">
          <ac:chgData name="Joelle Brehm" userId="a518f54c-6985-42c0-8041-2bb16a414839" providerId="ADAL" clId="{12516E80-A0D9-4B76-86FD-A48ADB9E65BE}" dt="2024-01-01T19:52:59.080" v="19368"/>
          <ac:spMkLst>
            <pc:docMk/>
            <pc:sldMk cId="1407012127" sldId="272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52:57.140" v="19289"/>
          <ac:spMkLst>
            <pc:docMk/>
            <pc:sldMk cId="1407012127" sldId="272"/>
            <ac:spMk id="55" creationId="{867CAAF2-40E1-70AA-7E5E-A8263BF1AE86}"/>
          </ac:spMkLst>
        </pc:spChg>
        <pc:spChg chg="add del mod modVis">
          <ac:chgData name="Joelle Brehm" userId="a518f54c-6985-42c0-8041-2bb16a414839" providerId="ADAL" clId="{12516E80-A0D9-4B76-86FD-A48ADB9E65BE}" dt="2024-01-01T19:52:59.204" v="19477"/>
          <ac:spMkLst>
            <pc:docMk/>
            <pc:sldMk cId="1407012127" sldId="272"/>
            <ac:spMk id="58" creationId="{654A7521-7695-738A-3F3E-FE192837F8A7}"/>
          </ac:spMkLst>
        </pc:spChg>
        <pc:spChg chg="add del mod modVis">
          <ac:chgData name="Joelle Brehm" userId="a518f54c-6985-42c0-8041-2bb16a414839" providerId="ADAL" clId="{12516E80-A0D9-4B76-86FD-A48ADB9E65BE}" dt="2024-01-01T19:53:03.157" v="19612"/>
          <ac:spMkLst>
            <pc:docMk/>
            <pc:sldMk cId="1407012127" sldId="272"/>
            <ac:spMk id="60" creationId="{74A3DBAA-2500-1B27-AAD6-6807D0047B00}"/>
          </ac:spMkLst>
        </pc:spChg>
        <pc:spChg chg="mod ord">
          <ac:chgData name="Joelle Brehm" userId="a518f54c-6985-42c0-8041-2bb16a414839" providerId="ADAL" clId="{12516E80-A0D9-4B76-86FD-A48ADB9E65BE}" dt="2024-01-01T19:53:03.154" v="19606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12516E80-A0D9-4B76-86FD-A48ADB9E65BE}" dt="2024-01-01T19:53:03.145" v="19585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53:03.146" v="19587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19:53:03.147" v="19589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53:03.148" v="19591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53:03.149" v="19593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53:03.150" v="19595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53:03.151" v="19598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3:03.151" v="19599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3:03.152" v="19600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3:03.152" v="19601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53:03.152" v="19602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53:03.176" v="19614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51:56.097" v="18258"/>
          <ac:graphicFrameMkLst>
            <pc:docMk/>
            <pc:sldMk cId="1407012127" sldId="272"/>
            <ac:graphicFrameMk id="8" creationId="{E129E48F-A7D3-0889-8746-318FAADE142E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3:03.128" v="19547"/>
          <ac:graphicFrameMkLst>
            <pc:docMk/>
            <pc:sldMk cId="1407012127" sldId="272"/>
            <ac:graphicFrameMk id="9" creationId="{77E0BEDC-C6EF-F3BE-59BC-8A426EDAD78B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3:03.150" v="19597"/>
          <ac:graphicFrameMkLst>
            <pc:docMk/>
            <pc:sldMk cId="1407012127" sldId="272"/>
            <ac:graphicFrameMk id="48" creationId="{FD5C3299-9035-2D4F-E967-CA20183D67EB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2:55.789" v="19019"/>
          <ac:graphicFrameMkLst>
            <pc:docMk/>
            <pc:sldMk cId="1407012127" sldId="272"/>
            <ac:graphicFrameMk id="53" creationId="{EAD092AB-BC11-9FA8-2BDD-B1D51DDC459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2:57" v="19192"/>
          <ac:graphicFrameMkLst>
            <pc:docMk/>
            <pc:sldMk cId="1407012127" sldId="272"/>
            <ac:graphicFrameMk id="54" creationId="{936959CF-D5EE-8182-51A9-00CC005EFD00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2:49.911" v="18554"/>
          <ac:graphicFrameMkLst>
            <pc:docMk/>
            <pc:sldMk cId="1407012127" sldId="272"/>
            <ac:graphicFrameMk id="56" creationId="{665AEE9D-DA78-D63B-6739-D68F913105C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2:59.105" v="19396"/>
          <ac:graphicFrameMkLst>
            <pc:docMk/>
            <pc:sldMk cId="1407012127" sldId="272"/>
            <ac:graphicFrameMk id="57" creationId="{B3862E8A-C740-6111-C694-F2AA274CA32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3:03.091" v="19533"/>
          <ac:graphicFrameMkLst>
            <pc:docMk/>
            <pc:sldMk cId="1407012127" sldId="272"/>
            <ac:graphicFrameMk id="59" creationId="{2D2A4C2E-0C67-D5D9-5A5E-E956123BB5D0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3:03.138" v="19571"/>
          <ac:graphicFrameMkLst>
            <pc:docMk/>
            <pc:sldMk cId="1407012127" sldId="272"/>
            <ac:graphicFrameMk id="61" creationId="{0F620426-2A7D-DF0C-67F7-754B97A309E3}"/>
          </ac:graphicFrameMkLst>
        </pc:graphicFrameChg>
        <pc:picChg chg="del mod ord">
          <ac:chgData name="Joelle Brehm" userId="a518f54c-6985-42c0-8041-2bb16a414839" providerId="ADAL" clId="{12516E80-A0D9-4B76-86FD-A48ADB9E65BE}" dt="2024-01-01T19:52:16.281" v="18437" actId="478"/>
          <ac:picMkLst>
            <pc:docMk/>
            <pc:sldMk cId="1407012127" sldId="272"/>
            <ac:picMk id="10" creationId="{E52FCE61-3011-9ADF-E8B5-060F1744E1F9}"/>
          </ac:picMkLst>
        </pc:picChg>
        <pc:picChg chg="add mod ord">
          <ac:chgData name="Joelle Brehm" userId="a518f54c-6985-42c0-8041-2bb16a414839" providerId="ADAL" clId="{12516E80-A0D9-4B76-86FD-A48ADB9E65BE}" dt="2024-01-01T19:53:03.126" v="19541"/>
          <ac:picMkLst>
            <pc:docMk/>
            <pc:sldMk cId="1407012127" sldId="272"/>
            <ac:picMk id="45" creationId="{28BA2D66-A538-83A4-5D0D-16FD658AFA39}"/>
          </ac:picMkLst>
        </pc:picChg>
        <pc:picChg chg="mod ord">
          <ac:chgData name="Joelle Brehm" userId="a518f54c-6985-42c0-8041-2bb16a414839" providerId="ADAL" clId="{12516E80-A0D9-4B76-86FD-A48ADB9E65BE}" dt="2024-01-01T19:53:03.153" v="19604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53:03.127" v="19545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54:00.088" v="21034"/>
        <pc:sldMkLst>
          <pc:docMk/>
          <pc:sldMk cId="4005475890" sldId="273"/>
        </pc:sldMkLst>
        <pc:spChg chg="mod ord">
          <ac:chgData name="Joelle Brehm" userId="a518f54c-6985-42c0-8041-2bb16a414839" providerId="ADAL" clId="{12516E80-A0D9-4B76-86FD-A48ADB9E65BE}" dt="2024-01-01T19:54:00.072" v="21028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12516E80-A0D9-4B76-86FD-A48ADB9E65BE}" dt="2024-01-01T19:53:07.200" v="19615" actId="478"/>
          <ac:spMkLst>
            <pc:docMk/>
            <pc:sldMk cId="4005475890" sldId="273"/>
            <ac:spMk id="3" creationId="{1983C5E2-FF89-6C46-49C3-61BE1BBBBF18}"/>
          </ac:spMkLst>
        </pc:spChg>
        <pc:spChg chg="add del mod modVis">
          <ac:chgData name="Joelle Brehm" userId="a518f54c-6985-42c0-8041-2bb16a414839" providerId="ADAL" clId="{12516E80-A0D9-4B76-86FD-A48ADB9E65BE}" dt="2024-01-01T19:53:19.082" v="19830"/>
          <ac:spMkLst>
            <pc:docMk/>
            <pc:sldMk cId="4005475890" sldId="273"/>
            <ac:spMk id="5" creationId="{643C5726-CE25-EB77-D08C-787BD1B49CD5}"/>
          </ac:spMkLst>
        </pc:spChg>
        <pc:spChg chg="mod ord">
          <ac:chgData name="Joelle Brehm" userId="a518f54c-6985-42c0-8041-2bb16a414839" providerId="ADAL" clId="{12516E80-A0D9-4B76-86FD-A48ADB9E65BE}" dt="2024-01-01T19:54:00.041" v="20963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54:00.056" v="21001"/>
          <ac:spMkLst>
            <pc:docMk/>
            <pc:sldMk cId="4005475890" sldId="273"/>
            <ac:spMk id="10" creationId="{F4526B17-4D9D-5E61-CE0E-B2D48C5D6FAD}"/>
          </ac:spMkLst>
        </pc:spChg>
        <pc:spChg chg="mod">
          <ac:chgData name="Joelle Brehm" userId="a518f54c-6985-42c0-8041-2bb16a414839" providerId="ADAL" clId="{12516E80-A0D9-4B76-86FD-A48ADB9E65BE}" dt="2024-01-01T19:54:00.056" v="20974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54:00.041" v="20970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54:00.041" v="20971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54:00.041" v="20968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54:00.041" v="20969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54:00.056" v="20972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54:00.056" v="20973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54:00.056" v="20975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54:00.056" v="20976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54:00.056" v="20977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54:00.056" v="20978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54:00.056" v="20979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54:00.056" v="20981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54:00.056" v="20982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54:00.056" v="20984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54:00.056" v="20983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54:00.056" v="20986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54:00.056" v="20987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54:00.056" v="20985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54:00.056" v="20989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54:00.056" v="20996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12516E80-A0D9-4B76-86FD-A48ADB9E65BE}" dt="2024-01-01T19:54:00.056" v="20997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12516E80-A0D9-4B76-86FD-A48ADB9E65BE}" dt="2024-01-01T19:54:00.056" v="20994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12516E80-A0D9-4B76-86FD-A48ADB9E65BE}" dt="2024-01-01T19:54:00.056" v="20995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12516E80-A0D9-4B76-86FD-A48ADB9E65BE}" dt="2024-01-01T19:54:00.056" v="20998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12516E80-A0D9-4B76-86FD-A48ADB9E65BE}" dt="2024-01-01T19:54:00.056" v="20999"/>
          <ac:spMkLst>
            <pc:docMk/>
            <pc:sldMk cId="4005475890" sldId="273"/>
            <ac:spMk id="38" creationId="{8B5BCAB4-60F8-4FD5-A40F-97245FABCE9A}"/>
          </ac:spMkLst>
        </pc:spChg>
        <pc:spChg chg="add del mod modVis">
          <ac:chgData name="Joelle Brehm" userId="a518f54c-6985-42c0-8041-2bb16a414839" providerId="ADAL" clId="{12516E80-A0D9-4B76-86FD-A48ADB9E65BE}" dt="2024-01-01T19:53:45.653" v="20084"/>
          <ac:spMkLst>
            <pc:docMk/>
            <pc:sldMk cId="4005475890" sldId="273"/>
            <ac:spMk id="39" creationId="{14C05F3C-AC1E-77ED-515F-0BBDC638CCE4}"/>
          </ac:spMkLst>
        </pc:spChg>
        <pc:spChg chg="mod">
          <ac:chgData name="Joelle Brehm" userId="a518f54c-6985-42c0-8041-2bb16a414839" providerId="ADAL" clId="{12516E80-A0D9-4B76-86FD-A48ADB9E65BE}" dt="2024-01-01T19:54:00.056" v="21000"/>
          <ac:spMkLst>
            <pc:docMk/>
            <pc:sldMk cId="4005475890" sldId="273"/>
            <ac:spMk id="40" creationId="{6DF186F3-D7BB-E35B-BC5F-B5541CDFEBC5}"/>
          </ac:spMkLst>
        </pc:spChg>
        <pc:spChg chg="mod">
          <ac:chgData name="Joelle Brehm" userId="a518f54c-6985-42c0-8041-2bb16a414839" providerId="ADAL" clId="{12516E80-A0D9-4B76-86FD-A48ADB9E65BE}" dt="2024-01-01T19:54:00.056" v="21002"/>
          <ac:spMkLst>
            <pc:docMk/>
            <pc:sldMk cId="4005475890" sldId="273"/>
            <ac:spMk id="42" creationId="{7FC47C4A-8CF4-7E0B-5C11-19422C1D0358}"/>
          </ac:spMkLst>
        </pc:spChg>
        <pc:spChg chg="add mod replST">
          <ac:chgData name="Joelle Brehm" userId="a518f54c-6985-42c0-8041-2bb16a414839" providerId="ADAL" clId="{12516E80-A0D9-4B76-86FD-A48ADB9E65BE}" dt="2024-01-01T19:54:00.056" v="21003"/>
          <ac:spMkLst>
            <pc:docMk/>
            <pc:sldMk cId="4005475890" sldId="273"/>
            <ac:spMk id="44" creationId="{F5DD50D0-308B-02DF-A219-2C10A5776DF3}"/>
          </ac:spMkLst>
        </pc:spChg>
        <pc:spChg chg="add del mod modVis">
          <ac:chgData name="Joelle Brehm" userId="a518f54c-6985-42c0-8041-2bb16a414839" providerId="ADAL" clId="{12516E80-A0D9-4B76-86FD-A48ADB9E65BE}" dt="2024-01-01T19:53:52.965" v="20535"/>
          <ac:spMkLst>
            <pc:docMk/>
            <pc:sldMk cId="4005475890" sldId="273"/>
            <ac:spMk id="45" creationId="{CBF059BD-82B7-4E97-BF66-F34ADA02FCA2}"/>
          </ac:spMkLst>
        </pc:spChg>
        <pc:spChg chg="add del mod ord replST">
          <ac:chgData name="Joelle Brehm" userId="a518f54c-6985-42c0-8041-2bb16a414839" providerId="ADAL" clId="{12516E80-A0D9-4B76-86FD-A48ADB9E65BE}" dt="2024-01-01T19:54:00.024" v="20951"/>
          <ac:spMkLst>
            <pc:docMk/>
            <pc:sldMk cId="4005475890" sldId="273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53:54.498" v="20712"/>
          <ac:spMkLst>
            <pc:docMk/>
            <pc:sldMk cId="4005475890" sldId="273"/>
            <ac:spMk id="48" creationId="{A5A01B19-AC79-B571-C755-5F9A2C4031EF}"/>
          </ac:spMkLst>
        </pc:spChg>
        <pc:spChg chg="add del mod modVis">
          <ac:chgData name="Joelle Brehm" userId="a518f54c-6985-42c0-8041-2bb16a414839" providerId="ADAL" clId="{12516E80-A0D9-4B76-86FD-A48ADB9E65BE}" dt="2024-01-01T19:53:56.970" v="20895"/>
          <ac:spMkLst>
            <pc:docMk/>
            <pc:sldMk cId="4005475890" sldId="273"/>
            <ac:spMk id="50" creationId="{0353234D-A2B8-598D-8A3B-93106E5DEDAE}"/>
          </ac:spMkLst>
        </pc:spChg>
        <pc:spChg chg="add del mod modVis">
          <ac:chgData name="Joelle Brehm" userId="a518f54c-6985-42c0-8041-2bb16a414839" providerId="ADAL" clId="{12516E80-A0D9-4B76-86FD-A48ADB9E65BE}" dt="2024-01-01T19:54:00.072" v="21032"/>
          <ac:spMkLst>
            <pc:docMk/>
            <pc:sldMk cId="4005475890" sldId="273"/>
            <ac:spMk id="52" creationId="{93A65FFD-F2F3-C04C-563C-B9A66A043090}"/>
          </ac:spMkLst>
        </pc:spChg>
        <pc:spChg chg="mod ord">
          <ac:chgData name="Joelle Brehm" userId="a518f54c-6985-42c0-8041-2bb16a414839" providerId="ADAL" clId="{12516E80-A0D9-4B76-86FD-A48ADB9E65BE}" dt="2024-01-01T19:54:00.072" v="21026"/>
          <ac:spMkLst>
            <pc:docMk/>
            <pc:sldMk cId="4005475890" sldId="273"/>
            <ac:spMk id="58" creationId="{FEC487CB-3123-46A1-8350-8669839FA870}"/>
          </ac:spMkLst>
        </pc:spChg>
        <pc:spChg chg="mod ord">
          <ac:chgData name="Joelle Brehm" userId="a518f54c-6985-42c0-8041-2bb16a414839" providerId="ADAL" clId="{12516E80-A0D9-4B76-86FD-A48ADB9E65BE}" dt="2024-01-01T19:54:00.056" v="21005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54:00.056" v="21007"/>
          <ac:spMkLst>
            <pc:docMk/>
            <pc:sldMk cId="4005475890" sldId="273"/>
            <ac:spMk id="79" creationId="{F1476AC4-694B-4D83-BFD8-8DCAA4BB1923}"/>
          </ac:spMkLst>
        </pc:spChg>
        <pc:spChg chg="del mod">
          <ac:chgData name="Joelle Brehm" userId="a518f54c-6985-42c0-8041-2bb16a414839" providerId="ADAL" clId="{12516E80-A0D9-4B76-86FD-A48ADB9E65BE}" dt="2024-01-01T19:53:56.759" v="20715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4:00.056" v="20992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4:00.056" v="20993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54:00.056" v="21009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54:00.056" v="21011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54:00.056" v="21013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54:00.056" v="21015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54:00.056" v="21018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4:00.056" v="21019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4:00.056" v="21020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4:00.056" v="21021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54:00.072" v="21022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54:00.088" v="21034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4:00.041" v="20967"/>
          <ac:graphicFrameMkLst>
            <pc:docMk/>
            <pc:sldMk cId="4005475890" sldId="273"/>
            <ac:graphicFrameMk id="8" creationId="{21E1E817-17A6-67A1-D97F-CBEA5A2C6500}"/>
          </ac:graphicFrameMkLst>
        </pc:graphicFrameChg>
        <pc:graphicFrameChg chg="del">
          <ac:chgData name="Joelle Brehm" userId="a518f54c-6985-42c0-8041-2bb16a414839" providerId="ADAL" clId="{12516E80-A0D9-4B76-86FD-A48ADB9E65BE}" dt="2024-01-01T19:53:19.012" v="19749"/>
          <ac:graphicFrameMkLst>
            <pc:docMk/>
            <pc:sldMk cId="4005475890" sldId="273"/>
            <ac:graphicFrameMk id="31" creationId="{C99B7947-8D22-5579-CAF5-B8DA9F3817FB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3:45.538" v="20005"/>
          <ac:graphicFrameMkLst>
            <pc:docMk/>
            <pc:sldMk cId="4005475890" sldId="273"/>
            <ac:graphicFrameMk id="41" creationId="{D5BDBCBC-D182-6CD0-0331-FEAA3141033D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4:00.056" v="21017"/>
          <ac:graphicFrameMkLst>
            <pc:docMk/>
            <pc:sldMk cId="4005475890" sldId="273"/>
            <ac:graphicFrameMk id="43" creationId="{30A438A9-D282-5436-4CEB-55E992505F1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3:54.402" v="20617"/>
          <ac:graphicFrameMkLst>
            <pc:docMk/>
            <pc:sldMk cId="4005475890" sldId="273"/>
            <ac:graphicFrameMk id="47" creationId="{B2F0687E-6CFB-DA2F-BE05-502899E150B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3:56.884" v="20814"/>
          <ac:graphicFrameMkLst>
            <pc:docMk/>
            <pc:sldMk cId="4005475890" sldId="273"/>
            <ac:graphicFrameMk id="49" creationId="{5C9127E1-1BCF-EEDB-641F-69511952B7A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4:00.024" v="20953"/>
          <ac:graphicFrameMkLst>
            <pc:docMk/>
            <pc:sldMk cId="4005475890" sldId="273"/>
            <ac:graphicFrameMk id="51" creationId="{BB0527D3-2798-7444-7AE5-27A89A89DF38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3:52.902" v="20445"/>
          <ac:graphicFrameMkLst>
            <pc:docMk/>
            <pc:sldMk cId="4005475890" sldId="273"/>
            <ac:graphicFrameMk id="53" creationId="{CEC64D2E-147C-3BFE-44A2-CA30D7AD32A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4:00.056" v="20991"/>
          <ac:graphicFrameMkLst>
            <pc:docMk/>
            <pc:sldMk cId="4005475890" sldId="273"/>
            <ac:graphicFrameMk id="54" creationId="{7F472927-4930-517A-DC6F-9FA88636AE72}"/>
          </ac:graphicFrameMkLst>
        </pc:graphicFrameChg>
        <pc:picChg chg="add mod ord">
          <ac:chgData name="Joelle Brehm" userId="a518f54c-6985-42c0-8041-2bb16a414839" providerId="ADAL" clId="{12516E80-A0D9-4B76-86FD-A48ADB9E65BE}" dt="2024-01-01T19:54:00.041" v="20961"/>
          <ac:picMkLst>
            <pc:docMk/>
            <pc:sldMk cId="4005475890" sldId="273"/>
            <ac:picMk id="9" creationId="{338776CA-6372-10F0-A004-46B5E7C839B3}"/>
          </ac:picMkLst>
        </pc:picChg>
        <pc:picChg chg="del mod ord">
          <ac:chgData name="Joelle Brehm" userId="a518f54c-6985-42c0-8041-2bb16a414839" providerId="ADAL" clId="{12516E80-A0D9-4B76-86FD-A48ADB9E65BE}" dt="2024-01-01T19:53:36.180" v="19913" actId="478"/>
          <ac:picMkLst>
            <pc:docMk/>
            <pc:sldMk cId="4005475890" sldId="273"/>
            <ac:picMk id="35" creationId="{7BF4BE7A-50A0-1544-AB80-F2241E5E4379}"/>
          </ac:picMkLst>
        </pc:picChg>
        <pc:picChg chg="mod ord">
          <ac:chgData name="Joelle Brehm" userId="a518f54c-6985-42c0-8041-2bb16a414839" providerId="ADAL" clId="{12516E80-A0D9-4B76-86FD-A48ADB9E65BE}" dt="2024-01-01T19:54:00.072" v="21024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54:00.041" v="20965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55:24.475" v="22739"/>
        <pc:sldMkLst>
          <pc:docMk/>
          <pc:sldMk cId="3374649050" sldId="274"/>
        </pc:sldMkLst>
        <pc:spChg chg="mod ord">
          <ac:chgData name="Joelle Brehm" userId="a518f54c-6985-42c0-8041-2bb16a414839" providerId="ADAL" clId="{12516E80-A0D9-4B76-86FD-A48ADB9E65BE}" dt="2024-01-01T19:55:24.459" v="22733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12516E80-A0D9-4B76-86FD-A48ADB9E65BE}" dt="2024-01-01T19:54:03.774" v="21035" actId="478"/>
          <ac:spMkLst>
            <pc:docMk/>
            <pc:sldMk cId="3374649050" sldId="274"/>
            <ac:spMk id="3" creationId="{C268CA00-D878-2445-5B16-B6BAEA182BF0}"/>
          </ac:spMkLst>
        </pc:spChg>
        <pc:spChg chg="add del mod modVis">
          <ac:chgData name="Joelle Brehm" userId="a518f54c-6985-42c0-8041-2bb16a414839" providerId="ADAL" clId="{12516E80-A0D9-4B76-86FD-A48ADB9E65BE}" dt="2024-01-01T19:54:16.992" v="21244"/>
          <ac:spMkLst>
            <pc:docMk/>
            <pc:sldMk cId="3374649050" sldId="274"/>
            <ac:spMk id="5" creationId="{5BD1EB65-025B-15A9-FFFC-B7ACCB460ECC}"/>
          </ac:spMkLst>
        </pc:spChg>
        <pc:spChg chg="mod ord">
          <ac:chgData name="Joelle Brehm" userId="a518f54c-6985-42c0-8041-2bb16a414839" providerId="ADAL" clId="{12516E80-A0D9-4B76-86FD-A48ADB9E65BE}" dt="2024-01-01T19:55:24.443" v="22668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55:24.443" v="22679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55:24.443" v="22675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55:24.443" v="22676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55:24.443" v="22673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55:24.443" v="22674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55:24.443" v="22677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55:24.443" v="22678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55:24.443" v="22680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55:24.443" v="22681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55:24.443" v="22682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55:24.443" v="22683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55:24.443" v="22684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55:24.443" v="22686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55:24.443" v="22687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55:24.443" v="22689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55:24.443" v="22688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55:24.443" v="22691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55:24.443" v="22692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55:24.443" v="22690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55:24.443" v="22694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55:24.459" v="22702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12516E80-A0D9-4B76-86FD-A48ADB9E65BE}" dt="2024-01-01T19:55:24.459" v="22699"/>
          <ac:spMkLst>
            <pc:docMk/>
            <pc:sldMk cId="3374649050" sldId="274"/>
            <ac:spMk id="33" creationId="{8A5C4479-0363-6F13-F887-8871FD03F34C}"/>
          </ac:spMkLst>
        </pc:spChg>
        <pc:spChg chg="add del mod modVis">
          <ac:chgData name="Joelle Brehm" userId="a518f54c-6985-42c0-8041-2bb16a414839" providerId="ADAL" clId="{12516E80-A0D9-4B76-86FD-A48ADB9E65BE}" dt="2024-01-01T19:55:00.502" v="21524"/>
          <ac:spMkLst>
            <pc:docMk/>
            <pc:sldMk cId="3374649050" sldId="274"/>
            <ac:spMk id="34" creationId="{A4BCE202-C7B7-C4F1-C21F-758A87F8B32E}"/>
          </ac:spMkLst>
        </pc:spChg>
        <pc:spChg chg="mod">
          <ac:chgData name="Joelle Brehm" userId="a518f54c-6985-42c0-8041-2bb16a414839" providerId="ADAL" clId="{12516E80-A0D9-4B76-86FD-A48ADB9E65BE}" dt="2024-01-01T19:55:24.459" v="22701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12516E80-A0D9-4B76-86FD-A48ADB9E65BE}" dt="2024-01-01T19:55:24.459" v="22703"/>
          <ac:spMkLst>
            <pc:docMk/>
            <pc:sldMk cId="3374649050" sldId="274"/>
            <ac:spMk id="36" creationId="{88575725-6998-54DE-FE5F-DCCF247F6A3F}"/>
          </ac:spMkLst>
        </pc:spChg>
        <pc:spChg chg="mod">
          <ac:chgData name="Joelle Brehm" userId="a518f54c-6985-42c0-8041-2bb16a414839" providerId="ADAL" clId="{12516E80-A0D9-4B76-86FD-A48ADB9E65BE}" dt="2024-01-01T19:55:24.459" v="22700"/>
          <ac:spMkLst>
            <pc:docMk/>
            <pc:sldMk cId="3374649050" sldId="274"/>
            <ac:spMk id="38" creationId="{1995B1DD-126C-92BA-1668-3B87C2F5B1E5}"/>
          </ac:spMkLst>
        </pc:spChg>
        <pc:spChg chg="mod">
          <ac:chgData name="Joelle Brehm" userId="a518f54c-6985-42c0-8041-2bb16a414839" providerId="ADAL" clId="{12516E80-A0D9-4B76-86FD-A48ADB9E65BE}" dt="2024-01-01T19:55:24.459" v="22707"/>
          <ac:spMkLst>
            <pc:docMk/>
            <pc:sldMk cId="3374649050" sldId="274"/>
            <ac:spMk id="39" creationId="{89E6B1B8-FAF0-A6A0-1BC8-497F71E112CB}"/>
          </ac:spMkLst>
        </pc:spChg>
        <pc:spChg chg="mod">
          <ac:chgData name="Joelle Brehm" userId="a518f54c-6985-42c0-8041-2bb16a414839" providerId="ADAL" clId="{12516E80-A0D9-4B76-86FD-A48ADB9E65BE}" dt="2024-01-01T19:55:24.459" v="22704"/>
          <ac:spMkLst>
            <pc:docMk/>
            <pc:sldMk cId="3374649050" sldId="274"/>
            <ac:spMk id="40" creationId="{8BA31CDF-8D43-74CD-D3E4-26F103CC0D3B}"/>
          </ac:spMkLst>
        </pc:spChg>
        <pc:spChg chg="mod">
          <ac:chgData name="Joelle Brehm" userId="a518f54c-6985-42c0-8041-2bb16a414839" providerId="ADAL" clId="{12516E80-A0D9-4B76-86FD-A48ADB9E65BE}" dt="2024-01-01T19:55:24.459" v="22705"/>
          <ac:spMkLst>
            <pc:docMk/>
            <pc:sldMk cId="3374649050" sldId="274"/>
            <ac:spMk id="41" creationId="{B7AB9DCF-AEC0-1EB4-2709-C783258EE0AF}"/>
          </ac:spMkLst>
        </pc:spChg>
        <pc:spChg chg="mod">
          <ac:chgData name="Joelle Brehm" userId="a518f54c-6985-42c0-8041-2bb16a414839" providerId="ADAL" clId="{12516E80-A0D9-4B76-86FD-A48ADB9E65BE}" dt="2024-01-01T19:55:24.459" v="22706"/>
          <ac:spMkLst>
            <pc:docMk/>
            <pc:sldMk cId="3374649050" sldId="274"/>
            <ac:spMk id="42" creationId="{41583D19-C077-7FD0-6F5A-DBE565BC62CF}"/>
          </ac:spMkLst>
        </pc:spChg>
        <pc:spChg chg="mod">
          <ac:chgData name="Joelle Brehm" userId="a518f54c-6985-42c0-8041-2bb16a414839" providerId="ADAL" clId="{12516E80-A0D9-4B76-86FD-A48ADB9E65BE}" dt="2024-01-01T19:55:24.459" v="22723"/>
          <ac:spMkLst>
            <pc:docMk/>
            <pc:sldMk cId="3374649050" sldId="274"/>
            <ac:spMk id="43" creationId="{71A50278-0560-C951-1F18-CA11BF2F6494}"/>
          </ac:spMkLst>
        </pc:spChg>
        <pc:spChg chg="add mod replST">
          <ac:chgData name="Joelle Brehm" userId="a518f54c-6985-42c0-8041-2bb16a414839" providerId="ADAL" clId="{12516E80-A0D9-4B76-86FD-A48ADB9E65BE}" dt="2024-01-01T19:55:24.459" v="22708"/>
          <ac:spMkLst>
            <pc:docMk/>
            <pc:sldMk cId="3374649050" sldId="274"/>
            <ac:spMk id="45" creationId="{020AC365-4654-40E5-2FE6-86C3FC6C4C65}"/>
          </ac:spMkLst>
        </pc:spChg>
        <pc:spChg chg="add del mod modVis">
          <ac:chgData name="Joelle Brehm" userId="a518f54c-6985-42c0-8041-2bb16a414839" providerId="ADAL" clId="{12516E80-A0D9-4B76-86FD-A48ADB9E65BE}" dt="2024-01-01T19:55:09.273" v="21909"/>
          <ac:spMkLst>
            <pc:docMk/>
            <pc:sldMk cId="3374649050" sldId="274"/>
            <ac:spMk id="46" creationId="{467C8764-304B-3E58-538D-E3372698A138}"/>
          </ac:spMkLst>
        </pc:spChg>
        <pc:spChg chg="add del mod modVis">
          <ac:chgData name="Joelle Brehm" userId="a518f54c-6985-42c0-8041-2bb16a414839" providerId="ADAL" clId="{12516E80-A0D9-4B76-86FD-A48ADB9E65BE}" dt="2024-01-01T19:55:12.670" v="22081"/>
          <ac:spMkLst>
            <pc:docMk/>
            <pc:sldMk cId="3374649050" sldId="274"/>
            <ac:spMk id="48" creationId="{FB16D6CB-C26C-89F1-9E53-426D09F918B3}"/>
          </ac:spMkLst>
        </pc:spChg>
        <pc:spChg chg="add del mod modVis">
          <ac:chgData name="Joelle Brehm" userId="a518f54c-6985-42c0-8041-2bb16a414839" providerId="ADAL" clId="{12516E80-A0D9-4B76-86FD-A48ADB9E65BE}" dt="2024-01-01T19:55:15.033" v="22250"/>
          <ac:spMkLst>
            <pc:docMk/>
            <pc:sldMk cId="3374649050" sldId="274"/>
            <ac:spMk id="50" creationId="{079CD5B7-4D7B-B777-3806-CF8AD1C2ADEF}"/>
          </ac:spMkLst>
        </pc:spChg>
        <pc:spChg chg="add del mod modVis">
          <ac:chgData name="Joelle Brehm" userId="a518f54c-6985-42c0-8041-2bb16a414839" providerId="ADAL" clId="{12516E80-A0D9-4B76-86FD-A48ADB9E65BE}" dt="2024-01-01T19:55:17.314" v="22419"/>
          <ac:spMkLst>
            <pc:docMk/>
            <pc:sldMk cId="3374649050" sldId="274"/>
            <ac:spMk id="52" creationId="{B67CE626-C63F-FED9-F57F-E90E5134627B}"/>
          </ac:spMkLst>
        </pc:spChg>
        <pc:spChg chg="add del mod modVis">
          <ac:chgData name="Joelle Brehm" userId="a518f54c-6985-42c0-8041-2bb16a414839" providerId="ADAL" clId="{12516E80-A0D9-4B76-86FD-A48ADB9E65BE}" dt="2024-01-01T19:55:20.831" v="22557"/>
          <ac:spMkLst>
            <pc:docMk/>
            <pc:sldMk cId="3374649050" sldId="274"/>
            <ac:spMk id="55" creationId="{3028A81A-7F7D-62BE-F492-453D39CB376A}"/>
          </ac:spMkLst>
        </pc:spChg>
        <pc:spChg chg="add del mod modVis">
          <ac:chgData name="Joelle Brehm" userId="a518f54c-6985-42c0-8041-2bb16a414839" providerId="ADAL" clId="{12516E80-A0D9-4B76-86FD-A48ADB9E65BE}" dt="2024-01-01T19:55:24.459" v="22737"/>
          <ac:spMkLst>
            <pc:docMk/>
            <pc:sldMk cId="3374649050" sldId="274"/>
            <ac:spMk id="57" creationId="{0EA6BA48-0237-8FE7-20F4-9851EBD0E47B}"/>
          </ac:spMkLst>
        </pc:spChg>
        <pc:spChg chg="mod ord">
          <ac:chgData name="Joelle Brehm" userId="a518f54c-6985-42c0-8041-2bb16a414839" providerId="ADAL" clId="{12516E80-A0D9-4B76-86FD-A48ADB9E65BE}" dt="2024-01-01T19:55:24.459" v="22731"/>
          <ac:spMkLst>
            <pc:docMk/>
            <pc:sldMk cId="3374649050" sldId="274"/>
            <ac:spMk id="58" creationId="{5BBF118A-F952-4AA1-8B74-92A00B5F6171}"/>
          </ac:spMkLst>
        </pc:spChg>
        <pc:spChg chg="mod ord">
          <ac:chgData name="Joelle Brehm" userId="a518f54c-6985-42c0-8041-2bb16a414839" providerId="ADAL" clId="{12516E80-A0D9-4B76-86FD-A48ADB9E65BE}" dt="2024-01-01T19:55:24.459" v="22710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55:24.459" v="22712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12516E80-A0D9-4B76-86FD-A48ADB9E65BE}" dt="2024-01-01T19:55:24.345" v="22560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5:24.443" v="22697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5:24.443" v="22698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55:24.459" v="22714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55:24.459" v="22716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55:24.459" v="22718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55:24.459" v="22720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55:24.459" v="22724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5:24.459" v="22725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5:24.459" v="22726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55:24.459" v="22727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55:24.475" v="22739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54:16.928" v="21159"/>
          <ac:graphicFrameMkLst>
            <pc:docMk/>
            <pc:sldMk cId="3374649050" sldId="274"/>
            <ac:graphicFrameMk id="8" creationId="{5C069909-F2C2-0109-A669-32160B26934D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5:24.443" v="22672"/>
          <ac:graphicFrameMkLst>
            <pc:docMk/>
            <pc:sldMk cId="3374649050" sldId="274"/>
            <ac:graphicFrameMk id="10" creationId="{7D0ECA40-DCCC-C1A6-B51C-CE950D95026D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5:00.373" v="21445"/>
          <ac:graphicFrameMkLst>
            <pc:docMk/>
            <pc:sldMk cId="3374649050" sldId="274"/>
            <ac:graphicFrameMk id="37" creationId="{A200475F-1A3B-A34D-8BC1-2FCC6BA4B11F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5:24.459" v="22722"/>
          <ac:graphicFrameMkLst>
            <pc:docMk/>
            <pc:sldMk cId="3374649050" sldId="274"/>
            <ac:graphicFrameMk id="44" creationId="{9B0386BB-A259-265B-4572-7600179937C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5:12.601" v="21990"/>
          <ac:graphicFrameMkLst>
            <pc:docMk/>
            <pc:sldMk cId="3374649050" sldId="274"/>
            <ac:graphicFrameMk id="47" creationId="{20CE1453-DA01-B15D-E8BB-A24470EA253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5:14.968" v="22159"/>
          <ac:graphicFrameMkLst>
            <pc:docMk/>
            <pc:sldMk cId="3374649050" sldId="274"/>
            <ac:graphicFrameMk id="49" creationId="{6328124B-9BF1-D55A-4187-16BFEDD1DA75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5:17.251" v="22328"/>
          <ac:graphicFrameMkLst>
            <pc:docMk/>
            <pc:sldMk cId="3374649050" sldId="274"/>
            <ac:graphicFrameMk id="51" creationId="{14C5EB55-2F16-77C5-CC4E-C7D73FCBFCEA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5:09.178" v="21825"/>
          <ac:graphicFrameMkLst>
            <pc:docMk/>
            <pc:sldMk cId="3374649050" sldId="274"/>
            <ac:graphicFrameMk id="53" creationId="{C6AF2AF5-A2EC-0910-5679-DB2D6925BF09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5:20.792" v="22477"/>
          <ac:graphicFrameMkLst>
            <pc:docMk/>
            <pc:sldMk cId="3374649050" sldId="274"/>
            <ac:graphicFrameMk id="54" creationId="{0AA6EA97-FD20-D858-9B1B-8CF48F4737A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5:24.427" v="22658"/>
          <ac:graphicFrameMkLst>
            <pc:docMk/>
            <pc:sldMk cId="3374649050" sldId="274"/>
            <ac:graphicFrameMk id="56" creationId="{E657C857-FB60-C81F-41CA-91794F6B18B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5:24.443" v="22696"/>
          <ac:graphicFrameMkLst>
            <pc:docMk/>
            <pc:sldMk cId="3374649050" sldId="274"/>
            <ac:graphicFrameMk id="59" creationId="{9F7CA66F-5D70-DC6F-DC1A-261BFFFA06C5}"/>
          </ac:graphicFrameMkLst>
        </pc:graphicFrameChg>
        <pc:picChg chg="del mod ord">
          <ac:chgData name="Joelle Brehm" userId="a518f54c-6985-42c0-8041-2bb16a414839" providerId="ADAL" clId="{12516E80-A0D9-4B76-86FD-A48ADB9E65BE}" dt="2024-01-01T19:54:46.204" v="21327" actId="478"/>
          <ac:picMkLst>
            <pc:docMk/>
            <pc:sldMk cId="3374649050" sldId="274"/>
            <ac:picMk id="9" creationId="{FF776E9B-FE0B-1E50-638F-2CF22FC72C60}"/>
          </ac:picMkLst>
        </pc:picChg>
        <pc:picChg chg="add mod ord">
          <ac:chgData name="Joelle Brehm" userId="a518f54c-6985-42c0-8041-2bb16a414839" providerId="ADAL" clId="{12516E80-A0D9-4B76-86FD-A48ADB9E65BE}" dt="2024-01-01T19:55:24.443" v="22666"/>
          <ac:picMkLst>
            <pc:docMk/>
            <pc:sldMk cId="3374649050" sldId="274"/>
            <ac:picMk id="31" creationId="{D41404F2-331C-909B-C82C-CC0B4BB14A4C}"/>
          </ac:picMkLst>
        </pc:picChg>
        <pc:picChg chg="mod ord">
          <ac:chgData name="Joelle Brehm" userId="a518f54c-6985-42c0-8041-2bb16a414839" providerId="ADAL" clId="{12516E80-A0D9-4B76-86FD-A48ADB9E65BE}" dt="2024-01-01T19:55:24.459" v="22729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55:24.443" v="22670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56:29.405" v="24597"/>
        <pc:sldMkLst>
          <pc:docMk/>
          <pc:sldMk cId="592117244" sldId="275"/>
        </pc:sldMkLst>
        <pc:spChg chg="add del mod">
          <ac:chgData name="Joelle Brehm" userId="a518f54c-6985-42c0-8041-2bb16a414839" providerId="ADAL" clId="{12516E80-A0D9-4B76-86FD-A48ADB9E65BE}" dt="2024-01-01T19:55:39.160" v="22740" actId="478"/>
          <ac:spMkLst>
            <pc:docMk/>
            <pc:sldMk cId="592117244" sldId="275"/>
            <ac:spMk id="2" creationId="{8639C0CD-17B6-AD78-A03E-7A0592AB5EF8}"/>
          </ac:spMkLst>
        </pc:spChg>
        <pc:spChg chg="mod ord">
          <ac:chgData name="Joelle Brehm" userId="a518f54c-6985-42c0-8041-2bb16a414839" providerId="ADAL" clId="{12516E80-A0D9-4B76-86FD-A48ADB9E65BE}" dt="2024-01-01T19:56:29.389" v="24591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12516E80-A0D9-4B76-86FD-A48ADB9E65BE}" dt="2024-01-01T19:55:47.308" v="22955"/>
          <ac:spMkLst>
            <pc:docMk/>
            <pc:sldMk cId="592117244" sldId="275"/>
            <ac:spMk id="5" creationId="{B0FD76E2-EC5F-BD36-FD7E-384390105B5D}"/>
          </ac:spMkLst>
        </pc:spChg>
        <pc:spChg chg="mod ord">
          <ac:chgData name="Joelle Brehm" userId="a518f54c-6985-42c0-8041-2bb16a414839" providerId="ADAL" clId="{12516E80-A0D9-4B76-86FD-A48ADB9E65BE}" dt="2024-01-01T19:56:29.373" v="24526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56:29.373" v="24537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56:29.373" v="24533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56:29.373" v="24534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56:29.373" v="24531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56:29.373" v="24532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56:29.373" v="24535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56:29.373" v="24536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56:29.373" v="24538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56:29.373" v="24539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56:29.373" v="24540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56:29.373" v="24541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56:29.389" v="24542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56:29.389" v="24544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56:29.389" v="24545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56:29.389" v="24547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56:29.389" v="24546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56:29.389" v="24549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56:29.389" v="24550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56:29.389" v="24548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56:29.389" v="24552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56:29.389" v="24559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12516E80-A0D9-4B76-86FD-A48ADB9E65BE}" dt="2024-01-01T19:56:29.389" v="24560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12516E80-A0D9-4B76-86FD-A48ADB9E65BE}" dt="2024-01-01T19:56:29.389" v="24562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12516E80-A0D9-4B76-86FD-A48ADB9E65BE}" dt="2024-01-01T19:56:29.389" v="24561"/>
          <ac:spMkLst>
            <pc:docMk/>
            <pc:sldMk cId="592117244" sldId="275"/>
            <ac:spMk id="35" creationId="{8A659545-7F46-0F9C-1180-4340FFF52971}"/>
          </ac:spMkLst>
        </pc:spChg>
        <pc:spChg chg="mod">
          <ac:chgData name="Joelle Brehm" userId="a518f54c-6985-42c0-8041-2bb16a414839" providerId="ADAL" clId="{12516E80-A0D9-4B76-86FD-A48ADB9E65BE}" dt="2024-01-01T19:56:29.389" v="24564"/>
          <ac:spMkLst>
            <pc:docMk/>
            <pc:sldMk cId="592117244" sldId="275"/>
            <ac:spMk id="36" creationId="{C43BE2CA-3914-FB60-BCFB-2D4A26000593}"/>
          </ac:spMkLst>
        </pc:spChg>
        <pc:spChg chg="mod">
          <ac:chgData name="Joelle Brehm" userId="a518f54c-6985-42c0-8041-2bb16a414839" providerId="ADAL" clId="{12516E80-A0D9-4B76-86FD-A48ADB9E65BE}" dt="2024-01-01T19:56:29.389" v="24558"/>
          <ac:spMkLst>
            <pc:docMk/>
            <pc:sldMk cId="592117244" sldId="275"/>
            <ac:spMk id="37" creationId="{90FA8FF8-BF43-F8ED-7D69-4D34F348E5E1}"/>
          </ac:spMkLst>
        </pc:spChg>
        <pc:spChg chg="add del mod modVis">
          <ac:chgData name="Joelle Brehm" userId="a518f54c-6985-42c0-8041-2bb16a414839" providerId="ADAL" clId="{12516E80-A0D9-4B76-86FD-A48ADB9E65BE}" dt="2024-01-01T19:56:08.964" v="23252"/>
          <ac:spMkLst>
            <pc:docMk/>
            <pc:sldMk cId="592117244" sldId="275"/>
            <ac:spMk id="38" creationId="{23E7B4C1-2387-4179-861F-6C649CEB0A15}"/>
          </ac:spMkLst>
        </pc:spChg>
        <pc:spChg chg="mod">
          <ac:chgData name="Joelle Brehm" userId="a518f54c-6985-42c0-8041-2bb16a414839" providerId="ADAL" clId="{12516E80-A0D9-4B76-86FD-A48ADB9E65BE}" dt="2024-01-01T19:56:29.389" v="24557"/>
          <ac:spMkLst>
            <pc:docMk/>
            <pc:sldMk cId="592117244" sldId="275"/>
            <ac:spMk id="39" creationId="{1EFCB791-16E1-BC87-1C92-0DDD24DA7D5F}"/>
          </ac:spMkLst>
        </pc:spChg>
        <pc:spChg chg="mod">
          <ac:chgData name="Joelle Brehm" userId="a518f54c-6985-42c0-8041-2bb16a414839" providerId="ADAL" clId="{12516E80-A0D9-4B76-86FD-A48ADB9E65BE}" dt="2024-01-01T19:56:29.389" v="24563"/>
          <ac:spMkLst>
            <pc:docMk/>
            <pc:sldMk cId="592117244" sldId="275"/>
            <ac:spMk id="40" creationId="{EA684AFB-C218-2E57-6C22-6AF81611FBE3}"/>
          </ac:spMkLst>
        </pc:spChg>
        <pc:spChg chg="mod">
          <ac:chgData name="Joelle Brehm" userId="a518f54c-6985-42c0-8041-2bb16a414839" providerId="ADAL" clId="{12516E80-A0D9-4B76-86FD-A48ADB9E65BE}" dt="2024-01-01T19:56:29.389" v="24565"/>
          <ac:spMkLst>
            <pc:docMk/>
            <pc:sldMk cId="592117244" sldId="275"/>
            <ac:spMk id="42" creationId="{7AECD966-6D66-1191-E056-C35E4AC93D68}"/>
          </ac:spMkLst>
        </pc:spChg>
        <pc:spChg chg="add mod replST">
          <ac:chgData name="Joelle Brehm" userId="a518f54c-6985-42c0-8041-2bb16a414839" providerId="ADAL" clId="{12516E80-A0D9-4B76-86FD-A48ADB9E65BE}" dt="2024-01-01T19:56:29.389" v="24566"/>
          <ac:spMkLst>
            <pc:docMk/>
            <pc:sldMk cId="592117244" sldId="275"/>
            <ac:spMk id="44" creationId="{221444E3-A480-FC28-9EFB-C89326EEDBF7}"/>
          </ac:spMkLst>
        </pc:spChg>
        <pc:spChg chg="add del mod modVis">
          <ac:chgData name="Joelle Brehm" userId="a518f54c-6985-42c0-8041-2bb16a414839" providerId="ADAL" clId="{12516E80-A0D9-4B76-86FD-A48ADB9E65BE}" dt="2024-01-01T19:56:15.548" v="23616"/>
          <ac:spMkLst>
            <pc:docMk/>
            <pc:sldMk cId="592117244" sldId="275"/>
            <ac:spMk id="45" creationId="{E5057B2E-641E-6632-AD44-E8450C1467FA}"/>
          </ac:spMkLst>
        </pc:spChg>
        <pc:spChg chg="add del mod modVis">
          <ac:chgData name="Joelle Brehm" userId="a518f54c-6985-42c0-8041-2bb16a414839" providerId="ADAL" clId="{12516E80-A0D9-4B76-86FD-A48ADB9E65BE}" dt="2024-01-01T19:56:16.296" v="23786"/>
          <ac:spMkLst>
            <pc:docMk/>
            <pc:sldMk cId="592117244" sldId="275"/>
            <ac:spMk id="47" creationId="{10F24795-B6CB-14BB-E598-471B170FFA36}"/>
          </ac:spMkLst>
        </pc:spChg>
        <pc:spChg chg="add del mod modVis">
          <ac:chgData name="Joelle Brehm" userId="a518f54c-6985-42c0-8041-2bb16a414839" providerId="ADAL" clId="{12516E80-A0D9-4B76-86FD-A48ADB9E65BE}" dt="2024-01-01T19:56:18.615" v="24181"/>
          <ac:spMkLst>
            <pc:docMk/>
            <pc:sldMk cId="592117244" sldId="275"/>
            <ac:spMk id="49" creationId="{0FC6AA58-DA38-7C64-666B-979E76394C75}"/>
          </ac:spMkLst>
        </pc:spChg>
        <pc:spChg chg="add del mod ord replST">
          <ac:chgData name="Joelle Brehm" userId="a518f54c-6985-42c0-8041-2bb16a414839" providerId="ADAL" clId="{12516E80-A0D9-4B76-86FD-A48ADB9E65BE}" dt="2024-01-01T19:56:29.357" v="24514"/>
          <ac:spMkLst>
            <pc:docMk/>
            <pc:sldMk cId="592117244" sldId="275"/>
            <ac:spMk id="50" creationId="{7CAA3B95-4C78-4122-BECA-B5FB0F3F3764}"/>
          </ac:spMkLst>
        </pc:spChg>
        <pc:spChg chg="add del mod ord replST">
          <ac:chgData name="Joelle Brehm" userId="a518f54c-6985-42c0-8041-2bb16a414839" providerId="ADAL" clId="{12516E80-A0D9-4B76-86FD-A48ADB9E65BE}" dt="2024-01-01T19:56:23.410" v="24237"/>
          <ac:spMkLst>
            <pc:docMk/>
            <pc:sldMk cId="592117244" sldId="275"/>
            <ac:spMk id="51" creationId="{7CAA3B95-4C78-4122-BECA-B5FB0F3F3764}"/>
          </ac:spMkLst>
        </pc:spChg>
        <pc:spChg chg="add del mod ord replST">
          <ac:chgData name="Joelle Brehm" userId="a518f54c-6985-42c0-8041-2bb16a414839" providerId="ADAL" clId="{12516E80-A0D9-4B76-86FD-A48ADB9E65BE}" dt="2024-01-01T19:56:25.915" v="24377"/>
          <ac:spMkLst>
            <pc:docMk/>
            <pc:sldMk cId="592117244" sldId="275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56:23.474" v="24322"/>
          <ac:spMkLst>
            <pc:docMk/>
            <pc:sldMk cId="592117244" sldId="275"/>
            <ac:spMk id="54" creationId="{2D57948C-495E-C79B-A29A-15D6AE94FC41}"/>
          </ac:spMkLst>
        </pc:spChg>
        <pc:spChg chg="add del mod modVis">
          <ac:chgData name="Joelle Brehm" userId="a518f54c-6985-42c0-8041-2bb16a414839" providerId="ADAL" clId="{12516E80-A0D9-4B76-86FD-A48ADB9E65BE}" dt="2024-01-01T19:56:25.963" v="24460"/>
          <ac:spMkLst>
            <pc:docMk/>
            <pc:sldMk cId="592117244" sldId="275"/>
            <ac:spMk id="57" creationId="{BF223BAD-8416-F1B2-8706-AB443F317FA1}"/>
          </ac:spMkLst>
        </pc:spChg>
        <pc:spChg chg="mod ord">
          <ac:chgData name="Joelle Brehm" userId="a518f54c-6985-42c0-8041-2bb16a414839" providerId="ADAL" clId="{12516E80-A0D9-4B76-86FD-A48ADB9E65BE}" dt="2024-01-01T19:56:29.389" v="24589"/>
          <ac:spMkLst>
            <pc:docMk/>
            <pc:sldMk cId="592117244" sldId="275"/>
            <ac:spMk id="58" creationId="{E203E344-295B-447B-A55D-50D302A82D3F}"/>
          </ac:spMkLst>
        </pc:spChg>
        <pc:spChg chg="add del mod modVis">
          <ac:chgData name="Joelle Brehm" userId="a518f54c-6985-42c0-8041-2bb16a414839" providerId="ADAL" clId="{12516E80-A0D9-4B76-86FD-A48ADB9E65BE}" dt="2024-01-01T19:56:29.389" v="24595"/>
          <ac:spMkLst>
            <pc:docMk/>
            <pc:sldMk cId="592117244" sldId="275"/>
            <ac:spMk id="60" creationId="{5FEAB416-B379-6EB4-DBDE-F060C614C348}"/>
          </ac:spMkLst>
        </pc:spChg>
        <pc:spChg chg="mod ord">
          <ac:chgData name="Joelle Brehm" userId="a518f54c-6985-42c0-8041-2bb16a414839" providerId="ADAL" clId="{12516E80-A0D9-4B76-86FD-A48ADB9E65BE}" dt="2024-01-01T19:56:29.389" v="24568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56:29.389" v="24570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12516E80-A0D9-4B76-86FD-A48ADB9E65BE}" dt="2024-01-01T19:56:18.240" v="23789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6:29.389" v="24555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6:29.389" v="24556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56:29.389" v="24572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56:29.389" v="24574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56:29.389" v="24576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56:29.389" v="24578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56:29.389" v="24581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6:29.389" v="24582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6:29.389" v="24583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6:29.389" v="24584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56:29.389" v="24585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56:29.405" v="24597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6:29.373" v="24530"/>
          <ac:graphicFrameMkLst>
            <pc:docMk/>
            <pc:sldMk cId="592117244" sldId="275"/>
            <ac:graphicFrameMk id="8" creationId="{F6B142D5-5D06-844F-A6F7-99F2C021F5A9}"/>
          </ac:graphicFrameMkLst>
        </pc:graphicFrameChg>
        <pc:graphicFrameChg chg="del">
          <ac:chgData name="Joelle Brehm" userId="a518f54c-6985-42c0-8041-2bb16a414839" providerId="ADAL" clId="{12516E80-A0D9-4B76-86FD-A48ADB9E65BE}" dt="2024-01-01T19:55:47.244" v="22872"/>
          <ac:graphicFrameMkLst>
            <pc:docMk/>
            <pc:sldMk cId="592117244" sldId="275"/>
            <ac:graphicFrameMk id="9" creationId="{F4FA1353-58D4-BA3F-A600-3A9C8BF8BDA1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6:08.899" v="23173"/>
          <ac:graphicFrameMkLst>
            <pc:docMk/>
            <pc:sldMk cId="592117244" sldId="275"/>
            <ac:graphicFrameMk id="41" creationId="{4832E055-1E32-B6F6-8AAB-0C9D76FB08F0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6:29.389" v="24580"/>
          <ac:graphicFrameMkLst>
            <pc:docMk/>
            <pc:sldMk cId="592117244" sldId="275"/>
            <ac:graphicFrameMk id="43" creationId="{9AA61A18-7C90-D73B-695A-348492FAE2A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6:16.222" v="23695"/>
          <ac:graphicFrameMkLst>
            <pc:docMk/>
            <pc:sldMk cId="592117244" sldId="275"/>
            <ac:graphicFrameMk id="46" creationId="{0EBEDDA5-8759-396A-0AA5-54392E82347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6:18.565" v="24090"/>
          <ac:graphicFrameMkLst>
            <pc:docMk/>
            <pc:sldMk cId="592117244" sldId="275"/>
            <ac:graphicFrameMk id="48" creationId="{6E37B820-683B-C3CE-ADE6-033288C606B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6:23.410" v="24239"/>
          <ac:graphicFrameMkLst>
            <pc:docMk/>
            <pc:sldMk cId="592117244" sldId="275"/>
            <ac:graphicFrameMk id="53" creationId="{30839758-72AA-F376-C620-6C3D2603084D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6:15.451" v="23530"/>
          <ac:graphicFrameMkLst>
            <pc:docMk/>
            <pc:sldMk cId="592117244" sldId="275"/>
            <ac:graphicFrameMk id="55" creationId="{757E458B-8FA6-827E-60E9-6A28EB81458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6:25.915" v="24379"/>
          <ac:graphicFrameMkLst>
            <pc:docMk/>
            <pc:sldMk cId="592117244" sldId="275"/>
            <ac:graphicFrameMk id="56" creationId="{37F01A72-3EE9-EA7E-579D-CD7E2B1D11AE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6:29.357" v="24516"/>
          <ac:graphicFrameMkLst>
            <pc:docMk/>
            <pc:sldMk cId="592117244" sldId="275"/>
            <ac:graphicFrameMk id="59" creationId="{33136607-11F4-02D7-4BF4-60297E20B75B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6:29.389" v="24554"/>
          <ac:graphicFrameMkLst>
            <pc:docMk/>
            <pc:sldMk cId="592117244" sldId="275"/>
            <ac:graphicFrameMk id="61" creationId="{01A7EC37-4A0A-5412-F218-D4D06DF28334}"/>
          </ac:graphicFrameMkLst>
        </pc:graphicFrameChg>
        <pc:picChg chg="del mod ord">
          <ac:chgData name="Joelle Brehm" userId="a518f54c-6985-42c0-8041-2bb16a414839" providerId="ADAL" clId="{12516E80-A0D9-4B76-86FD-A48ADB9E65BE}" dt="2024-01-01T19:56:01.885" v="23042" actId="478"/>
          <ac:picMkLst>
            <pc:docMk/>
            <pc:sldMk cId="592117244" sldId="275"/>
            <ac:picMk id="10" creationId="{BE53C81F-C5BC-243F-FDCA-D269D1141B2C}"/>
          </ac:picMkLst>
        </pc:picChg>
        <pc:picChg chg="add mod ord">
          <ac:chgData name="Joelle Brehm" userId="a518f54c-6985-42c0-8041-2bb16a414839" providerId="ADAL" clId="{12516E80-A0D9-4B76-86FD-A48ADB9E65BE}" dt="2024-01-01T19:56:29.373" v="24524"/>
          <ac:picMkLst>
            <pc:docMk/>
            <pc:sldMk cId="592117244" sldId="275"/>
            <ac:picMk id="31" creationId="{61A09B33-02BD-23F3-A05F-9722F08A982E}"/>
          </ac:picMkLst>
        </pc:picChg>
        <pc:picChg chg="mod ord">
          <ac:chgData name="Joelle Brehm" userId="a518f54c-6985-42c0-8041-2bb16a414839" providerId="ADAL" clId="{12516E80-A0D9-4B76-86FD-A48ADB9E65BE}" dt="2024-01-01T19:56:29.389" v="24587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56:29.373" v="24528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58:01.868" v="26287"/>
        <pc:sldMkLst>
          <pc:docMk/>
          <pc:sldMk cId="3358644479" sldId="276"/>
        </pc:sldMkLst>
        <pc:spChg chg="mod ord">
          <ac:chgData name="Joelle Brehm" userId="a518f54c-6985-42c0-8041-2bb16a414839" providerId="ADAL" clId="{12516E80-A0D9-4B76-86FD-A48ADB9E65BE}" dt="2024-01-01T19:58:01.852" v="26281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12516E80-A0D9-4B76-86FD-A48ADB9E65BE}" dt="2024-01-01T19:56:51.086" v="24598" actId="478"/>
          <ac:spMkLst>
            <pc:docMk/>
            <pc:sldMk cId="3358644479" sldId="276"/>
            <ac:spMk id="3" creationId="{718F0270-81A0-0033-4347-41B592F300B9}"/>
          </ac:spMkLst>
        </pc:spChg>
        <pc:spChg chg="add del mod modVis">
          <ac:chgData name="Joelle Brehm" userId="a518f54c-6985-42c0-8041-2bb16a414839" providerId="ADAL" clId="{12516E80-A0D9-4B76-86FD-A48ADB9E65BE}" dt="2024-01-01T19:57:07.350" v="24797"/>
          <ac:spMkLst>
            <pc:docMk/>
            <pc:sldMk cId="3358644479" sldId="276"/>
            <ac:spMk id="5" creationId="{D44A7B2D-0C3C-5399-8319-847451F0F977}"/>
          </ac:spMkLst>
        </pc:spChg>
        <pc:spChg chg="mod ord">
          <ac:chgData name="Joelle Brehm" userId="a518f54c-6985-42c0-8041-2bb16a414839" providerId="ADAL" clId="{12516E80-A0D9-4B76-86FD-A48ADB9E65BE}" dt="2024-01-01T19:58:01.820" v="26217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58:01.836" v="26249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12516E80-A0D9-4B76-86FD-A48ADB9E65BE}" dt="2024-01-01T19:58:01.836" v="26228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58:01.836" v="26224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58:01.836" v="26225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58:01.836" v="26222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58:01.836" v="26223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58:01.836" v="26226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58:01.836" v="26227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58:01.836" v="26229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58:01.836" v="26230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58:01.836" v="26231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58:01.836" v="26232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58:01.836" v="26233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58:01.836" v="26235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58:01.836" v="26236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58:01.836" v="26238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58:01.836" v="26237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58:01.836" v="26240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58:01.836" v="26241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58:01.836" v="26239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58:01.836" v="26243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58:01.836" v="26246"/>
          <ac:spMkLst>
            <pc:docMk/>
            <pc:sldMk cId="3358644479" sldId="276"/>
            <ac:spMk id="32" creationId="{8D25BC14-41C5-8647-5CC0-BE12A57BA555}"/>
          </ac:spMkLst>
        </pc:spChg>
        <pc:spChg chg="add del mod modVis">
          <ac:chgData name="Joelle Brehm" userId="a518f54c-6985-42c0-8041-2bb16a414839" providerId="ADAL" clId="{12516E80-A0D9-4B76-86FD-A48ADB9E65BE}" dt="2024-01-01T19:57:43.634" v="25087"/>
          <ac:spMkLst>
            <pc:docMk/>
            <pc:sldMk cId="3358644479" sldId="276"/>
            <ac:spMk id="34" creationId="{A37A852D-0D16-7FB1-78DA-EBED4AF2D6DA}"/>
          </ac:spMkLst>
        </pc:spChg>
        <pc:spChg chg="mod">
          <ac:chgData name="Joelle Brehm" userId="a518f54c-6985-42c0-8041-2bb16a414839" providerId="ADAL" clId="{12516E80-A0D9-4B76-86FD-A48ADB9E65BE}" dt="2024-01-01T19:58:01.836" v="26255"/>
          <ac:spMkLst>
            <pc:docMk/>
            <pc:sldMk cId="3358644479" sldId="276"/>
            <ac:spMk id="36" creationId="{4467CB91-DB37-223E-6BCD-75143BB1B4BC}"/>
          </ac:spMkLst>
        </pc:spChg>
        <pc:spChg chg="del mod">
          <ac:chgData name="Joelle Brehm" userId="a518f54c-6985-42c0-8041-2bb16a414839" providerId="ADAL" clId="{12516E80-A0D9-4B76-86FD-A48ADB9E65BE}" dt="2024-01-01T19:57:57.750" v="25894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12516E80-A0D9-4B76-86FD-A48ADB9E65BE}" dt="2024-01-01T19:58:01.836" v="26247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12516E80-A0D9-4B76-86FD-A48ADB9E65BE}" dt="2024-01-01T19:58:01.836" v="26274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12516E80-A0D9-4B76-86FD-A48ADB9E65BE}" dt="2024-01-01T19:58:01.852" v="26275"/>
          <ac:spMkLst>
            <pc:docMk/>
            <pc:sldMk cId="3358644479" sldId="276"/>
            <ac:spMk id="40" creationId="{BF422452-141B-CCA7-F304-DD7C41C4B026}"/>
          </ac:spMkLst>
        </pc:spChg>
        <pc:spChg chg="mod">
          <ac:chgData name="Joelle Brehm" userId="a518f54c-6985-42c0-8041-2bb16a414839" providerId="ADAL" clId="{12516E80-A0D9-4B76-86FD-A48ADB9E65BE}" dt="2024-01-01T19:58:01.836" v="26252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12516E80-A0D9-4B76-86FD-A48ADB9E65BE}" dt="2024-01-01T19:58:01.836" v="26250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12516E80-A0D9-4B76-86FD-A48ADB9E65BE}" dt="2024-01-01T19:58:01.836" v="26248"/>
          <ac:spMkLst>
            <pc:docMk/>
            <pc:sldMk cId="3358644479" sldId="276"/>
            <ac:spMk id="44" creationId="{5C64EA04-B56C-CC91-D9A7-8AB0C80D5C79}"/>
          </ac:spMkLst>
        </pc:spChg>
        <pc:spChg chg="mod">
          <ac:chgData name="Joelle Brehm" userId="a518f54c-6985-42c0-8041-2bb16a414839" providerId="ADAL" clId="{12516E80-A0D9-4B76-86FD-A48ADB9E65BE}" dt="2024-01-01T19:58:01.836" v="26253"/>
          <ac:spMkLst>
            <pc:docMk/>
            <pc:sldMk cId="3358644479" sldId="276"/>
            <ac:spMk id="45" creationId="{E2BF77D0-7FDB-BE38-6486-446042D2E6CA}"/>
          </ac:spMkLst>
        </pc:spChg>
        <pc:spChg chg="add mod replST">
          <ac:chgData name="Joelle Brehm" userId="a518f54c-6985-42c0-8041-2bb16a414839" providerId="ADAL" clId="{12516E80-A0D9-4B76-86FD-A48ADB9E65BE}" dt="2024-01-01T19:58:01.836" v="26257"/>
          <ac:spMkLst>
            <pc:docMk/>
            <pc:sldMk cId="3358644479" sldId="276"/>
            <ac:spMk id="48" creationId="{C2906F56-C60C-2BB1-3607-9FB82AD9A981}"/>
          </ac:spMkLst>
        </pc:spChg>
        <pc:spChg chg="mod">
          <ac:chgData name="Joelle Brehm" userId="a518f54c-6985-42c0-8041-2bb16a414839" providerId="ADAL" clId="{12516E80-A0D9-4B76-86FD-A48ADB9E65BE}" dt="2024-01-01T19:58:01.836" v="26251"/>
          <ac:spMkLst>
            <pc:docMk/>
            <pc:sldMk cId="3358644479" sldId="276"/>
            <ac:spMk id="49" creationId="{D4F90E1C-EAB9-BF7D-5820-940E92571336}"/>
          </ac:spMkLst>
        </pc:spChg>
        <pc:spChg chg="mod">
          <ac:chgData name="Joelle Brehm" userId="a518f54c-6985-42c0-8041-2bb16a414839" providerId="ADAL" clId="{12516E80-A0D9-4B76-86FD-A48ADB9E65BE}" dt="2024-01-01T19:58:01.836" v="26254"/>
          <ac:spMkLst>
            <pc:docMk/>
            <pc:sldMk cId="3358644479" sldId="276"/>
            <ac:spMk id="50" creationId="{EBF57C44-6BCA-2A9E-015B-FE2A2654B397}"/>
          </ac:spMkLst>
        </pc:spChg>
        <pc:spChg chg="add del mod modVis">
          <ac:chgData name="Joelle Brehm" userId="a518f54c-6985-42c0-8041-2bb16a414839" providerId="ADAL" clId="{12516E80-A0D9-4B76-86FD-A48ADB9E65BE}" dt="2024-01-01T19:57:54.922" v="25719"/>
          <ac:spMkLst>
            <pc:docMk/>
            <pc:sldMk cId="3358644479" sldId="276"/>
            <ac:spMk id="51" creationId="{53AA6176-014E-4CF3-1F64-2848C8F2B7FE}"/>
          </ac:spMkLst>
        </pc:spChg>
        <pc:spChg chg="add del mod ord replST">
          <ac:chgData name="Joelle Brehm" userId="a518f54c-6985-42c0-8041-2bb16a414839" providerId="ADAL" clId="{12516E80-A0D9-4B76-86FD-A48ADB9E65BE}" dt="2024-01-01T19:57:58.107" v="26032"/>
          <ac:spMkLst>
            <pc:docMk/>
            <pc:sldMk cId="3358644479" sldId="276"/>
            <ac:spMk id="5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8:01.836" v="26256"/>
          <ac:spMkLst>
            <pc:docMk/>
            <pc:sldMk cId="3358644479" sldId="276"/>
            <ac:spMk id="53" creationId="{319F4068-5046-76B4-073D-72CEC16CD1EA}"/>
          </ac:spMkLst>
        </pc:spChg>
        <pc:spChg chg="add del mod modVis">
          <ac:chgData name="Joelle Brehm" userId="a518f54c-6985-42c0-8041-2bb16a414839" providerId="ADAL" clId="{12516E80-A0D9-4B76-86FD-A48ADB9E65BE}" dt="2024-01-01T19:57:55.828" v="25891"/>
          <ac:spMkLst>
            <pc:docMk/>
            <pc:sldMk cId="3358644479" sldId="276"/>
            <ac:spMk id="55" creationId="{3F7F66A5-B08F-C6D4-FA6C-9C33DE78FF5A}"/>
          </ac:spMkLst>
        </pc:spChg>
        <pc:spChg chg="add del mod modVis">
          <ac:chgData name="Joelle Brehm" userId="a518f54c-6985-42c0-8041-2bb16a414839" providerId="ADAL" clId="{12516E80-A0D9-4B76-86FD-A48ADB9E65BE}" dt="2024-01-01T19:57:58.299" v="26151"/>
          <ac:spMkLst>
            <pc:docMk/>
            <pc:sldMk cId="3358644479" sldId="276"/>
            <ac:spMk id="57" creationId="{619E6F29-6049-D6C8-026D-6A950AB73FFC}"/>
          </ac:spMkLst>
        </pc:spChg>
        <pc:spChg chg="mod ord">
          <ac:chgData name="Joelle Brehm" userId="a518f54c-6985-42c0-8041-2bb16a414839" providerId="ADAL" clId="{12516E80-A0D9-4B76-86FD-A48ADB9E65BE}" dt="2024-01-01T19:58:01.852" v="26279"/>
          <ac:spMkLst>
            <pc:docMk/>
            <pc:sldMk cId="3358644479" sldId="276"/>
            <ac:spMk id="58" creationId="{0CB06D1E-8664-4C1B-9ACF-854D6C46B776}"/>
          </ac:spMkLst>
        </pc:spChg>
        <pc:spChg chg="del mod">
          <ac:chgData name="Joelle Brehm" userId="a518f54c-6985-42c0-8041-2bb16a414839" providerId="ADAL" clId="{12516E80-A0D9-4B76-86FD-A48ADB9E65BE}" dt="2024-01-01T19:57:45.983" v="25090"/>
          <ac:spMkLst>
            <pc:docMk/>
            <pc:sldMk cId="3358644479" sldId="276"/>
            <ac:spMk id="59" creationId="{5164D3E0-C681-43D3-E345-132BB4AD109F}"/>
          </ac:spMkLst>
        </pc:spChg>
        <pc:spChg chg="add del mod ord replST">
          <ac:chgData name="Joelle Brehm" userId="a518f54c-6985-42c0-8041-2bb16a414839" providerId="ADAL" clId="{12516E80-A0D9-4B76-86FD-A48ADB9E65BE}" dt="2024-01-01T19:58:01.804" v="26205"/>
          <ac:spMkLst>
            <pc:docMk/>
            <pc:sldMk cId="3358644479" sldId="276"/>
            <ac:spMk id="60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58:01.852" v="26285"/>
          <ac:spMkLst>
            <pc:docMk/>
            <pc:sldMk cId="3358644479" sldId="276"/>
            <ac:spMk id="62" creationId="{96439C44-DF9D-8990-1FF7-AEA090ABE418}"/>
          </ac:spMkLst>
        </pc:spChg>
        <pc:spChg chg="mod ord">
          <ac:chgData name="Joelle Brehm" userId="a518f54c-6985-42c0-8041-2bb16a414839" providerId="ADAL" clId="{12516E80-A0D9-4B76-86FD-A48ADB9E65BE}" dt="2024-01-01T19:58:01.836" v="26259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58:01.836" v="26261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19:58:01.836" v="26263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58:01.836" v="26265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58:01.836" v="26267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58:01.836" v="26269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58:01.836" v="26272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8:01.836" v="26273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12516E80-A0D9-4B76-86FD-A48ADB9E65BE}" dt="2024-01-01T19:58:01.868" v="26287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8:01.836" v="26221"/>
          <ac:graphicFrameMkLst>
            <pc:docMk/>
            <pc:sldMk cId="3358644479" sldId="276"/>
            <ac:graphicFrameMk id="8" creationId="{089F6E9D-B147-D6B0-81C7-D9CE32B37228}"/>
          </ac:graphicFrameMkLst>
        </pc:graphicFrameChg>
        <pc:graphicFrameChg chg="del">
          <ac:chgData name="Joelle Brehm" userId="a518f54c-6985-42c0-8041-2bb16a414839" providerId="ADAL" clId="{12516E80-A0D9-4B76-86FD-A48ADB9E65BE}" dt="2024-01-01T19:57:07.243" v="24709"/>
          <ac:graphicFrameMkLst>
            <pc:docMk/>
            <pc:sldMk cId="3358644479" sldId="276"/>
            <ac:graphicFrameMk id="9" creationId="{5B26DAC3-551D-4056-7256-746E653C7CE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7:46.015" v="25099"/>
          <ac:graphicFrameMkLst>
            <pc:docMk/>
            <pc:sldMk cId="3358644479" sldId="276"/>
            <ac:graphicFrameMk id="35" creationId="{9391AFD8-750E-73C3-6081-C3EEA92F7B92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7:43.532" v="25008"/>
          <ac:graphicFrameMkLst>
            <pc:docMk/>
            <pc:sldMk cId="3358644479" sldId="276"/>
            <ac:graphicFrameMk id="43" creationId="{88E32A7D-16AB-6ED0-15FC-97DAA8616DF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7:49.178" v="25194"/>
          <ac:graphicFrameMkLst>
            <pc:docMk/>
            <pc:sldMk cId="3358644479" sldId="276"/>
            <ac:graphicFrameMk id="46" creationId="{D7FC59AC-A3FD-8E2E-5138-DDFC1A23F029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8:01.836" v="26271"/>
          <ac:graphicFrameMkLst>
            <pc:docMk/>
            <pc:sldMk cId="3358644479" sldId="276"/>
            <ac:graphicFrameMk id="47" creationId="{56317322-7E8E-F17C-F233-83FF608309F5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7:55.673" v="25799"/>
          <ac:graphicFrameMkLst>
            <pc:docMk/>
            <pc:sldMk cId="3358644479" sldId="276"/>
            <ac:graphicFrameMk id="54" creationId="{883FF15C-2555-F677-9BC4-4CB7729F09F1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7:58.144" v="26060"/>
          <ac:graphicFrameMkLst>
            <pc:docMk/>
            <pc:sldMk cId="3358644479" sldId="276"/>
            <ac:graphicFrameMk id="56" creationId="{0DEE110A-8407-DEFC-4B1C-BFE296A8EB57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8:01.804" v="26207"/>
          <ac:graphicFrameMkLst>
            <pc:docMk/>
            <pc:sldMk cId="3358644479" sldId="276"/>
            <ac:graphicFrameMk id="61" creationId="{D2E54148-0919-EFD3-D87C-C8EA53D36BE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8:01.836" v="26245"/>
          <ac:graphicFrameMkLst>
            <pc:docMk/>
            <pc:sldMk cId="3358644479" sldId="276"/>
            <ac:graphicFrameMk id="63" creationId="{54AF4ADB-BDBC-CC61-72C9-050BBA98E642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7:54.795" v="25636"/>
          <ac:graphicFrameMkLst>
            <pc:docMk/>
            <pc:sldMk cId="3358644479" sldId="276"/>
            <ac:graphicFrameMk id="64" creationId="{50D0B91C-117E-CBEE-34BA-DAF259F6E607}"/>
          </ac:graphicFrameMkLst>
        </pc:graphicFrameChg>
        <pc:picChg chg="del mod ord">
          <ac:chgData name="Joelle Brehm" userId="a518f54c-6985-42c0-8041-2bb16a414839" providerId="ADAL" clId="{12516E80-A0D9-4B76-86FD-A48ADB9E65BE}" dt="2024-01-01T19:57:28.954" v="24882" actId="478"/>
          <ac:picMkLst>
            <pc:docMk/>
            <pc:sldMk cId="3358644479" sldId="276"/>
            <ac:picMk id="31" creationId="{978FD691-4A7B-3CB5-993B-008E086C7157}"/>
          </ac:picMkLst>
        </pc:picChg>
        <pc:picChg chg="add mod ord">
          <ac:chgData name="Joelle Brehm" userId="a518f54c-6985-42c0-8041-2bb16a414839" providerId="ADAL" clId="{12516E80-A0D9-4B76-86FD-A48ADB9E65BE}" dt="2024-01-01T19:58:01.820" v="26215"/>
          <ac:picMkLst>
            <pc:docMk/>
            <pc:sldMk cId="3358644479" sldId="276"/>
            <ac:picMk id="33" creationId="{6463457C-7F84-B13A-3CB8-7B04013594DE}"/>
          </ac:picMkLst>
        </pc:picChg>
        <pc:picChg chg="mod ord">
          <ac:chgData name="Joelle Brehm" userId="a518f54c-6985-42c0-8041-2bb16a414839" providerId="ADAL" clId="{12516E80-A0D9-4B76-86FD-A48ADB9E65BE}" dt="2024-01-01T19:58:01.852" v="26277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58:01.836" v="26219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59:09.490" v="27610"/>
        <pc:sldMkLst>
          <pc:docMk/>
          <pc:sldMk cId="1336352168" sldId="277"/>
        </pc:sldMkLst>
        <pc:spChg chg="mod ord">
          <ac:chgData name="Joelle Brehm" userId="a518f54c-6985-42c0-8041-2bb16a414839" providerId="ADAL" clId="{12516E80-A0D9-4B76-86FD-A48ADB9E65BE}" dt="2024-01-01T19:59:09.444" v="27604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12516E80-A0D9-4B76-86FD-A48ADB9E65BE}" dt="2024-01-01T19:58:14.518" v="26288" actId="478"/>
          <ac:spMkLst>
            <pc:docMk/>
            <pc:sldMk cId="1336352168" sldId="277"/>
            <ac:spMk id="3" creationId="{EEA03D52-F0F4-538E-227F-B84AFCA0B96C}"/>
          </ac:spMkLst>
        </pc:spChg>
        <pc:spChg chg="add del mod modVis">
          <ac:chgData name="Joelle Brehm" userId="a518f54c-6985-42c0-8041-2bb16a414839" providerId="ADAL" clId="{12516E80-A0D9-4B76-86FD-A48ADB9E65BE}" dt="2024-01-01T19:58:21.249" v="26515"/>
          <ac:spMkLst>
            <pc:docMk/>
            <pc:sldMk cId="1336352168" sldId="277"/>
            <ac:spMk id="5" creationId="{3A31AE8A-BED7-D5C3-F537-490DF7710496}"/>
          </ac:spMkLst>
        </pc:spChg>
        <pc:spChg chg="mod ord">
          <ac:chgData name="Joelle Brehm" userId="a518f54c-6985-42c0-8041-2bb16a414839" providerId="ADAL" clId="{12516E80-A0D9-4B76-86FD-A48ADB9E65BE}" dt="2024-01-01T19:59:09.396" v="27539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19:59:09.396" v="27550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19:59:09.396" v="27546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19:59:09.396" v="27547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19:59:09.396" v="27544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19:59:09.396" v="27545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19:59:09.396" v="27548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19:59:09.396" v="27549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19:59:09.396" v="27551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19:59:09.396" v="27552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19:59:09.411" v="27553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19:59:09.412" v="27554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19:59:09.412" v="27555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19:59:09.412" v="27557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19:59:09.412" v="27558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19:59:09.412" v="27560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19:59:09.412" v="27559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19:59:09.412" v="27562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19:59:09.412" v="27563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19:59:09.412" v="27561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19:59:09.412" v="27565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19:59:09.428" v="27577"/>
          <ac:spMkLst>
            <pc:docMk/>
            <pc:sldMk cId="1336352168" sldId="277"/>
            <ac:spMk id="32" creationId="{74CF8B3F-36F6-9332-CFE2-CF317BED3193}"/>
          </ac:spMkLst>
        </pc:spChg>
        <pc:spChg chg="add del mod modVis">
          <ac:chgData name="Joelle Brehm" userId="a518f54c-6985-42c0-8041-2bb16a414839" providerId="ADAL" clId="{12516E80-A0D9-4B76-86FD-A48ADB9E65BE}" dt="2024-01-01T19:58:58.206" v="26811"/>
          <ac:spMkLst>
            <pc:docMk/>
            <pc:sldMk cId="1336352168" sldId="277"/>
            <ac:spMk id="33" creationId="{C134820C-FC12-4EE6-40A5-DAACC3BD97D7}"/>
          </ac:spMkLst>
        </pc:spChg>
        <pc:spChg chg="del mod">
          <ac:chgData name="Joelle Brehm" userId="a518f54c-6985-42c0-8041-2bb16a414839" providerId="ADAL" clId="{12516E80-A0D9-4B76-86FD-A48ADB9E65BE}" dt="2024-01-01T19:59:09.166" v="27428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12516E80-A0D9-4B76-86FD-A48ADB9E65BE}" dt="2024-01-01T19:59:09.412" v="27568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12516E80-A0D9-4B76-86FD-A48ADB9E65BE}" dt="2024-01-01T19:59:09.412" v="27569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12516E80-A0D9-4B76-86FD-A48ADB9E65BE}" dt="2024-01-01T19:59:09.412" v="27571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12516E80-A0D9-4B76-86FD-A48ADB9E65BE}" dt="2024-01-01T19:59:09.428" v="27572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12516E80-A0D9-4B76-86FD-A48ADB9E65BE}" dt="2024-01-01T19:59:09.428" v="27574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12516E80-A0D9-4B76-86FD-A48ADB9E65BE}" dt="2024-01-01T19:59:09.428" v="27575"/>
          <ac:spMkLst>
            <pc:docMk/>
            <pc:sldMk cId="1336352168" sldId="277"/>
            <ac:spMk id="42" creationId="{04656030-ED65-550D-E841-3EC7F85E35CF}"/>
          </ac:spMkLst>
        </pc:spChg>
        <pc:spChg chg="mod">
          <ac:chgData name="Joelle Brehm" userId="a518f54c-6985-42c0-8041-2bb16a414839" providerId="ADAL" clId="{12516E80-A0D9-4B76-86FD-A48ADB9E65BE}" dt="2024-01-01T19:59:09.412" v="27570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12516E80-A0D9-4B76-86FD-A48ADB9E65BE}" dt="2024-01-01T19:59:09.428" v="27573"/>
          <ac:spMkLst>
            <pc:docMk/>
            <pc:sldMk cId="1336352168" sldId="277"/>
            <ac:spMk id="44" creationId="{948C7430-EE17-A200-FEA6-849EEC95829A}"/>
          </ac:spMkLst>
        </pc:spChg>
        <pc:spChg chg="mod">
          <ac:chgData name="Joelle Brehm" userId="a518f54c-6985-42c0-8041-2bb16a414839" providerId="ADAL" clId="{12516E80-A0D9-4B76-86FD-A48ADB9E65BE}" dt="2024-01-01T19:59:09.428" v="27578"/>
          <ac:spMkLst>
            <pc:docMk/>
            <pc:sldMk cId="1336352168" sldId="277"/>
            <ac:spMk id="45" creationId="{D04E5C9A-B84D-E68D-0174-8A803F9459C0}"/>
          </ac:spMkLst>
        </pc:spChg>
        <pc:spChg chg="mod">
          <ac:chgData name="Joelle Brehm" userId="a518f54c-6985-42c0-8041-2bb16a414839" providerId="ADAL" clId="{12516E80-A0D9-4B76-86FD-A48ADB9E65BE}" dt="2024-01-01T19:59:09.428" v="27576"/>
          <ac:spMkLst>
            <pc:docMk/>
            <pc:sldMk cId="1336352168" sldId="277"/>
            <ac:spMk id="46" creationId="{F7A7DC41-8925-BEE0-D237-2FE7B5C8A67F}"/>
          </ac:spMkLst>
        </pc:spChg>
        <pc:spChg chg="add mod replST">
          <ac:chgData name="Joelle Brehm" userId="a518f54c-6985-42c0-8041-2bb16a414839" providerId="ADAL" clId="{12516E80-A0D9-4B76-86FD-A48ADB9E65BE}" dt="2024-01-01T19:59:09.428" v="27579"/>
          <ac:spMkLst>
            <pc:docMk/>
            <pc:sldMk cId="1336352168" sldId="277"/>
            <ac:spMk id="47" creationId="{AE18A661-20DA-E8A0-77A0-CA2C637605AF}"/>
          </ac:spMkLst>
        </pc:spChg>
        <pc:spChg chg="add del mod modVis">
          <ac:chgData name="Joelle Brehm" userId="a518f54c-6985-42c0-8041-2bb16a414839" providerId="ADAL" clId="{12516E80-A0D9-4B76-86FD-A48ADB9E65BE}" dt="2024-01-01T19:59:05.213" v="27250"/>
          <ac:spMkLst>
            <pc:docMk/>
            <pc:sldMk cId="1336352168" sldId="277"/>
            <ac:spMk id="48" creationId="{F4BF1E6C-7AF3-9623-5613-449058F28A2F}"/>
          </ac:spMkLst>
        </pc:spChg>
        <pc:spChg chg="add del mod ord replST">
          <ac:chgData name="Joelle Brehm" userId="a518f54c-6985-42c0-8041-2bb16a414839" providerId="ADAL" clId="{12516E80-A0D9-4B76-86FD-A48ADB9E65BE}" dt="2024-01-01T19:59:09.315" v="27505"/>
          <ac:spMkLst>
            <pc:docMk/>
            <pc:sldMk cId="1336352168" sldId="277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59:06.827" v="27425"/>
          <ac:spMkLst>
            <pc:docMk/>
            <pc:sldMk cId="1336352168" sldId="277"/>
            <ac:spMk id="51" creationId="{B8424F1C-9678-4B94-F1F5-549FCEA4E9F5}"/>
          </ac:spMkLst>
        </pc:spChg>
        <pc:spChg chg="add del mod modVis">
          <ac:chgData name="Joelle Brehm" userId="a518f54c-6985-42c0-8041-2bb16a414839" providerId="ADAL" clId="{12516E80-A0D9-4B76-86FD-A48ADB9E65BE}" dt="2024-01-01T19:59:09.444" v="27608"/>
          <ac:spMkLst>
            <pc:docMk/>
            <pc:sldMk cId="1336352168" sldId="277"/>
            <ac:spMk id="54" creationId="{692E0C63-7C0C-B929-E3B9-ECCD0D680460}"/>
          </ac:spMkLst>
        </pc:spChg>
        <pc:spChg chg="mod ord">
          <ac:chgData name="Joelle Brehm" userId="a518f54c-6985-42c0-8041-2bb16a414839" providerId="ADAL" clId="{12516E80-A0D9-4B76-86FD-A48ADB9E65BE}" dt="2024-01-01T19:59:09.444" v="27602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12516E80-A0D9-4B76-86FD-A48ADB9E65BE}" dt="2024-01-01T19:59:09.428" v="27581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19:59:09.428" v="27583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19:59:09.428" v="27585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19:59:09.428" v="27587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19:59:09.428" v="27589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19:59:09.428" v="27591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19:59:09.444" v="27594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9:09.444" v="27595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9:09.444" v="27596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19:59:09.444" v="27597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19:59:09.444" v="27598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19:59:09.490" v="27610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58:21.166" v="26434"/>
          <ac:graphicFrameMkLst>
            <pc:docMk/>
            <pc:sldMk cId="1336352168" sldId="277"/>
            <ac:graphicFrameMk id="8" creationId="{4C51C088-0419-2EF3-3707-BF23069CB56F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9:09.396" v="27543"/>
          <ac:graphicFrameMkLst>
            <pc:docMk/>
            <pc:sldMk cId="1336352168" sldId="277"/>
            <ac:graphicFrameMk id="9" creationId="{BF8FF693-46AB-280F-68F6-F46D46672F7C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8:58.157" v="26732"/>
          <ac:graphicFrameMkLst>
            <pc:docMk/>
            <pc:sldMk cId="1336352168" sldId="277"/>
            <ac:graphicFrameMk id="34" creationId="{639F9853-D24E-4D5C-6E5F-152D554FA682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9:09.444" v="27593"/>
          <ac:graphicFrameMkLst>
            <pc:docMk/>
            <pc:sldMk cId="1336352168" sldId="277"/>
            <ac:graphicFrameMk id="35" creationId="{A8D9B7D3-49D1-3BAD-0D51-C02BA838D8B9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9:06.698" v="27332"/>
          <ac:graphicFrameMkLst>
            <pc:docMk/>
            <pc:sldMk cId="1336352168" sldId="277"/>
            <ac:graphicFrameMk id="50" creationId="{7E79073B-B9AD-DAEF-F1E5-E735A4E035B1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9:09.331" v="27529"/>
          <ac:graphicFrameMkLst>
            <pc:docMk/>
            <pc:sldMk cId="1336352168" sldId="277"/>
            <ac:graphicFrameMk id="52" creationId="{7240A3C7-A3C0-6201-FBB5-F7265A0902B1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59:05.156" v="27162"/>
          <ac:graphicFrameMkLst>
            <pc:docMk/>
            <pc:sldMk cId="1336352168" sldId="277"/>
            <ac:graphicFrameMk id="53" creationId="{9DF0A94F-4179-9FB2-9A1E-075C960E0099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59:09.412" v="27567"/>
          <ac:graphicFrameMkLst>
            <pc:docMk/>
            <pc:sldMk cId="1336352168" sldId="277"/>
            <ac:graphicFrameMk id="55" creationId="{BEEFA010-C0A9-228F-4831-1DD94384E4C0}"/>
          </ac:graphicFrameMkLst>
        </pc:graphicFrameChg>
        <pc:picChg chg="add mod ord">
          <ac:chgData name="Joelle Brehm" userId="a518f54c-6985-42c0-8041-2bb16a414839" providerId="ADAL" clId="{12516E80-A0D9-4B76-86FD-A48ADB9E65BE}" dt="2024-01-01T19:59:09.396" v="27537"/>
          <ac:picMkLst>
            <pc:docMk/>
            <pc:sldMk cId="1336352168" sldId="277"/>
            <ac:picMk id="10" creationId="{AFEFD02F-5353-AA32-817C-B77565C4918E}"/>
          </ac:picMkLst>
        </pc:picChg>
        <pc:picChg chg="del mod ord">
          <ac:chgData name="Joelle Brehm" userId="a518f54c-6985-42c0-8041-2bb16a414839" providerId="ADAL" clId="{12516E80-A0D9-4B76-86FD-A48ADB9E65BE}" dt="2024-01-01T19:58:46.092" v="26602" actId="478"/>
          <ac:picMkLst>
            <pc:docMk/>
            <pc:sldMk cId="1336352168" sldId="277"/>
            <ac:picMk id="31" creationId="{D98B4E7E-E332-0CC5-EE54-5E441EB0FAAD}"/>
          </ac:picMkLst>
        </pc:picChg>
        <pc:picChg chg="mod ord">
          <ac:chgData name="Joelle Brehm" userId="a518f54c-6985-42c0-8041-2bb16a414839" providerId="ADAL" clId="{12516E80-A0D9-4B76-86FD-A48ADB9E65BE}" dt="2024-01-01T19:59:09.444" v="27600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19:59:09.396" v="27541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20:00:47.634" v="29341"/>
        <pc:sldMkLst>
          <pc:docMk/>
          <pc:sldMk cId="1379386497" sldId="278"/>
        </pc:sldMkLst>
        <pc:spChg chg="mod ord">
          <ac:chgData name="Joelle Brehm" userId="a518f54c-6985-42c0-8041-2bb16a414839" providerId="ADAL" clId="{12516E80-A0D9-4B76-86FD-A48ADB9E65BE}" dt="2024-01-01T20:00:47.612" v="29335"/>
          <ac:spMkLst>
            <pc:docMk/>
            <pc:sldMk cId="1379386497" sldId="278"/>
            <ac:spMk id="2" creationId="{F45C2660-F634-4943-BD78-279946171050}"/>
          </ac:spMkLst>
        </pc:spChg>
        <pc:spChg chg="add del mod">
          <ac:chgData name="Joelle Brehm" userId="a518f54c-6985-42c0-8041-2bb16a414839" providerId="ADAL" clId="{12516E80-A0D9-4B76-86FD-A48ADB9E65BE}" dt="2024-01-01T19:59:32.802" v="27611" actId="478"/>
          <ac:spMkLst>
            <pc:docMk/>
            <pc:sldMk cId="1379386497" sldId="278"/>
            <ac:spMk id="3" creationId="{8001CE6F-2153-0F60-FC05-BD292FE9BCCA}"/>
          </ac:spMkLst>
        </pc:spChg>
        <pc:spChg chg="add del mod modVis">
          <ac:chgData name="Joelle Brehm" userId="a518f54c-6985-42c0-8041-2bb16a414839" providerId="ADAL" clId="{12516E80-A0D9-4B76-86FD-A48ADB9E65BE}" dt="2024-01-01T19:59:45.374" v="27654"/>
          <ac:spMkLst>
            <pc:docMk/>
            <pc:sldMk cId="1379386497" sldId="278"/>
            <ac:spMk id="5" creationId="{82830AED-D3A6-0847-4601-657A9E1E015F}"/>
          </ac:spMkLst>
        </pc:spChg>
        <pc:spChg chg="mod ord">
          <ac:chgData name="Joelle Brehm" userId="a518f54c-6985-42c0-8041-2bb16a414839" providerId="ADAL" clId="{12516E80-A0D9-4B76-86FD-A48ADB9E65BE}" dt="2024-01-01T20:00:47.580" v="29270"/>
          <ac:spMkLst>
            <pc:docMk/>
            <pc:sldMk cId="1379386497" sldId="278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2516E80-A0D9-4B76-86FD-A48ADB9E65BE}" dt="2024-01-01T19:59:47.412" v="27865"/>
          <ac:spMkLst>
            <pc:docMk/>
            <pc:sldMk cId="1379386497" sldId="278"/>
            <ac:spMk id="9" creationId="{6BECEF9C-8CFA-2596-31A0-EB09CB14B92E}"/>
          </ac:spMkLst>
        </pc:spChg>
        <pc:spChg chg="mod">
          <ac:chgData name="Joelle Brehm" userId="a518f54c-6985-42c0-8041-2bb16a414839" providerId="ADAL" clId="{12516E80-A0D9-4B76-86FD-A48ADB9E65BE}" dt="2024-01-01T20:00:47.580" v="29281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20:00:47.580" v="29277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20:00:47.580" v="29278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20:00:47.580" v="29275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20:00:47.580" v="29276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20:00:47.580" v="29279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20:00:47.580" v="29280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20:00:47.580" v="29282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20:00:47.580" v="29283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20:00:47.580" v="29284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20:00:47.580" v="29285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20:00:47.580" v="29286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20:00:47.580" v="29288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20:00:47.580" v="29289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20:00:47.580" v="29291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20:00:47.580" v="29290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20:00:47.580" v="29293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20:00:47.580" v="29294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20:00:47.580" v="29292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20:00:47.580" v="29296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1T20:00:47.597" v="29300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12516E80-A0D9-4B76-86FD-A48ADB9E65BE}" dt="2024-01-01T20:00:47.597" v="29308"/>
          <ac:spMkLst>
            <pc:docMk/>
            <pc:sldMk cId="1379386497" sldId="278"/>
            <ac:spMk id="33" creationId="{D9441170-0215-A7D1-2B94-1AA18159DA2E}"/>
          </ac:spMkLst>
        </pc:spChg>
        <pc:spChg chg="add del mod modVis">
          <ac:chgData name="Joelle Brehm" userId="a518f54c-6985-42c0-8041-2bb16a414839" providerId="ADAL" clId="{12516E80-A0D9-4B76-86FD-A48ADB9E65BE}" dt="2024-01-01T19:59:55.785" v="28039"/>
          <ac:spMkLst>
            <pc:docMk/>
            <pc:sldMk cId="1379386497" sldId="278"/>
            <ac:spMk id="34" creationId="{EEAA8E1D-9833-C627-8A88-4C11E097FDEB}"/>
          </ac:spMkLst>
        </pc:spChg>
        <pc:spChg chg="mod">
          <ac:chgData name="Joelle Brehm" userId="a518f54c-6985-42c0-8041-2bb16a414839" providerId="ADAL" clId="{12516E80-A0D9-4B76-86FD-A48ADB9E65BE}" dt="2024-01-01T20:00:47.597" v="29299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12516E80-A0D9-4B76-86FD-A48ADB9E65BE}" dt="2024-01-01T20:00:47.597" v="29327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12516E80-A0D9-4B76-86FD-A48ADB9E65BE}" dt="2024-01-01T20:00:47.597" v="29329"/>
          <ac:spMkLst>
            <pc:docMk/>
            <pc:sldMk cId="1379386497" sldId="278"/>
            <ac:spMk id="39" creationId="{BC5B7AD7-98AB-AC45-8C89-733A6DC5051A}"/>
          </ac:spMkLst>
        </pc:spChg>
        <pc:spChg chg="del mod">
          <ac:chgData name="Joelle Brehm" userId="a518f54c-6985-42c0-8041-2bb16a414839" providerId="ADAL" clId="{12516E80-A0D9-4B76-86FD-A48ADB9E65BE}" dt="2024-01-01T20:00:43.591" v="29034"/>
          <ac:spMkLst>
            <pc:docMk/>
            <pc:sldMk cId="1379386497" sldId="278"/>
            <ac:spMk id="40" creationId="{19EAC242-0641-3DCA-CBDC-E602B8F0CB05}"/>
          </ac:spMkLst>
        </pc:spChg>
        <pc:spChg chg="mod">
          <ac:chgData name="Joelle Brehm" userId="a518f54c-6985-42c0-8041-2bb16a414839" providerId="ADAL" clId="{12516E80-A0D9-4B76-86FD-A48ADB9E65BE}" dt="2024-01-01T20:00:47.597" v="29306"/>
          <ac:spMkLst>
            <pc:docMk/>
            <pc:sldMk cId="1379386497" sldId="278"/>
            <ac:spMk id="41" creationId="{2CE2D9E3-933C-589B-9FDF-AD85A36D3F72}"/>
          </ac:spMkLst>
        </pc:spChg>
        <pc:spChg chg="mod">
          <ac:chgData name="Joelle Brehm" userId="a518f54c-6985-42c0-8041-2bb16a414839" providerId="ADAL" clId="{12516E80-A0D9-4B76-86FD-A48ADB9E65BE}" dt="2024-01-01T20:00:47.597" v="29309"/>
          <ac:spMkLst>
            <pc:docMk/>
            <pc:sldMk cId="1379386497" sldId="278"/>
            <ac:spMk id="42" creationId="{0660EA24-A2FF-39AF-6D53-5A6B463F1F4A}"/>
          </ac:spMkLst>
        </pc:spChg>
        <pc:spChg chg="mod">
          <ac:chgData name="Joelle Brehm" userId="a518f54c-6985-42c0-8041-2bb16a414839" providerId="ADAL" clId="{12516E80-A0D9-4B76-86FD-A48ADB9E65BE}" dt="2024-01-01T20:00:47.597" v="29304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12516E80-A0D9-4B76-86FD-A48ADB9E65BE}" dt="2024-01-01T20:00:47.597" v="29302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12516E80-A0D9-4B76-86FD-A48ADB9E65BE}" dt="2024-01-01T20:00:47.597" v="29307"/>
          <ac:spMkLst>
            <pc:docMk/>
            <pc:sldMk cId="1379386497" sldId="278"/>
            <ac:spMk id="45" creationId="{905B75A0-9675-8F59-A2F9-EC525ACC9D40}"/>
          </ac:spMkLst>
        </pc:spChg>
        <pc:spChg chg="mod">
          <ac:chgData name="Joelle Brehm" userId="a518f54c-6985-42c0-8041-2bb16a414839" providerId="ADAL" clId="{12516E80-A0D9-4B76-86FD-A48ADB9E65BE}" dt="2024-01-01T20:00:47.597" v="29301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12516E80-A0D9-4B76-86FD-A48ADB9E65BE}" dt="2024-01-01T20:00:47.597" v="29305"/>
          <ac:spMkLst>
            <pc:docMk/>
            <pc:sldMk cId="1379386497" sldId="278"/>
            <ac:spMk id="47" creationId="{6057FFE7-9F54-EBDD-8215-FE17C631267E}"/>
          </ac:spMkLst>
        </pc:spChg>
        <pc:spChg chg="add del mod modVis">
          <ac:chgData name="Joelle Brehm" userId="a518f54c-6985-42c0-8041-2bb16a414839" providerId="ADAL" clId="{12516E80-A0D9-4B76-86FD-A48ADB9E65BE}" dt="2024-01-01T20:00:24.131" v="28322"/>
          <ac:spMkLst>
            <pc:docMk/>
            <pc:sldMk cId="1379386497" sldId="278"/>
            <ac:spMk id="49" creationId="{9A0103CC-7BA5-3BD5-0E86-8AC4A448E8E7}"/>
          </ac:spMkLst>
        </pc:spChg>
        <pc:spChg chg="add mod replST">
          <ac:chgData name="Joelle Brehm" userId="a518f54c-6985-42c0-8041-2bb16a414839" providerId="ADAL" clId="{12516E80-A0D9-4B76-86FD-A48ADB9E65BE}" dt="2024-01-01T20:00:47.597" v="29310"/>
          <ac:spMkLst>
            <pc:docMk/>
            <pc:sldMk cId="1379386497" sldId="278"/>
            <ac:spMk id="52" creationId="{5F99AA82-A56C-0B31-0714-9B89A2D90005}"/>
          </ac:spMkLst>
        </pc:spChg>
        <pc:spChg chg="add del mod modVis">
          <ac:chgData name="Joelle Brehm" userId="a518f54c-6985-42c0-8041-2bb16a414839" providerId="ADAL" clId="{12516E80-A0D9-4B76-86FD-A48ADB9E65BE}" dt="2024-01-01T20:00:39.447" v="28821"/>
          <ac:spMkLst>
            <pc:docMk/>
            <pc:sldMk cId="1379386497" sldId="278"/>
            <ac:spMk id="53" creationId="{59C88C83-6343-97D9-960F-12987F5848B8}"/>
          </ac:spMkLst>
        </pc:spChg>
        <pc:spChg chg="add del mod modVis">
          <ac:chgData name="Joelle Brehm" userId="a518f54c-6985-42c0-8041-2bb16a414839" providerId="ADAL" clId="{12516E80-A0D9-4B76-86FD-A48ADB9E65BE}" dt="2024-01-01T20:00:41.864" v="29031"/>
          <ac:spMkLst>
            <pc:docMk/>
            <pc:sldMk cId="1379386497" sldId="278"/>
            <ac:spMk id="55" creationId="{BB081EA9-1566-5EF5-A2F3-C7521CF26AEB}"/>
          </ac:spMkLst>
        </pc:spChg>
        <pc:spChg chg="add del mod ord replST">
          <ac:chgData name="Joelle Brehm" userId="a518f54c-6985-42c0-8041-2bb16a414839" providerId="ADAL" clId="{12516E80-A0D9-4B76-86FD-A48ADB9E65BE}" dt="2024-01-01T20:00:47.533" v="29258"/>
          <ac:spMkLst>
            <pc:docMk/>
            <pc:sldMk cId="1379386497" sldId="278"/>
            <ac:spMk id="56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20:00:47.612" v="29333"/>
          <ac:spMkLst>
            <pc:docMk/>
            <pc:sldMk cId="1379386497" sldId="278"/>
            <ac:spMk id="58" creationId="{78B81F80-FD88-43AD-B1EA-9D49D321CFA2}"/>
          </ac:spMkLst>
        </pc:spChg>
        <pc:spChg chg="mod">
          <ac:chgData name="Joelle Brehm" userId="a518f54c-6985-42c0-8041-2bb16a414839" providerId="ADAL" clId="{12516E80-A0D9-4B76-86FD-A48ADB9E65BE}" dt="2024-01-01T20:00:47.597" v="29303"/>
          <ac:spMkLst>
            <pc:docMk/>
            <pc:sldMk cId="1379386497" sldId="278"/>
            <ac:spMk id="60" creationId="{2B15A064-F539-2DBC-4751-EC9AD27E414F}"/>
          </ac:spMkLst>
        </pc:spChg>
        <pc:spChg chg="add del mod modVis">
          <ac:chgData name="Joelle Brehm" userId="a518f54c-6985-42c0-8041-2bb16a414839" providerId="ADAL" clId="{12516E80-A0D9-4B76-86FD-A48ADB9E65BE}" dt="2024-01-01T20:00:43.721" v="29208"/>
          <ac:spMkLst>
            <pc:docMk/>
            <pc:sldMk cId="1379386497" sldId="278"/>
            <ac:spMk id="61" creationId="{7C6D13D5-DACE-EA32-B02C-29455B4547D8}"/>
          </ac:spMkLst>
        </pc:spChg>
        <pc:spChg chg="add del mod modVis">
          <ac:chgData name="Joelle Brehm" userId="a518f54c-6985-42c0-8041-2bb16a414839" providerId="ADAL" clId="{12516E80-A0D9-4B76-86FD-A48ADB9E65BE}" dt="2024-01-01T20:00:47.612" v="29339"/>
          <ac:spMkLst>
            <pc:docMk/>
            <pc:sldMk cId="1379386497" sldId="278"/>
            <ac:spMk id="63" creationId="{18215CFF-C2B7-7D40-846C-CE4A6036BD45}"/>
          </ac:spMkLst>
        </pc:spChg>
        <pc:spChg chg="mod ord">
          <ac:chgData name="Joelle Brehm" userId="a518f54c-6985-42c0-8041-2bb16a414839" providerId="ADAL" clId="{12516E80-A0D9-4B76-86FD-A48ADB9E65BE}" dt="2024-01-01T20:00:47.597" v="29312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20:00:47.597" v="29314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20:00:47.597" v="29316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20:00:47.597" v="29318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20:00:47.597" v="29320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20:00:47.597" v="29322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20:00:47.597" v="29325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0:47.597" v="29326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0:47.597" v="29328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12516E80-A0D9-4B76-86FD-A48ADB9E65BE}" dt="2024-01-01T20:00:47.634" v="29341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19:59:47.348" v="27780"/>
          <ac:graphicFrameMkLst>
            <pc:docMk/>
            <pc:sldMk cId="1379386497" sldId="278"/>
            <ac:graphicFrameMk id="8" creationId="{B45884BB-A3B6-C890-3929-C6AE98BE41C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59:55.646" v="27958"/>
          <ac:graphicFrameMkLst>
            <pc:docMk/>
            <pc:sldMk cId="1379386497" sldId="278"/>
            <ac:graphicFrameMk id="10" creationId="{1AB37449-4E9F-52CC-3EC5-0CE3574EE432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0:47.580" v="29274"/>
          <ac:graphicFrameMkLst>
            <pc:docMk/>
            <pc:sldMk cId="1379386497" sldId="278"/>
            <ac:graphicFrameMk id="35" creationId="{FC432924-5C45-EF3D-6C29-5D181AA3BDDD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20:00:24.047" v="28243"/>
          <ac:graphicFrameMkLst>
            <pc:docMk/>
            <pc:sldMk cId="1379386497" sldId="278"/>
            <ac:graphicFrameMk id="36" creationId="{57D67F20-26E8-DD10-661F-05839F25C3C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0:47.597" v="29324"/>
          <ac:graphicFrameMkLst>
            <pc:docMk/>
            <pc:sldMk cId="1379386497" sldId="278"/>
            <ac:graphicFrameMk id="50" creationId="{C3910534-788F-1064-FF99-A3A2BF9B9E6C}"/>
          </ac:graphicFrameMkLst>
        </pc:graphicFrameChg>
        <pc:graphicFrameChg chg="add mod ord replST delST">
          <ac:chgData name="Joelle Brehm" userId="a518f54c-6985-42c0-8041-2bb16a414839" providerId="ADAL" clId="{12516E80-A0D9-4B76-86FD-A48ADB9E65BE}" dt="2024-01-01T20:00:32.743" v="28448"/>
          <ac:graphicFrameMkLst>
            <pc:docMk/>
            <pc:sldMk cId="1379386497" sldId="278"/>
            <ac:graphicFrameMk id="51" creationId="{562B8C84-ABE0-2548-7CBC-BA6806878C0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0:41.799" v="28940"/>
          <ac:graphicFrameMkLst>
            <pc:docMk/>
            <pc:sldMk cId="1379386497" sldId="278"/>
            <ac:graphicFrameMk id="54" creationId="{529AF794-EC58-C3B1-1AC5-1FB11C083221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20:00:39.384" v="28737"/>
          <ac:graphicFrameMkLst>
            <pc:docMk/>
            <pc:sldMk cId="1379386497" sldId="278"/>
            <ac:graphicFrameMk id="57" creationId="{136923A0-2C10-325D-92AB-86667CBFAB2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0:43.655" v="29127"/>
          <ac:graphicFrameMkLst>
            <pc:docMk/>
            <pc:sldMk cId="1379386497" sldId="278"/>
            <ac:graphicFrameMk id="59" creationId="{7AA5DA5A-EF88-C162-3E37-B020DECDA8B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0:47.533" v="29260"/>
          <ac:graphicFrameMkLst>
            <pc:docMk/>
            <pc:sldMk cId="1379386497" sldId="278"/>
            <ac:graphicFrameMk id="62" creationId="{5759A8D3-8350-9F01-AAF0-AA9964F7425C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0:47.597" v="29298"/>
          <ac:graphicFrameMkLst>
            <pc:docMk/>
            <pc:sldMk cId="1379386497" sldId="278"/>
            <ac:graphicFrameMk id="64" creationId="{E614F9F4-CDE6-6BE9-A987-CB019FAA678B}"/>
          </ac:graphicFrameMkLst>
        </pc:graphicFrameChg>
        <pc:picChg chg="del mod ord">
          <ac:chgData name="Joelle Brehm" userId="a518f54c-6985-42c0-8041-2bb16a414839" providerId="ADAL" clId="{12516E80-A0D9-4B76-86FD-A48ADB9E65BE}" dt="2024-01-01T20:00:16.200" v="28126" actId="478"/>
          <ac:picMkLst>
            <pc:docMk/>
            <pc:sldMk cId="1379386497" sldId="278"/>
            <ac:picMk id="31" creationId="{A5CC3D41-D71D-6FF1-48FA-722FB00B05CD}"/>
          </ac:picMkLst>
        </pc:picChg>
        <pc:picChg chg="add mod ord">
          <ac:chgData name="Joelle Brehm" userId="a518f54c-6985-42c0-8041-2bb16a414839" providerId="ADAL" clId="{12516E80-A0D9-4B76-86FD-A48ADB9E65BE}" dt="2024-01-01T20:00:47.580" v="29268"/>
          <ac:picMkLst>
            <pc:docMk/>
            <pc:sldMk cId="1379386497" sldId="278"/>
            <ac:picMk id="48" creationId="{22121B5A-FE1C-4BC1-6DD4-02D635B2102A}"/>
          </ac:picMkLst>
        </pc:picChg>
        <pc:picChg chg="mod ord">
          <ac:chgData name="Joelle Brehm" userId="a518f54c-6985-42c0-8041-2bb16a414839" providerId="ADAL" clId="{12516E80-A0D9-4B76-86FD-A48ADB9E65BE}" dt="2024-01-01T20:00:47.597" v="29331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20:00:47.580" v="29272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20:01:56.984" v="30808"/>
        <pc:sldMkLst>
          <pc:docMk/>
          <pc:sldMk cId="1917659360" sldId="279"/>
        </pc:sldMkLst>
        <pc:spChg chg="add del mod">
          <ac:chgData name="Joelle Brehm" userId="a518f54c-6985-42c0-8041-2bb16a414839" providerId="ADAL" clId="{12516E80-A0D9-4B76-86FD-A48ADB9E65BE}" dt="2024-01-01T20:00:55.669" v="29342" actId="478"/>
          <ac:spMkLst>
            <pc:docMk/>
            <pc:sldMk cId="1917659360" sldId="279"/>
            <ac:spMk id="2" creationId="{A24D3295-7E57-2FDF-E759-2E0B01D54461}"/>
          </ac:spMkLst>
        </pc:spChg>
        <pc:spChg chg="mod ord">
          <ac:chgData name="Joelle Brehm" userId="a518f54c-6985-42c0-8041-2bb16a414839" providerId="ADAL" clId="{12516E80-A0D9-4B76-86FD-A48ADB9E65BE}" dt="2024-01-01T20:01:56.965" v="30802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12516E80-A0D9-4B76-86FD-A48ADB9E65BE}" dt="2024-01-01T20:01:09.641" v="29579"/>
          <ac:spMkLst>
            <pc:docMk/>
            <pc:sldMk cId="1917659360" sldId="279"/>
            <ac:spMk id="5" creationId="{F50FCD83-8453-D60B-62D3-8A52E9C77A8B}"/>
          </ac:spMkLst>
        </pc:spChg>
        <pc:spChg chg="mod ord">
          <ac:chgData name="Joelle Brehm" userId="a518f54c-6985-42c0-8041-2bb16a414839" providerId="ADAL" clId="{12516E80-A0D9-4B76-86FD-A48ADB9E65BE}" dt="2024-01-01T20:01:56.936" v="30737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20:01:56.952" v="30767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12516E80-A0D9-4B76-86FD-A48ADB9E65BE}" dt="2024-01-01T20:01:56.943" v="30748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20:01:56.940" v="30744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20:01:56.942" v="30745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20:01:56.940" v="30742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20:01:56.940" v="30743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20:01:56.942" v="30746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20:01:56.942" v="30747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20:01:56.943" v="30749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20:01:56.943" v="30750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20:01:56.943" v="30751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20:01:56.943" v="30752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20:01:56.945" v="30753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20:01:56.946" v="30755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20:01:56.946" v="30756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20:01:56.947" v="30758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20:01:56.947" v="30757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20:01:56.948" v="30760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20:01:56.949" v="30761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20:01:56.948" v="30759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20:01:56.949" v="30763"/>
          <ac:spMkLst>
            <pc:docMk/>
            <pc:sldMk cId="1917659360" sldId="279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12516E80-A0D9-4B76-86FD-A48ADB9E65BE}" dt="2024-01-01T20:01:11.563" v="29711"/>
          <ac:spMkLst>
            <pc:docMk/>
            <pc:sldMk cId="1917659360" sldId="279"/>
            <ac:spMk id="32" creationId="{6BB10E28-6D4B-F96E-AF7D-CA9F83D043F8}"/>
          </ac:spMkLst>
        </pc:spChg>
        <pc:spChg chg="mod">
          <ac:chgData name="Joelle Brehm" userId="a518f54c-6985-42c0-8041-2bb16a414839" providerId="ADAL" clId="{12516E80-A0D9-4B76-86FD-A48ADB9E65BE}" dt="2024-01-01T20:01:56.954" v="30775"/>
          <ac:spMkLst>
            <pc:docMk/>
            <pc:sldMk cId="1917659360" sldId="279"/>
            <ac:spMk id="33" creationId="{5E0420EB-DE56-49B0-A849-5880286E1551}"/>
          </ac:spMkLst>
        </pc:spChg>
        <pc:spChg chg="add del mod modVis">
          <ac:chgData name="Joelle Brehm" userId="a518f54c-6985-42c0-8041-2bb16a414839" providerId="ADAL" clId="{12516E80-A0D9-4B76-86FD-A48ADB9E65BE}" dt="2024-01-01T20:01:20.298" v="29893"/>
          <ac:spMkLst>
            <pc:docMk/>
            <pc:sldMk cId="1917659360" sldId="279"/>
            <ac:spMk id="35" creationId="{1737D17C-31D8-0343-22EE-50C5D7842AFD}"/>
          </ac:spMkLst>
        </pc:spChg>
        <pc:spChg chg="del mod">
          <ac:chgData name="Joelle Brehm" userId="a518f54c-6985-42c0-8041-2bb16a414839" providerId="ADAL" clId="{12516E80-A0D9-4B76-86FD-A48ADB9E65BE}" dt="2024-01-01T20:01:56.806" v="30629"/>
          <ac:spMkLst>
            <pc:docMk/>
            <pc:sldMk cId="1917659360" sldId="279"/>
            <ac:spMk id="36" creationId="{1DD7BBF4-6C80-7EAE-8C4B-809D66ECE570}"/>
          </ac:spMkLst>
        </pc:spChg>
        <pc:spChg chg="mod">
          <ac:chgData name="Joelle Brehm" userId="a518f54c-6985-42c0-8041-2bb16a414839" providerId="ADAL" clId="{12516E80-A0D9-4B76-86FD-A48ADB9E65BE}" dt="2024-01-01T20:01:56.953" v="30769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12516E80-A0D9-4B76-86FD-A48ADB9E65BE}" dt="2024-01-01T20:01:56.954" v="30776"/>
          <ac:spMkLst>
            <pc:docMk/>
            <pc:sldMk cId="1917659360" sldId="279"/>
            <ac:spMk id="39" creationId="{D6233669-6C61-F88A-CA74-14C4A4F6BEAC}"/>
          </ac:spMkLst>
        </pc:spChg>
        <pc:spChg chg="mod">
          <ac:chgData name="Joelle Brehm" userId="a518f54c-6985-42c0-8041-2bb16a414839" providerId="ADAL" clId="{12516E80-A0D9-4B76-86FD-A48ADB9E65BE}" dt="2024-01-01T20:01:56.952" v="30768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12516E80-A0D9-4B76-86FD-A48ADB9E65BE}" dt="2024-01-01T20:01:56.954" v="30774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12516E80-A0D9-4B76-86FD-A48ADB9E65BE}" dt="2024-01-01T20:01:56.954" v="30772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12516E80-A0D9-4B76-86FD-A48ADB9E65BE}" dt="2024-01-01T20:01:56.954" v="30773"/>
          <ac:spMkLst>
            <pc:docMk/>
            <pc:sldMk cId="1917659360" sldId="279"/>
            <ac:spMk id="43" creationId="{BBDFBA71-A567-2AC1-EC82-8D2F9B910F5F}"/>
          </ac:spMkLst>
        </pc:spChg>
        <pc:spChg chg="mod">
          <ac:chgData name="Joelle Brehm" userId="a518f54c-6985-42c0-8041-2bb16a414839" providerId="ADAL" clId="{12516E80-A0D9-4B76-86FD-A48ADB9E65BE}" dt="2024-01-01T20:01:56.951" v="30766"/>
          <ac:spMkLst>
            <pc:docMk/>
            <pc:sldMk cId="1917659360" sldId="279"/>
            <ac:spMk id="44" creationId="{6D0C749E-E8C8-88F8-DDE8-851FCBBEB3E2}"/>
          </ac:spMkLst>
        </pc:spChg>
        <pc:spChg chg="mod">
          <ac:chgData name="Joelle Brehm" userId="a518f54c-6985-42c0-8041-2bb16a414839" providerId="ADAL" clId="{12516E80-A0D9-4B76-86FD-A48ADB9E65BE}" dt="2024-01-01T20:01:56.953" v="30770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12516E80-A0D9-4B76-86FD-A48ADB9E65BE}" dt="2024-01-01T20:01:56.954" v="30771"/>
          <ac:spMkLst>
            <pc:docMk/>
            <pc:sldMk cId="1917659360" sldId="279"/>
            <ac:spMk id="47" creationId="{698A62C7-0861-3196-719C-E48F5560BE43}"/>
          </ac:spMkLst>
        </pc:spChg>
        <pc:spChg chg="add del mod modVis">
          <ac:chgData name="Joelle Brehm" userId="a518f54c-6985-42c0-8041-2bb16a414839" providerId="ADAL" clId="{12516E80-A0D9-4B76-86FD-A48ADB9E65BE}" dt="2024-01-01T20:01:25.684" v="30017"/>
          <ac:spMkLst>
            <pc:docMk/>
            <pc:sldMk cId="1917659360" sldId="279"/>
            <ac:spMk id="48" creationId="{E38DAD44-8659-386B-58A5-F7B067DCEA85}"/>
          </ac:spMkLst>
        </pc:spChg>
        <pc:spChg chg="add mod replST">
          <ac:chgData name="Joelle Brehm" userId="a518f54c-6985-42c0-8041-2bb16a414839" providerId="ADAL" clId="{12516E80-A0D9-4B76-86FD-A48ADB9E65BE}" dt="2024-01-01T20:01:56.954" v="30777"/>
          <ac:spMkLst>
            <pc:docMk/>
            <pc:sldMk cId="1917659360" sldId="279"/>
            <ac:spMk id="51" creationId="{11756A47-3371-3050-1674-DA5C63D5DA78}"/>
          </ac:spMkLst>
        </pc:spChg>
        <pc:spChg chg="add del mod modVis">
          <ac:chgData name="Joelle Brehm" userId="a518f54c-6985-42c0-8041-2bb16a414839" providerId="ADAL" clId="{12516E80-A0D9-4B76-86FD-A48ADB9E65BE}" dt="2024-01-01T20:01:52.357" v="30488"/>
          <ac:spMkLst>
            <pc:docMk/>
            <pc:sldMk cId="1917659360" sldId="279"/>
            <ac:spMk id="52" creationId="{87781020-3D26-A794-1902-186D592E5F94}"/>
          </ac:spMkLst>
        </pc:spChg>
        <pc:spChg chg="add del mod modVis">
          <ac:chgData name="Joelle Brehm" userId="a518f54c-6985-42c0-8041-2bb16a414839" providerId="ADAL" clId="{12516E80-A0D9-4B76-86FD-A48ADB9E65BE}" dt="2024-01-01T20:01:53.793" v="30626"/>
          <ac:spMkLst>
            <pc:docMk/>
            <pc:sldMk cId="1917659360" sldId="279"/>
            <ac:spMk id="54" creationId="{62A24882-B413-4FDB-4089-470DED4C5D86}"/>
          </ac:spMkLst>
        </pc:spChg>
        <pc:spChg chg="add del mod modVis">
          <ac:chgData name="Joelle Brehm" userId="a518f54c-6985-42c0-8041-2bb16a414839" providerId="ADAL" clId="{12516E80-A0D9-4B76-86FD-A48ADB9E65BE}" dt="2024-01-01T20:01:56.965" v="30806"/>
          <ac:spMkLst>
            <pc:docMk/>
            <pc:sldMk cId="1917659360" sldId="279"/>
            <ac:spMk id="56" creationId="{60F4ADEB-FB09-171E-7395-A13060B11A21}"/>
          </ac:spMkLst>
        </pc:spChg>
        <pc:spChg chg="mod ord">
          <ac:chgData name="Joelle Brehm" userId="a518f54c-6985-42c0-8041-2bb16a414839" providerId="ADAL" clId="{12516E80-A0D9-4B76-86FD-A48ADB9E65BE}" dt="2024-01-01T20:01:56.964" v="30800"/>
          <ac:spMkLst>
            <pc:docMk/>
            <pc:sldMk cId="1917659360" sldId="279"/>
            <ac:spMk id="58" creationId="{C2B29D16-5A5D-43B3-B972-0B57287E081A}"/>
          </ac:spMkLst>
        </pc:spChg>
        <pc:spChg chg="mod ord">
          <ac:chgData name="Joelle Brehm" userId="a518f54c-6985-42c0-8041-2bb16a414839" providerId="ADAL" clId="{12516E80-A0D9-4B76-86FD-A48ADB9E65BE}" dt="2024-01-01T20:01:56.956" v="30779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20:01:56.956" v="30781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1T20:01:56.958" v="30783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20:01:56.959" v="30785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20:01:56.960" v="30787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20:01:56.960" v="30789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20:01:56.961" v="30792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1:56.961" v="30793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1:56.962" v="30794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1:56.962" v="30795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20:01:56.962" v="30796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20:01:56.984" v="30808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1T20:01:09.593" v="29498"/>
          <ac:graphicFrameMkLst>
            <pc:docMk/>
            <pc:sldMk cId="1917659360" sldId="279"/>
            <ac:graphicFrameMk id="8" creationId="{B1137A7C-7547-B0A3-1286-FB001D6FA1AC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1:11.498" v="29632"/>
          <ac:graphicFrameMkLst>
            <pc:docMk/>
            <pc:sldMk cId="1917659360" sldId="279"/>
            <ac:graphicFrameMk id="9" creationId="{7A6A5A91-14C2-298B-CFBE-B9770BAFB5E0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1:56.940" v="30741"/>
          <ac:graphicFrameMkLst>
            <pc:docMk/>
            <pc:sldMk cId="1917659360" sldId="279"/>
            <ac:graphicFrameMk id="34" creationId="{9562C001-A8FE-ED17-2023-C24371FC7B5D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20:01:20.208" v="29814"/>
          <ac:graphicFrameMkLst>
            <pc:docMk/>
            <pc:sldMk cId="1917659360" sldId="279"/>
            <ac:graphicFrameMk id="37" creationId="{F781EA16-12A7-78C8-04B7-534314E07B0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1:25.637" v="29938"/>
          <ac:graphicFrameMkLst>
            <pc:docMk/>
            <pc:sldMk cId="1917659360" sldId="279"/>
            <ac:graphicFrameMk id="45" creationId="{78CFDB8F-9F61-C38D-BB0E-B609AE7A5302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1:56.960" v="30791"/>
          <ac:graphicFrameMkLst>
            <pc:docMk/>
            <pc:sldMk cId="1917659360" sldId="279"/>
            <ac:graphicFrameMk id="49" creationId="{A844FD00-D79C-5F12-41F0-72EDA36B409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1:53.731" v="30546"/>
          <ac:graphicFrameMkLst>
            <pc:docMk/>
            <pc:sldMk cId="1917659360" sldId="279"/>
            <ac:graphicFrameMk id="53" creationId="{C7C682F9-6519-FFDF-DA51-0C99C32C032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1:56.909" v="30727"/>
          <ac:graphicFrameMkLst>
            <pc:docMk/>
            <pc:sldMk cId="1917659360" sldId="279"/>
            <ac:graphicFrameMk id="55" creationId="{85BD5163-63F2-7DC6-3CBB-BBBD5D3D788A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1:56.951" v="30765"/>
          <ac:graphicFrameMkLst>
            <pc:docMk/>
            <pc:sldMk cId="1917659360" sldId="279"/>
            <ac:graphicFrameMk id="57" creationId="{8400E400-46E6-0F52-CA96-91DEF4640BDD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20:01:52.310" v="30402"/>
          <ac:graphicFrameMkLst>
            <pc:docMk/>
            <pc:sldMk cId="1917659360" sldId="279"/>
            <ac:graphicFrameMk id="61" creationId="{9F8DB3DE-AA7F-CC52-7292-4006C77B9C9B}"/>
          </ac:graphicFrameMkLst>
        </pc:graphicFrameChg>
        <pc:picChg chg="del mod ord">
          <ac:chgData name="Joelle Brehm" userId="a518f54c-6985-42c0-8041-2bb16a414839" providerId="ADAL" clId="{12516E80-A0D9-4B76-86FD-A48ADB9E65BE}" dt="2024-01-01T20:01:43.939" v="30103" actId="478"/>
          <ac:picMkLst>
            <pc:docMk/>
            <pc:sldMk cId="1917659360" sldId="279"/>
            <ac:picMk id="31" creationId="{103F04EC-6D59-3E67-3875-333BE875105B}"/>
          </ac:picMkLst>
        </pc:picChg>
        <pc:picChg chg="add mod ord">
          <ac:chgData name="Joelle Brehm" userId="a518f54c-6985-42c0-8041-2bb16a414839" providerId="ADAL" clId="{12516E80-A0D9-4B76-86FD-A48ADB9E65BE}" dt="2024-01-01T20:01:56.936" v="30735"/>
          <ac:picMkLst>
            <pc:docMk/>
            <pc:sldMk cId="1917659360" sldId="279"/>
            <ac:picMk id="50" creationId="{8D2924E1-04CC-BBF4-5391-33B791219A52}"/>
          </ac:picMkLst>
        </pc:picChg>
        <pc:picChg chg="mod ord">
          <ac:chgData name="Joelle Brehm" userId="a518f54c-6985-42c0-8041-2bb16a414839" providerId="ADAL" clId="{12516E80-A0D9-4B76-86FD-A48ADB9E65BE}" dt="2024-01-01T20:01:56.964" v="30798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20:01:56.939" v="30739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20:07:10.750" v="37555"/>
        <pc:sldMkLst>
          <pc:docMk/>
          <pc:sldMk cId="168389892" sldId="281"/>
        </pc:sldMkLst>
        <pc:spChg chg="mod ord">
          <ac:chgData name="Joelle Brehm" userId="a518f54c-6985-42c0-8041-2bb16a414839" providerId="ADAL" clId="{12516E80-A0D9-4B76-86FD-A48ADB9E65BE}" dt="2024-01-01T20:07:10.734" v="37549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12516E80-A0D9-4B76-86FD-A48ADB9E65BE}" dt="2024-01-01T20:06:24.759" v="35939" actId="478"/>
          <ac:spMkLst>
            <pc:docMk/>
            <pc:sldMk cId="168389892" sldId="281"/>
            <ac:spMk id="3" creationId="{E9E387ED-C014-C8DE-04F4-102D6DE528DF}"/>
          </ac:spMkLst>
        </pc:spChg>
        <pc:spChg chg="add del mod modVis">
          <ac:chgData name="Joelle Brehm" userId="a518f54c-6985-42c0-8041-2bb16a414839" providerId="ADAL" clId="{12516E80-A0D9-4B76-86FD-A48ADB9E65BE}" dt="2024-01-01T20:06:27.649" v="36188"/>
          <ac:spMkLst>
            <pc:docMk/>
            <pc:sldMk cId="168389892" sldId="281"/>
            <ac:spMk id="5" creationId="{30C2109A-352A-1C4A-3370-B13EB60C614B}"/>
          </ac:spMkLst>
        </pc:spChg>
        <pc:spChg chg="mod ord">
          <ac:chgData name="Joelle Brehm" userId="a518f54c-6985-42c0-8041-2bb16a414839" providerId="ADAL" clId="{12516E80-A0D9-4B76-86FD-A48ADB9E65BE}" dt="2024-01-01T20:07:10.688" v="37461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1T20:07:10.718" v="37515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12516E80-A0D9-4B76-86FD-A48ADB9E65BE}" dt="2024-01-01T20:07:10.718" v="37504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12516E80-A0D9-4B76-86FD-A48ADB9E65BE}" dt="2024-01-01T20:07:10.688" v="37472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1T20:07:10.688" v="37468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1T20:07:10.688" v="37469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1T20:07:10.688" v="37466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1T20:07:10.688" v="37467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1T20:07:10.688" v="37470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1T20:07:10.688" v="37471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1T20:07:10.688" v="37473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1T20:07:10.703" v="37474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1T20:07:10.704" v="37475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1T20:07:10.704" v="37476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1T20:07:10.704" v="37477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1T20:07:10.706" v="37479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1T20:07:10.707" v="37482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1T20:07:10.710" v="37484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1T20:07:10.708" v="37483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1T20:07:10.713" v="37487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1T20:07:10.714" v="37488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1T20:07:10.712" v="37486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1T20:07:10.715" v="37490"/>
          <ac:spMkLst>
            <pc:docMk/>
            <pc:sldMk cId="168389892" sldId="281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12516E80-A0D9-4B76-86FD-A48ADB9E65BE}" dt="2024-01-01T20:06:55.909" v="36501"/>
          <ac:spMkLst>
            <pc:docMk/>
            <pc:sldMk cId="168389892" sldId="281"/>
            <ac:spMk id="33" creationId="{15CE40AF-F06A-D486-76F8-A6EA7CAAF49B}"/>
          </ac:spMkLst>
        </pc:spChg>
        <pc:spChg chg="mod">
          <ac:chgData name="Joelle Brehm" userId="a518f54c-6985-42c0-8041-2bb16a414839" providerId="ADAL" clId="{12516E80-A0D9-4B76-86FD-A48ADB9E65BE}" dt="2024-01-01T20:07:10.718" v="37519"/>
          <ac:spMkLst>
            <pc:docMk/>
            <pc:sldMk cId="168389892" sldId="281"/>
            <ac:spMk id="34" creationId="{0E8E46D7-D2A7-7EA2-D456-4F5AC1475AED}"/>
          </ac:spMkLst>
        </pc:spChg>
        <pc:spChg chg="mod ord">
          <ac:chgData name="Joelle Brehm" userId="a518f54c-6985-42c0-8041-2bb16a414839" providerId="ADAL" clId="{12516E80-A0D9-4B76-86FD-A48ADB9E65BE}" dt="2024-01-01T20:07:10.707" v="37481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1T20:07:10.718" v="37503"/>
          <ac:spMkLst>
            <pc:docMk/>
            <pc:sldMk cId="168389892" sldId="281"/>
            <ac:spMk id="39" creationId="{2B503E1C-4F05-1772-4CC4-AD21528F44F1}"/>
          </ac:spMkLst>
        </pc:spChg>
        <pc:spChg chg="del mod">
          <ac:chgData name="Joelle Brehm" userId="a518f54c-6985-42c0-8041-2bb16a414839" providerId="ADAL" clId="{12516E80-A0D9-4B76-86FD-A48ADB9E65BE}" dt="2024-01-01T20:07:05.530" v="37111"/>
          <ac:spMkLst>
            <pc:docMk/>
            <pc:sldMk cId="168389892" sldId="281"/>
            <ac:spMk id="40" creationId="{1DB452B4-7021-7EDF-AB37-EC0DEBE64811}"/>
          </ac:spMkLst>
        </pc:spChg>
        <pc:spChg chg="del mod">
          <ac:chgData name="Joelle Brehm" userId="a518f54c-6985-42c0-8041-2bb16a414839" providerId="ADAL" clId="{12516E80-A0D9-4B76-86FD-A48ADB9E65BE}" dt="2024-01-01T20:07:05.530" v="37110"/>
          <ac:spMkLst>
            <pc:docMk/>
            <pc:sldMk cId="168389892" sldId="281"/>
            <ac:spMk id="41" creationId="{FDBDB5F4-8253-DAFB-C27E-59BA58987D05}"/>
          </ac:spMkLst>
        </pc:spChg>
        <pc:spChg chg="add mod replST">
          <ac:chgData name="Joelle Brehm" userId="a518f54c-6985-42c0-8041-2bb16a414839" providerId="ADAL" clId="{12516E80-A0D9-4B76-86FD-A48ADB9E65BE}" dt="2024-01-01T20:07:10.718" v="37522"/>
          <ac:spMkLst>
            <pc:docMk/>
            <pc:sldMk cId="168389892" sldId="281"/>
            <ac:spMk id="42" creationId="{B52EB065-62EB-A990-E2D9-9703B327E3FC}"/>
          </ac:spMkLst>
        </pc:spChg>
        <pc:spChg chg="mod">
          <ac:chgData name="Joelle Brehm" userId="a518f54c-6985-42c0-8041-2bb16a414839" providerId="ADAL" clId="{12516E80-A0D9-4B76-86FD-A48ADB9E65BE}" dt="2024-01-01T20:07:10.718" v="37502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12516E80-A0D9-4B76-86FD-A48ADB9E65BE}" dt="2024-01-01T20:07:10.716" v="37494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18" v="37521"/>
          <ac:spMkLst>
            <pc:docMk/>
            <pc:sldMk cId="168389892" sldId="281"/>
            <ac:spMk id="45" creationId="{B489755F-21EB-39D7-16FB-197494E2C1A4}"/>
          </ac:spMkLst>
        </pc:spChg>
        <pc:spChg chg="mod">
          <ac:chgData name="Joelle Brehm" userId="a518f54c-6985-42c0-8041-2bb16a414839" providerId="ADAL" clId="{12516E80-A0D9-4B76-86FD-A48ADB9E65BE}" dt="2024-01-01T20:07:10.718" v="37518"/>
          <ac:spMkLst>
            <pc:docMk/>
            <pc:sldMk cId="168389892" sldId="281"/>
            <ac:spMk id="46" creationId="{D7E2D47E-9249-E731-F2B0-9D4421FC27B7}"/>
          </ac:spMkLst>
        </pc:spChg>
        <pc:spChg chg="mod">
          <ac:chgData name="Joelle Brehm" userId="a518f54c-6985-42c0-8041-2bb16a414839" providerId="ADAL" clId="{12516E80-A0D9-4B76-86FD-A48ADB9E65BE}" dt="2024-01-01T20:07:10.718" v="37520"/>
          <ac:spMkLst>
            <pc:docMk/>
            <pc:sldMk cId="168389892" sldId="281"/>
            <ac:spMk id="47" creationId="{C9F7A368-91BD-AFB9-D004-F672E6C15DDD}"/>
          </ac:spMkLst>
        </pc:spChg>
        <pc:spChg chg="mod ord">
          <ac:chgData name="Joelle Brehm" userId="a518f54c-6985-42c0-8041-2bb16a414839" providerId="ADAL" clId="{12516E80-A0D9-4B76-86FD-A48ADB9E65BE}" dt="2024-01-01T20:07:10.718" v="37501"/>
          <ac:spMkLst>
            <pc:docMk/>
            <pc:sldMk cId="168389892" sldId="281"/>
            <ac:spMk id="48" creationId="{D7C724F5-3AF0-C1C4-489C-1D5CE45F0FB0}"/>
          </ac:spMkLst>
        </pc:spChg>
        <pc:spChg chg="mod ord">
          <ac:chgData name="Joelle Brehm" userId="a518f54c-6985-42c0-8041-2bb16a414839" providerId="ADAL" clId="{12516E80-A0D9-4B76-86FD-A48ADB9E65BE}" dt="2024-01-01T20:07:10.718" v="37514"/>
          <ac:spMkLst>
            <pc:docMk/>
            <pc:sldMk cId="168389892" sldId="281"/>
            <ac:spMk id="49" creationId="{C06AD811-F54D-296F-21A9-ACC2CBDA832A}"/>
          </ac:spMkLst>
        </pc:spChg>
        <pc:spChg chg="add mod replST">
          <ac:chgData name="Joelle Brehm" userId="a518f54c-6985-42c0-8041-2bb16a414839" providerId="ADAL" clId="{12516E80-A0D9-4B76-86FD-A48ADB9E65BE}" dt="2024-01-01T20:07:10.718" v="37523"/>
          <ac:spMkLst>
            <pc:docMk/>
            <pc:sldMk cId="168389892" sldId="281"/>
            <ac:spMk id="50" creationId="{05A0C844-F372-941D-CC72-DA0AD120D666}"/>
          </ac:spMkLst>
        </pc:spChg>
        <pc:spChg chg="mod">
          <ac:chgData name="Joelle Brehm" userId="a518f54c-6985-42c0-8041-2bb16a414839" providerId="ADAL" clId="{12516E80-A0D9-4B76-86FD-A48ADB9E65BE}" dt="2024-01-01T20:07:10.718" v="37511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12516E80-A0D9-4B76-86FD-A48ADB9E65BE}" dt="2024-01-01T20:07:10.718" v="37509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12516E80-A0D9-4B76-86FD-A48ADB9E65BE}" dt="2024-01-01T20:07:10.718" v="37524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12516E80-A0D9-4B76-86FD-A48ADB9E65BE}" dt="2024-01-01T20:07:10.718" v="37506"/>
          <ac:spMkLst>
            <pc:docMk/>
            <pc:sldMk cId="168389892" sldId="281"/>
            <ac:spMk id="54" creationId="{622603CE-58AD-807F-F76A-AA9426112C20}"/>
          </ac:spMkLst>
        </pc:spChg>
        <pc:spChg chg="add del mod modVis">
          <ac:chgData name="Joelle Brehm" userId="a518f54c-6985-42c0-8041-2bb16a414839" providerId="ADAL" clId="{12516E80-A0D9-4B76-86FD-A48ADB9E65BE}" dt="2024-01-01T20:07:02.120" v="36899"/>
          <ac:spMkLst>
            <pc:docMk/>
            <pc:sldMk cId="168389892" sldId="281"/>
            <ac:spMk id="55" creationId="{B09ABB72-4AB8-1D15-7D1D-B8D8430D3AB4}"/>
          </ac:spMkLst>
        </pc:spChg>
        <pc:spChg chg="mod">
          <ac:chgData name="Joelle Brehm" userId="a518f54c-6985-42c0-8041-2bb16a414839" providerId="ADAL" clId="{12516E80-A0D9-4B76-86FD-A48ADB9E65BE}" dt="2024-01-01T20:07:10.718" v="37505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12516E80-A0D9-4B76-86FD-A48ADB9E65BE}" dt="2024-01-01T20:07:10.718" v="37508"/>
          <ac:spMkLst>
            <pc:docMk/>
            <pc:sldMk cId="168389892" sldId="281"/>
            <ac:spMk id="57" creationId="{C5C40907-46F2-01D7-4DFC-21E722FD6F82}"/>
          </ac:spMkLst>
        </pc:spChg>
        <pc:spChg chg="mod">
          <ac:chgData name="Joelle Brehm" userId="a518f54c-6985-42c0-8041-2bb16a414839" providerId="ADAL" clId="{12516E80-A0D9-4B76-86FD-A48ADB9E65BE}" dt="2024-01-01T20:07:10.718" v="37510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12516E80-A0D9-4B76-86FD-A48ADB9E65BE}" dt="2024-01-01T20:07:10.718" v="37507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12516E80-A0D9-4B76-86FD-A48ADB9E65BE}" dt="2024-01-01T20:07:10.718" v="37517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12516E80-A0D9-4B76-86FD-A48ADB9E65BE}" dt="2024-01-01T20:07:10.718" v="37513"/>
          <ac:spMkLst>
            <pc:docMk/>
            <pc:sldMk cId="168389892" sldId="281"/>
            <ac:spMk id="62" creationId="{DE7D5BF8-193E-8278-7BAE-2D4FE573EB09}"/>
          </ac:spMkLst>
        </pc:spChg>
        <pc:spChg chg="mod">
          <ac:chgData name="Joelle Brehm" userId="a518f54c-6985-42c0-8041-2bb16a414839" providerId="ADAL" clId="{12516E80-A0D9-4B76-86FD-A48ADB9E65BE}" dt="2024-01-01T20:07:10.718" v="37516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12516E80-A0D9-4B76-86FD-A48ADB9E65BE}" dt="2024-01-01T20:07:03.255" v="37107"/>
          <ac:spMkLst>
            <pc:docMk/>
            <pc:sldMk cId="168389892" sldId="281"/>
            <ac:spMk id="64" creationId="{DBEB21B8-9311-C743-21BB-DF7A7397AC34}"/>
          </ac:spMkLst>
        </pc:spChg>
        <pc:spChg chg="add del mod modVis">
          <ac:chgData name="Joelle Brehm" userId="a518f54c-6985-42c0-8041-2bb16a414839" providerId="ADAL" clId="{12516E80-A0D9-4B76-86FD-A48ADB9E65BE}" dt="2024-01-01T20:07:05.704" v="37362"/>
          <ac:spMkLst>
            <pc:docMk/>
            <pc:sldMk cId="168389892" sldId="281"/>
            <ac:spMk id="66" creationId="{4B114724-B0BA-522A-BD81-4DC3727D3D65}"/>
          </ac:spMkLst>
        </pc:spChg>
        <pc:spChg chg="mod">
          <ac:chgData name="Joelle Brehm" userId="a518f54c-6985-42c0-8041-2bb16a414839" providerId="ADAL" clId="{12516E80-A0D9-4B76-86FD-A48ADB9E65BE}" dt="2024-01-01T20:07:10.718" v="37512"/>
          <ac:spMkLst>
            <pc:docMk/>
            <pc:sldMk cId="168389892" sldId="281"/>
            <ac:spMk id="67" creationId="{7E34EA90-F698-215B-99E3-B598F96FF491}"/>
          </ac:spMkLst>
        </pc:spChg>
        <pc:spChg chg="add del mod modVis">
          <ac:chgData name="Joelle Brehm" userId="a518f54c-6985-42c0-8041-2bb16a414839" providerId="ADAL" clId="{12516E80-A0D9-4B76-86FD-A48ADB9E65BE}" dt="2024-01-01T20:07:10.734" v="37553"/>
          <ac:spMkLst>
            <pc:docMk/>
            <pc:sldMk cId="168389892" sldId="281"/>
            <ac:spMk id="70" creationId="{95C2A284-4E7B-4183-4E69-7A83DFFBE977}"/>
          </ac:spMkLst>
        </pc:spChg>
        <pc:spChg chg="mod">
          <ac:chgData name="Joelle Brehm" userId="a518f54c-6985-42c0-8041-2bb16a414839" providerId="ADAL" clId="{12516E80-A0D9-4B76-86FD-A48ADB9E65BE}" dt="2024-01-01T20:07:10.718" v="37500"/>
          <ac:spMkLst>
            <pc:docMk/>
            <pc:sldMk cId="168389892" sldId="281"/>
            <ac:spMk id="7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16" v="37493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11" v="37485"/>
          <ac:spMkLst>
            <pc:docMk/>
            <pc:sldMk cId="168389892" sldId="281"/>
            <ac:spMk id="74" creationId="{1E5392BC-349C-45B4-8F81-52F83DA74F43}"/>
          </ac:spMkLst>
        </pc:spChg>
        <pc:spChg chg="mod">
          <ac:chgData name="Joelle Brehm" userId="a518f54c-6985-42c0-8041-2bb16a414839" providerId="ADAL" clId="{12516E80-A0D9-4B76-86FD-A48ADB9E65BE}" dt="2024-01-01T20:07:10.716" v="37495"/>
          <ac:spMkLst>
            <pc:docMk/>
            <pc:sldMk cId="168389892" sldId="281"/>
            <ac:spMk id="7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16" v="37496"/>
          <ac:spMkLst>
            <pc:docMk/>
            <pc:sldMk cId="168389892" sldId="281"/>
            <ac:spMk id="7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18" v="37497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20:07:10.718" v="37526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1T20:07:10.718" v="37528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12516E80-A0D9-4B76-86FD-A48ADB9E65BE}" dt="2024-01-01T20:07:10.718" v="37498"/>
          <ac:spMkLst>
            <pc:docMk/>
            <pc:sldMk cId="168389892" sldId="281"/>
            <ac:spMk id="80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18" v="37499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20:07:10.718" v="37530"/>
          <ac:spMkLst>
            <pc:docMk/>
            <pc:sldMk cId="168389892" sldId="281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1T20:07:10.718" v="37532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1T20:07:10.718" v="37534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1T20:07:10.718" v="37536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1T20:07:10.734" v="37539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34" v="37540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34" v="37541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1T20:07:10.734" v="37542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1T20:07:10.734" v="37543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1T20:07:10.750" v="37555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7:10.688" v="37465"/>
          <ac:graphicFrameMkLst>
            <pc:docMk/>
            <pc:sldMk cId="168389892" sldId="281"/>
            <ac:graphicFrameMk id="8" creationId="{3F1FA88D-0A7B-8105-BA21-45FF9D15BF72}"/>
          </ac:graphicFrameMkLst>
        </pc:graphicFrameChg>
        <pc:graphicFrameChg chg="del">
          <ac:chgData name="Joelle Brehm" userId="a518f54c-6985-42c0-8041-2bb16a414839" providerId="ADAL" clId="{12516E80-A0D9-4B76-86FD-A48ADB9E65BE}" dt="2024-01-01T20:06:27.585" v="36080"/>
          <ac:graphicFrameMkLst>
            <pc:docMk/>
            <pc:sldMk cId="168389892" sldId="281"/>
            <ac:graphicFrameMk id="32" creationId="{3A5EF28E-700C-5FD4-7158-86BD17B33A60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7:10.718" v="37538"/>
          <ac:graphicFrameMkLst>
            <pc:docMk/>
            <pc:sldMk cId="168389892" sldId="281"/>
            <ac:graphicFrameMk id="36" creationId="{B79F62E7-8805-1DED-70F1-00CADA7CCB93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20:06:55.840" v="36399"/>
          <ac:graphicFrameMkLst>
            <pc:docMk/>
            <pc:sldMk cId="168389892" sldId="281"/>
            <ac:graphicFrameMk id="38" creationId="{FC055DB0-98AE-CC1D-08E0-3EF5C80C8BE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7:03.182" v="37002"/>
          <ac:graphicFrameMkLst>
            <pc:docMk/>
            <pc:sldMk cId="168389892" sldId="281"/>
            <ac:graphicFrameMk id="58" creationId="{D5ACF2D2-C0B1-A04C-799F-2DE3382FD0B5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7:05.639" v="37259"/>
          <ac:graphicFrameMkLst>
            <pc:docMk/>
            <pc:sldMk cId="168389892" sldId="281"/>
            <ac:graphicFrameMk id="65" creationId="{42B3B404-A8CD-1BB9-FC2F-3D27960F09AC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20:07:10.656" v="37451"/>
          <ac:graphicFrameMkLst>
            <pc:docMk/>
            <pc:sldMk cId="168389892" sldId="281"/>
            <ac:graphicFrameMk id="68" creationId="{BF5652DF-6CF1-7622-6CD2-3F24F9EDFE2B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20:07:02.039" v="36794"/>
          <ac:graphicFrameMkLst>
            <pc:docMk/>
            <pc:sldMk cId="168389892" sldId="281"/>
            <ac:graphicFrameMk id="69" creationId="{6B9E219F-B9DC-277C-1EB8-FC76A07358A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20:07:10.715" v="37492"/>
          <ac:graphicFrameMkLst>
            <pc:docMk/>
            <pc:sldMk cId="168389892" sldId="281"/>
            <ac:graphicFrameMk id="71" creationId="{FE32CDFE-675C-681F-F51F-B76D93086D78}"/>
          </ac:graphicFrameMkLst>
        </pc:graphicFrameChg>
        <pc:picChg chg="add mod ord">
          <ac:chgData name="Joelle Brehm" userId="a518f54c-6985-42c0-8041-2bb16a414839" providerId="ADAL" clId="{12516E80-A0D9-4B76-86FD-A48ADB9E65BE}" dt="2024-01-01T20:07:10.688" v="37459"/>
          <ac:picMkLst>
            <pc:docMk/>
            <pc:sldMk cId="168389892" sldId="281"/>
            <ac:picMk id="31" creationId="{AA48CE42-CA3B-8850-BE90-3BEA364C3B14}"/>
          </ac:picMkLst>
        </pc:picChg>
        <pc:picChg chg="del mod ord">
          <ac:chgData name="Joelle Brehm" userId="a518f54c-6985-42c0-8041-2bb16a414839" providerId="ADAL" clId="{12516E80-A0D9-4B76-86FD-A48ADB9E65BE}" dt="2024-01-01T20:06:46.352" v="36308" actId="478"/>
          <ac:picMkLst>
            <pc:docMk/>
            <pc:sldMk cId="168389892" sldId="281"/>
            <ac:picMk id="35" creationId="{66ED65E2-556D-A782-CEB8-72A53857AAAA}"/>
          </ac:picMkLst>
        </pc:picChg>
        <pc:picChg chg="mod ord">
          <ac:chgData name="Joelle Brehm" userId="a518f54c-6985-42c0-8041-2bb16a414839" providerId="ADAL" clId="{12516E80-A0D9-4B76-86FD-A48ADB9E65BE}" dt="2024-01-01T20:07:10.734" v="37547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12516E80-A0D9-4B76-86FD-A48ADB9E65BE}" dt="2024-01-01T20:07:10.734" v="37545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1T20:07:10.688" v="37463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01:26.550" v="39877"/>
        <pc:sldMkLst>
          <pc:docMk/>
          <pc:sldMk cId="3564961532" sldId="282"/>
        </pc:sldMkLst>
        <pc:spChg chg="mod ord">
          <ac:chgData name="Joelle Brehm" userId="a518f54c-6985-42c0-8041-2bb16a414839" providerId="ADAL" clId="{12516E80-A0D9-4B76-86FD-A48ADB9E65BE}" dt="2024-01-02T15:01:26.532" v="39871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12516E80-A0D9-4B76-86FD-A48ADB9E65BE}" dt="2024-01-02T14:59:43.349" v="37556" actId="478"/>
          <ac:spMkLst>
            <pc:docMk/>
            <pc:sldMk cId="3564961532" sldId="282"/>
            <ac:spMk id="3" creationId="{57E2BD2E-6984-D841-82C1-987E1AC1B0AC}"/>
          </ac:spMkLst>
        </pc:spChg>
        <pc:spChg chg="add del mod modVis">
          <ac:chgData name="Joelle Brehm" userId="a518f54c-6985-42c0-8041-2bb16a414839" providerId="ADAL" clId="{12516E80-A0D9-4B76-86FD-A48ADB9E65BE}" dt="2024-01-02T14:59:55.069" v="37800"/>
          <ac:spMkLst>
            <pc:docMk/>
            <pc:sldMk cId="3564961532" sldId="282"/>
            <ac:spMk id="5" creationId="{F5F74794-89CC-12B3-29CD-EEC3D77598C4}"/>
          </ac:spMkLst>
        </pc:spChg>
        <pc:spChg chg="mod ord">
          <ac:chgData name="Joelle Brehm" userId="a518f54c-6985-42c0-8041-2bb16a414839" providerId="ADAL" clId="{12516E80-A0D9-4B76-86FD-A48ADB9E65BE}" dt="2024-01-02T15:01:26.501" v="39784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2T15:01:26.517" v="3982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12516E80-A0D9-4B76-86FD-A48ADB9E65BE}" dt="2024-01-02T15:01:26.505" v="39795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2T15:01:26.503" v="39791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2T15:01:26.504" v="39792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2T15:01:26.503" v="39789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2T15:01:26.503" v="39790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2T15:01:26.504" v="39793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2T15:01:26.504" v="39794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2T15:01:26.506" v="39796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2T15:01:26.506" v="39797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2T15:01:26.506" v="39798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2T15:01:26.507" v="39799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2T15:01:26.508" v="39800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2T15:01:26.509" v="39802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01:26.510" v="39805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2T15:01:26.511" v="39807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2T15:01:26.510" v="39806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2T15:01:26.512" v="39810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2T15:01:26.512" v="39811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2T15:01:26.511" v="39809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2T15:01:26.513" v="39813"/>
          <ac:spMkLst>
            <pc:docMk/>
            <pc:sldMk cId="3564961532" sldId="282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2T15:01:26.516" v="39825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12516E80-A0D9-4B76-86FD-A48ADB9E65BE}" dt="2024-01-02T15:01:26.522" v="39842"/>
          <ac:spMkLst>
            <pc:docMk/>
            <pc:sldMk cId="3564961532" sldId="282"/>
            <ac:spMk id="34" creationId="{5449B49A-6F6A-898A-2D6E-3B98A8E86022}"/>
          </ac:spMkLst>
        </pc:spChg>
        <pc:spChg chg="add mod replST">
          <ac:chgData name="Joelle Brehm" userId="a518f54c-6985-42c0-8041-2bb16a414839" providerId="ADAL" clId="{12516E80-A0D9-4B76-86FD-A48ADB9E65BE}" dt="2024-01-02T15:01:26.523" v="39845"/>
          <ac:spMkLst>
            <pc:docMk/>
            <pc:sldMk cId="3564961532" sldId="282"/>
            <ac:spMk id="35" creationId="{1817EC5B-9379-1D20-DF3E-54BFCC2A61DC}"/>
          </ac:spMkLst>
        </pc:spChg>
        <pc:spChg chg="mod ord">
          <ac:chgData name="Joelle Brehm" userId="a518f54c-6985-42c0-8041-2bb16a414839" providerId="ADAL" clId="{12516E80-A0D9-4B76-86FD-A48ADB9E65BE}" dt="2024-01-02T15:01:26.509" v="39804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2T15:01:26.523" v="39844"/>
          <ac:spMkLst>
            <pc:docMk/>
            <pc:sldMk cId="3564961532" sldId="282"/>
            <ac:spMk id="38" creationId="{CC249A73-3953-259C-3458-D4FAFD8A9D0B}"/>
          </ac:spMkLst>
        </pc:spChg>
        <pc:spChg chg="mod ord">
          <ac:chgData name="Joelle Brehm" userId="a518f54c-6985-42c0-8041-2bb16a414839" providerId="ADAL" clId="{12516E80-A0D9-4B76-86FD-A48ADB9E65BE}" dt="2024-01-02T15:01:26.522" v="39843"/>
          <ac:spMkLst>
            <pc:docMk/>
            <pc:sldMk cId="3564961532" sldId="282"/>
            <ac:spMk id="39" creationId="{CEC7EE6E-A856-A6AD-4F8A-2BEBB154E0B8}"/>
          </ac:spMkLst>
        </pc:spChg>
        <pc:spChg chg="add mod ord replST">
          <ac:chgData name="Joelle Brehm" userId="a518f54c-6985-42c0-8041-2bb16a414839" providerId="ADAL" clId="{12516E80-A0D9-4B76-86FD-A48ADB9E65BE}" dt="2024-01-02T15:01:26.523" v="39846"/>
          <ac:spMkLst>
            <pc:docMk/>
            <pc:sldMk cId="3564961532" sldId="282"/>
            <ac:spMk id="40" creationId="{8BE1E6AE-AB78-C64F-A6DE-9570C6DA172C}"/>
          </ac:spMkLst>
        </pc:spChg>
        <pc:spChg chg="del mod">
          <ac:chgData name="Joelle Brehm" userId="a518f54c-6985-42c0-8041-2bb16a414839" providerId="ADAL" clId="{12516E80-A0D9-4B76-86FD-A48ADB9E65BE}" dt="2024-01-02T15:00:59.597" v="38549"/>
          <ac:spMkLst>
            <pc:docMk/>
            <pc:sldMk cId="3564961532" sldId="282"/>
            <ac:spMk id="41" creationId="{447F883B-B9D8-0511-A2AB-9573CD2F08CD}"/>
          </ac:spMkLst>
        </pc:spChg>
        <pc:spChg chg="del mod">
          <ac:chgData name="Joelle Brehm" userId="a518f54c-6985-42c0-8041-2bb16a414839" providerId="ADAL" clId="{12516E80-A0D9-4B76-86FD-A48ADB9E65BE}" dt="2024-01-02T15:00:59.591" v="38548"/>
          <ac:spMkLst>
            <pc:docMk/>
            <pc:sldMk cId="3564961532" sldId="282"/>
            <ac:spMk id="42" creationId="{029DF0F0-1819-B6C9-E910-A68F2546536E}"/>
          </ac:spMkLst>
        </pc:spChg>
        <pc:spChg chg="add del mod modVis">
          <ac:chgData name="Joelle Brehm" userId="a518f54c-6985-42c0-8041-2bb16a414839" providerId="ADAL" clId="{12516E80-A0D9-4B76-86FD-A48ADB9E65BE}" dt="2024-01-02T15:00:55.778" v="38332"/>
          <ac:spMkLst>
            <pc:docMk/>
            <pc:sldMk cId="3564961532" sldId="282"/>
            <ac:spMk id="43" creationId="{7B5BE53E-4DB6-4D04-02F2-C41CA8FA8B02}"/>
          </ac:spMkLst>
        </pc:spChg>
        <pc:spChg chg="mod">
          <ac:chgData name="Joelle Brehm" userId="a518f54c-6985-42c0-8041-2bb16a414839" providerId="ADAL" clId="{12516E80-A0D9-4B76-86FD-A48ADB9E65BE}" dt="2024-01-02T15:01:26.516" v="39824"/>
          <ac:spMkLst>
            <pc:docMk/>
            <pc:sldMk cId="3564961532" sldId="282"/>
            <ac:spMk id="44" creationId="{1F6C7A4E-3741-C604-E97F-BC7B1D2FF004}"/>
          </ac:spMkLst>
        </pc:spChg>
        <pc:spChg chg="mod ord">
          <ac:chgData name="Joelle Brehm" userId="a518f54c-6985-42c0-8041-2bb16a414839" providerId="ADAL" clId="{12516E80-A0D9-4B76-86FD-A48ADB9E65BE}" dt="2024-01-02T15:01:26.516" v="39823"/>
          <ac:spMkLst>
            <pc:docMk/>
            <pc:sldMk cId="3564961532" sldId="282"/>
            <ac:spMk id="45" creationId="{13402A60-D873-7DF2-943A-0976851061CD}"/>
          </ac:spMkLst>
        </pc:spChg>
        <pc:spChg chg="mod">
          <ac:chgData name="Joelle Brehm" userId="a518f54c-6985-42c0-8041-2bb16a414839" providerId="ADAL" clId="{12516E80-A0D9-4B76-86FD-A48ADB9E65BE}" dt="2024-01-02T15:01:26.521" v="39841"/>
          <ac:spMkLst>
            <pc:docMk/>
            <pc:sldMk cId="3564961532" sldId="282"/>
            <ac:spMk id="47" creationId="{38F805B2-3D74-F0ED-4C65-55D891954B72}"/>
          </ac:spMkLst>
        </pc:spChg>
        <pc:spChg chg="mod">
          <ac:chgData name="Joelle Brehm" userId="a518f54c-6985-42c0-8041-2bb16a414839" providerId="ADAL" clId="{12516E80-A0D9-4B76-86FD-A48ADB9E65BE}" dt="2024-01-02T15:01:26.519" v="39834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12516E80-A0D9-4B76-86FD-A48ADB9E65BE}" dt="2024-01-02T15:01:26.519" v="39833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12516E80-A0D9-4B76-86FD-A48ADB9E65BE}" dt="2024-01-02T15:01:26.517" v="39828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12516E80-A0D9-4B76-86FD-A48ADB9E65BE}" dt="2024-01-02T15:01:26.520" v="39838"/>
          <ac:spMkLst>
            <pc:docMk/>
            <pc:sldMk cId="3564961532" sldId="282"/>
            <ac:spMk id="51" creationId="{7D7C884D-D57C-725C-5AC2-3935B0668B1E}"/>
          </ac:spMkLst>
        </pc:spChg>
        <pc:spChg chg="mod">
          <ac:chgData name="Joelle Brehm" userId="a518f54c-6985-42c0-8041-2bb16a414839" providerId="ADAL" clId="{12516E80-A0D9-4B76-86FD-A48ADB9E65BE}" dt="2024-01-02T15:01:26.517" v="39827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12516E80-A0D9-4B76-86FD-A48ADB9E65BE}" dt="2024-01-02T15:01:26.518" v="39830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12516E80-A0D9-4B76-86FD-A48ADB9E65BE}" dt="2024-01-02T15:01:26.521" v="39840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12516E80-A0D9-4B76-86FD-A48ADB9E65BE}" dt="2024-01-02T15:01:26.520" v="39836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12516E80-A0D9-4B76-86FD-A48ADB9E65BE}" dt="2024-01-02T15:01:26.518" v="39829"/>
          <ac:spMkLst>
            <pc:docMk/>
            <pc:sldMk cId="3564961532" sldId="282"/>
            <ac:spMk id="56" creationId="{524D0E2B-EC88-5451-10B4-9BAED81D2D7E}"/>
          </ac:spMkLst>
        </pc:spChg>
        <pc:spChg chg="mod">
          <ac:chgData name="Joelle Brehm" userId="a518f54c-6985-42c0-8041-2bb16a414839" providerId="ADAL" clId="{12516E80-A0D9-4B76-86FD-A48ADB9E65BE}" dt="2024-01-02T15:01:26.520" v="39837"/>
          <ac:spMkLst>
            <pc:docMk/>
            <pc:sldMk cId="3564961532" sldId="282"/>
            <ac:spMk id="57" creationId="{6C3836C5-4B8F-D1FF-D868-DEBFC10CBCF3}"/>
          </ac:spMkLst>
        </pc:spChg>
        <pc:spChg chg="mod">
          <ac:chgData name="Joelle Brehm" userId="a518f54c-6985-42c0-8041-2bb16a414839" providerId="ADAL" clId="{12516E80-A0D9-4B76-86FD-A48ADB9E65BE}" dt="2024-01-02T15:01:26.521" v="39839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12516E80-A0D9-4B76-86FD-A48ADB9E65BE}" dt="2024-01-02T15:01:26.520" v="39835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12516E80-A0D9-4B76-86FD-A48ADB9E65BE}" dt="2024-01-02T15:00:57.287" v="38545"/>
          <ac:spMkLst>
            <pc:docMk/>
            <pc:sldMk cId="3564961532" sldId="282"/>
            <ac:spMk id="60" creationId="{4337BDD0-D0E3-E86E-51B8-E2402C0CAD54}"/>
          </ac:spMkLst>
        </pc:spChg>
        <pc:spChg chg="mod">
          <ac:chgData name="Joelle Brehm" userId="a518f54c-6985-42c0-8041-2bb16a414839" providerId="ADAL" clId="{12516E80-A0D9-4B76-86FD-A48ADB9E65BE}" dt="2024-01-02T15:01:26.519" v="39832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12516E80-A0D9-4B76-86FD-A48ADB9E65BE}" dt="2024-01-02T15:00:59.812" v="38803"/>
          <ac:spMkLst>
            <pc:docMk/>
            <pc:sldMk cId="3564961532" sldId="282"/>
            <ac:spMk id="63" creationId="{FC1E3BF0-887F-93C3-7077-92E0E6682F27}"/>
          </ac:spMkLst>
        </pc:spChg>
        <pc:spChg chg="add del mod modVis">
          <ac:chgData name="Joelle Brehm" userId="a518f54c-6985-42c0-8041-2bb16a414839" providerId="ADAL" clId="{12516E80-A0D9-4B76-86FD-A48ADB9E65BE}" dt="2024-01-02T15:01:04.830" v="38999"/>
          <ac:spMkLst>
            <pc:docMk/>
            <pc:sldMk cId="3564961532" sldId="282"/>
            <ac:spMk id="65" creationId="{EABC7194-B2C2-7AA5-0D07-509697E481F9}"/>
          </ac:spMkLst>
        </pc:spChg>
        <pc:spChg chg="mod">
          <ac:chgData name="Joelle Brehm" userId="a518f54c-6985-42c0-8041-2bb16a414839" providerId="ADAL" clId="{12516E80-A0D9-4B76-86FD-A48ADB9E65BE}" dt="2024-01-02T15:01:26.518" v="39831"/>
          <ac:spMkLst>
            <pc:docMk/>
            <pc:sldMk cId="3564961532" sldId="282"/>
            <ac:spMk id="66" creationId="{C4A33F4F-7FD9-EA78-EDDC-D0E322FB3032}"/>
          </ac:spMkLst>
        </pc:spChg>
        <pc:spChg chg="add del mod modVis">
          <ac:chgData name="Joelle Brehm" userId="a518f54c-6985-42c0-8041-2bb16a414839" providerId="ADAL" clId="{12516E80-A0D9-4B76-86FD-A48ADB9E65BE}" dt="2024-01-02T15:01:08.172" v="39194"/>
          <ac:spMkLst>
            <pc:docMk/>
            <pc:sldMk cId="3564961532" sldId="282"/>
            <ac:spMk id="68" creationId="{2C6223CC-88C3-6815-C62C-B53211757CE4}"/>
          </ac:spMkLst>
        </pc:spChg>
        <pc:spChg chg="add del mod modVis">
          <ac:chgData name="Joelle Brehm" userId="a518f54c-6985-42c0-8041-2bb16a414839" providerId="ADAL" clId="{12516E80-A0D9-4B76-86FD-A48ADB9E65BE}" dt="2024-01-02T15:01:12.282" v="39410"/>
          <ac:spMkLst>
            <pc:docMk/>
            <pc:sldMk cId="3564961532" sldId="282"/>
            <ac:spMk id="70" creationId="{DC610821-BEDB-4B93-0392-E3ACC7E12687}"/>
          </ac:spMkLst>
        </pc:spChg>
        <pc:spChg chg="add del mod modVis">
          <ac:chgData name="Joelle Brehm" userId="a518f54c-6985-42c0-8041-2bb16a414839" providerId="ADAL" clId="{12516E80-A0D9-4B76-86FD-A48ADB9E65BE}" dt="2024-01-02T15:01:16.479" v="39627"/>
          <ac:spMkLst>
            <pc:docMk/>
            <pc:sldMk cId="3564961532" sldId="282"/>
            <ac:spMk id="72" creationId="{2BCF8CEB-3D1E-C07A-ABD1-D38EA4311BE7}"/>
          </ac:spMkLst>
        </pc:spChg>
        <pc:spChg chg="mod">
          <ac:chgData name="Joelle Brehm" userId="a518f54c-6985-42c0-8041-2bb16a414839" providerId="ADAL" clId="{12516E80-A0D9-4B76-86FD-A48ADB9E65BE}" dt="2024-01-02T15:01:26.511" v="39808"/>
          <ac:spMkLst>
            <pc:docMk/>
            <pc:sldMk cId="3564961532" sldId="282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12516E80-A0D9-4B76-86FD-A48ADB9E65BE}" dt="2024-01-02T15:01:26.534" v="39875"/>
          <ac:spMkLst>
            <pc:docMk/>
            <pc:sldMk cId="3564961532" sldId="282"/>
            <ac:spMk id="75" creationId="{73E646B8-00C2-6D4C-3E7B-44FDF61CD847}"/>
          </ac:spMkLst>
        </pc:spChg>
        <pc:spChg chg="mod">
          <ac:chgData name="Joelle Brehm" userId="a518f54c-6985-42c0-8041-2bb16a414839" providerId="ADAL" clId="{12516E80-A0D9-4B76-86FD-A48ADB9E65BE}" dt="2024-01-02T15:01:26.513" v="39816"/>
          <ac:spMkLst>
            <pc:docMk/>
            <pc:sldMk cId="3564961532" sldId="282"/>
            <ac:spMk id="7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01:26.514" v="39817"/>
          <ac:spMkLst>
            <pc:docMk/>
            <pc:sldMk cId="3564961532" sldId="282"/>
            <ac:spMk id="77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2T15:01:26.524" v="39848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01:26.525" v="39850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2T15:01:26.532" v="39869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12516E80-A0D9-4B76-86FD-A48ADB9E65BE}" dt="2024-01-02T15:01:26.515" v="39821"/>
          <ac:spMkLst>
            <pc:docMk/>
            <pc:sldMk cId="3564961532" sldId="282"/>
            <ac:spMk id="97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2T15:01:26.526" v="39852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12516E80-A0D9-4B76-86FD-A48ADB9E65BE}" dt="2024-01-02T15:01:26.514" v="39819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2T15:01:26.527" v="39854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01:26.527" v="39856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01:26.528" v="39858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01:26.514" v="39818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01:26.515" v="39820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01:26.516" v="39822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01:26.529" v="39861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01:26.529" v="39862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01:26.529" v="39863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01:26.530" v="39864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2T15:01:26.530" v="39865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2T15:01:26.550" v="39877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2T14:59:54.983" v="37693"/>
          <ac:graphicFrameMkLst>
            <pc:docMk/>
            <pc:sldMk cId="3564961532" sldId="282"/>
            <ac:graphicFrameMk id="8" creationId="{5568CF92-EFD6-E4E9-85D2-EA3F1F6B2759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01:26.502" v="39788"/>
          <ac:graphicFrameMkLst>
            <pc:docMk/>
            <pc:sldMk cId="3564961532" sldId="282"/>
            <ac:graphicFrameMk id="9" creationId="{01FC0747-47A9-FBFA-30E1-591D6CAC4312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01:26.478" v="39774"/>
          <ac:graphicFrameMkLst>
            <pc:docMk/>
            <pc:sldMk cId="3564961532" sldId="282"/>
            <ac:graphicFrameMk id="36" creationId="{D4136899-F3D3-F18D-E447-5A3BD3878BF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00:57.206" v="38440"/>
          <ac:graphicFrameMkLst>
            <pc:docMk/>
            <pc:sldMk cId="3564961532" sldId="282"/>
            <ac:graphicFrameMk id="46" creationId="{9D0FD713-7FFC-A03F-B20F-1EB25A37722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00:59.736" v="38699"/>
          <ac:graphicFrameMkLst>
            <pc:docMk/>
            <pc:sldMk cId="3564961532" sldId="282"/>
            <ac:graphicFrameMk id="61" creationId="{9AEBA723-1A9C-D534-7D11-F9CD324A083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01:04.769" v="38896"/>
          <ac:graphicFrameMkLst>
            <pc:docMk/>
            <pc:sldMk cId="3564961532" sldId="282"/>
            <ac:graphicFrameMk id="64" creationId="{3222D6EF-8B32-D25C-9A56-3E7747A9984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01:08.104" v="39092"/>
          <ac:graphicFrameMkLst>
            <pc:docMk/>
            <pc:sldMk cId="3564961532" sldId="282"/>
            <ac:graphicFrameMk id="67" creationId="{519CC176-C52B-0836-CD2C-9C20290D767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01:12.223" v="39308"/>
          <ac:graphicFrameMkLst>
            <pc:docMk/>
            <pc:sldMk cId="3564961532" sldId="282"/>
            <ac:graphicFrameMk id="69" creationId="{0D90CFEF-A4B4-B9E1-5660-C63F41046F7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01:16.423" v="39526"/>
          <ac:graphicFrameMkLst>
            <pc:docMk/>
            <pc:sldMk cId="3564961532" sldId="282"/>
            <ac:graphicFrameMk id="71" creationId="{99C6FFAD-0021-338E-77D7-69B9B3CED98A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01:26.513" v="39815"/>
          <ac:graphicFrameMkLst>
            <pc:docMk/>
            <pc:sldMk cId="3564961532" sldId="282"/>
            <ac:graphicFrameMk id="73" creationId="{607F71F1-219D-2ABF-1D4F-926A10A388E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01:26.528" v="39860"/>
          <ac:graphicFrameMkLst>
            <pc:docMk/>
            <pc:sldMk cId="3564961532" sldId="282"/>
            <ac:graphicFrameMk id="80" creationId="{F53E4046-B1DF-0F2E-54B9-85487AFEE141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00:55.708" v="38227"/>
          <ac:graphicFrameMkLst>
            <pc:docMk/>
            <pc:sldMk cId="3564961532" sldId="282"/>
            <ac:graphicFrameMk id="85" creationId="{4C4EEDA4-F6D6-2A4E-BD94-D29115C86181}"/>
          </ac:graphicFrameMkLst>
        </pc:graphicFrameChg>
        <pc:picChg chg="del mod ord">
          <ac:chgData name="Joelle Brehm" userId="a518f54c-6985-42c0-8041-2bb16a414839" providerId="ADAL" clId="{12516E80-A0D9-4B76-86FD-A48ADB9E65BE}" dt="2024-01-02T15:00:37.651" v="37919" actId="478"/>
          <ac:picMkLst>
            <pc:docMk/>
            <pc:sldMk cId="3564961532" sldId="282"/>
            <ac:picMk id="31" creationId="{A2D8F945-3DB2-4B8B-FA00-2F485262180A}"/>
          </ac:picMkLst>
        </pc:picChg>
        <pc:picChg chg="add mod ord">
          <ac:chgData name="Joelle Brehm" userId="a518f54c-6985-42c0-8041-2bb16a414839" providerId="ADAL" clId="{12516E80-A0D9-4B76-86FD-A48ADB9E65BE}" dt="2024-01-02T15:01:26.501" v="39782"/>
          <ac:picMkLst>
            <pc:docMk/>
            <pc:sldMk cId="3564961532" sldId="282"/>
            <ac:picMk id="32" creationId="{D8B38AC1-5C9A-926E-F3B3-FC04A27480E6}"/>
          </ac:picMkLst>
        </pc:picChg>
        <pc:picChg chg="mod ord">
          <ac:chgData name="Joelle Brehm" userId="a518f54c-6985-42c0-8041-2bb16a414839" providerId="ADAL" clId="{12516E80-A0D9-4B76-86FD-A48ADB9E65BE}" dt="2024-01-02T15:01:26.531" v="39867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01:26.502" v="39786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35:31.428" v="41287"/>
        <pc:sldMkLst>
          <pc:docMk/>
          <pc:sldMk cId="2958919186" sldId="284"/>
        </pc:sldMkLst>
        <pc:spChg chg="mod ord">
          <ac:chgData name="Joelle Brehm" userId="a518f54c-6985-42c0-8041-2bb16a414839" providerId="ADAL" clId="{12516E80-A0D9-4B76-86FD-A48ADB9E65BE}" dt="2024-01-02T15:35:31.391" v="41281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12516E80-A0D9-4B76-86FD-A48ADB9E65BE}" dt="2024-01-02T15:34:41.928" v="39878" actId="478"/>
          <ac:spMkLst>
            <pc:docMk/>
            <pc:sldMk cId="2958919186" sldId="284"/>
            <ac:spMk id="3" creationId="{4DFA28A7-A0DE-04CA-96CE-34070ECD4CAB}"/>
          </ac:spMkLst>
        </pc:spChg>
        <pc:spChg chg="add del mod modVis">
          <ac:chgData name="Joelle Brehm" userId="a518f54c-6985-42c0-8041-2bb16a414839" providerId="ADAL" clId="{12516E80-A0D9-4B76-86FD-A48ADB9E65BE}" dt="2024-01-02T15:34:47.782" v="40115"/>
          <ac:spMkLst>
            <pc:docMk/>
            <pc:sldMk cId="2958919186" sldId="284"/>
            <ac:spMk id="5" creationId="{6D2E7CD6-F292-408D-E002-EFFE25F2DC38}"/>
          </ac:spMkLst>
        </pc:spChg>
        <pc:spChg chg="mod ord">
          <ac:chgData name="Joelle Brehm" userId="a518f54c-6985-42c0-8041-2bb16a414839" providerId="ADAL" clId="{12516E80-A0D9-4B76-86FD-A48ADB9E65BE}" dt="2024-01-02T15:35:31.355" v="41195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2T15:35:31.382" v="41252"/>
          <ac:spMkLst>
            <pc:docMk/>
            <pc:sldMk cId="2958919186" sldId="284"/>
            <ac:spMk id="10" creationId="{9719655D-B1E7-347B-4560-8C174CD823A0}"/>
          </ac:spMkLst>
        </pc:spChg>
        <pc:spChg chg="mod">
          <ac:chgData name="Joelle Brehm" userId="a518f54c-6985-42c0-8041-2bb16a414839" providerId="ADAL" clId="{12516E80-A0D9-4B76-86FD-A48ADB9E65BE}" dt="2024-01-02T15:35:31.358" v="41206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2T15:35:31.357" v="41202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2T15:35:31.357" v="41203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2T15:35:31.356" v="41200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2T15:35:31.357" v="41201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2T15:35:31.357" v="41204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2T15:35:31.358" v="41205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2T15:35:31.359" v="41207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2T15:35:31.359" v="41208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2T15:35:31.359" v="41209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2T15:35:31.360" v="41210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2T15:35:31.360" v="41211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2T15:35:31.361" v="41213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35:31.363" v="41216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2T15:35:31.364" v="41218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2T15:35:31.363" v="41217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2T15:35:31.366" v="41221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2T15:35:31.366" v="41222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2T15:35:31.364" v="41220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2T15:35:31.367" v="41224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2T15:35:31.373" v="41234"/>
          <ac:spMkLst>
            <pc:docMk/>
            <pc:sldMk cId="2958919186" sldId="284"/>
            <ac:spMk id="31" creationId="{125088B1-BC05-E61C-E778-A5953B0A5CC9}"/>
          </ac:spMkLst>
        </pc:spChg>
        <pc:spChg chg="mod">
          <ac:chgData name="Joelle Brehm" userId="a518f54c-6985-42c0-8041-2bb16a414839" providerId="ADAL" clId="{12516E80-A0D9-4B76-86FD-A48ADB9E65BE}" dt="2024-01-02T15:35:31.381" v="41251"/>
          <ac:spMkLst>
            <pc:docMk/>
            <pc:sldMk cId="2958919186" sldId="284"/>
            <ac:spMk id="32" creationId="{A7F15473-C481-F557-18F4-5334C151E8F4}"/>
          </ac:spMkLst>
        </pc:spChg>
        <pc:spChg chg="mod">
          <ac:chgData name="Joelle Brehm" userId="a518f54c-6985-42c0-8041-2bb16a414839" providerId="ADAL" clId="{12516E80-A0D9-4B76-86FD-A48ADB9E65BE}" dt="2024-01-02T15:35:31.372" v="41233"/>
          <ac:spMkLst>
            <pc:docMk/>
            <pc:sldMk cId="2958919186" sldId="284"/>
            <ac:spMk id="33" creationId="{4B94C134-301E-FFE0-B344-351A0F3A058C}"/>
          </ac:spMkLst>
        </pc:spChg>
        <pc:spChg chg="add del mod modVis">
          <ac:chgData name="Joelle Brehm" userId="a518f54c-6985-42c0-8041-2bb16a414839" providerId="ADAL" clId="{12516E80-A0D9-4B76-86FD-A48ADB9E65BE}" dt="2024-01-02T15:35:20.529" v="40454"/>
          <ac:spMkLst>
            <pc:docMk/>
            <pc:sldMk cId="2958919186" sldId="284"/>
            <ac:spMk id="36" creationId="{744AF633-EA90-0E8D-F4FE-D841E1429E84}"/>
          </ac:spMkLst>
        </pc:spChg>
        <pc:spChg chg="mod ord">
          <ac:chgData name="Joelle Brehm" userId="a518f54c-6985-42c0-8041-2bb16a414839" providerId="ADAL" clId="{12516E80-A0D9-4B76-86FD-A48ADB9E65BE}" dt="2024-01-02T15:35:31.362" v="41215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2T15:35:31.375" v="41236"/>
          <ac:spMkLst>
            <pc:docMk/>
            <pc:sldMk cId="2958919186" sldId="284"/>
            <ac:spMk id="40" creationId="{65B69A5C-0F9E-A4F4-3815-34C5AD49C7B7}"/>
          </ac:spMkLst>
        </pc:spChg>
        <pc:spChg chg="mod">
          <ac:chgData name="Joelle Brehm" userId="a518f54c-6985-42c0-8041-2bb16a414839" providerId="ADAL" clId="{12516E80-A0D9-4B76-86FD-A48ADB9E65BE}" dt="2024-01-02T15:35:31.374" v="41235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12516E80-A0D9-4B76-86FD-A48ADB9E65BE}" dt="2024-01-02T15:35:31.380" v="41248"/>
          <ac:spMkLst>
            <pc:docMk/>
            <pc:sldMk cId="2958919186" sldId="284"/>
            <ac:spMk id="42" creationId="{907D7408-F4BF-634D-C4A3-6AB144A133E9}"/>
          </ac:spMkLst>
        </pc:spChg>
        <pc:spChg chg="add mod replST">
          <ac:chgData name="Joelle Brehm" userId="a518f54c-6985-42c0-8041-2bb16a414839" providerId="ADAL" clId="{12516E80-A0D9-4B76-86FD-A48ADB9E65BE}" dt="2024-01-02T15:35:31.382" v="41255"/>
          <ac:spMkLst>
            <pc:docMk/>
            <pc:sldMk cId="2958919186" sldId="284"/>
            <ac:spMk id="43" creationId="{AE3E702C-DACE-F774-74FA-59D2669929E7}"/>
          </ac:spMkLst>
        </pc:spChg>
        <pc:spChg chg="mod">
          <ac:chgData name="Joelle Brehm" userId="a518f54c-6985-42c0-8041-2bb16a414839" providerId="ADAL" clId="{12516E80-A0D9-4B76-86FD-A48ADB9E65BE}" dt="2024-01-02T15:35:31.380" v="41247"/>
          <ac:spMkLst>
            <pc:docMk/>
            <pc:sldMk cId="2958919186" sldId="284"/>
            <ac:spMk id="44" creationId="{77917790-2F42-F887-E684-5C13E341F164}"/>
          </ac:spMkLst>
        </pc:spChg>
        <pc:spChg chg="del mod">
          <ac:chgData name="Joelle Brehm" userId="a518f54c-6985-42c0-8041-2bb16a414839" providerId="ADAL" clId="{12516E80-A0D9-4B76-86FD-A48ADB9E65BE}" dt="2024-01-02T15:35:31.183" v="41046"/>
          <ac:spMkLst>
            <pc:docMk/>
            <pc:sldMk cId="2958919186" sldId="284"/>
            <ac:spMk id="45" creationId="{BA6D2150-ACED-DB3B-247D-B1C7D75594BC}"/>
          </ac:spMkLst>
        </pc:spChg>
        <pc:spChg chg="del mod">
          <ac:chgData name="Joelle Brehm" userId="a518f54c-6985-42c0-8041-2bb16a414839" providerId="ADAL" clId="{12516E80-A0D9-4B76-86FD-A48ADB9E65BE}" dt="2024-01-02T15:35:31.181" v="41045"/>
          <ac:spMkLst>
            <pc:docMk/>
            <pc:sldMk cId="2958919186" sldId="284"/>
            <ac:spMk id="46" creationId="{57979B6E-92A7-E2CD-D125-48728C290A15}"/>
          </ac:spMkLst>
        </pc:spChg>
        <pc:spChg chg="mod">
          <ac:chgData name="Joelle Brehm" userId="a518f54c-6985-42c0-8041-2bb16a414839" providerId="ADAL" clId="{12516E80-A0D9-4B76-86FD-A48ADB9E65BE}" dt="2024-01-02T15:35:31.379" v="41243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12516E80-A0D9-4B76-86FD-A48ADB9E65BE}" dt="2024-01-02T15:35:31.381" v="41250"/>
          <ac:spMkLst>
            <pc:docMk/>
            <pc:sldMk cId="2958919186" sldId="284"/>
            <ac:spMk id="48" creationId="{5D20D0D7-37CC-29AE-8F09-41EE1C3042D6}"/>
          </ac:spMkLst>
        </pc:spChg>
        <pc:spChg chg="mod">
          <ac:chgData name="Joelle Brehm" userId="a518f54c-6985-42c0-8041-2bb16a414839" providerId="ADAL" clId="{12516E80-A0D9-4B76-86FD-A48ADB9E65BE}" dt="2024-01-02T15:35:31.382" v="41254"/>
          <ac:spMkLst>
            <pc:docMk/>
            <pc:sldMk cId="2958919186" sldId="284"/>
            <ac:spMk id="49" creationId="{CB11A0CB-368B-A60B-EDC1-4AB20B197FE5}"/>
          </ac:spMkLst>
        </pc:spChg>
        <pc:spChg chg="mod">
          <ac:chgData name="Joelle Brehm" userId="a518f54c-6985-42c0-8041-2bb16a414839" providerId="ADAL" clId="{12516E80-A0D9-4B76-86FD-A48ADB9E65BE}" dt="2024-01-02T15:35:31.382" v="41253"/>
          <ac:spMkLst>
            <pc:docMk/>
            <pc:sldMk cId="2958919186" sldId="284"/>
            <ac:spMk id="50" creationId="{2C405B0B-A40D-DA13-F823-C48F9BB223C3}"/>
          </ac:spMkLst>
        </pc:spChg>
        <pc:spChg chg="mod">
          <ac:chgData name="Joelle Brehm" userId="a518f54c-6985-42c0-8041-2bb16a414839" providerId="ADAL" clId="{12516E80-A0D9-4B76-86FD-A48ADB9E65BE}" dt="2024-01-02T15:35:31.381" v="41249"/>
          <ac:spMkLst>
            <pc:docMk/>
            <pc:sldMk cId="2958919186" sldId="284"/>
            <ac:spMk id="51" creationId="{5919439C-F2E5-38EE-454C-6197DCE4A0B6}"/>
          </ac:spMkLst>
        </pc:spChg>
        <pc:spChg chg="mod">
          <ac:chgData name="Joelle Brehm" userId="a518f54c-6985-42c0-8041-2bb16a414839" providerId="ADAL" clId="{12516E80-A0D9-4B76-86FD-A48ADB9E65BE}" dt="2024-01-02T15:35:31.377" v="41238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12516E80-A0D9-4B76-86FD-A48ADB9E65BE}" dt="2024-01-02T15:35:31.376" v="41237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12516E80-A0D9-4B76-86FD-A48ADB9E65BE}" dt="2024-01-02T15:35:31.380" v="41246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12516E80-A0D9-4B76-86FD-A48ADB9E65BE}" dt="2024-01-02T15:35:31.379" v="41245"/>
          <ac:spMkLst>
            <pc:docMk/>
            <pc:sldMk cId="2958919186" sldId="284"/>
            <ac:spMk id="55" creationId="{2BAA32C5-1C92-8614-2678-B94A36FCDC54}"/>
          </ac:spMkLst>
        </pc:spChg>
        <pc:spChg chg="add mod replST">
          <ac:chgData name="Joelle Brehm" userId="a518f54c-6985-42c0-8041-2bb16a414839" providerId="ADAL" clId="{12516E80-A0D9-4B76-86FD-A48ADB9E65BE}" dt="2024-01-02T15:35:31.383" v="41256"/>
          <ac:spMkLst>
            <pc:docMk/>
            <pc:sldMk cId="2958919186" sldId="284"/>
            <ac:spMk id="56" creationId="{FDC4214A-9C7D-E50B-B2D6-A8DDC8950E22}"/>
          </ac:spMkLst>
        </pc:spChg>
        <pc:spChg chg="add del mod modVis">
          <ac:chgData name="Joelle Brehm" userId="a518f54c-6985-42c0-8041-2bb16a414839" providerId="ADAL" clId="{12516E80-A0D9-4B76-86FD-A48ADB9E65BE}" dt="2024-01-02T15:35:27.151" v="40839"/>
          <ac:spMkLst>
            <pc:docMk/>
            <pc:sldMk cId="2958919186" sldId="284"/>
            <ac:spMk id="57" creationId="{8A4A869B-1869-3710-6ED8-4BC6102FEABA}"/>
          </ac:spMkLst>
        </pc:spChg>
        <pc:spChg chg="mod">
          <ac:chgData name="Joelle Brehm" userId="a518f54c-6985-42c0-8041-2bb16a414839" providerId="ADAL" clId="{12516E80-A0D9-4B76-86FD-A48ADB9E65BE}" dt="2024-01-02T15:35:31.378" v="41242"/>
          <ac:spMkLst>
            <pc:docMk/>
            <pc:sldMk cId="2958919186" sldId="284"/>
            <ac:spMk id="58" creationId="{1FE8095F-70AA-80E7-5AB4-793D17F07A13}"/>
          </ac:spMkLst>
        </pc:spChg>
        <pc:spChg chg="mod">
          <ac:chgData name="Joelle Brehm" userId="a518f54c-6985-42c0-8041-2bb16a414839" providerId="ADAL" clId="{12516E80-A0D9-4B76-86FD-A48ADB9E65BE}" dt="2024-01-02T15:35:31.378" v="41240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12516E80-A0D9-4B76-86FD-A48ADB9E65BE}" dt="2024-01-02T15:35:31.377" v="41239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12516E80-A0D9-4B76-86FD-A48ADB9E65BE}" dt="2024-01-02T15:35:29.091" v="41042"/>
          <ac:spMkLst>
            <pc:docMk/>
            <pc:sldMk cId="2958919186" sldId="284"/>
            <ac:spMk id="62" creationId="{A8D7D89E-8FA0-DD2F-54E7-B8F4D5109C0F}"/>
          </ac:spMkLst>
        </pc:spChg>
        <pc:spChg chg="mod">
          <ac:chgData name="Joelle Brehm" userId="a518f54c-6985-42c0-8041-2bb16a414839" providerId="ADAL" clId="{12516E80-A0D9-4B76-86FD-A48ADB9E65BE}" dt="2024-01-02T15:35:31.378" v="41241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12516E80-A0D9-4B76-86FD-A48ADB9E65BE}" dt="2024-01-02T15:35:31.393" v="41285"/>
          <ac:spMkLst>
            <pc:docMk/>
            <pc:sldMk cId="2958919186" sldId="284"/>
            <ac:spMk id="65" creationId="{FD6D8D27-861A-A548-0085-19773F8E07A8}"/>
          </ac:spMkLst>
        </pc:spChg>
        <pc:spChg chg="mod">
          <ac:chgData name="Joelle Brehm" userId="a518f54c-6985-42c0-8041-2bb16a414839" providerId="ADAL" clId="{12516E80-A0D9-4B76-86FD-A48ADB9E65BE}" dt="2024-01-02T15:35:31.368" v="41228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35:31.369" v="41229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35:31.371" v="41231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35:31.372" v="41232"/>
          <ac:spMkLst>
            <pc:docMk/>
            <pc:sldMk cId="2958919186" sldId="284"/>
            <ac:spMk id="71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35:31.364" v="41219"/>
          <ac:spMkLst>
            <pc:docMk/>
            <pc:sldMk cId="2958919186" sldId="284"/>
            <ac:spMk id="74" creationId="{1E5392BC-349C-45B4-8F81-52F83DA74F43}"/>
          </ac:spMkLst>
        </pc:spChg>
        <pc:spChg chg="mod">
          <ac:chgData name="Joelle Brehm" userId="a518f54c-6985-42c0-8041-2bb16a414839" providerId="ADAL" clId="{12516E80-A0D9-4B76-86FD-A48ADB9E65BE}" dt="2024-01-02T15:35:31.379" v="41244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12516E80-A0D9-4B76-86FD-A48ADB9E65BE}" dt="2024-01-02T15:35:31.384" v="41258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35:31.384" v="41260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12516E80-A0D9-4B76-86FD-A48ADB9E65BE}" dt="2024-01-02T15:35:31.368" v="41227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2T15:35:31.391" v="41279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12516E80-A0D9-4B76-86FD-A48ADB9E65BE}" dt="2024-01-02T15:35:31.385" v="41262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2T15:35:31.386" v="41264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35:31.386" v="41266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35:31.388" v="41268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35:31.388" v="41271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35:31.389" v="41272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35:31.389" v="41273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35:31.389" v="41274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2T15:35:31.390" v="41275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12516E80-A0D9-4B76-86FD-A48ADB9E65BE}" dt="2024-01-02T15:35:31.370" v="41230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12516E80-A0D9-4B76-86FD-A48ADB9E65BE}" dt="2024-01-02T15:35:31.428" v="41287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35:31.356" v="41199"/>
          <ac:graphicFrameMkLst>
            <pc:docMk/>
            <pc:sldMk cId="2958919186" sldId="284"/>
            <ac:graphicFrameMk id="8" creationId="{9C7F73C9-A56A-573C-7AAD-B2D7FFEFFDD7}"/>
          </ac:graphicFrameMkLst>
        </pc:graphicFrameChg>
        <pc:graphicFrameChg chg="del">
          <ac:chgData name="Joelle Brehm" userId="a518f54c-6985-42c0-8041-2bb16a414839" providerId="ADAL" clId="{12516E80-A0D9-4B76-86FD-A48ADB9E65BE}" dt="2024-01-02T15:34:47.685" v="40009"/>
          <ac:graphicFrameMkLst>
            <pc:docMk/>
            <pc:sldMk cId="2958919186" sldId="284"/>
            <ac:graphicFrameMk id="34" creationId="{7D6E7279-BAEA-5401-BB15-3A0E8E795CC4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35:31.388" v="41270"/>
          <ac:graphicFrameMkLst>
            <pc:docMk/>
            <pc:sldMk cId="2958919186" sldId="284"/>
            <ac:graphicFrameMk id="38" creationId="{C1C3972B-E41B-BEAE-73FD-75E86FEDE767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35:20.462" v="40354"/>
          <ac:graphicFrameMkLst>
            <pc:docMk/>
            <pc:sldMk cId="2958919186" sldId="284"/>
            <ac:graphicFrameMk id="39" creationId="{A94EFCEB-E2C1-C792-0FD0-D5081C41690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35:29.016" v="40940"/>
          <ac:graphicFrameMkLst>
            <pc:docMk/>
            <pc:sldMk cId="2958919186" sldId="284"/>
            <ac:graphicFrameMk id="59" creationId="{97CBF528-E88D-28ED-0D0F-50E8B4029AD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35:31.329" v="41185"/>
          <ac:graphicFrameMkLst>
            <pc:docMk/>
            <pc:sldMk cId="2958919186" sldId="284"/>
            <ac:graphicFrameMk id="63" creationId="{CBFB3612-9A3D-FD48-08AC-F2D199055BD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35:31.368" v="41226"/>
          <ac:graphicFrameMkLst>
            <pc:docMk/>
            <pc:sldMk cId="2958919186" sldId="284"/>
            <ac:graphicFrameMk id="66" creationId="{F86C2217-3A35-A7A8-1434-5E17C57D60BA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35:27.086" v="40737"/>
          <ac:graphicFrameMkLst>
            <pc:docMk/>
            <pc:sldMk cId="2958919186" sldId="284"/>
            <ac:graphicFrameMk id="72" creationId="{77F895CD-A876-5335-1B26-03A06C8F9DF4}"/>
          </ac:graphicFrameMkLst>
        </pc:graphicFrameChg>
        <pc:picChg chg="add mod ord">
          <ac:chgData name="Joelle Brehm" userId="a518f54c-6985-42c0-8041-2bb16a414839" providerId="ADAL" clId="{12516E80-A0D9-4B76-86FD-A48ADB9E65BE}" dt="2024-01-02T15:35:31.354" v="41193"/>
          <ac:picMkLst>
            <pc:docMk/>
            <pc:sldMk cId="2958919186" sldId="284"/>
            <ac:picMk id="9" creationId="{7FF4120C-6D7D-A2F8-49E9-34A31A34A245}"/>
          </ac:picMkLst>
        </pc:picChg>
        <pc:picChg chg="del mod ord">
          <ac:chgData name="Joelle Brehm" userId="a518f54c-6985-42c0-8041-2bb16a414839" providerId="ADAL" clId="{12516E80-A0D9-4B76-86FD-A48ADB9E65BE}" dt="2024-01-02T15:35:09.159" v="40227" actId="478"/>
          <ac:picMkLst>
            <pc:docMk/>
            <pc:sldMk cId="2958919186" sldId="284"/>
            <ac:picMk id="35" creationId="{83AF50AF-D263-86AA-F4D8-6EC9BED14CE2}"/>
          </ac:picMkLst>
        </pc:picChg>
        <pc:picChg chg="mod ord">
          <ac:chgData name="Joelle Brehm" userId="a518f54c-6985-42c0-8041-2bb16a414839" providerId="ADAL" clId="{12516E80-A0D9-4B76-86FD-A48ADB9E65BE}" dt="2024-01-02T15:35:31.390" v="41277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35:31.355" v="41197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54:28.531" v="42778"/>
        <pc:sldMkLst>
          <pc:docMk/>
          <pc:sldMk cId="3959601197" sldId="285"/>
        </pc:sldMkLst>
        <pc:spChg chg="mod ord">
          <ac:chgData name="Joelle Brehm" userId="a518f54c-6985-42c0-8041-2bb16a414839" providerId="ADAL" clId="{12516E80-A0D9-4B76-86FD-A48ADB9E65BE}" dt="2024-01-02T15:54:28.515" v="42772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12516E80-A0D9-4B76-86FD-A48ADB9E65BE}" dt="2024-01-02T15:35:41.335" v="41288" actId="478"/>
          <ac:spMkLst>
            <pc:docMk/>
            <pc:sldMk cId="3959601197" sldId="285"/>
            <ac:spMk id="3" creationId="{99C20DEF-1E49-E8A4-1396-B4A5209DA2F3}"/>
          </ac:spMkLst>
        </pc:spChg>
        <pc:spChg chg="add del mod modVis">
          <ac:chgData name="Joelle Brehm" userId="a518f54c-6985-42c0-8041-2bb16a414839" providerId="ADAL" clId="{12516E80-A0D9-4B76-86FD-A48ADB9E65BE}" dt="2024-01-02T15:35:54.376" v="41507"/>
          <ac:spMkLst>
            <pc:docMk/>
            <pc:sldMk cId="3959601197" sldId="285"/>
            <ac:spMk id="5" creationId="{F475DE3A-8937-E338-8FD9-9DA04A990FCE}"/>
          </ac:spMkLst>
        </pc:spChg>
        <pc:spChg chg="mod ord">
          <ac:chgData name="Joelle Brehm" userId="a518f54c-6985-42c0-8041-2bb16a414839" providerId="ADAL" clId="{12516E80-A0D9-4B76-86FD-A48ADB9E65BE}" dt="2024-01-02T15:54:28.495" v="42704"/>
          <ac:spMkLst>
            <pc:docMk/>
            <pc:sldMk cId="3959601197" sldId="285"/>
            <ac:spMk id="6" creationId="{B47CE71D-7819-4857-B121-737A3BD39B4D}"/>
          </ac:spMkLst>
        </pc:spChg>
        <pc:spChg chg="del mod">
          <ac:chgData name="Joelle Brehm" userId="a518f54c-6985-42c0-8041-2bb16a414839" providerId="ADAL" clId="{12516E80-A0D9-4B76-86FD-A48ADB9E65BE}" dt="2024-01-02T15:54:23.984" v="42447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12516E80-A0D9-4B76-86FD-A48ADB9E65BE}" dt="2024-01-02T15:54:28.498" v="42715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2T15:54:28.497" v="42711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2T15:54:28.497" v="42712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2T15:54:28.496" v="42709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2T15:54:28.497" v="42710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2T15:54:28.497" v="42713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2T15:54:28.498" v="42714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2T15:54:28.498" v="42716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2T15:54:28.499" v="42717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2T15:54:28.499" v="42718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2T15:54:28.499" v="42719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2T15:54:28.500" v="42720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2T15:54:28.501" v="42722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54:28.501" v="42725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2T15:54:28.502" v="42727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2T15:54:28.502" v="42726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2T15:54:28.503" v="42730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2T15:54:28.504" v="42731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2T15:54:28.503" v="42729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2T15:54:28.504" v="42733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2T15:54:28.506" v="42737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12516E80-A0D9-4B76-86FD-A48ADB9E65BE}" dt="2024-01-02T15:54:28.508" v="42745"/>
          <ac:spMkLst>
            <pc:docMk/>
            <pc:sldMk cId="3959601197" sldId="285"/>
            <ac:spMk id="33" creationId="{5E6D8718-1100-5B0D-03C4-984A1480256E}"/>
          </ac:spMkLst>
        </pc:spChg>
        <pc:spChg chg="mod">
          <ac:chgData name="Joelle Brehm" userId="a518f54c-6985-42c0-8041-2bb16a414839" providerId="ADAL" clId="{12516E80-A0D9-4B76-86FD-A48ADB9E65BE}" dt="2024-01-02T15:54:28.505" v="42736"/>
          <ac:spMkLst>
            <pc:docMk/>
            <pc:sldMk cId="3959601197" sldId="285"/>
            <ac:spMk id="35" creationId="{92EBFCAE-7CF8-1287-AE5E-630381F4864A}"/>
          </ac:spMkLst>
        </pc:spChg>
        <pc:spChg chg="add del mod modVis">
          <ac:chgData name="Joelle Brehm" userId="a518f54c-6985-42c0-8041-2bb16a414839" providerId="ADAL" clId="{12516E80-A0D9-4B76-86FD-A48ADB9E65BE}" dt="2024-01-02T15:37:05.213" v="41801"/>
          <ac:spMkLst>
            <pc:docMk/>
            <pc:sldMk cId="3959601197" sldId="285"/>
            <ac:spMk id="36" creationId="{6DDEC37C-886E-4569-791E-0418A9B6537D}"/>
          </ac:spMkLst>
        </pc:spChg>
        <pc:spChg chg="mod ord">
          <ac:chgData name="Joelle Brehm" userId="a518f54c-6985-42c0-8041-2bb16a414839" providerId="ADAL" clId="{12516E80-A0D9-4B76-86FD-A48ADB9E65BE}" dt="2024-01-02T15:54:28.501" v="42724"/>
          <ac:spMkLst>
            <pc:docMk/>
            <pc:sldMk cId="3959601197" sldId="285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2T15:54:28.508" v="42744"/>
          <ac:spMkLst>
            <pc:docMk/>
            <pc:sldMk cId="3959601197" sldId="285"/>
            <ac:spMk id="38" creationId="{2FB404D9-C000-431B-6310-4B69B0746585}"/>
          </ac:spMkLst>
        </pc:spChg>
        <pc:spChg chg="mod">
          <ac:chgData name="Joelle Brehm" userId="a518f54c-6985-42c0-8041-2bb16a414839" providerId="ADAL" clId="{12516E80-A0D9-4B76-86FD-A48ADB9E65BE}" dt="2024-01-02T15:54:28.507" v="42741"/>
          <ac:spMkLst>
            <pc:docMk/>
            <pc:sldMk cId="3959601197" sldId="285"/>
            <ac:spMk id="39" creationId="{49E3BF94-A3A3-6D9E-A640-936C4D588482}"/>
          </ac:spMkLst>
        </pc:spChg>
        <pc:spChg chg="mod">
          <ac:chgData name="Joelle Brehm" userId="a518f54c-6985-42c0-8041-2bb16a414839" providerId="ADAL" clId="{12516E80-A0D9-4B76-86FD-A48ADB9E65BE}" dt="2024-01-02T15:54:28.507" v="42742"/>
          <ac:spMkLst>
            <pc:docMk/>
            <pc:sldMk cId="3959601197" sldId="285"/>
            <ac:spMk id="40" creationId="{EA599A54-45AC-0837-D7C5-3771AA871AAD}"/>
          </ac:spMkLst>
        </pc:spChg>
        <pc:spChg chg="mod">
          <ac:chgData name="Joelle Brehm" userId="a518f54c-6985-42c0-8041-2bb16a414839" providerId="ADAL" clId="{12516E80-A0D9-4B76-86FD-A48ADB9E65BE}" dt="2024-01-02T15:54:28.507" v="42743"/>
          <ac:spMkLst>
            <pc:docMk/>
            <pc:sldMk cId="3959601197" sldId="285"/>
            <ac:spMk id="41" creationId="{EEDF60F4-83FD-2158-5CFE-740630E662A0}"/>
          </ac:spMkLst>
        </pc:spChg>
        <pc:spChg chg="mod">
          <ac:chgData name="Joelle Brehm" userId="a518f54c-6985-42c0-8041-2bb16a414839" providerId="ADAL" clId="{12516E80-A0D9-4B76-86FD-A48ADB9E65BE}" dt="2024-01-02T15:54:28.506" v="42739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12516E80-A0D9-4B76-86FD-A48ADB9E65BE}" dt="2024-01-02T15:54:28.506" v="42738"/>
          <ac:spMkLst>
            <pc:docMk/>
            <pc:sldMk cId="3959601197" sldId="285"/>
            <ac:spMk id="43" creationId="{7A0654C5-E72A-A91E-A2D8-90D96122F7D7}"/>
          </ac:spMkLst>
        </pc:spChg>
        <pc:spChg chg="mod">
          <ac:chgData name="Joelle Brehm" userId="a518f54c-6985-42c0-8041-2bb16a414839" providerId="ADAL" clId="{12516E80-A0D9-4B76-86FD-A48ADB9E65BE}" dt="2024-01-02T15:54:28.508" v="42746"/>
          <ac:spMkLst>
            <pc:docMk/>
            <pc:sldMk cId="3959601197" sldId="285"/>
            <ac:spMk id="46" creationId="{529E40B7-0A04-6402-DEF9-2538E4023CED}"/>
          </ac:spMkLst>
        </pc:spChg>
        <pc:spChg chg="mod">
          <ac:chgData name="Joelle Brehm" userId="a518f54c-6985-42c0-8041-2bb16a414839" providerId="ADAL" clId="{12516E80-A0D9-4B76-86FD-A48ADB9E65BE}" dt="2024-01-02T15:54:28.507" v="42740"/>
          <ac:spMkLst>
            <pc:docMk/>
            <pc:sldMk cId="3959601197" sldId="285"/>
            <ac:spMk id="47" creationId="{E68B1E78-8D9D-3E69-597C-1E05491CF1D5}"/>
          </ac:spMkLst>
        </pc:spChg>
        <pc:spChg chg="add mod replST">
          <ac:chgData name="Joelle Brehm" userId="a518f54c-6985-42c0-8041-2bb16a414839" providerId="ADAL" clId="{12516E80-A0D9-4B76-86FD-A48ADB9E65BE}" dt="2024-01-02T15:54:28.509" v="42747"/>
          <ac:spMkLst>
            <pc:docMk/>
            <pc:sldMk cId="3959601197" sldId="285"/>
            <ac:spMk id="48" creationId="{18ADE8BA-F709-3681-1C70-126B3A4F130F}"/>
          </ac:spMkLst>
        </pc:spChg>
        <pc:spChg chg="add del mod modVis">
          <ac:chgData name="Joelle Brehm" userId="a518f54c-6985-42c0-8041-2bb16a414839" providerId="ADAL" clId="{12516E80-A0D9-4B76-86FD-A48ADB9E65BE}" dt="2024-01-02T15:54:20.488" v="42265"/>
          <ac:spMkLst>
            <pc:docMk/>
            <pc:sldMk cId="3959601197" sldId="285"/>
            <ac:spMk id="49" creationId="{82A819D7-BB71-15ED-A404-E0464C86F22A}"/>
          </ac:spMkLst>
        </pc:spChg>
        <pc:spChg chg="add del mod ord replST">
          <ac:chgData name="Joelle Brehm" userId="a518f54c-6985-42c0-8041-2bb16a414839" providerId="ADAL" clId="{12516E80-A0D9-4B76-86FD-A48ADB9E65BE}" dt="2024-01-02T15:54:28.470" v="42692"/>
          <ac:spMkLst>
            <pc:docMk/>
            <pc:sldMk cId="3959601197" sldId="285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2T15:54:22.082" v="42444"/>
          <ac:spMkLst>
            <pc:docMk/>
            <pc:sldMk cId="3959601197" sldId="285"/>
            <ac:spMk id="52" creationId="{AA56B066-FCD5-BE80-0BE4-EDA4FE3FA7B4}"/>
          </ac:spMkLst>
        </pc:spChg>
        <pc:spChg chg="add del mod modVis">
          <ac:chgData name="Joelle Brehm" userId="a518f54c-6985-42c0-8041-2bb16a414839" providerId="ADAL" clId="{12516E80-A0D9-4B76-86FD-A48ADB9E65BE}" dt="2024-01-02T15:54:24.151" v="42635"/>
          <ac:spMkLst>
            <pc:docMk/>
            <pc:sldMk cId="3959601197" sldId="285"/>
            <ac:spMk id="54" creationId="{7E3A8CDF-A08B-5AE2-D20F-A33C12C28DCC}"/>
          </ac:spMkLst>
        </pc:spChg>
        <pc:spChg chg="add del mod modVis">
          <ac:chgData name="Joelle Brehm" userId="a518f54c-6985-42c0-8041-2bb16a414839" providerId="ADAL" clId="{12516E80-A0D9-4B76-86FD-A48ADB9E65BE}" dt="2024-01-02T15:54:28.518" v="42776"/>
          <ac:spMkLst>
            <pc:docMk/>
            <pc:sldMk cId="3959601197" sldId="285"/>
            <ac:spMk id="56" creationId="{7409A601-3965-DD0E-CC8C-D291DDF3DBD3}"/>
          </ac:spMkLst>
        </pc:spChg>
        <pc:spChg chg="mod">
          <ac:chgData name="Joelle Brehm" userId="a518f54c-6985-42c0-8041-2bb16a414839" providerId="ADAL" clId="{12516E80-A0D9-4B76-86FD-A48ADB9E65BE}" dt="2024-01-02T15:54:28.503" v="42728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12516E80-A0D9-4B76-86FD-A48ADB9E65BE}" dt="2024-01-02T15:54:28.509" v="42749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54:28.510" v="42751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2T15:54:28.515" v="42770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12516E80-A0D9-4B76-86FD-A48ADB9E65BE}" dt="2024-01-02T15:54:28.510" v="42753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2T15:54:28.511" v="42755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54:28.511" v="42757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54:28.512" v="42759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54:28.513" v="42762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4:28.513" v="42763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4:28.513" v="42764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4:28.514" v="42765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2T15:54:28.514" v="42766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2T15:54:28.531" v="42778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4:28.496" v="42708"/>
          <ac:graphicFrameMkLst>
            <pc:docMk/>
            <pc:sldMk cId="3959601197" sldId="285"/>
            <ac:graphicFrameMk id="8" creationId="{756E82D0-0EB1-DD35-71D3-85F1B57577D1}"/>
          </ac:graphicFrameMkLst>
        </pc:graphicFrameChg>
        <pc:graphicFrameChg chg="del">
          <ac:chgData name="Joelle Brehm" userId="a518f54c-6985-42c0-8041-2bb16a414839" providerId="ADAL" clId="{12516E80-A0D9-4B76-86FD-A48ADB9E65BE}" dt="2024-01-02T15:35:54.311" v="41421"/>
          <ac:graphicFrameMkLst>
            <pc:docMk/>
            <pc:sldMk cId="3959601197" sldId="285"/>
            <ac:graphicFrameMk id="31" creationId="{3CDBAD56-D538-96E8-4D25-572381D24AE7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37:05.140" v="41719"/>
          <ac:graphicFrameMkLst>
            <pc:docMk/>
            <pc:sldMk cId="3959601197" sldId="285"/>
            <ac:graphicFrameMk id="44" creationId="{2F7F2AAF-AE94-6E08-FE10-4E25158056A6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4:28.512" v="42761"/>
          <ac:graphicFrameMkLst>
            <pc:docMk/>
            <pc:sldMk cId="3959601197" sldId="285"/>
            <ac:graphicFrameMk id="45" creationId="{B9590508-5157-5FD4-CEE4-133C8635C195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4:21.999" v="42348"/>
          <ac:graphicFrameMkLst>
            <pc:docMk/>
            <pc:sldMk cId="3959601197" sldId="285"/>
            <ac:graphicFrameMk id="51" creationId="{ABCE4024-B899-276F-F021-352672373E9F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4:24.089" v="42551"/>
          <ac:graphicFrameMkLst>
            <pc:docMk/>
            <pc:sldMk cId="3959601197" sldId="285"/>
            <ac:graphicFrameMk id="53" creationId="{3AAD0387-C75F-C99A-91BC-55A06B09A147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4:28.471" v="42694"/>
          <ac:graphicFrameMkLst>
            <pc:docMk/>
            <pc:sldMk cId="3959601197" sldId="285"/>
            <ac:graphicFrameMk id="55" creationId="{E52A2D6D-B5FD-EC3E-A57F-9343E9C5E6F8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4:28.505" v="42735"/>
          <ac:graphicFrameMkLst>
            <pc:docMk/>
            <pc:sldMk cId="3959601197" sldId="285"/>
            <ac:graphicFrameMk id="57" creationId="{265B4827-7F5B-B79A-07CB-6658DE9DA5D9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4:20.406" v="42169"/>
          <ac:graphicFrameMkLst>
            <pc:docMk/>
            <pc:sldMk cId="3959601197" sldId="285"/>
            <ac:graphicFrameMk id="59" creationId="{47C3CA02-058C-8460-6667-28C2B480D6F7}"/>
          </ac:graphicFrameMkLst>
        </pc:graphicFrameChg>
        <pc:picChg chg="add mod ord">
          <ac:chgData name="Joelle Brehm" userId="a518f54c-6985-42c0-8041-2bb16a414839" providerId="ADAL" clId="{12516E80-A0D9-4B76-86FD-A48ADB9E65BE}" dt="2024-01-02T15:54:28.494" v="42702"/>
          <ac:picMkLst>
            <pc:docMk/>
            <pc:sldMk cId="3959601197" sldId="285"/>
            <ac:picMk id="10" creationId="{1BCF24BB-8700-8E79-8689-571C63CDDC42}"/>
          </ac:picMkLst>
        </pc:picChg>
        <pc:picChg chg="del mod ord">
          <ac:chgData name="Joelle Brehm" userId="a518f54c-6985-42c0-8041-2bb16a414839" providerId="ADAL" clId="{12516E80-A0D9-4B76-86FD-A48ADB9E65BE}" dt="2024-01-02T15:36:49.756" v="41600" actId="478"/>
          <ac:picMkLst>
            <pc:docMk/>
            <pc:sldMk cId="3959601197" sldId="285"/>
            <ac:picMk id="34" creationId="{14B9463A-4B01-7944-5B83-F4FD6D7478B8}"/>
          </ac:picMkLst>
        </pc:picChg>
        <pc:picChg chg="mod ord">
          <ac:chgData name="Joelle Brehm" userId="a518f54c-6985-42c0-8041-2bb16a414839" providerId="ADAL" clId="{12516E80-A0D9-4B76-86FD-A48ADB9E65BE}" dt="2024-01-02T15:54:28.514" v="42768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54:28.495" v="42706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55:27.891" v="44255"/>
        <pc:sldMkLst>
          <pc:docMk/>
          <pc:sldMk cId="3093897313" sldId="286"/>
        </pc:sldMkLst>
        <pc:spChg chg="mod ord">
          <ac:chgData name="Joelle Brehm" userId="a518f54c-6985-42c0-8041-2bb16a414839" providerId="ADAL" clId="{12516E80-A0D9-4B76-86FD-A48ADB9E65BE}" dt="2024-01-02T15:55:27.874" v="44249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12516E80-A0D9-4B76-86FD-A48ADB9E65BE}" dt="2024-01-02T15:54:32.385" v="42779" actId="478"/>
          <ac:spMkLst>
            <pc:docMk/>
            <pc:sldMk cId="3093897313" sldId="286"/>
            <ac:spMk id="3" creationId="{AC2B3EC8-287C-5361-7F28-705420B15800}"/>
          </ac:spMkLst>
        </pc:spChg>
        <pc:spChg chg="add del mod modVis">
          <ac:chgData name="Joelle Brehm" userId="a518f54c-6985-42c0-8041-2bb16a414839" providerId="ADAL" clId="{12516E80-A0D9-4B76-86FD-A48ADB9E65BE}" dt="2024-01-02T15:54:42.995" v="43008"/>
          <ac:spMkLst>
            <pc:docMk/>
            <pc:sldMk cId="3093897313" sldId="286"/>
            <ac:spMk id="5" creationId="{1C270381-26E1-1D0F-B0B5-E79D92F3BB61}"/>
          </ac:spMkLst>
        </pc:spChg>
        <pc:spChg chg="mod ord">
          <ac:chgData name="Joelle Brehm" userId="a518f54c-6985-42c0-8041-2bb16a414839" providerId="ADAL" clId="{12516E80-A0D9-4B76-86FD-A48ADB9E65BE}" dt="2024-01-02T15:55:27.849" v="44181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2T15:55:27.862" v="44214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12516E80-A0D9-4B76-86FD-A48ADB9E65BE}" dt="2024-01-02T15:55:27.854" v="44192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2T15:55:27.852" v="44188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2T15:55:27.853" v="44189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2T15:55:27.852" v="44186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2T15:55:27.852" v="44187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2T15:55:27.853" v="44190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2T15:55:27.854" v="44191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2T15:55:27.854" v="44193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2T15:55:27.855" v="44194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2T15:55:27.855" v="44195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2T15:55:27.855" v="44196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2T15:55:27.855" v="44197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2T15:55:27.856" v="44199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55:27.857" v="44202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2T15:55:27.858" v="44204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2T15:55:27.858" v="44203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2T15:55:27.859" v="44207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2T15:55:27.859" v="44208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2T15:55:27.859" v="44206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2T15:55:27.860" v="44210"/>
          <ac:spMkLst>
            <pc:docMk/>
            <pc:sldMk cId="3093897313" sldId="286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2T15:55:27.865" v="44222"/>
          <ac:spMkLst>
            <pc:docMk/>
            <pc:sldMk cId="3093897313" sldId="286"/>
            <ac:spMk id="32" creationId="{C8E615F0-CA56-2254-DC6C-F9BA32C5557A}"/>
          </ac:spMkLst>
        </pc:spChg>
        <pc:spChg chg="del mod">
          <ac:chgData name="Joelle Brehm" userId="a518f54c-6985-42c0-8041-2bb16a414839" providerId="ADAL" clId="{12516E80-A0D9-4B76-86FD-A48ADB9E65BE}" dt="2024-01-02T15:55:22.682" v="43856"/>
          <ac:spMkLst>
            <pc:docMk/>
            <pc:sldMk cId="3093897313" sldId="286"/>
            <ac:spMk id="33" creationId="{1334CF39-A6F8-7069-C022-3F7175A20401}"/>
          </ac:spMkLst>
        </pc:spChg>
        <pc:spChg chg="add del mod modVis">
          <ac:chgData name="Joelle Brehm" userId="a518f54c-6985-42c0-8041-2bb16a414839" providerId="ADAL" clId="{12516E80-A0D9-4B76-86FD-A48ADB9E65BE}" dt="2024-01-02T15:55:10.659" v="43307"/>
          <ac:spMkLst>
            <pc:docMk/>
            <pc:sldMk cId="3093897313" sldId="286"/>
            <ac:spMk id="35" creationId="{BB757AB4-0E03-1E41-72B0-73B78420451E}"/>
          </ac:spMkLst>
        </pc:spChg>
        <pc:spChg chg="mod">
          <ac:chgData name="Joelle Brehm" userId="a518f54c-6985-42c0-8041-2bb16a414839" providerId="ADAL" clId="{12516E80-A0D9-4B76-86FD-A48ADB9E65BE}" dt="2024-01-02T15:55:27.862" v="44213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12516E80-A0D9-4B76-86FD-A48ADB9E65BE}" dt="2024-01-02T15:55:27.857" v="44201"/>
          <ac:spMkLst>
            <pc:docMk/>
            <pc:sldMk cId="3093897313" sldId="286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2T15:55:27.864" v="44218"/>
          <ac:spMkLst>
            <pc:docMk/>
            <pc:sldMk cId="3093897313" sldId="286"/>
            <ac:spMk id="39" creationId="{148BD74F-B08A-D055-2827-72B7638D08C5}"/>
          </ac:spMkLst>
        </pc:spChg>
        <pc:spChg chg="add mod replST">
          <ac:chgData name="Joelle Brehm" userId="a518f54c-6985-42c0-8041-2bb16a414839" providerId="ADAL" clId="{12516E80-A0D9-4B76-86FD-A48ADB9E65BE}" dt="2024-01-02T15:55:27.866" v="44224"/>
          <ac:spMkLst>
            <pc:docMk/>
            <pc:sldMk cId="3093897313" sldId="286"/>
            <ac:spMk id="40" creationId="{57F8A0F8-B220-B63E-9091-BA787817D62B}"/>
          </ac:spMkLst>
        </pc:spChg>
        <pc:spChg chg="mod">
          <ac:chgData name="Joelle Brehm" userId="a518f54c-6985-42c0-8041-2bb16a414839" providerId="ADAL" clId="{12516E80-A0D9-4B76-86FD-A48ADB9E65BE}" dt="2024-01-02T15:55:27.864" v="44219"/>
          <ac:spMkLst>
            <pc:docMk/>
            <pc:sldMk cId="3093897313" sldId="286"/>
            <ac:spMk id="41" creationId="{FA3F9D1B-56DF-7D88-3CCF-9C83CF37CE74}"/>
          </ac:spMkLst>
        </pc:spChg>
        <pc:spChg chg="mod">
          <ac:chgData name="Joelle Brehm" userId="a518f54c-6985-42c0-8041-2bb16a414839" providerId="ADAL" clId="{12516E80-A0D9-4B76-86FD-A48ADB9E65BE}" dt="2024-01-02T15:55:27.863" v="44215"/>
          <ac:spMkLst>
            <pc:docMk/>
            <pc:sldMk cId="3093897313" sldId="286"/>
            <ac:spMk id="42" creationId="{D859979A-C7CC-20E7-C4CA-F18D382485A8}"/>
          </ac:spMkLst>
        </pc:spChg>
        <pc:spChg chg="mod">
          <ac:chgData name="Joelle Brehm" userId="a518f54c-6985-42c0-8041-2bb16a414839" providerId="ADAL" clId="{12516E80-A0D9-4B76-86FD-A48ADB9E65BE}" dt="2024-01-02T15:55:27.864" v="44220"/>
          <ac:spMkLst>
            <pc:docMk/>
            <pc:sldMk cId="3093897313" sldId="286"/>
            <ac:spMk id="43" creationId="{4123BF06-FBEE-9624-4928-4F1CA3AC4FBB}"/>
          </ac:spMkLst>
        </pc:spChg>
        <pc:spChg chg="mod">
          <ac:chgData name="Joelle Brehm" userId="a518f54c-6985-42c0-8041-2bb16a414839" providerId="ADAL" clId="{12516E80-A0D9-4B76-86FD-A48ADB9E65BE}" dt="2024-01-02T15:55:27.863" v="44216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12516E80-A0D9-4B76-86FD-A48ADB9E65BE}" dt="2024-01-02T15:55:27.863" v="44217"/>
          <ac:spMkLst>
            <pc:docMk/>
            <pc:sldMk cId="3093897313" sldId="286"/>
            <ac:spMk id="45" creationId="{0F9CEF9A-7834-B39E-CB12-DD7EDCF963B1}"/>
          </ac:spMkLst>
        </pc:spChg>
        <pc:spChg chg="mod">
          <ac:chgData name="Joelle Brehm" userId="a518f54c-6985-42c0-8041-2bb16a414839" providerId="ADAL" clId="{12516E80-A0D9-4B76-86FD-A48ADB9E65BE}" dt="2024-01-02T15:55:27.865" v="44223"/>
          <ac:spMkLst>
            <pc:docMk/>
            <pc:sldMk cId="3093897313" sldId="286"/>
            <ac:spMk id="46" creationId="{EF399F64-CC33-2C7F-0BB7-8B8FA3A1318D}"/>
          </ac:spMkLst>
        </pc:spChg>
        <pc:spChg chg="add del mod modVis">
          <ac:chgData name="Joelle Brehm" userId="a518f54c-6985-42c0-8041-2bb16a414839" providerId="ADAL" clId="{12516E80-A0D9-4B76-86FD-A48ADB9E65BE}" dt="2024-01-02T15:55:19.219" v="43679"/>
          <ac:spMkLst>
            <pc:docMk/>
            <pc:sldMk cId="3093897313" sldId="286"/>
            <ac:spMk id="47" creationId="{9F2D534F-7E9E-EFD6-4C44-7123A4DDF049}"/>
          </ac:spMkLst>
        </pc:spChg>
        <pc:spChg chg="mod">
          <ac:chgData name="Joelle Brehm" userId="a518f54c-6985-42c0-8041-2bb16a414839" providerId="ADAL" clId="{12516E80-A0D9-4B76-86FD-A48ADB9E65BE}" dt="2024-01-02T15:55:27.865" v="44221"/>
          <ac:spMkLst>
            <pc:docMk/>
            <pc:sldMk cId="3093897313" sldId="286"/>
            <ac:spMk id="49" creationId="{E1413394-7EF3-221F-2D8D-F13494FCD19F}"/>
          </ac:spMkLst>
        </pc:spChg>
        <pc:spChg chg="add del mod modVis">
          <ac:chgData name="Joelle Brehm" userId="a518f54c-6985-42c0-8041-2bb16a414839" providerId="ADAL" clId="{12516E80-A0D9-4B76-86FD-A48ADB9E65BE}" dt="2024-01-02T15:55:20.762" v="43853"/>
          <ac:spMkLst>
            <pc:docMk/>
            <pc:sldMk cId="3093897313" sldId="286"/>
            <ac:spMk id="50" creationId="{A7387533-F1FE-C4C8-F482-26CF2B8AD448}"/>
          </ac:spMkLst>
        </pc:spChg>
        <pc:spChg chg="add del mod modVis">
          <ac:chgData name="Joelle Brehm" userId="a518f54c-6985-42c0-8041-2bb16a414839" providerId="ADAL" clId="{12516E80-A0D9-4B76-86FD-A48ADB9E65BE}" dt="2024-01-02T15:55:22.974" v="44116"/>
          <ac:spMkLst>
            <pc:docMk/>
            <pc:sldMk cId="3093897313" sldId="286"/>
            <ac:spMk id="52" creationId="{82FEF2A6-9AA5-7AF5-68E0-58A86585A1D5}"/>
          </ac:spMkLst>
        </pc:spChg>
        <pc:spChg chg="add del mod ord replST">
          <ac:chgData name="Joelle Brehm" userId="a518f54c-6985-42c0-8041-2bb16a414839" providerId="ADAL" clId="{12516E80-A0D9-4B76-86FD-A48ADB9E65BE}" dt="2024-01-02T15:55:27.822" v="44169"/>
          <ac:spMkLst>
            <pc:docMk/>
            <pc:sldMk cId="3093897313" sldId="286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2T15:55:27.876" v="44253"/>
          <ac:spMkLst>
            <pc:docMk/>
            <pc:sldMk cId="3093897313" sldId="286"/>
            <ac:spMk id="55" creationId="{912854DC-5157-C69C-B54E-DF6F872C2EEA}"/>
          </ac:spMkLst>
        </pc:spChg>
        <pc:spChg chg="mod">
          <ac:chgData name="Joelle Brehm" userId="a518f54c-6985-42c0-8041-2bb16a414839" providerId="ADAL" clId="{12516E80-A0D9-4B76-86FD-A48ADB9E65BE}" dt="2024-01-02T15:55:27.858" v="44205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12516E80-A0D9-4B76-86FD-A48ADB9E65BE}" dt="2024-01-02T15:55:27.867" v="44226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55:27.868" v="44228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2T15:55:27.873" v="44247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12516E80-A0D9-4B76-86FD-A48ADB9E65BE}" dt="2024-01-02T15:55:27.868" v="44230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2T15:55:27.869" v="44232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55:27.870" v="44234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55:27.870" v="44236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55:27.871" v="44239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5:27.871" v="44240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5:27.872" v="44241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5:27.872" v="44242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2T15:55:27.872" v="44243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2T15:55:27.891" v="44255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5:27.851" v="44185"/>
          <ac:graphicFrameMkLst>
            <pc:docMk/>
            <pc:sldMk cId="3093897313" sldId="286"/>
            <ac:graphicFrameMk id="8" creationId="{DE2113BB-0C9B-E4B6-5EA6-5AE8EB2D1C68}"/>
          </ac:graphicFrameMkLst>
        </pc:graphicFrameChg>
        <pc:graphicFrameChg chg="del">
          <ac:chgData name="Joelle Brehm" userId="a518f54c-6985-42c0-8041-2bb16a414839" providerId="ADAL" clId="{12516E80-A0D9-4B76-86FD-A48ADB9E65BE}" dt="2024-01-02T15:54:42.900" v="42924"/>
          <ac:graphicFrameMkLst>
            <pc:docMk/>
            <pc:sldMk cId="3093897313" sldId="286"/>
            <ac:graphicFrameMk id="31" creationId="{724D1AF0-4D1C-1DFE-787D-536AE195EF9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5:27.871" v="44238"/>
          <ac:graphicFrameMkLst>
            <pc:docMk/>
            <pc:sldMk cId="3093897313" sldId="286"/>
            <ac:graphicFrameMk id="38" creationId="{D76F909D-F996-1BA2-4C1B-3807AEFAC77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5:20.691" v="43757"/>
          <ac:graphicFrameMkLst>
            <pc:docMk/>
            <pc:sldMk cId="3093897313" sldId="286"/>
            <ac:graphicFrameMk id="48" creationId="{410D1ACA-527A-38DF-9E8A-08251B894E6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5:22.890" v="44019"/>
          <ac:graphicFrameMkLst>
            <pc:docMk/>
            <pc:sldMk cId="3093897313" sldId="286"/>
            <ac:graphicFrameMk id="51" creationId="{47726849-185D-E6D9-657E-CBF3F369F35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5:27.823" v="44171"/>
          <ac:graphicFrameMkLst>
            <pc:docMk/>
            <pc:sldMk cId="3093897313" sldId="286"/>
            <ac:graphicFrameMk id="54" creationId="{84BD4AF0-DCB8-DCA3-195E-39EB06F8BAB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5:27.861" v="44212"/>
          <ac:graphicFrameMkLst>
            <pc:docMk/>
            <pc:sldMk cId="3093897313" sldId="286"/>
            <ac:graphicFrameMk id="56" creationId="{16762D32-C4C1-9D32-1A57-ED07126E9045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5:19.138" v="43588"/>
          <ac:graphicFrameMkLst>
            <pc:docMk/>
            <pc:sldMk cId="3093897313" sldId="286"/>
            <ac:graphicFrameMk id="60" creationId="{3DEF834C-0FA2-5504-01D7-AC8699C7720B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5:10.584" v="43225"/>
          <ac:graphicFrameMkLst>
            <pc:docMk/>
            <pc:sldMk cId="3093897313" sldId="286"/>
            <ac:graphicFrameMk id="63" creationId="{61AD86F2-55F1-5B08-77A7-7CFD2131D4B3}"/>
          </ac:graphicFrameMkLst>
        </pc:graphicFrameChg>
        <pc:picChg chg="add mod ord">
          <ac:chgData name="Joelle Brehm" userId="a518f54c-6985-42c0-8041-2bb16a414839" providerId="ADAL" clId="{12516E80-A0D9-4B76-86FD-A48ADB9E65BE}" dt="2024-01-02T15:55:27.849" v="44179"/>
          <ac:picMkLst>
            <pc:docMk/>
            <pc:sldMk cId="3093897313" sldId="286"/>
            <ac:picMk id="9" creationId="{770A1972-E897-C998-8EEF-03CAF7F68E1D}"/>
          </ac:picMkLst>
        </pc:picChg>
        <pc:picChg chg="del mod ord">
          <ac:chgData name="Joelle Brehm" userId="a518f54c-6985-42c0-8041-2bb16a414839" providerId="ADAL" clId="{12516E80-A0D9-4B76-86FD-A48ADB9E65BE}" dt="2024-01-02T15:55:00.180" v="43100" actId="478"/>
          <ac:picMkLst>
            <pc:docMk/>
            <pc:sldMk cId="3093897313" sldId="286"/>
            <ac:picMk id="34" creationId="{6663E5A1-4C2D-D5C4-1E3F-5F1A262C67D0}"/>
          </ac:picMkLst>
        </pc:picChg>
        <pc:picChg chg="mod ord">
          <ac:chgData name="Joelle Brehm" userId="a518f54c-6985-42c0-8041-2bb16a414839" providerId="ADAL" clId="{12516E80-A0D9-4B76-86FD-A48ADB9E65BE}" dt="2024-01-02T15:55:27.873" v="44245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55:27.851" v="44183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56:23.617" v="45659"/>
        <pc:sldMkLst>
          <pc:docMk/>
          <pc:sldMk cId="1459118046" sldId="288"/>
        </pc:sldMkLst>
        <pc:spChg chg="mod ord">
          <ac:chgData name="Joelle Brehm" userId="a518f54c-6985-42c0-8041-2bb16a414839" providerId="ADAL" clId="{12516E80-A0D9-4B76-86FD-A48ADB9E65BE}" dt="2024-01-02T15:56:23.584" v="45623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12516E80-A0D9-4B76-86FD-A48ADB9E65BE}" dt="2024-01-02T15:55:32.569" v="44256" actId="478"/>
          <ac:spMkLst>
            <pc:docMk/>
            <pc:sldMk cId="1459118046" sldId="288"/>
            <ac:spMk id="3" creationId="{FF6824C8-1454-FC3C-9D5F-A3204241F28C}"/>
          </ac:spMkLst>
        </pc:spChg>
        <pc:spChg chg="add del mod modVis">
          <ac:chgData name="Joelle Brehm" userId="a518f54c-6985-42c0-8041-2bb16a414839" providerId="ADAL" clId="{12516E80-A0D9-4B76-86FD-A48ADB9E65BE}" dt="2024-01-02T15:55:43.872" v="44485"/>
          <ac:spMkLst>
            <pc:docMk/>
            <pc:sldMk cId="1459118046" sldId="288"/>
            <ac:spMk id="5" creationId="{2BE128B2-34F2-A2D6-C30E-C06ED3BAC109}"/>
          </ac:spMkLst>
        </pc:spChg>
        <pc:spChg chg="mod ord">
          <ac:chgData name="Joelle Brehm" userId="a518f54c-6985-42c0-8041-2bb16a414839" providerId="ADAL" clId="{12516E80-A0D9-4B76-86FD-A48ADB9E65BE}" dt="2024-01-02T15:56:23.569" v="45585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2T15:56:23.578" v="45602"/>
          <ac:spMkLst>
            <pc:docMk/>
            <pc:sldMk cId="1459118046" sldId="288"/>
            <ac:spMk id="10" creationId="{F330FDA5-01AA-960D-FADC-74B8E7D526E8}"/>
          </ac:spMkLst>
        </pc:spChg>
        <pc:spChg chg="add del mod modVis">
          <ac:chgData name="Joelle Brehm" userId="a518f54c-6985-42c0-8041-2bb16a414839" providerId="ADAL" clId="{12516E80-A0D9-4B76-86FD-A48ADB9E65BE}" dt="2024-01-02T15:56:03.360" v="44779"/>
          <ac:spMkLst>
            <pc:docMk/>
            <pc:sldMk cId="1459118046" sldId="288"/>
            <ac:spMk id="13" creationId="{B9521C19-15D5-5BD4-DC02-75C026E4AE7B}"/>
          </ac:spMkLst>
        </pc:spChg>
        <pc:spChg chg="del mod">
          <ac:chgData name="Joelle Brehm" userId="a518f54c-6985-42c0-8041-2bb16a414839" providerId="ADAL" clId="{12516E80-A0D9-4B76-86FD-A48ADB9E65BE}" dt="2024-01-02T15:56:23.444" v="45476"/>
          <ac:spMkLst>
            <pc:docMk/>
            <pc:sldMk cId="1459118046" sldId="288"/>
            <ac:spMk id="14" creationId="{25D946D5-9986-579D-41E4-6C10E6C340A5}"/>
          </ac:spMkLst>
        </pc:spChg>
        <pc:spChg chg="mod">
          <ac:chgData name="Joelle Brehm" userId="a518f54c-6985-42c0-8041-2bb16a414839" providerId="ADAL" clId="{12516E80-A0D9-4B76-86FD-A48ADB9E65BE}" dt="2024-01-02T15:56:23.578" v="45603"/>
          <ac:spMkLst>
            <pc:docMk/>
            <pc:sldMk cId="1459118046" sldId="288"/>
            <ac:spMk id="15" creationId="{D494E85D-4F3D-3204-35FB-2E48C65A19C6}"/>
          </ac:spMkLst>
        </pc:spChg>
        <pc:spChg chg="mod">
          <ac:chgData name="Joelle Brehm" userId="a518f54c-6985-42c0-8041-2bb16a414839" providerId="ADAL" clId="{12516E80-A0D9-4B76-86FD-A48ADB9E65BE}" dt="2024-01-02T15:56:23.572" v="45595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12516E80-A0D9-4B76-86FD-A48ADB9E65BE}" dt="2024-01-02T15:56:23.577" v="45600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12516E80-A0D9-4B76-86FD-A48ADB9E65BE}" dt="2024-01-02T15:56:23.571" v="45594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12516E80-A0D9-4B76-86FD-A48ADB9E65BE}" dt="2024-01-02T15:56:23.577" v="45601"/>
          <ac:spMkLst>
            <pc:docMk/>
            <pc:sldMk cId="1459118046" sldId="288"/>
            <ac:spMk id="20" creationId="{1E04F6C7-C5CE-0639-E6EE-4EA6F2501082}"/>
          </ac:spMkLst>
        </pc:spChg>
        <pc:spChg chg="mod">
          <ac:chgData name="Joelle Brehm" userId="a518f54c-6985-42c0-8041-2bb16a414839" providerId="ADAL" clId="{12516E80-A0D9-4B76-86FD-A48ADB9E65BE}" dt="2024-01-02T15:56:23.573" v="45596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12516E80-A0D9-4B76-86FD-A48ADB9E65BE}" dt="2024-01-02T15:56:23.576" v="45599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12516E80-A0D9-4B76-86FD-A48ADB9E65BE}" dt="2024-01-02T15:56:23.570" v="45589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56:23.574" v="45597"/>
          <ac:spMkLst>
            <pc:docMk/>
            <pc:sldMk cId="1459118046" sldId="288"/>
            <ac:spMk id="24" creationId="{C635EC53-592F-A2D5-EF91-370516B08014}"/>
          </ac:spMkLst>
        </pc:spChg>
        <pc:spChg chg="mod">
          <ac:chgData name="Joelle Brehm" userId="a518f54c-6985-42c0-8041-2bb16a414839" providerId="ADAL" clId="{12516E80-A0D9-4B76-86FD-A48ADB9E65BE}" dt="2024-01-02T15:56:23.578" v="45604"/>
          <ac:spMkLst>
            <pc:docMk/>
            <pc:sldMk cId="1459118046" sldId="288"/>
            <ac:spMk id="26" creationId="{F420E5CB-3D9D-458C-56DF-AF2792018047}"/>
          </ac:spMkLst>
        </pc:spChg>
        <pc:spChg chg="add del mod modVis">
          <ac:chgData name="Joelle Brehm" userId="a518f54c-6985-42c0-8041-2bb16a414839" providerId="ADAL" clId="{12516E80-A0D9-4B76-86FD-A48ADB9E65BE}" dt="2024-01-02T15:56:12.825" v="44907"/>
          <ac:spMkLst>
            <pc:docMk/>
            <pc:sldMk cId="1459118046" sldId="288"/>
            <ac:spMk id="27" creationId="{D6ADB813-C4FB-7FB0-4D25-6993AEE9CFBA}"/>
          </ac:spMkLst>
        </pc:spChg>
        <pc:spChg chg="add mod replST">
          <ac:chgData name="Joelle Brehm" userId="a518f54c-6985-42c0-8041-2bb16a414839" providerId="ADAL" clId="{12516E80-A0D9-4B76-86FD-A48ADB9E65BE}" dt="2024-01-02T15:56:23.579" v="45605"/>
          <ac:spMkLst>
            <pc:docMk/>
            <pc:sldMk cId="1459118046" sldId="288"/>
            <ac:spMk id="29" creationId="{540439B0-A678-8AD6-C88E-52118F5A08A3}"/>
          </ac:spMkLst>
        </pc:spChg>
        <pc:spChg chg="mod ord">
          <ac:chgData name="Joelle Brehm" userId="a518f54c-6985-42c0-8041-2bb16a414839" providerId="ADAL" clId="{12516E80-A0D9-4B76-86FD-A48ADB9E65BE}" dt="2024-01-02T15:56:23.571" v="45591"/>
          <ac:spMkLst>
            <pc:docMk/>
            <pc:sldMk cId="1459118046" sldId="28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12516E80-A0D9-4B76-86FD-A48ADB9E65BE}" dt="2024-01-02T15:56:19.823" v="45297"/>
          <ac:spMkLst>
            <pc:docMk/>
            <pc:sldMk cId="1459118046" sldId="288"/>
            <ac:spMk id="31" creationId="{5717F6A2-B09D-F45B-AEE7-2497BABC8201}"/>
          </ac:spMkLst>
        </pc:spChg>
        <pc:spChg chg="mod">
          <ac:chgData name="Joelle Brehm" userId="a518f54c-6985-42c0-8041-2bb16a414839" providerId="ADAL" clId="{12516E80-A0D9-4B76-86FD-A48ADB9E65BE}" dt="2024-01-02T15:56:23.575" v="45598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12516E80-A0D9-4B76-86FD-A48ADB9E65BE}" dt="2024-01-02T15:56:21.121" v="45473"/>
          <ac:spMkLst>
            <pc:docMk/>
            <pc:sldMk cId="1459118046" sldId="288"/>
            <ac:spMk id="34" creationId="{039EE1EC-F4E3-25B2-5586-5FC9CD1FB461}"/>
          </ac:spMkLst>
        </pc:spChg>
        <pc:spChg chg="mod">
          <ac:chgData name="Joelle Brehm" userId="a518f54c-6985-42c0-8041-2bb16a414839" providerId="ADAL" clId="{12516E80-A0D9-4B76-86FD-A48ADB9E65BE}" dt="2024-01-02T15:56:23.597" v="45653"/>
          <ac:spMkLst>
            <pc:docMk/>
            <pc:sldMk cId="1459118046" sldId="288"/>
            <ac:spMk id="35" creationId="{6B934B86-5715-3E83-5B96-BD8EBE06A322}"/>
          </ac:spMkLst>
        </pc:spChg>
        <pc:spChg chg="add del mod modVis">
          <ac:chgData name="Joelle Brehm" userId="a518f54c-6985-42c0-8041-2bb16a414839" providerId="ADAL" clId="{12516E80-A0D9-4B76-86FD-A48ADB9E65BE}" dt="2024-01-02T15:56:23.599" v="45657"/>
          <ac:spMkLst>
            <pc:docMk/>
            <pc:sldMk cId="1459118046" sldId="288"/>
            <ac:spMk id="38" creationId="{7B1D8775-54CA-9C1F-5955-7F39885DF457}"/>
          </ac:spMkLst>
        </pc:spChg>
        <pc:spChg chg="mod ord">
          <ac:chgData name="Joelle Brehm" userId="a518f54c-6985-42c0-8041-2bb16a414839" providerId="ADAL" clId="{12516E80-A0D9-4B76-86FD-A48ADB9E65BE}" dt="2024-01-02T15:56:23.579" v="45607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56:23.580" v="45609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12516E80-A0D9-4B76-86FD-A48ADB9E65BE}" dt="2024-01-02T15:56:23.589" v="45637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12516E80-A0D9-4B76-86FD-A48ADB9E65BE}" dt="2024-01-02T15:56:23.585" v="45626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12516E80-A0D9-4B76-86FD-A48ADB9E65BE}" dt="2024-01-02T15:56:23.583" v="45621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12516E80-A0D9-4B76-86FD-A48ADB9E65BE}" dt="2024-01-02T15:56:23.587" v="45632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12516E80-A0D9-4B76-86FD-A48ADB9E65BE}" dt="2024-01-02T15:56:23.585" v="45627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12516E80-A0D9-4B76-86FD-A48ADB9E65BE}" dt="2024-01-02T15:56:23.586" v="45631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12516E80-A0D9-4B76-86FD-A48ADB9E65BE}" dt="2024-01-02T15:56:23.580" v="45611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12516E80-A0D9-4B76-86FD-A48ADB9E65BE}" dt="2024-01-02T15:56:23.586" v="45628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12516E80-A0D9-4B76-86FD-A48ADB9E65BE}" dt="2024-01-02T15:56:23.586" v="45629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12516E80-A0D9-4B76-86FD-A48ADB9E65BE}" dt="2024-01-02T15:56:23.587" v="45633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12516E80-A0D9-4B76-86FD-A48ADB9E65BE}" dt="2024-01-02T15:56:23.586" v="45630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12516E80-A0D9-4B76-86FD-A48ADB9E65BE}" dt="2024-01-02T15:56:23.587" v="45634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12516E80-A0D9-4B76-86FD-A48ADB9E65BE}" dt="2024-01-02T15:56:23.587" v="45635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12516E80-A0D9-4B76-86FD-A48ADB9E65BE}" dt="2024-01-02T15:56:23.588" v="45636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12516E80-A0D9-4B76-86FD-A48ADB9E65BE}" dt="2024-01-02T15:56:23.581" v="45613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56:23.581" v="45615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56:23.582" v="45617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56:23.592" v="45642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12516E80-A0D9-4B76-86FD-A48ADB9E65BE}" dt="2024-01-02T15:56:23.592" v="45641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12516E80-A0D9-4B76-86FD-A48ADB9E65BE}" dt="2024-01-02T15:56:23.591" v="45640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12516E80-A0D9-4B76-86FD-A48ADB9E65BE}" dt="2024-01-02T15:56:23.590" v="45639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12516E80-A0D9-4B76-86FD-A48ADB9E65BE}" dt="2024-01-02T15:56:23.594" v="45646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12516E80-A0D9-4B76-86FD-A48ADB9E65BE}" dt="2024-01-02T15:56:23.594" v="45644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12516E80-A0D9-4B76-86FD-A48ADB9E65BE}" dt="2024-01-02T15:56:23.592" v="45643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12516E80-A0D9-4B76-86FD-A48ADB9E65BE}" dt="2024-01-02T15:56:23.594" v="45645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12516E80-A0D9-4B76-86FD-A48ADB9E65BE}" dt="2024-01-02T15:56:23.596" v="45651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12516E80-A0D9-4B76-86FD-A48ADB9E65BE}" dt="2024-01-02T15:56:23.596" v="45650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12516E80-A0D9-4B76-86FD-A48ADB9E65BE}" dt="2024-01-02T15:56:23.596" v="45649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12516E80-A0D9-4B76-86FD-A48ADB9E65BE}" dt="2024-01-02T15:56:23.596" v="45652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12516E80-A0D9-4B76-86FD-A48ADB9E65BE}" dt="2024-01-02T15:56:23.617" v="45659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2T15:55:43.759" v="44401"/>
          <ac:graphicFrameMkLst>
            <pc:docMk/>
            <pc:sldMk cId="1459118046" sldId="288"/>
            <ac:graphicFrameMk id="8" creationId="{4FE073FA-AE99-1BA2-3F0C-B3C06C715007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6:23.585" v="45625"/>
          <ac:graphicFrameMkLst>
            <pc:docMk/>
            <pc:sldMk cId="1459118046" sldId="288"/>
            <ac:graphicFrameMk id="11" creationId="{3B546974-513A-4B07-6C0F-F1078E23B68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6:12.748" v="44825"/>
          <ac:graphicFrameMkLst>
            <pc:docMk/>
            <pc:sldMk cId="1459118046" sldId="288"/>
            <ac:graphicFrameMk id="17" creationId="{4E2278A1-1578-C076-8FCF-71A1DA625637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6:03.294" v="44697"/>
          <ac:graphicFrameMkLst>
            <pc:docMk/>
            <pc:sldMk cId="1459118046" sldId="288"/>
            <ac:graphicFrameMk id="25" creationId="{9A2DEFA8-3892-BEA2-99FF-06A2F48AFE56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6:23.594" v="45648"/>
          <ac:graphicFrameMkLst>
            <pc:docMk/>
            <pc:sldMk cId="1459118046" sldId="288"/>
            <ac:graphicFrameMk id="28" creationId="{11AA0EDB-0F10-286A-B7BB-66A02D56812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6:21.053" v="45379"/>
          <ac:graphicFrameMkLst>
            <pc:docMk/>
            <pc:sldMk cId="1459118046" sldId="288"/>
            <ac:graphicFrameMk id="33" creationId="{0A0ECAC7-6F02-81ED-CE41-0E456F4EB1DE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6:19.761" v="45208"/>
          <ac:graphicFrameMkLst>
            <pc:docMk/>
            <pc:sldMk cId="1459118046" sldId="288"/>
            <ac:graphicFrameMk id="36" creationId="{BCCA9846-1791-F8F0-5D3E-D660FE51933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6:23.532" v="45575"/>
          <ac:graphicFrameMkLst>
            <pc:docMk/>
            <pc:sldMk cId="1459118046" sldId="288"/>
            <ac:graphicFrameMk id="37" creationId="{7BFDDC1D-8EB0-3D3D-AB48-86C2A7A7A0E4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6:23.571" v="45593"/>
          <ac:graphicFrameMkLst>
            <pc:docMk/>
            <pc:sldMk cId="1459118046" sldId="288"/>
            <ac:graphicFrameMk id="39" creationId="{CEED2DF2-729A-9629-0175-9D7D5418832A}"/>
          </ac:graphicFrameMkLst>
        </pc:graphicFrameChg>
        <pc:picChg chg="del mod ord">
          <ac:chgData name="Joelle Brehm" userId="a518f54c-6985-42c0-8041-2bb16a414839" providerId="ADAL" clId="{12516E80-A0D9-4B76-86FD-A48ADB9E65BE}" dt="2024-01-02T15:55:55.385" v="44572" actId="478"/>
          <ac:picMkLst>
            <pc:docMk/>
            <pc:sldMk cId="1459118046" sldId="288"/>
            <ac:picMk id="9" creationId="{01609BD0-437C-887A-6596-B27165CAECFF}"/>
          </ac:picMkLst>
        </pc:picChg>
        <pc:picChg chg="add mod ord">
          <ac:chgData name="Joelle Brehm" userId="a518f54c-6985-42c0-8041-2bb16a414839" providerId="ADAL" clId="{12516E80-A0D9-4B76-86FD-A48ADB9E65BE}" dt="2024-01-02T15:56:23.568" v="45583"/>
          <ac:picMkLst>
            <pc:docMk/>
            <pc:sldMk cId="1459118046" sldId="288"/>
            <ac:picMk id="12" creationId="{E8F68E91-E49D-94D9-E6D8-492A7F028DA0}"/>
          </ac:picMkLst>
        </pc:picChg>
        <pc:picChg chg="mod ord">
          <ac:chgData name="Joelle Brehm" userId="a518f54c-6985-42c0-8041-2bb16a414839" providerId="ADAL" clId="{12516E80-A0D9-4B76-86FD-A48ADB9E65BE}" dt="2024-01-02T15:56:23.582" v="45619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56:23.569" v="45587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57:27.197" v="47430"/>
        <pc:sldMkLst>
          <pc:docMk/>
          <pc:sldMk cId="10849840" sldId="290"/>
        </pc:sldMkLst>
        <pc:spChg chg="add del mod">
          <ac:chgData name="Joelle Brehm" userId="a518f54c-6985-42c0-8041-2bb16a414839" providerId="ADAL" clId="{12516E80-A0D9-4B76-86FD-A48ADB9E65BE}" dt="2024-01-02T15:56:28.997" v="45660" actId="478"/>
          <ac:spMkLst>
            <pc:docMk/>
            <pc:sldMk cId="10849840" sldId="290"/>
            <ac:spMk id="2" creationId="{3D3685B7-F039-ACF6-DB70-E3119F62A29A}"/>
          </ac:spMkLst>
        </pc:spChg>
        <pc:spChg chg="mod ord">
          <ac:chgData name="Joelle Brehm" userId="a518f54c-6985-42c0-8041-2bb16a414839" providerId="ADAL" clId="{12516E80-A0D9-4B76-86FD-A48ADB9E65BE}" dt="2024-01-02T15:57:27.179" v="47424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12516E80-A0D9-4B76-86FD-A48ADB9E65BE}" dt="2024-01-02T15:57:27.170" v="47392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12516E80-A0D9-4B76-86FD-A48ADB9E65BE}" dt="2024-01-02T15:57:27.158" v="47356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2516E80-A0D9-4B76-86FD-A48ADB9E65BE}" dt="2024-01-02T15:56:38.268" v="45883"/>
          <ac:spMkLst>
            <pc:docMk/>
            <pc:sldMk cId="10849840" sldId="290"/>
            <ac:spMk id="8" creationId="{18F360AB-C7DB-C1E3-D40F-D43FF3639C60}"/>
          </ac:spMkLst>
        </pc:spChg>
        <pc:spChg chg="mod">
          <ac:chgData name="Joelle Brehm" userId="a518f54c-6985-42c0-8041-2bb16a414839" providerId="ADAL" clId="{12516E80-A0D9-4B76-86FD-A48ADB9E65BE}" dt="2024-01-02T15:57:27.162" v="47367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2T15:57:27.161" v="47363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2T15:57:27.161" v="47364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2T15:57:27.160" v="47361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2T15:57:27.160" v="47362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2T15:57:27.161" v="47365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2T15:57:27.162" v="47366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2T15:57:27.162" v="47368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2T15:57:27.163" v="47369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2T15:57:27.163" v="47370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2T15:57:27.163" v="47371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2T15:57:27.164" v="47372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2T15:57:27.164" v="47374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57:27.165" v="47377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2T15:57:27.166" v="47379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2T15:57:27.165" v="47378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2T15:57:27.167" v="47382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2T15:57:27.167" v="47383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2T15:57:27.166" v="47381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2T15:57:27.167" v="47385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2T15:57:27.171" v="47397"/>
          <ac:spMkLst>
            <pc:docMk/>
            <pc:sldMk cId="10849840" sldId="290"/>
            <ac:spMk id="32" creationId="{6EC9F26A-A939-514C-7EDB-F425DFFD4036}"/>
          </ac:spMkLst>
        </pc:spChg>
        <pc:spChg chg="mod">
          <ac:chgData name="Joelle Brehm" userId="a518f54c-6985-42c0-8041-2bb16a414839" providerId="ADAL" clId="{12516E80-A0D9-4B76-86FD-A48ADB9E65BE}" dt="2024-01-02T15:57:27.170" v="47393"/>
          <ac:spMkLst>
            <pc:docMk/>
            <pc:sldMk cId="10849840" sldId="290"/>
            <ac:spMk id="33" creationId="{A55B1EF4-73C4-D584-0203-A74707EA08E2}"/>
          </ac:spMkLst>
        </pc:spChg>
        <pc:spChg chg="add del mod modVis">
          <ac:chgData name="Joelle Brehm" userId="a518f54c-6985-42c0-8041-2bb16a414839" providerId="ADAL" clId="{12516E80-A0D9-4B76-86FD-A48ADB9E65BE}" dt="2024-01-02T15:56:58.985" v="46183"/>
          <ac:spMkLst>
            <pc:docMk/>
            <pc:sldMk cId="10849840" sldId="290"/>
            <ac:spMk id="35" creationId="{BF9D836A-27FA-F9AB-BE2A-8BDB42CBBA52}"/>
          </ac:spMkLst>
        </pc:spChg>
        <pc:spChg chg="del mod">
          <ac:chgData name="Joelle Brehm" userId="a518f54c-6985-42c0-8041-2bb16a414839" providerId="ADAL" clId="{12516E80-A0D9-4B76-86FD-A48ADB9E65BE}" dt="2024-01-02T15:57:23.138" v="47035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12516E80-A0D9-4B76-86FD-A48ADB9E65BE}" dt="2024-01-02T15:57:27.165" v="47376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2T15:57:27.168" v="47388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12516E80-A0D9-4B76-86FD-A48ADB9E65BE}" dt="2024-01-02T15:57:27.169" v="47389"/>
          <ac:spMkLst>
            <pc:docMk/>
            <pc:sldMk cId="10849840" sldId="290"/>
            <ac:spMk id="39" creationId="{810C784D-B902-D4A3-E0DE-5483A97F9C49}"/>
          </ac:spMkLst>
        </pc:spChg>
        <pc:spChg chg="mod">
          <ac:chgData name="Joelle Brehm" userId="a518f54c-6985-42c0-8041-2bb16a414839" providerId="ADAL" clId="{12516E80-A0D9-4B76-86FD-A48ADB9E65BE}" dt="2024-01-02T15:57:27.170" v="47394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12516E80-A0D9-4B76-86FD-A48ADB9E65BE}" dt="2024-01-02T15:57:27.171" v="47395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12516E80-A0D9-4B76-86FD-A48ADB9E65BE}" dt="2024-01-02T15:57:27.169" v="47390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12516E80-A0D9-4B76-86FD-A48ADB9E65BE}" dt="2024-01-02T15:57:27.171" v="47398"/>
          <ac:spMkLst>
            <pc:docMk/>
            <pc:sldMk cId="10849840" sldId="290"/>
            <ac:spMk id="45" creationId="{552BD52A-8984-63D8-5FA9-87FE57296EC3}"/>
          </ac:spMkLst>
        </pc:spChg>
        <pc:spChg chg="mod">
          <ac:chgData name="Joelle Brehm" userId="a518f54c-6985-42c0-8041-2bb16a414839" providerId="ADAL" clId="{12516E80-A0D9-4B76-86FD-A48ADB9E65BE}" dt="2024-01-02T15:57:27.169" v="47391"/>
          <ac:spMkLst>
            <pc:docMk/>
            <pc:sldMk cId="10849840" sldId="290"/>
            <ac:spMk id="46" creationId="{3E1C433A-5376-E641-B9A1-4367058A9B7F}"/>
          </ac:spMkLst>
        </pc:spChg>
        <pc:spChg chg="mod">
          <ac:chgData name="Joelle Brehm" userId="a518f54c-6985-42c0-8041-2bb16a414839" providerId="ADAL" clId="{12516E80-A0D9-4B76-86FD-A48ADB9E65BE}" dt="2024-01-02T15:57:27.171" v="47396"/>
          <ac:spMkLst>
            <pc:docMk/>
            <pc:sldMk cId="10849840" sldId="290"/>
            <ac:spMk id="47" creationId="{0E162DBF-E60F-A83B-56A5-E40D4E5B4D77}"/>
          </ac:spMkLst>
        </pc:spChg>
        <pc:spChg chg="add del mod modVis">
          <ac:chgData name="Joelle Brehm" userId="a518f54c-6985-42c0-8041-2bb16a414839" providerId="ADAL" clId="{12516E80-A0D9-4B76-86FD-A48ADB9E65BE}" dt="2024-01-02T15:57:08.644" v="46414"/>
          <ac:spMkLst>
            <pc:docMk/>
            <pc:sldMk cId="10849840" sldId="290"/>
            <ac:spMk id="49" creationId="{AF127530-43E3-818A-1AD6-C0BBB9F121E7}"/>
          </ac:spMkLst>
        </pc:spChg>
        <pc:spChg chg="add mod replST">
          <ac:chgData name="Joelle Brehm" userId="a518f54c-6985-42c0-8041-2bb16a414839" providerId="ADAL" clId="{12516E80-A0D9-4B76-86FD-A48ADB9E65BE}" dt="2024-01-02T15:57:27.172" v="47399"/>
          <ac:spMkLst>
            <pc:docMk/>
            <pc:sldMk cId="10849840" sldId="290"/>
            <ac:spMk id="52" creationId="{DC96C436-B81F-F984-27FA-D181BC415FF2}"/>
          </ac:spMkLst>
        </pc:spChg>
        <pc:spChg chg="add del mod modVis">
          <ac:chgData name="Joelle Brehm" userId="a518f54c-6985-42c0-8041-2bb16a414839" providerId="ADAL" clId="{12516E80-A0D9-4B76-86FD-A48ADB9E65BE}" dt="2024-01-02T15:57:18.317" v="46894"/>
          <ac:spMkLst>
            <pc:docMk/>
            <pc:sldMk cId="10849840" sldId="290"/>
            <ac:spMk id="53" creationId="{DD9AF0CE-13CB-36FF-583B-C5B576A1EED7}"/>
          </ac:spMkLst>
        </pc:spChg>
        <pc:spChg chg="add del mod modVis">
          <ac:chgData name="Joelle Brehm" userId="a518f54c-6985-42c0-8041-2bb16a414839" providerId="ADAL" clId="{12516E80-A0D9-4B76-86FD-A48ADB9E65BE}" dt="2024-01-02T15:57:22.193" v="47032"/>
          <ac:spMkLst>
            <pc:docMk/>
            <pc:sldMk cId="10849840" sldId="290"/>
            <ac:spMk id="55" creationId="{95A948FE-4425-D845-31BD-F7E775A1117B}"/>
          </ac:spMkLst>
        </pc:spChg>
        <pc:spChg chg="add del mod modVis">
          <ac:chgData name="Joelle Brehm" userId="a518f54c-6985-42c0-8041-2bb16a414839" providerId="ADAL" clId="{12516E80-A0D9-4B76-86FD-A48ADB9E65BE}" dt="2024-01-02T15:57:23.386" v="47291"/>
          <ac:spMkLst>
            <pc:docMk/>
            <pc:sldMk cId="10849840" sldId="290"/>
            <ac:spMk id="57" creationId="{91493D38-9E49-C52F-72F4-FC6AA0493720}"/>
          </ac:spMkLst>
        </pc:spChg>
        <pc:spChg chg="add del mod ord replST">
          <ac:chgData name="Joelle Brehm" userId="a518f54c-6985-42c0-8041-2bb16a414839" providerId="ADAL" clId="{12516E80-A0D9-4B76-86FD-A48ADB9E65BE}" dt="2024-01-02T15:57:27.126" v="47344"/>
          <ac:spMkLst>
            <pc:docMk/>
            <pc:sldMk cId="10849840" sldId="290"/>
            <ac:spMk id="58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2T15:57:27.179" v="47422"/>
          <ac:spMkLst>
            <pc:docMk/>
            <pc:sldMk cId="10849840" sldId="290"/>
            <ac:spMk id="60" creationId="{AB5689A7-20F6-4DF1-88AE-FB8557333BFB}"/>
          </ac:spMkLst>
        </pc:spChg>
        <pc:spChg chg="add del mod modVis">
          <ac:chgData name="Joelle Brehm" userId="a518f54c-6985-42c0-8041-2bb16a414839" providerId="ADAL" clId="{12516E80-A0D9-4B76-86FD-A48ADB9E65BE}" dt="2024-01-02T15:57:27.181" v="47428"/>
          <ac:spMkLst>
            <pc:docMk/>
            <pc:sldMk cId="10849840" sldId="290"/>
            <ac:spMk id="62" creationId="{DF4B3B6A-7522-7046-CFB9-8E716340E2ED}"/>
          </ac:spMkLst>
        </pc:spChg>
        <pc:spChg chg="mod">
          <ac:chgData name="Joelle Brehm" userId="a518f54c-6985-42c0-8041-2bb16a414839" providerId="ADAL" clId="{12516E80-A0D9-4B76-86FD-A48ADB9E65BE}" dt="2024-01-02T15:57:27.166" v="47380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12516E80-A0D9-4B76-86FD-A48ADB9E65BE}" dt="2024-01-02T15:57:27.172" v="47401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57:27.173" v="47403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2T15:57:27.173" v="47405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2T15:57:27.174" v="47407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57:27.175" v="47409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57:27.175" v="47411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57:27.176" v="47414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7:27.176" v="47415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7:27.177" v="47416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7:27.177" v="47417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2T15:57:27.177" v="47418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2T15:57:27.197" v="47430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7:27.160" v="47360"/>
          <ac:graphicFrameMkLst>
            <pc:docMk/>
            <pc:sldMk cId="10849840" sldId="290"/>
            <ac:graphicFrameMk id="9" creationId="{DCDF2E19-4D6B-ED3A-9947-80BBB62BFA1B}"/>
          </ac:graphicFrameMkLst>
        </pc:graphicFrameChg>
        <pc:graphicFrameChg chg="del">
          <ac:chgData name="Joelle Brehm" userId="a518f54c-6985-42c0-8041-2bb16a414839" providerId="ADAL" clId="{12516E80-A0D9-4B76-86FD-A48ADB9E65BE}" dt="2024-01-02T15:56:38.173" v="45795"/>
          <ac:graphicFrameMkLst>
            <pc:docMk/>
            <pc:sldMk cId="10849840" sldId="290"/>
            <ac:graphicFrameMk id="31" creationId="{4066A31F-4730-483C-E25B-452881C8D91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7:01.684" v="46206"/>
          <ac:graphicFrameMkLst>
            <pc:docMk/>
            <pc:sldMk cId="10849840" sldId="290"/>
            <ac:graphicFrameMk id="40" creationId="{7ED6CE57-B19A-AFE6-4F0B-6284F2AE8424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6:58.895" v="46101"/>
          <ac:graphicFrameMkLst>
            <pc:docMk/>
            <pc:sldMk cId="10849840" sldId="290"/>
            <ac:graphicFrameMk id="41" creationId="{4AE55013-D774-6CB5-9EA7-4156CEA76E20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7:08.586" v="46332"/>
          <ac:graphicFrameMkLst>
            <pc:docMk/>
            <pc:sldMk cId="10849840" sldId="290"/>
            <ac:graphicFrameMk id="48" creationId="{7D44BC36-9CA1-9FDC-7621-B90E988134F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7:11.855" v="46437"/>
          <ac:graphicFrameMkLst>
            <pc:docMk/>
            <pc:sldMk cId="10849840" sldId="290"/>
            <ac:graphicFrameMk id="50" creationId="{CDEBAC04-4B10-9F1B-EC8D-F090F2AA19E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7:27.176" v="47413"/>
          <ac:graphicFrameMkLst>
            <pc:docMk/>
            <pc:sldMk cId="10849840" sldId="290"/>
            <ac:graphicFrameMk id="51" creationId="{46065D39-907B-1B5B-0FF3-0D15FE509B2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7:22.131" v="46949"/>
          <ac:graphicFrameMkLst>
            <pc:docMk/>
            <pc:sldMk cId="10849840" sldId="290"/>
            <ac:graphicFrameMk id="54" creationId="{6FF6809A-3D15-A0D0-0D7A-705D50A2A12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7:23.315" v="47196"/>
          <ac:graphicFrameMkLst>
            <pc:docMk/>
            <pc:sldMk cId="10849840" sldId="290"/>
            <ac:graphicFrameMk id="56" creationId="{126BD6F5-26C7-7A53-A4C2-560DDC2EC23B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7:18.264" v="46807"/>
          <ac:graphicFrameMkLst>
            <pc:docMk/>
            <pc:sldMk cId="10849840" sldId="290"/>
            <ac:graphicFrameMk id="59" creationId="{F6881827-C08F-0C71-7DEE-0E7E60D08A4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7:27.128" v="47346"/>
          <ac:graphicFrameMkLst>
            <pc:docMk/>
            <pc:sldMk cId="10849840" sldId="290"/>
            <ac:graphicFrameMk id="61" creationId="{6B196F16-E370-084A-0F42-EAE3E7EFDF1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7:27.168" v="47387"/>
          <ac:graphicFrameMkLst>
            <pc:docMk/>
            <pc:sldMk cId="10849840" sldId="290"/>
            <ac:graphicFrameMk id="63" creationId="{190A6B87-A592-F29B-11F6-D7B7B9807A51}"/>
          </ac:graphicFrameMkLst>
        </pc:graphicFrameChg>
        <pc:picChg chg="add mod ord">
          <ac:chgData name="Joelle Brehm" userId="a518f54c-6985-42c0-8041-2bb16a414839" providerId="ADAL" clId="{12516E80-A0D9-4B76-86FD-A48ADB9E65BE}" dt="2024-01-02T15:57:27.158" v="47354"/>
          <ac:picMkLst>
            <pc:docMk/>
            <pc:sldMk cId="10849840" sldId="290"/>
            <ac:picMk id="10" creationId="{54FF7523-9E11-5B83-82AE-C2C78BFDE45E}"/>
          </ac:picMkLst>
        </pc:picChg>
        <pc:picChg chg="del mod ord">
          <ac:chgData name="Joelle Brehm" userId="a518f54c-6985-42c0-8041-2bb16a414839" providerId="ADAL" clId="{12516E80-A0D9-4B76-86FD-A48ADB9E65BE}" dt="2024-01-02T15:56:50.249" v="45971" actId="478"/>
          <ac:picMkLst>
            <pc:docMk/>
            <pc:sldMk cId="10849840" sldId="290"/>
            <ac:picMk id="34" creationId="{81A0098A-7406-CE0A-4D98-8249EA93C80D}"/>
          </ac:picMkLst>
        </pc:picChg>
        <pc:picChg chg="mod ord">
          <ac:chgData name="Joelle Brehm" userId="a518f54c-6985-42c0-8041-2bb16a414839" providerId="ADAL" clId="{12516E80-A0D9-4B76-86FD-A48ADB9E65BE}" dt="2024-01-02T15:57:27.178" v="47420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57:27.159" v="47358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59:51.422" v="50434"/>
        <pc:sldMkLst>
          <pc:docMk/>
          <pc:sldMk cId="996393659" sldId="291"/>
        </pc:sldMkLst>
        <pc:spChg chg="mod ord">
          <ac:chgData name="Joelle Brehm" userId="a518f54c-6985-42c0-8041-2bb16a414839" providerId="ADAL" clId="{12516E80-A0D9-4B76-86FD-A48ADB9E65BE}" dt="2024-01-02T15:59:51.389" v="50428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12516E80-A0D9-4B76-86FD-A48ADB9E65BE}" dt="2024-01-02T15:58:37.681" v="48919" actId="478"/>
          <ac:spMkLst>
            <pc:docMk/>
            <pc:sldMk cId="996393659" sldId="291"/>
            <ac:spMk id="3" creationId="{B8FAD0C0-16EF-F3F9-ADFA-E2A70FF0C821}"/>
          </ac:spMkLst>
        </pc:spChg>
        <pc:spChg chg="add del mod modVis">
          <ac:chgData name="Joelle Brehm" userId="a518f54c-6985-42c0-8041-2bb16a414839" providerId="ADAL" clId="{12516E80-A0D9-4B76-86FD-A48ADB9E65BE}" dt="2024-01-02T15:58:48.182" v="49146"/>
          <ac:spMkLst>
            <pc:docMk/>
            <pc:sldMk cId="996393659" sldId="291"/>
            <ac:spMk id="5" creationId="{5C65C0E4-D269-09C5-F2EE-71D9100CA8B3}"/>
          </ac:spMkLst>
        </pc:spChg>
        <pc:spChg chg="mod ord">
          <ac:chgData name="Joelle Brehm" userId="a518f54c-6985-42c0-8041-2bb16a414839" providerId="ADAL" clId="{12516E80-A0D9-4B76-86FD-A48ADB9E65BE}" dt="2024-01-02T15:59:51.346" v="50360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2T15:59:51.354" v="50371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2T15:59:51.352" v="50367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2T15:59:51.352" v="50368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2T15:59:51.350" v="50365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2T15:59:51.351" v="50366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2T15:59:51.353" v="50369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2T15:59:51.353" v="50370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2T15:59:51.354" v="50372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2T15:59:51.355" v="50373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2T15:59:51.355" v="50374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2T15:59:51.356" v="50375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2T15:59:51.357" v="50376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2T15:59:51.358" v="50378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59:51.360" v="50381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2T15:59:51.361" v="50383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2T15:59:51.360" v="50382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2T15:59:51.363" v="50386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2T15:59:51.364" v="50387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2T15:59:51.363" v="50385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2T15:59:51.365" v="50389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2T15:59:51.373" v="50401"/>
          <ac:spMkLst>
            <pc:docMk/>
            <pc:sldMk cId="996393659" sldId="291"/>
            <ac:spMk id="32" creationId="{27A91E20-CA24-9C21-342D-ABA565F5471B}"/>
          </ac:spMkLst>
        </pc:spChg>
        <pc:spChg chg="add del mod modVis">
          <ac:chgData name="Joelle Brehm" userId="a518f54c-6985-42c0-8041-2bb16a414839" providerId="ADAL" clId="{12516E80-A0D9-4B76-86FD-A48ADB9E65BE}" dt="2024-01-02T15:59:39.938" v="49457"/>
          <ac:spMkLst>
            <pc:docMk/>
            <pc:sldMk cId="996393659" sldId="291"/>
            <ac:spMk id="33" creationId="{97B9A824-A5AB-8599-C67A-F866E095A30A}"/>
          </ac:spMkLst>
        </pc:spChg>
        <pc:spChg chg="del mod">
          <ac:chgData name="Joelle Brehm" userId="a518f54c-6985-42c0-8041-2bb16a414839" providerId="ADAL" clId="{12516E80-A0D9-4B76-86FD-A48ADB9E65BE}" dt="2024-01-02T15:59:51.150" v="50257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12516E80-A0D9-4B76-86FD-A48ADB9E65BE}" dt="2024-01-02T15:59:51.359" v="50380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2T15:59:51.368" v="50392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12516E80-A0D9-4B76-86FD-A48ADB9E65BE}" dt="2024-01-02T15:59:51.369" v="50393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12516E80-A0D9-4B76-86FD-A48ADB9E65BE}" dt="2024-01-02T15:59:51.370" v="50396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12516E80-A0D9-4B76-86FD-A48ADB9E65BE}" dt="2024-01-02T15:59:51.371" v="50397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12516E80-A0D9-4B76-86FD-A48ADB9E65BE}" dt="2024-01-02T15:59:51.369" v="50394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12516E80-A0D9-4B76-86FD-A48ADB9E65BE}" dt="2024-01-02T15:59:51.371" v="50398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12516E80-A0D9-4B76-86FD-A48ADB9E65BE}" dt="2024-01-02T15:59:51.369" v="50395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12516E80-A0D9-4B76-86FD-A48ADB9E65BE}" dt="2024-01-02T15:59:51.372" v="50399"/>
          <ac:spMkLst>
            <pc:docMk/>
            <pc:sldMk cId="996393659" sldId="291"/>
            <ac:spMk id="45" creationId="{7A6869B6-C6F2-DDAD-D4B2-6D5DE21E6DC6}"/>
          </ac:spMkLst>
        </pc:spChg>
        <pc:spChg chg="add mod replST">
          <ac:chgData name="Joelle Brehm" userId="a518f54c-6985-42c0-8041-2bb16a414839" providerId="ADAL" clId="{12516E80-A0D9-4B76-86FD-A48ADB9E65BE}" dt="2024-01-02T15:59:51.375" v="50403"/>
          <ac:spMkLst>
            <pc:docMk/>
            <pc:sldMk cId="996393659" sldId="291"/>
            <ac:spMk id="46" creationId="{70F395A2-745A-564E-6009-C9A72EA00DA6}"/>
          </ac:spMkLst>
        </pc:spChg>
        <pc:spChg chg="mod">
          <ac:chgData name="Joelle Brehm" userId="a518f54c-6985-42c0-8041-2bb16a414839" providerId="ADAL" clId="{12516E80-A0D9-4B76-86FD-A48ADB9E65BE}" dt="2024-01-02T15:59:51.373" v="50400"/>
          <ac:spMkLst>
            <pc:docMk/>
            <pc:sldMk cId="996393659" sldId="291"/>
            <ac:spMk id="47" creationId="{954547EF-AD33-B12C-24C3-BC43A057FE8B}"/>
          </ac:spMkLst>
        </pc:spChg>
        <pc:spChg chg="add del mod modVis">
          <ac:chgData name="Joelle Brehm" userId="a518f54c-6985-42c0-8041-2bb16a414839" providerId="ADAL" clId="{12516E80-A0D9-4B76-86FD-A48ADB9E65BE}" dt="2024-01-02T15:59:46.477" v="49914"/>
          <ac:spMkLst>
            <pc:docMk/>
            <pc:sldMk cId="996393659" sldId="291"/>
            <ac:spMk id="48" creationId="{327F4C12-5837-24A5-E657-B1DDD168D60E}"/>
          </ac:spMkLst>
        </pc:spChg>
        <pc:spChg chg="add del mod ord replST">
          <ac:chgData name="Joelle Brehm" userId="a518f54c-6985-42c0-8041-2bb16a414839" providerId="ADAL" clId="{12516E80-A0D9-4B76-86FD-A48ADB9E65BE}" dt="2024-01-02T15:59:47.560" v="49984"/>
          <ac:spMkLst>
            <pc:docMk/>
            <pc:sldMk cId="996393659" sldId="291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2T15:59:47.746" v="50082"/>
          <ac:spMkLst>
            <pc:docMk/>
            <pc:sldMk cId="996393659" sldId="291"/>
            <ac:spMk id="51" creationId="{1CF62A67-37C2-968D-5713-3ED61F6CBCE2}"/>
          </ac:spMkLst>
        </pc:spChg>
        <pc:spChg chg="mod">
          <ac:chgData name="Joelle Brehm" userId="a518f54c-6985-42c0-8041-2bb16a414839" providerId="ADAL" clId="{12516E80-A0D9-4B76-86FD-A48ADB9E65BE}" dt="2024-01-02T15:59:51.374" v="50402"/>
          <ac:spMkLst>
            <pc:docMk/>
            <pc:sldMk cId="996393659" sldId="291"/>
            <ac:spMk id="53" creationId="{BBEFF6A7-9912-F6A1-9F12-1B2BB6B5B810}"/>
          </ac:spMkLst>
        </pc:spChg>
        <pc:spChg chg="add del mod modVis">
          <ac:chgData name="Joelle Brehm" userId="a518f54c-6985-42c0-8041-2bb16a414839" providerId="ADAL" clId="{12516E80-A0D9-4B76-86FD-A48ADB9E65BE}" dt="2024-01-02T15:59:48.941" v="50254"/>
          <ac:spMkLst>
            <pc:docMk/>
            <pc:sldMk cId="996393659" sldId="291"/>
            <ac:spMk id="54" creationId="{47FF95BD-5D9A-604B-3F1E-2B039E1D1ADB}"/>
          </ac:spMkLst>
        </pc:spChg>
        <pc:spChg chg="add del mod modVis">
          <ac:chgData name="Joelle Brehm" userId="a518f54c-6985-42c0-8041-2bb16a414839" providerId="ADAL" clId="{12516E80-A0D9-4B76-86FD-A48ADB9E65BE}" dt="2024-01-02T15:59:51.392" v="50432"/>
          <ac:spMkLst>
            <pc:docMk/>
            <pc:sldMk cId="996393659" sldId="291"/>
            <ac:spMk id="56" creationId="{4FB96A2B-2703-25CF-1AC9-F057F5817733}"/>
          </ac:spMkLst>
        </pc:spChg>
        <pc:spChg chg="mod">
          <ac:chgData name="Joelle Brehm" userId="a518f54c-6985-42c0-8041-2bb16a414839" providerId="ADAL" clId="{12516E80-A0D9-4B76-86FD-A48ADB9E65BE}" dt="2024-01-02T15:59:51.362" v="50384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12516E80-A0D9-4B76-86FD-A48ADB9E65BE}" dt="2024-01-02T15:59:51.376" v="50405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59:51.378" v="50407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2T15:59:51.388" v="50426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12516E80-A0D9-4B76-86FD-A48ADB9E65BE}" dt="2024-01-02T15:59:51.379" v="50409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2T15:59:51.380" v="50411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59:51.382" v="50413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59:51.383" v="50415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59:51.385" v="50418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9:51.386" v="50419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9:51.386" v="50420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9:51.386" v="50421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2T15:59:51.387" v="50422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2T15:59:51.422" v="50434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2T15:58:48.119" v="49058"/>
          <ac:graphicFrameMkLst>
            <pc:docMk/>
            <pc:sldMk cId="996393659" sldId="291"/>
            <ac:graphicFrameMk id="8" creationId="{643F85B0-C598-6FD0-2B8C-6D3B315F0FE8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9:51.349" v="50364"/>
          <ac:graphicFrameMkLst>
            <pc:docMk/>
            <pc:sldMk cId="996393659" sldId="291"/>
            <ac:graphicFrameMk id="9" creationId="{53B3C5A5-DD72-BADB-8779-CA2061C69C9E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9:39.849" v="49375"/>
          <ac:graphicFrameMkLst>
            <pc:docMk/>
            <pc:sldMk cId="996393659" sldId="291"/>
            <ac:graphicFrameMk id="34" creationId="{5F30A328-24F7-9BE6-1EC1-CE6F2940F4E5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9:51.384" v="50417"/>
          <ac:graphicFrameMkLst>
            <pc:docMk/>
            <pc:sldMk cId="996393659" sldId="291"/>
            <ac:graphicFrameMk id="35" creationId="{3CAF7FD0-DA2E-6572-9E42-D7C5D8C062A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9:47.563" v="49986"/>
          <ac:graphicFrameMkLst>
            <pc:docMk/>
            <pc:sldMk cId="996393659" sldId="291"/>
            <ac:graphicFrameMk id="50" creationId="{17FD0A4F-90A0-7440-B04A-F19E3951093E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9:48.783" v="50158"/>
          <ac:graphicFrameMkLst>
            <pc:docMk/>
            <pc:sldMk cId="996393659" sldId="291"/>
            <ac:graphicFrameMk id="52" creationId="{6C66AC1E-1286-0D81-14D2-6A0F92A61141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9:51.286" v="50350"/>
          <ac:graphicFrameMkLst>
            <pc:docMk/>
            <pc:sldMk cId="996393659" sldId="291"/>
            <ac:graphicFrameMk id="55" creationId="{265A1EF0-E3E1-FFC9-3C34-0C90893D2EBB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9:51.367" v="50391"/>
          <ac:graphicFrameMkLst>
            <pc:docMk/>
            <pc:sldMk cId="996393659" sldId="291"/>
            <ac:graphicFrameMk id="57" creationId="{59B099B7-E597-DBB8-C283-2C5E6D4311F9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9:46.356" v="49816"/>
          <ac:graphicFrameMkLst>
            <pc:docMk/>
            <pc:sldMk cId="996393659" sldId="291"/>
            <ac:graphicFrameMk id="62" creationId="{4628491D-8524-5680-A423-337CC6DBEC06}"/>
          </ac:graphicFrameMkLst>
        </pc:graphicFrameChg>
        <pc:picChg chg="add mod ord">
          <ac:chgData name="Joelle Brehm" userId="a518f54c-6985-42c0-8041-2bb16a414839" providerId="ADAL" clId="{12516E80-A0D9-4B76-86FD-A48ADB9E65BE}" dt="2024-01-02T15:59:51.344" v="50358"/>
          <ac:picMkLst>
            <pc:docMk/>
            <pc:sldMk cId="996393659" sldId="291"/>
            <ac:picMk id="10" creationId="{C4E274B8-0002-3ADB-65D6-BC8B9B70C4A8}"/>
          </ac:picMkLst>
        </pc:picChg>
        <pc:picChg chg="del mod ord">
          <ac:chgData name="Joelle Brehm" userId="a518f54c-6985-42c0-8041-2bb16a414839" providerId="ADAL" clId="{12516E80-A0D9-4B76-86FD-A48ADB9E65BE}" dt="2024-01-02T15:59:23.417" v="49240" actId="478"/>
          <ac:picMkLst>
            <pc:docMk/>
            <pc:sldMk cId="996393659" sldId="291"/>
            <ac:picMk id="31" creationId="{AA75321F-E622-B92C-AEC8-39D7F55A42A2}"/>
          </ac:picMkLst>
        </pc:picChg>
        <pc:picChg chg="mod ord">
          <ac:chgData name="Joelle Brehm" userId="a518f54c-6985-42c0-8041-2bb16a414839" providerId="ADAL" clId="{12516E80-A0D9-4B76-86FD-A48ADB9E65BE}" dt="2024-01-02T15:59:51.388" v="50424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59:51.348" v="50362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2T15:58:29.890" v="48918"/>
        <pc:sldMkLst>
          <pc:docMk/>
          <pc:sldMk cId="3635637425" sldId="292"/>
        </pc:sldMkLst>
        <pc:spChg chg="mod ord">
          <ac:chgData name="Joelle Brehm" userId="a518f54c-6985-42c0-8041-2bb16a414839" providerId="ADAL" clId="{12516E80-A0D9-4B76-86FD-A48ADB9E65BE}" dt="2024-01-02T15:58:29.871" v="48912"/>
          <ac:spMkLst>
            <pc:docMk/>
            <pc:sldMk cId="3635637425" sldId="292"/>
            <ac:spMk id="2" creationId="{9445A78E-5217-4459-B540-57B5B2359A2E}"/>
          </ac:spMkLst>
        </pc:spChg>
        <pc:spChg chg="add del mod">
          <ac:chgData name="Joelle Brehm" userId="a518f54c-6985-42c0-8041-2bb16a414839" providerId="ADAL" clId="{12516E80-A0D9-4B76-86FD-A48ADB9E65BE}" dt="2024-01-02T15:57:31.820" v="47431" actId="478"/>
          <ac:spMkLst>
            <pc:docMk/>
            <pc:sldMk cId="3635637425" sldId="292"/>
            <ac:spMk id="3" creationId="{4AC0E5C2-1865-B5F5-8702-92F58888B55E}"/>
          </ac:spMkLst>
        </pc:spChg>
        <pc:spChg chg="add del mod modVis">
          <ac:chgData name="Joelle Brehm" userId="a518f54c-6985-42c0-8041-2bb16a414839" providerId="ADAL" clId="{12516E80-A0D9-4B76-86FD-A48ADB9E65BE}" dt="2024-01-02T15:57:43.189" v="47654"/>
          <ac:spMkLst>
            <pc:docMk/>
            <pc:sldMk cId="3635637425" sldId="292"/>
            <ac:spMk id="5" creationId="{C39D9C82-7843-8344-AF44-66C1DC5BA120}"/>
          </ac:spMkLst>
        </pc:spChg>
        <pc:spChg chg="mod ord">
          <ac:chgData name="Joelle Brehm" userId="a518f54c-6985-42c0-8041-2bb16a414839" providerId="ADAL" clId="{12516E80-A0D9-4B76-86FD-A48ADB9E65BE}" dt="2024-01-02T15:58:29.851" v="48844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12516E80-A0D9-4B76-86FD-A48ADB9E65BE}" dt="2024-01-02T15:58:29.855" v="48855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12516E80-A0D9-4B76-86FD-A48ADB9E65BE}" dt="2024-01-02T15:58:29.853" v="48851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12516E80-A0D9-4B76-86FD-A48ADB9E65BE}" dt="2024-01-02T15:58:29.854" v="48852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12516E80-A0D9-4B76-86FD-A48ADB9E65BE}" dt="2024-01-02T15:58:29.853" v="48849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12516E80-A0D9-4B76-86FD-A48ADB9E65BE}" dt="2024-01-02T15:58:29.853" v="48850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12516E80-A0D9-4B76-86FD-A48ADB9E65BE}" dt="2024-01-02T15:58:29.854" v="48853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12516E80-A0D9-4B76-86FD-A48ADB9E65BE}" dt="2024-01-02T15:58:29.854" v="48854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12516E80-A0D9-4B76-86FD-A48ADB9E65BE}" dt="2024-01-02T15:58:29.855" v="48856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12516E80-A0D9-4B76-86FD-A48ADB9E65BE}" dt="2024-01-02T15:58:29.855" v="48857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12516E80-A0D9-4B76-86FD-A48ADB9E65BE}" dt="2024-01-02T15:58:29.855" v="48858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12516E80-A0D9-4B76-86FD-A48ADB9E65BE}" dt="2024-01-02T15:58:29.856" v="48859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12516E80-A0D9-4B76-86FD-A48ADB9E65BE}" dt="2024-01-02T15:58:29.856" v="48860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12516E80-A0D9-4B76-86FD-A48ADB9E65BE}" dt="2024-01-02T15:58:29.857" v="48862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12516E80-A0D9-4B76-86FD-A48ADB9E65BE}" dt="2024-01-02T15:58:29.859" v="48865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12516E80-A0D9-4B76-86FD-A48ADB9E65BE}" dt="2024-01-02T15:58:29.859" v="48867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12516E80-A0D9-4B76-86FD-A48ADB9E65BE}" dt="2024-01-02T15:58:29.859" v="48866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12516E80-A0D9-4B76-86FD-A48ADB9E65BE}" dt="2024-01-02T15:58:29.860" v="48870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12516E80-A0D9-4B76-86FD-A48ADB9E65BE}" dt="2024-01-02T15:58:29.860" v="48871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12516E80-A0D9-4B76-86FD-A48ADB9E65BE}" dt="2024-01-02T15:58:29.860" v="48869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12516E80-A0D9-4B76-86FD-A48ADB9E65BE}" dt="2024-01-02T15:58:29.861" v="48873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12516E80-A0D9-4B76-86FD-A48ADB9E65BE}" dt="2024-01-02T15:58:29.862" v="48876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12516E80-A0D9-4B76-86FD-A48ADB9E65BE}" dt="2024-01-02T15:58:29.864" v="48885"/>
          <ac:spMkLst>
            <pc:docMk/>
            <pc:sldMk cId="3635637425" sldId="292"/>
            <ac:spMk id="33" creationId="{FC0BC779-DB08-9C64-2173-284503839894}"/>
          </ac:spMkLst>
        </pc:spChg>
        <pc:spChg chg="add del mod modVis">
          <ac:chgData name="Joelle Brehm" userId="a518f54c-6985-42c0-8041-2bb16a414839" providerId="ADAL" clId="{12516E80-A0D9-4B76-86FD-A48ADB9E65BE}" dt="2024-01-02T15:58:10.279" v="47927"/>
          <ac:spMkLst>
            <pc:docMk/>
            <pc:sldMk cId="3635637425" sldId="292"/>
            <ac:spMk id="34" creationId="{4A95FA2B-56E0-6A2C-6339-6C524D940AE3}"/>
          </ac:spMkLst>
        </pc:spChg>
        <pc:spChg chg="mod">
          <ac:chgData name="Joelle Brehm" userId="a518f54c-6985-42c0-8041-2bb16a414839" providerId="ADAL" clId="{12516E80-A0D9-4B76-86FD-A48ADB9E65BE}" dt="2024-01-02T15:58:29.862" v="48877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12516E80-A0D9-4B76-86FD-A48ADB9E65BE}" dt="2024-01-02T15:58:29.857" v="48864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12516E80-A0D9-4B76-86FD-A48ADB9E65BE}" dt="2024-01-02T15:58:29.862" v="48880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12516E80-A0D9-4B76-86FD-A48ADB9E65BE}" dt="2024-01-02T15:58:29.863" v="48881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12516E80-A0D9-4B76-86FD-A48ADB9E65BE}" dt="2024-01-02T15:58:29.863" v="48882"/>
          <ac:spMkLst>
            <pc:docMk/>
            <pc:sldMk cId="3635637425" sldId="292"/>
            <ac:spMk id="41" creationId="{CAD662BE-DA77-C496-2C1F-D8B2218DD0E5}"/>
          </ac:spMkLst>
        </pc:spChg>
        <pc:spChg chg="del mod">
          <ac:chgData name="Joelle Brehm" userId="a518f54c-6985-42c0-8041-2bb16a414839" providerId="ADAL" clId="{12516E80-A0D9-4B76-86FD-A48ADB9E65BE}" dt="2024-01-02T15:58:19.275" v="48477"/>
          <ac:spMkLst>
            <pc:docMk/>
            <pc:sldMk cId="3635637425" sldId="292"/>
            <ac:spMk id="42" creationId="{668AF5D9-4E8D-2E4B-2079-072182484759}"/>
          </ac:spMkLst>
        </pc:spChg>
        <pc:spChg chg="mod">
          <ac:chgData name="Joelle Brehm" userId="a518f54c-6985-42c0-8041-2bb16a414839" providerId="ADAL" clId="{12516E80-A0D9-4B76-86FD-A48ADB9E65BE}" dt="2024-01-02T15:58:29.863" v="48883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12516E80-A0D9-4B76-86FD-A48ADB9E65BE}" dt="2024-01-02T15:58:29.862" v="48878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12516E80-A0D9-4B76-86FD-A48ADB9E65BE}" dt="2024-01-02T15:58:29.864" v="48886"/>
          <ac:spMkLst>
            <pc:docMk/>
            <pc:sldMk cId="3635637425" sldId="292"/>
            <ac:spMk id="45" creationId="{A417CFF4-2744-C952-9C9F-69606D981D63}"/>
          </ac:spMkLst>
        </pc:spChg>
        <pc:spChg chg="mod">
          <ac:chgData name="Joelle Brehm" userId="a518f54c-6985-42c0-8041-2bb16a414839" providerId="ADAL" clId="{12516E80-A0D9-4B76-86FD-A48ADB9E65BE}" dt="2024-01-02T15:58:29.862" v="48879"/>
          <ac:spMkLst>
            <pc:docMk/>
            <pc:sldMk cId="3635637425" sldId="292"/>
            <ac:spMk id="46" creationId="{38D3D6F2-A854-D543-7C6D-CB3894DB11AC}"/>
          </ac:spMkLst>
        </pc:spChg>
        <pc:spChg chg="add mod replST">
          <ac:chgData name="Joelle Brehm" userId="a518f54c-6985-42c0-8041-2bb16a414839" providerId="ADAL" clId="{12516E80-A0D9-4B76-86FD-A48ADB9E65BE}" dt="2024-01-02T15:58:29.864" v="48887"/>
          <ac:spMkLst>
            <pc:docMk/>
            <pc:sldMk cId="3635637425" sldId="292"/>
            <ac:spMk id="47" creationId="{23D31415-4B44-8B3E-05F2-6373D86735DA}"/>
          </ac:spMkLst>
        </pc:spChg>
        <pc:spChg chg="add del mod modVis">
          <ac:chgData name="Joelle Brehm" userId="a518f54c-6985-42c0-8041-2bb16a414839" providerId="ADAL" clId="{12516E80-A0D9-4B76-86FD-A48ADB9E65BE}" dt="2024-01-02T15:58:15.607" v="48300"/>
          <ac:spMkLst>
            <pc:docMk/>
            <pc:sldMk cId="3635637425" sldId="292"/>
            <ac:spMk id="48" creationId="{91DBF7A1-560F-EE08-06B9-00FB0923363A}"/>
          </ac:spMkLst>
        </pc:spChg>
        <pc:spChg chg="mod">
          <ac:chgData name="Joelle Brehm" userId="a518f54c-6985-42c0-8041-2bb16a414839" providerId="ADAL" clId="{12516E80-A0D9-4B76-86FD-A48ADB9E65BE}" dt="2024-01-02T15:58:29.863" v="48884"/>
          <ac:spMkLst>
            <pc:docMk/>
            <pc:sldMk cId="3635637425" sldId="292"/>
            <ac:spMk id="49" creationId="{C2AC46DF-8DB5-4BF7-F270-6657C4B8CE44}"/>
          </ac:spMkLst>
        </pc:spChg>
        <pc:spChg chg="add del mod modVis">
          <ac:chgData name="Joelle Brehm" userId="a518f54c-6985-42c0-8041-2bb16a414839" providerId="ADAL" clId="{12516E80-A0D9-4B76-86FD-A48ADB9E65BE}" dt="2024-01-02T15:58:17.109" v="48474"/>
          <ac:spMkLst>
            <pc:docMk/>
            <pc:sldMk cId="3635637425" sldId="292"/>
            <ac:spMk id="51" creationId="{F06F2FD1-56DC-74C2-E3E6-694464B48DC7}"/>
          </ac:spMkLst>
        </pc:spChg>
        <pc:spChg chg="add del mod modVis">
          <ac:chgData name="Joelle Brehm" userId="a518f54c-6985-42c0-8041-2bb16a414839" providerId="ADAL" clId="{12516E80-A0D9-4B76-86FD-A48ADB9E65BE}" dt="2024-01-02T15:58:19.424" v="48654"/>
          <ac:spMkLst>
            <pc:docMk/>
            <pc:sldMk cId="3635637425" sldId="292"/>
            <ac:spMk id="53" creationId="{7A617CC4-7AAF-27F6-6063-DFFF077C9065}"/>
          </ac:spMkLst>
        </pc:spChg>
        <pc:spChg chg="add del mod modVis">
          <ac:chgData name="Joelle Brehm" userId="a518f54c-6985-42c0-8041-2bb16a414839" providerId="ADAL" clId="{12516E80-A0D9-4B76-86FD-A48ADB9E65BE}" dt="2024-01-02T15:58:24.258" v="48788"/>
          <ac:spMkLst>
            <pc:docMk/>
            <pc:sldMk cId="3635637425" sldId="292"/>
            <ac:spMk id="55" creationId="{B048E365-A9B6-361A-25DD-C60A2FDA1ED2}"/>
          </ac:spMkLst>
        </pc:spChg>
        <pc:spChg chg="add del mod modVis">
          <ac:chgData name="Joelle Brehm" userId="a518f54c-6985-42c0-8041-2bb16a414839" providerId="ADAL" clId="{12516E80-A0D9-4B76-86FD-A48ADB9E65BE}" dt="2024-01-02T15:58:29.873" v="48916"/>
          <ac:spMkLst>
            <pc:docMk/>
            <pc:sldMk cId="3635637425" sldId="292"/>
            <ac:spMk id="57" creationId="{B5C9BC2C-27EB-54F1-7A23-F136694F31BF}"/>
          </ac:spMkLst>
        </pc:spChg>
        <pc:spChg chg="mod ord">
          <ac:chgData name="Joelle Brehm" userId="a518f54c-6985-42c0-8041-2bb16a414839" providerId="ADAL" clId="{12516E80-A0D9-4B76-86FD-A48ADB9E65BE}" dt="2024-01-02T15:58:29.871" v="48910"/>
          <ac:spMkLst>
            <pc:docMk/>
            <pc:sldMk cId="3635637425" sldId="292"/>
            <ac:spMk id="60" creationId="{8AFF754E-1785-41DB-892C-A30765DCA565}"/>
          </ac:spMkLst>
        </pc:spChg>
        <pc:spChg chg="mod">
          <ac:chgData name="Joelle Brehm" userId="a518f54c-6985-42c0-8041-2bb16a414839" providerId="ADAL" clId="{12516E80-A0D9-4B76-86FD-A48ADB9E65BE}" dt="2024-01-02T15:58:29.860" v="48868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12516E80-A0D9-4B76-86FD-A48ADB9E65BE}" dt="2024-01-02T15:58:29.865" v="48889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12516E80-A0D9-4B76-86FD-A48ADB9E65BE}" dt="2024-01-02T15:58:29.865" v="48891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12516E80-A0D9-4B76-86FD-A48ADB9E65BE}" dt="2024-01-02T15:58:29.866" v="48893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12516E80-A0D9-4B76-86FD-A48ADB9E65BE}" dt="2024-01-02T15:58:29.866" v="48895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12516E80-A0D9-4B76-86FD-A48ADB9E65BE}" dt="2024-01-02T15:58:29.868" v="48897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12516E80-A0D9-4B76-86FD-A48ADB9E65BE}" dt="2024-01-02T15:58:29.868" v="48899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12516E80-A0D9-4B76-86FD-A48ADB9E65BE}" dt="2024-01-02T15:58:29.869" v="48902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8:29.869" v="48903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8:29.869" v="48904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2T15:58:29.870" v="48905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12516E80-A0D9-4B76-86FD-A48ADB9E65BE}" dt="2024-01-02T15:58:29.870" v="48906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2516E80-A0D9-4B76-86FD-A48ADB9E65BE}" dt="2024-01-02T15:58:29.890" v="48918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2516E80-A0D9-4B76-86FD-A48ADB9E65BE}" dt="2024-01-02T15:57:43.120" v="47568"/>
          <ac:graphicFrameMkLst>
            <pc:docMk/>
            <pc:sldMk cId="3635637425" sldId="292"/>
            <ac:graphicFrameMk id="8" creationId="{40A4E745-2D66-043F-07C4-9494FD0A7F01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8:29.852" v="48848"/>
          <ac:graphicFrameMkLst>
            <pc:docMk/>
            <pc:sldMk cId="3635637425" sldId="292"/>
            <ac:graphicFrameMk id="9" creationId="{09FF855A-CEA7-CB53-C2CE-855433E9F116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8:10.204" v="47845"/>
          <ac:graphicFrameMkLst>
            <pc:docMk/>
            <pc:sldMk cId="3635637425" sldId="292"/>
            <ac:graphicFrameMk id="35" creationId="{682B0D15-02BA-FFAC-33FE-C52B9853C88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8:29.818" v="48834"/>
          <ac:graphicFrameMkLst>
            <pc:docMk/>
            <pc:sldMk cId="3635637425" sldId="292"/>
            <ac:graphicFrameMk id="38" creationId="{88AACF06-5F00-5837-B98D-B13E0E12BE2C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8:17.013" v="48378"/>
          <ac:graphicFrameMkLst>
            <pc:docMk/>
            <pc:sldMk cId="3635637425" sldId="292"/>
            <ac:graphicFrameMk id="50" creationId="{7AA4177A-FCF9-D15F-E8C3-A8ED6770978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8:19.363" v="48572"/>
          <ac:graphicFrameMkLst>
            <pc:docMk/>
            <pc:sldMk cId="3635637425" sldId="292"/>
            <ac:graphicFrameMk id="52" creationId="{BD685FE9-9542-763F-7F8B-D56CDE6D27C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2T15:58:24.205" v="48706"/>
          <ac:graphicFrameMkLst>
            <pc:docMk/>
            <pc:sldMk cId="3635637425" sldId="292"/>
            <ac:graphicFrameMk id="54" creationId="{2E90B99A-0F44-8F28-AE0F-014250EDE357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8:29.861" v="48875"/>
          <ac:graphicFrameMkLst>
            <pc:docMk/>
            <pc:sldMk cId="3635637425" sldId="292"/>
            <ac:graphicFrameMk id="56" creationId="{A83B11A1-0E42-D9F7-24D6-245C28A1D3F6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2T15:58:15.532" v="48204"/>
          <ac:graphicFrameMkLst>
            <pc:docMk/>
            <pc:sldMk cId="3635637425" sldId="292"/>
            <ac:graphicFrameMk id="58" creationId="{481612D7-B321-1987-5706-B8261DB9670D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2T15:58:29.869" v="48901"/>
          <ac:graphicFrameMkLst>
            <pc:docMk/>
            <pc:sldMk cId="3635637425" sldId="292"/>
            <ac:graphicFrameMk id="59" creationId="{CE10A5DD-E367-DE1C-DE09-9EDC9353A4B7}"/>
          </ac:graphicFrameMkLst>
        </pc:graphicFrameChg>
        <pc:picChg chg="del mod ord">
          <ac:chgData name="Joelle Brehm" userId="a518f54c-6985-42c0-8041-2bb16a414839" providerId="ADAL" clId="{12516E80-A0D9-4B76-86FD-A48ADB9E65BE}" dt="2024-01-02T15:57:55.505" v="47741" actId="478"/>
          <ac:picMkLst>
            <pc:docMk/>
            <pc:sldMk cId="3635637425" sldId="292"/>
            <ac:picMk id="10" creationId="{AAFE9FE2-CA14-A4D7-9B9F-073706010008}"/>
          </ac:picMkLst>
        </pc:picChg>
        <pc:picChg chg="add mod ord">
          <ac:chgData name="Joelle Brehm" userId="a518f54c-6985-42c0-8041-2bb16a414839" providerId="ADAL" clId="{12516E80-A0D9-4B76-86FD-A48ADB9E65BE}" dt="2024-01-02T15:58:29.851" v="48842"/>
          <ac:picMkLst>
            <pc:docMk/>
            <pc:sldMk cId="3635637425" sldId="292"/>
            <ac:picMk id="31" creationId="{F9E16010-0685-C158-57D1-A993591459EC}"/>
          </ac:picMkLst>
        </pc:picChg>
        <pc:picChg chg="mod ord">
          <ac:chgData name="Joelle Brehm" userId="a518f54c-6985-42c0-8041-2bb16a414839" providerId="ADAL" clId="{12516E80-A0D9-4B76-86FD-A48ADB9E65BE}" dt="2024-01-02T15:58:29.870" v="48908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2516E80-A0D9-4B76-86FD-A48ADB9E65BE}" dt="2024-01-02T15:58:29.852" v="48846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1T19:34:11.609" v="727" actId="1036"/>
        <pc:sldMkLst>
          <pc:docMk/>
          <pc:sldMk cId="4143996880" sldId="293"/>
        </pc:sldMkLst>
        <pc:spChg chg="mod ord">
          <ac:chgData name="Joelle Brehm" userId="a518f54c-6985-42c0-8041-2bb16a414839" providerId="ADAL" clId="{12516E80-A0D9-4B76-86FD-A48ADB9E65BE}" dt="2024-01-01T19:34:08.424" v="719"/>
          <ac:spMkLst>
            <pc:docMk/>
            <pc:sldMk cId="4143996880" sldId="293"/>
            <ac:spMk id="2" creationId="{01E014B2-1FBF-48C6-9093-6CFE20AFFCCE}"/>
          </ac:spMkLst>
        </pc:spChg>
        <pc:spChg chg="add del mod">
          <ac:chgData name="Joelle Brehm" userId="a518f54c-6985-42c0-8041-2bb16a414839" providerId="ADAL" clId="{12516E80-A0D9-4B76-86FD-A48ADB9E65BE}" dt="2024-01-01T19:33:16.901" v="387" actId="478"/>
          <ac:spMkLst>
            <pc:docMk/>
            <pc:sldMk cId="4143996880" sldId="293"/>
            <ac:spMk id="3" creationId="{9846EE6A-8777-E039-7E96-52DCFAE82DA5}"/>
          </ac:spMkLst>
        </pc:spChg>
        <pc:spChg chg="mod ord">
          <ac:chgData name="Joelle Brehm" userId="a518f54c-6985-42c0-8041-2bb16a414839" providerId="ADAL" clId="{12516E80-A0D9-4B76-86FD-A48ADB9E65BE}" dt="2024-01-01T19:34:08.408" v="694"/>
          <ac:spMkLst>
            <pc:docMk/>
            <pc:sldMk cId="4143996880" sldId="293"/>
            <ac:spMk id="5" creationId="{7B827F87-784E-46DA-B4AC-26C5F16C015D}"/>
          </ac:spMkLst>
        </pc:spChg>
        <pc:spChg chg="mod">
          <ac:chgData name="Joelle Brehm" userId="a518f54c-6985-42c0-8041-2bb16a414839" providerId="ADAL" clId="{12516E80-A0D9-4B76-86FD-A48ADB9E65BE}" dt="2024-01-01T19:34:08.408" v="703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12516E80-A0D9-4B76-86FD-A48ADB9E65BE}" dt="2024-01-01T19:34:08.408" v="699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12516E80-A0D9-4B76-86FD-A48ADB9E65BE}" dt="2024-01-01T19:34:08.408" v="697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12516E80-A0D9-4B76-86FD-A48ADB9E65BE}" dt="2024-01-01T19:34:08.408" v="698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12516E80-A0D9-4B76-86FD-A48ADB9E65BE}" dt="2024-01-01T19:34:08.408" v="700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12516E80-A0D9-4B76-86FD-A48ADB9E65BE}" dt="2024-01-01T19:34:08.408" v="706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12516E80-A0D9-4B76-86FD-A48ADB9E65BE}" dt="2024-01-01T19:34:08.408" v="701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12516E80-A0D9-4B76-86FD-A48ADB9E65BE}" dt="2024-01-01T19:34:08.408" v="704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12516E80-A0D9-4B76-86FD-A48ADB9E65BE}" dt="2024-01-01T19:34:08.408" v="702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12516E80-A0D9-4B76-86FD-A48ADB9E65BE}" dt="2024-01-01T19:34:08.408" v="705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12516E80-A0D9-4B76-86FD-A48ADB9E65BE}" dt="2024-01-01T19:34:08.408" v="707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12516E80-A0D9-4B76-86FD-A48ADB9E65BE}" dt="2024-01-01T19:34:08.408" v="708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12516E80-A0D9-4B76-86FD-A48ADB9E65BE}" dt="2024-01-01T19:34:08.408" v="710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12516E80-A0D9-4B76-86FD-A48ADB9E65BE}" dt="2024-01-01T19:34:08.424" v="712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12516E80-A0D9-4B76-86FD-A48ADB9E65BE}" dt="2024-01-01T19:33:48.021" v="682"/>
          <ac:spMkLst>
            <pc:docMk/>
            <pc:sldMk cId="4143996880" sldId="293"/>
            <ac:spMk id="24" creationId="{11832B2D-7F4B-B811-B68B-8BE674E83E33}"/>
          </ac:spMkLst>
        </pc:spChg>
        <pc:spChg chg="mod ord">
          <ac:chgData name="Joelle Brehm" userId="a518f54c-6985-42c0-8041-2bb16a414839" providerId="ADAL" clId="{12516E80-A0D9-4B76-86FD-A48ADB9E65BE}" dt="2024-01-01T19:34:08.424" v="721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12516E80-A0D9-4B76-86FD-A48ADB9E65BE}" dt="2024-01-01T19:34:08.424" v="714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12516E80-A0D9-4B76-86FD-A48ADB9E65BE}" dt="2024-01-01T19:34:08.424" v="716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12516E80-A0D9-4B76-86FD-A48ADB9E65BE}" dt="2024-01-01T19:34:08.429" v="725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33:47.980" v="639"/>
          <ac:graphicFrameMkLst>
            <pc:docMk/>
            <pc:sldMk cId="4143996880" sldId="293"/>
            <ac:graphicFrameMk id="7" creationId="{543B1B53-92E8-211A-9C42-981A345C0D70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34:08.408" v="696"/>
          <ac:graphicFrameMkLst>
            <pc:docMk/>
            <pc:sldMk cId="4143996880" sldId="293"/>
            <ac:graphicFrameMk id="25" creationId="{F6D62BC9-187E-44B7-887B-FFFF628CC3A1}"/>
          </ac:graphicFrameMkLst>
        </pc:graphicFrameChg>
        <pc:picChg chg="del mod ord">
          <ac:chgData name="Joelle Brehm" userId="a518f54c-6985-42c0-8041-2bb16a414839" providerId="ADAL" clId="{12516E80-A0D9-4B76-86FD-A48ADB9E65BE}" dt="2024-01-01T19:34:10.183" v="726" actId="478"/>
          <ac:picMkLst>
            <pc:docMk/>
            <pc:sldMk cId="4143996880" sldId="293"/>
            <ac:picMk id="6" creationId="{7EA1FD54-6B8F-C9B4-47E7-3FA36B90C6D7}"/>
          </ac:picMkLst>
        </pc:picChg>
        <pc:picChg chg="add mod ord">
          <ac:chgData name="Joelle Brehm" userId="a518f54c-6985-42c0-8041-2bb16a414839" providerId="ADAL" clId="{12516E80-A0D9-4B76-86FD-A48ADB9E65BE}" dt="2024-01-01T19:34:08.408" v="690"/>
          <ac:picMkLst>
            <pc:docMk/>
            <pc:sldMk cId="4143996880" sldId="293"/>
            <ac:picMk id="22" creationId="{3B40CB0E-CA28-3FE5-2A43-BCED0722C6AB}"/>
          </ac:picMkLst>
        </pc:picChg>
        <pc:picChg chg="del mod ord">
          <ac:chgData name="Joelle Brehm" userId="a518f54c-6985-42c0-8041-2bb16a414839" providerId="ADAL" clId="{12516E80-A0D9-4B76-86FD-A48ADB9E65BE}" dt="2024-01-01T19:33:28.884" v="432" actId="478"/>
          <ac:picMkLst>
            <pc:docMk/>
            <pc:sldMk cId="4143996880" sldId="293"/>
            <ac:picMk id="23" creationId="{7652234F-03E4-21DB-FD21-9CBC72310A23}"/>
          </ac:picMkLst>
        </pc:picChg>
        <pc:picChg chg="add mod ord">
          <ac:chgData name="Joelle Brehm" userId="a518f54c-6985-42c0-8041-2bb16a414839" providerId="ADAL" clId="{12516E80-A0D9-4B76-86FD-A48ADB9E65BE}" dt="2024-01-01T19:34:11.609" v="727" actId="1036"/>
          <ac:picMkLst>
            <pc:docMk/>
            <pc:sldMk cId="4143996880" sldId="293"/>
            <ac:picMk id="26" creationId="{817AD887-3252-7151-F495-0E826EEA49A9}"/>
          </ac:picMkLst>
        </pc:picChg>
        <pc:picChg chg="mod">
          <ac:chgData name="Joelle Brehm" userId="a518f54c-6985-42c0-8041-2bb16a414839" providerId="ADAL" clId="{12516E80-A0D9-4B76-86FD-A48ADB9E65BE}" dt="2024-01-01T19:34:08.424" v="717"/>
          <ac:picMkLst>
            <pc:docMk/>
            <pc:sldMk cId="4143996880" sldId="293"/>
            <ac:picMk id="4102" creationId="{F65C5540-5DEB-43C2-92ED-6CE11E7350FD}"/>
          </ac:picMkLst>
        </pc:picChg>
      </pc:sldChg>
      <pc:sldChg chg="modSp mod">
        <pc:chgData name="Joelle Brehm" userId="a518f54c-6985-42c0-8041-2bb16a414839" providerId="ADAL" clId="{12516E80-A0D9-4B76-86FD-A48ADB9E65BE}" dt="2024-01-04T22:42:38.271" v="54584" actId="20577"/>
        <pc:sldMkLst>
          <pc:docMk/>
          <pc:sldMk cId="1958469684" sldId="294"/>
        </pc:sldMkLst>
        <pc:spChg chg="mod">
          <ac:chgData name="Joelle Brehm" userId="a518f54c-6985-42c0-8041-2bb16a414839" providerId="ADAL" clId="{12516E80-A0D9-4B76-86FD-A48ADB9E65BE}" dt="2024-01-04T22:42:16.966" v="54550" actId="20577"/>
          <ac:spMkLst>
            <pc:docMk/>
            <pc:sldMk cId="1958469684" sldId="294"/>
            <ac:spMk id="7" creationId="{51E2C65D-B485-4A8E-B9D3-B9B0B3778A68}"/>
          </ac:spMkLst>
        </pc:spChg>
        <pc:spChg chg="mod">
          <ac:chgData name="Joelle Brehm" userId="a518f54c-6985-42c0-8041-2bb16a414839" providerId="ADAL" clId="{12516E80-A0D9-4B76-86FD-A48ADB9E65BE}" dt="2024-01-04T22:42:38.271" v="54584" actId="20577"/>
          <ac:spMkLst>
            <pc:docMk/>
            <pc:sldMk cId="1958469684" sldId="294"/>
            <ac:spMk id="9" creationId="{69B02446-E7CD-4AE5-9EF3-A1D1E490EA5B}"/>
          </ac:spMkLst>
        </pc:spChg>
      </pc:sldChg>
      <pc:sldChg chg="addSp delSp modSp mod">
        <pc:chgData name="Joelle Brehm" userId="a518f54c-6985-42c0-8041-2bb16a414839" providerId="ADAL" clId="{12516E80-A0D9-4B76-86FD-A48ADB9E65BE}" dt="2024-01-03T16:29:31.928" v="51844"/>
        <pc:sldMkLst>
          <pc:docMk/>
          <pc:sldMk cId="77660323" sldId="295"/>
        </pc:sldMkLst>
        <pc:spChg chg="add del mod">
          <ac:chgData name="Joelle Brehm" userId="a518f54c-6985-42c0-8041-2bb16a414839" providerId="ADAL" clId="{12516E80-A0D9-4B76-86FD-A48ADB9E65BE}" dt="2024-01-01T19:34:39.283" v="728" actId="478"/>
          <ac:spMkLst>
            <pc:docMk/>
            <pc:sldMk cId="77660323" sldId="295"/>
            <ac:spMk id="2" creationId="{8056FD24-E935-6A6F-4B8A-1BC014343D1B}"/>
          </ac:spMkLst>
        </pc:spChg>
        <pc:spChg chg="mod ord">
          <ac:chgData name="Joelle Brehm" userId="a518f54c-6985-42c0-8041-2bb16a414839" providerId="ADAL" clId="{12516E80-A0D9-4B76-86FD-A48ADB9E65BE}" dt="2024-01-03T16:29:31.834" v="51731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12516E80-A0D9-4B76-86FD-A48ADB9E65BE}" dt="2024-01-03T16:29:31.850" v="51754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12516E80-A0D9-4B76-86FD-A48ADB9E65BE}" dt="2024-01-03T16:29:31.850" v="51755"/>
          <ac:spMkLst>
            <pc:docMk/>
            <pc:sldMk cId="77660323" sldId="295"/>
            <ac:spMk id="7" creationId="{AC248985-01B4-CD8C-E025-DF4D35603919}"/>
          </ac:spMkLst>
        </pc:spChg>
        <pc:spChg chg="mod">
          <ac:chgData name="Joelle Brehm" userId="a518f54c-6985-42c0-8041-2bb16a414839" providerId="ADAL" clId="{12516E80-A0D9-4B76-86FD-A48ADB9E65BE}" dt="2024-01-03T16:29:31.850" v="51759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12516E80-A0D9-4B76-86FD-A48ADB9E65BE}" dt="2024-01-03T16:29:31.850" v="51758"/>
          <ac:spMkLst>
            <pc:docMk/>
            <pc:sldMk cId="77660323" sldId="295"/>
            <ac:spMk id="9" creationId="{5B920F75-31B6-8B4B-7E2C-665E8C04F047}"/>
          </ac:spMkLst>
        </pc:spChg>
        <pc:spChg chg="mod">
          <ac:chgData name="Joelle Brehm" userId="a518f54c-6985-42c0-8041-2bb16a414839" providerId="ADAL" clId="{12516E80-A0D9-4B76-86FD-A48ADB9E65BE}" dt="2024-01-03T16:29:31.850" v="51760"/>
          <ac:spMkLst>
            <pc:docMk/>
            <pc:sldMk cId="77660323" sldId="295"/>
            <ac:spMk id="10" creationId="{99AAF5F5-7487-DDF7-D317-1B4F799ACEB6}"/>
          </ac:spMkLst>
        </pc:spChg>
        <pc:spChg chg="mod">
          <ac:chgData name="Joelle Brehm" userId="a518f54c-6985-42c0-8041-2bb16a414839" providerId="ADAL" clId="{12516E80-A0D9-4B76-86FD-A48ADB9E65BE}" dt="2024-01-03T16:29:31.850" v="51757"/>
          <ac:spMkLst>
            <pc:docMk/>
            <pc:sldMk cId="77660323" sldId="295"/>
            <ac:spMk id="11" creationId="{4D142ECA-E2D8-9285-6C24-1D82A2038821}"/>
          </ac:spMkLst>
        </pc:spChg>
        <pc:spChg chg="mod">
          <ac:chgData name="Joelle Brehm" userId="a518f54c-6985-42c0-8041-2bb16a414839" providerId="ADAL" clId="{12516E80-A0D9-4B76-86FD-A48ADB9E65BE}" dt="2024-01-03T16:29:31.850" v="51761"/>
          <ac:spMkLst>
            <pc:docMk/>
            <pc:sldMk cId="77660323" sldId="295"/>
            <ac:spMk id="12" creationId="{9794817C-34B2-68B8-0BC6-DDDED5C00595}"/>
          </ac:spMkLst>
        </pc:spChg>
        <pc:spChg chg="add mod replST">
          <ac:chgData name="Joelle Brehm" userId="a518f54c-6985-42c0-8041-2bb16a414839" providerId="ADAL" clId="{12516E80-A0D9-4B76-86FD-A48ADB9E65BE}" dt="2024-01-03T16:29:31.850" v="51762"/>
          <ac:spMkLst>
            <pc:docMk/>
            <pc:sldMk cId="77660323" sldId="295"/>
            <ac:spMk id="13" creationId="{806F2968-42A3-483A-337A-D0AE86BE93FB}"/>
          </ac:spMkLst>
        </pc:spChg>
        <pc:spChg chg="add del mod modVis">
          <ac:chgData name="Joelle Brehm" userId="a518f54c-6985-42c0-8041-2bb16a414839" providerId="ADAL" clId="{12516E80-A0D9-4B76-86FD-A48ADB9E65BE}" dt="2024-01-01T19:34:45.463" v="1115"/>
          <ac:spMkLst>
            <pc:docMk/>
            <pc:sldMk cId="77660323" sldId="295"/>
            <ac:spMk id="14" creationId="{5CF7E8B5-A71E-FE02-3813-5551CCEFA456}"/>
          </ac:spMkLst>
        </pc:spChg>
        <pc:spChg chg="mod">
          <ac:chgData name="Joelle Brehm" userId="a518f54c-6985-42c0-8041-2bb16a414839" providerId="ADAL" clId="{12516E80-A0D9-4B76-86FD-A48ADB9E65BE}" dt="2024-01-03T16:29:31.866" v="51794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12516E80-A0D9-4B76-86FD-A48ADB9E65BE}" dt="2024-01-03T16:29:31.866" v="51795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12516E80-A0D9-4B76-86FD-A48ADB9E65BE}" dt="2024-01-03T16:29:31.850" v="51756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12516E80-A0D9-4B76-86FD-A48ADB9E65BE}" dt="2024-01-01T19:34:47.807" v="1386"/>
          <ac:spMkLst>
            <pc:docMk/>
            <pc:sldMk cId="77660323" sldId="295"/>
            <ac:spMk id="19" creationId="{9CDA69FC-DF31-9371-BE84-867AFFD72DDC}"/>
          </ac:spMkLst>
        </pc:spChg>
        <pc:spChg chg="add del mod modVis">
          <ac:chgData name="Joelle Brehm" userId="a518f54c-6985-42c0-8041-2bb16a414839" providerId="ADAL" clId="{12516E80-A0D9-4B76-86FD-A48ADB9E65BE}" dt="2024-01-01T19:34:56.467" v="1631"/>
          <ac:spMkLst>
            <pc:docMk/>
            <pc:sldMk cId="77660323" sldId="295"/>
            <ac:spMk id="21" creationId="{3AD70172-9737-4F1D-6E03-66D59D71BDFA}"/>
          </ac:spMkLst>
        </pc:spChg>
        <pc:spChg chg="del mod">
          <ac:chgData name="Joelle Brehm" userId="a518f54c-6985-42c0-8041-2bb16a414839" providerId="ADAL" clId="{12516E80-A0D9-4B76-86FD-A48ADB9E65BE}" dt="2024-01-01T19:35:03.545" v="1673"/>
          <ac:spMkLst>
            <pc:docMk/>
            <pc:sldMk cId="77660323" sldId="295"/>
            <ac:spMk id="2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45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823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12516E80-A0D9-4B76-86FD-A48ADB9E65BE}" dt="2024-01-03T16:29:31.866" v="51796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12516E80-A0D9-4B76-86FD-A48ADB9E65BE}" dt="2024-01-03T16:29:31.850" v="51747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49"/>
          <ac:spMkLst>
            <pc:docMk/>
            <pc:sldMk cId="77660323" sldId="295"/>
            <ac:spMk id="28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799"/>
          <ac:spMkLst>
            <pc:docMk/>
            <pc:sldMk cId="77660323" sldId="295"/>
            <ac:spMk id="29" creationId="{C91EE372-B381-84BD-F7CD-1CD5DBB058DB}"/>
          </ac:spMkLst>
        </pc:spChg>
        <pc:spChg chg="mod">
          <ac:chgData name="Joelle Brehm" userId="a518f54c-6985-42c0-8041-2bb16a414839" providerId="ADAL" clId="{12516E80-A0D9-4B76-86FD-A48ADB9E65BE}" dt="2024-01-03T16:29:31.866" v="51797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12516E80-A0D9-4B76-86FD-A48ADB9E65BE}" dt="2024-01-03T16:29:31.850" v="51779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798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12516E80-A0D9-4B76-86FD-A48ADB9E65BE}" dt="2024-01-03T16:29:31.850" v="51780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1T19:35:03.657" v="1828"/>
          <ac:spMkLst>
            <pc:docMk/>
            <pc:sldMk cId="77660323" sldId="295"/>
            <ac:spMk id="34" creationId="{A0158404-07D5-2466-22AE-495CEF2AE2A3}"/>
          </ac:spMkLst>
        </pc:spChg>
        <pc:spChg chg="add del mod modVis">
          <ac:chgData name="Joelle Brehm" userId="a518f54c-6985-42c0-8041-2bb16a414839" providerId="ADAL" clId="{12516E80-A0D9-4B76-86FD-A48ADB9E65BE}" dt="2024-01-01T19:35:08.720" v="2089"/>
          <ac:spMkLst>
            <pc:docMk/>
            <pc:sldMk cId="77660323" sldId="295"/>
            <ac:spMk id="36" creationId="{DA9EBE43-B73E-26D5-8F75-6199B0940F54}"/>
          </ac:spMkLst>
        </pc:spChg>
        <pc:spChg chg="mod">
          <ac:chgData name="Joelle Brehm" userId="a518f54c-6985-42c0-8041-2bb16a414839" providerId="ADAL" clId="{12516E80-A0D9-4B76-86FD-A48ADB9E65BE}" dt="2024-01-03T16:29:31.866" v="51801"/>
          <ac:spMkLst>
            <pc:docMk/>
            <pc:sldMk cId="77660323" sldId="295"/>
            <ac:spMk id="38" creationId="{47920EAE-D678-78D4-5D32-C1B72A6668A0}"/>
          </ac:spMkLst>
        </pc:spChg>
        <pc:spChg chg="add mod replST">
          <ac:chgData name="Joelle Brehm" userId="a518f54c-6985-42c0-8041-2bb16a414839" providerId="ADAL" clId="{12516E80-A0D9-4B76-86FD-A48ADB9E65BE}" dt="2024-01-03T16:29:31.850" v="51750"/>
          <ac:spMkLst>
            <pc:docMk/>
            <pc:sldMk cId="77660323" sldId="295"/>
            <ac:spMk id="39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81"/>
          <ac:spMkLst>
            <pc:docMk/>
            <pc:sldMk cId="77660323" sldId="295"/>
            <ac:spMk id="42" creationId="{A32B7D8C-DAE5-D336-7D31-9ECFB1F6E20C}"/>
          </ac:spMkLst>
        </pc:spChg>
        <pc:spChg chg="mod">
          <ac:chgData name="Joelle Brehm" userId="a518f54c-6985-42c0-8041-2bb16a414839" providerId="ADAL" clId="{12516E80-A0D9-4B76-86FD-A48ADB9E65BE}" dt="2024-01-03T16:29:31.866" v="51826"/>
          <ac:spMkLst>
            <pc:docMk/>
            <pc:sldMk cId="77660323" sldId="295"/>
            <ac:spMk id="43" creationId="{CB71E880-BE37-7B61-FE93-B2CADB32B81F}"/>
          </ac:spMkLst>
        </pc:spChg>
        <pc:spChg chg="mod">
          <ac:chgData name="Joelle Brehm" userId="a518f54c-6985-42c0-8041-2bb16a414839" providerId="ADAL" clId="{12516E80-A0D9-4B76-86FD-A48ADB9E65BE}" dt="2024-01-03T16:29:31.866" v="51800"/>
          <ac:spMkLst>
            <pc:docMk/>
            <pc:sldMk cId="77660323" sldId="295"/>
            <ac:spMk id="44" creationId="{DAA4D810-B73F-CB1C-C983-F6E311360F17}"/>
          </ac:spMkLst>
        </pc:spChg>
        <pc:spChg chg="mod">
          <ac:chgData name="Joelle Brehm" userId="a518f54c-6985-42c0-8041-2bb16a414839" providerId="ADAL" clId="{12516E80-A0D9-4B76-86FD-A48ADB9E65BE}" dt="2024-01-03T16:29:31.866" v="51824"/>
          <ac:spMkLst>
            <pc:docMk/>
            <pc:sldMk cId="77660323" sldId="295"/>
            <ac:spMk id="45" creationId="{7B959589-9B04-0960-03A9-FE10F7C63094}"/>
          </ac:spMkLst>
        </pc:spChg>
        <pc:spChg chg="add mod replST">
          <ac:chgData name="Joelle Brehm" userId="a518f54c-6985-42c0-8041-2bb16a414839" providerId="ADAL" clId="{12516E80-A0D9-4B76-86FD-A48ADB9E65BE}" dt="2024-01-03T16:29:31.866" v="51802"/>
          <ac:spMkLst>
            <pc:docMk/>
            <pc:sldMk cId="77660323" sldId="295"/>
            <ac:spMk id="46" creationId="{52EC1778-506C-D704-B036-314B2BE12802}"/>
          </ac:spMkLst>
        </pc:spChg>
        <pc:spChg chg="del mod ord">
          <ac:chgData name="Joelle Brehm" userId="a518f54c-6985-42c0-8041-2bb16a414839" providerId="ADAL" clId="{12516E80-A0D9-4B76-86FD-A48ADB9E65BE}" dt="2024-01-01T19:36:24.902" v="3114"/>
          <ac:spMkLst>
            <pc:docMk/>
            <pc:sldMk cId="77660323" sldId="295"/>
            <ac:spMk id="47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822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12516E80-A0D9-4B76-86FD-A48ADB9E65BE}" dt="2024-01-03T16:29:31.866" v="51825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12516E80-A0D9-4B76-86FD-A48ADB9E65BE}" dt="2024-01-01T19:36:15.151" v="2682"/>
          <ac:spMkLst>
            <pc:docMk/>
            <pc:sldMk cId="77660323" sldId="295"/>
            <ac:spMk id="51" creationId="{6DEFF457-75EE-E8FE-795E-8EFD9079FA5F}"/>
          </ac:spMkLst>
        </pc:spChg>
        <pc:spChg chg="mod">
          <ac:chgData name="Joelle Brehm" userId="a518f54c-6985-42c0-8041-2bb16a414839" providerId="ADAL" clId="{12516E80-A0D9-4B76-86FD-A48ADB9E65BE}" dt="2024-01-03T16:29:31.866" v="51827"/>
          <ac:spMkLst>
            <pc:docMk/>
            <pc:sldMk cId="77660323" sldId="295"/>
            <ac:spMk id="53" creationId="{5EB6D661-779B-2B02-EA15-90F2D9CEB9D2}"/>
          </ac:spMkLst>
        </pc:spChg>
        <pc:spChg chg="add del mod modVis">
          <ac:chgData name="Joelle Brehm" userId="a518f54c-6985-42c0-8041-2bb16a414839" providerId="ADAL" clId="{12516E80-A0D9-4B76-86FD-A48ADB9E65BE}" dt="2024-01-01T19:36:17.044" v="2895"/>
          <ac:spMkLst>
            <pc:docMk/>
            <pc:sldMk cId="77660323" sldId="295"/>
            <ac:spMk id="55" creationId="{71CF28D9-2DA9-1DAA-D1DB-21A8FDD787C9}"/>
          </ac:spMkLst>
        </pc:spChg>
        <pc:spChg chg="mod">
          <ac:chgData name="Joelle Brehm" userId="a518f54c-6985-42c0-8041-2bb16a414839" providerId="ADAL" clId="{12516E80-A0D9-4B76-86FD-A48ADB9E65BE}" dt="2024-01-03T16:29:31.866" v="51829"/>
          <ac:spMkLst>
            <pc:docMk/>
            <pc:sldMk cId="77660323" sldId="295"/>
            <ac:spMk id="58" creationId="{C3E93442-7ED4-DBAD-677D-97CD63B5E9C5}"/>
          </ac:spMkLst>
        </pc:spChg>
        <pc:spChg chg="add del mod modVis">
          <ac:chgData name="Joelle Brehm" userId="a518f54c-6985-42c0-8041-2bb16a414839" providerId="ADAL" clId="{12516E80-A0D9-4B76-86FD-A48ADB9E65BE}" dt="2024-01-01T19:36:21.712" v="3110"/>
          <ac:spMkLst>
            <pc:docMk/>
            <pc:sldMk cId="77660323" sldId="295"/>
            <ac:spMk id="59" creationId="{FC1F2C94-E22B-0A2A-F65C-34A6E0486A62}"/>
          </ac:spMkLst>
        </pc:spChg>
        <pc:spChg chg="add del mod modVis">
          <ac:chgData name="Joelle Brehm" userId="a518f54c-6985-42c0-8041-2bb16a414839" providerId="ADAL" clId="{12516E80-A0D9-4B76-86FD-A48ADB9E65BE}" dt="2024-01-01T19:36:25.103" v="3354"/>
          <ac:spMkLst>
            <pc:docMk/>
            <pc:sldMk cId="77660323" sldId="295"/>
            <ac:spMk id="61" creationId="{92833F3A-4038-243B-A3DA-24C9FF155218}"/>
          </ac:spMkLst>
        </pc:spChg>
        <pc:spChg chg="del mod ord">
          <ac:chgData name="Joelle Brehm" userId="a518f54c-6985-42c0-8041-2bb16a414839" providerId="ADAL" clId="{12516E80-A0D9-4B76-86FD-A48ADB9E65BE}" dt="2024-01-01T19:36:41.928" v="4021"/>
          <ac:spMkLst>
            <pc:docMk/>
            <pc:sldMk cId="77660323" sldId="295"/>
            <ac:spMk id="62" creationId="{7CAA3B95-4C78-4122-BECA-B5FB0F3F3764}"/>
          </ac:spMkLst>
        </pc:spChg>
        <pc:spChg chg="del mod">
          <ac:chgData name="Joelle Brehm" userId="a518f54c-6985-42c0-8041-2bb16a414839" providerId="ADAL" clId="{12516E80-A0D9-4B76-86FD-A48ADB9E65BE}" dt="2024-01-01T19:36:41.928" v="4022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819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820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821"/>
          <ac:spMkLst>
            <pc:docMk/>
            <pc:sldMk cId="77660323" sldId="295"/>
            <ac:spMk id="87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3T16:29:31.834" v="51737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12516E80-A0D9-4B76-86FD-A48ADB9E65BE}" dt="2024-01-03T16:29:31.850" v="51739"/>
          <ac:spMkLst>
            <pc:docMk/>
            <pc:sldMk cId="77660323" sldId="295"/>
            <ac:spMk id="97" creationId="{64B2B8D7-E8A8-4757-99A4-69F1EAA48321}"/>
          </ac:spMkLst>
        </pc:spChg>
        <pc:spChg chg="del mod">
          <ac:chgData name="Joelle Brehm" userId="a518f54c-6985-42c0-8041-2bb16a414839" providerId="ADAL" clId="{12516E80-A0D9-4B76-86FD-A48ADB9E65BE}" dt="2024-01-01T19:35:03.545" v="1674"/>
          <ac:spMkLst>
            <pc:docMk/>
            <pc:sldMk cId="77660323" sldId="295"/>
            <ac:spMk id="100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3T16:29:31.834" v="51733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12516E80-A0D9-4B76-86FD-A48ADB9E65BE}" dt="2024-01-03T16:29:31.850" v="51744"/>
          <ac:spMkLst>
            <pc:docMk/>
            <pc:sldMk cId="77660323" sldId="295"/>
            <ac:spMk id="113" creationId="{7CAA3B95-4C78-4122-BECA-B5FB0F3F3764}"/>
          </ac:spMkLst>
        </pc:spChg>
        <pc:spChg chg="del mod">
          <ac:chgData name="Joelle Brehm" userId="a518f54c-6985-42c0-8041-2bb16a414839" providerId="ADAL" clId="{12516E80-A0D9-4B76-86FD-A48ADB9E65BE}" dt="2024-01-01T19:34:47.619" v="1118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51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52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53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46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48"/>
          <ac:spMkLst>
            <pc:docMk/>
            <pc:sldMk cId="77660323" sldId="295"/>
            <ac:spMk id="136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3T16:29:31.850" v="51741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12516E80-A0D9-4B76-86FD-A48ADB9E65BE}" dt="2024-01-03T16:29:31.850" v="51784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12516E80-A0D9-4B76-86FD-A48ADB9E65BE}" dt="2024-01-03T16:29:31.866" v="51809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12516E80-A0D9-4B76-86FD-A48ADB9E65BE}" dt="2024-01-03T16:29:31.866" v="51810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12516E80-A0D9-4B76-86FD-A48ADB9E65BE}" dt="2024-01-03T16:29:31.866" v="51837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12516E80-A0D9-4B76-86FD-A48ADB9E65BE}" dt="2024-01-03T16:29:31.866" v="51838"/>
          <ac:spMkLst>
            <pc:docMk/>
            <pc:sldMk cId="77660323" sldId="295"/>
            <ac:spMk id="402" creationId="{54A50511-8137-91F0-6AA8-1D657EEE3E68}"/>
          </ac:spMkLst>
        </pc:spChg>
        <pc:spChg chg="add del mod modVis">
          <ac:chgData name="Joelle Brehm" userId="a518f54c-6985-42c0-8041-2bb16a414839" providerId="ADAL" clId="{12516E80-A0D9-4B76-86FD-A48ADB9E65BE}" dt="2024-01-01T19:36:30.858" v="3542"/>
          <ac:spMkLst>
            <pc:docMk/>
            <pc:sldMk cId="77660323" sldId="295"/>
            <ac:spMk id="448" creationId="{E1AD9699-978F-CE05-186C-2A81881EB640}"/>
          </ac:spMkLst>
        </pc:spChg>
        <pc:spChg chg="add mod replST">
          <ac:chgData name="Joelle Brehm" userId="a518f54c-6985-42c0-8041-2bb16a414839" providerId="ADAL" clId="{12516E80-A0D9-4B76-86FD-A48ADB9E65BE}" dt="2024-01-03T16:29:31.866" v="51830"/>
          <ac:spMkLst>
            <pc:docMk/>
            <pc:sldMk cId="77660323" sldId="295"/>
            <ac:spMk id="450" creationId="{44B69F35-8022-43B2-D33E-C796293293C0}"/>
          </ac:spMkLst>
        </pc:spChg>
        <pc:spChg chg="add del mod modVis">
          <ac:chgData name="Joelle Brehm" userId="a518f54c-6985-42c0-8041-2bb16a414839" providerId="ADAL" clId="{12516E80-A0D9-4B76-86FD-A48ADB9E65BE}" dt="2024-01-01T19:36:41.014" v="4017"/>
          <ac:spMkLst>
            <pc:docMk/>
            <pc:sldMk cId="77660323" sldId="295"/>
            <ac:spMk id="452" creationId="{BBB083B5-1981-9819-B2C1-D4D5CC9A77E1}"/>
          </ac:spMkLst>
        </pc:spChg>
        <pc:spChg chg="add del mod modVis">
          <ac:chgData name="Joelle Brehm" userId="a518f54c-6985-42c0-8041-2bb16a414839" providerId="ADAL" clId="{12516E80-A0D9-4B76-86FD-A48ADB9E65BE}" dt="2024-01-01T19:36:42.283" v="4275"/>
          <ac:spMkLst>
            <pc:docMk/>
            <pc:sldMk cId="77660323" sldId="295"/>
            <ac:spMk id="454" creationId="{6215A23B-520B-5860-722B-8A3E372EA886}"/>
          </ac:spMkLst>
        </pc:spChg>
        <pc:spChg chg="add del mod modVis">
          <ac:chgData name="Joelle Brehm" userId="a518f54c-6985-42c0-8041-2bb16a414839" providerId="ADAL" clId="{12516E80-A0D9-4B76-86FD-A48ADB9E65BE}" dt="2024-01-01T19:36:43.609" v="4487"/>
          <ac:spMkLst>
            <pc:docMk/>
            <pc:sldMk cId="77660323" sldId="295"/>
            <ac:spMk id="456" creationId="{B23283FF-71F0-25F5-62D0-718A24FF64F3}"/>
          </ac:spMkLst>
        </pc:spChg>
        <pc:spChg chg="mod">
          <ac:chgData name="Joelle Brehm" userId="a518f54c-6985-42c0-8041-2bb16a414839" providerId="ADAL" clId="{12516E80-A0D9-4B76-86FD-A48ADB9E65BE}" dt="2024-01-03T16:29:31.866" v="51828"/>
          <ac:spMkLst>
            <pc:docMk/>
            <pc:sldMk cId="77660323" sldId="295"/>
            <ac:spMk id="458" creationId="{C5443A0C-8372-D652-291B-09D997CCB0D0}"/>
          </ac:spMkLst>
        </pc:spChg>
        <pc:spChg chg="add del mod modVis">
          <ac:chgData name="Joelle Brehm" userId="a518f54c-6985-42c0-8041-2bb16a414839" providerId="ADAL" clId="{12516E80-A0D9-4B76-86FD-A48ADB9E65BE}" dt="2024-01-01T19:36:47.038" v="4718"/>
          <ac:spMkLst>
            <pc:docMk/>
            <pc:sldMk cId="77660323" sldId="295"/>
            <ac:spMk id="459" creationId="{440F294B-CCA8-D02B-41D7-A237E8DB3041}"/>
          </ac:spMkLst>
        </pc:spChg>
        <pc:spChg chg="add del mod modVis">
          <ac:chgData name="Joelle Brehm" userId="a518f54c-6985-42c0-8041-2bb16a414839" providerId="ADAL" clId="{12516E80-A0D9-4B76-86FD-A48ADB9E65BE}" dt="2024-01-01T19:36:50.247" v="4904"/>
          <ac:spMkLst>
            <pc:docMk/>
            <pc:sldMk cId="77660323" sldId="295"/>
            <ac:spMk id="464" creationId="{F6C9C30E-078D-EBB6-8942-872E2C41B6C4}"/>
          </ac:spMkLst>
        </pc:spChg>
        <pc:spChg chg="add del mod modVis">
          <ac:chgData name="Joelle Brehm" userId="a518f54c-6985-42c0-8041-2bb16a414839" providerId="ADAL" clId="{12516E80-A0D9-4B76-86FD-A48ADB9E65BE}" dt="2024-01-03T16:28:36.419" v="50757"/>
          <ac:spMkLst>
            <pc:docMk/>
            <pc:sldMk cId="77660323" sldId="295"/>
            <ac:spMk id="466" creationId="{229077F4-9487-2548-F227-5E4A08FB289B}"/>
          </ac:spMkLst>
        </pc:spChg>
        <pc:spChg chg="add del mod replST">
          <ac:chgData name="Joelle Brehm" userId="a518f54c-6985-42c0-8041-2bb16a414839" providerId="ADAL" clId="{12516E80-A0D9-4B76-86FD-A48ADB9E65BE}" dt="2024-01-03T16:29:31.633" v="51517"/>
          <ac:spMkLst>
            <pc:docMk/>
            <pc:sldMk cId="77660323" sldId="295"/>
            <ac:spMk id="468" creationId="{95638BFA-4F86-1DDA-2F09-6367EA58A8CE}"/>
          </ac:spMkLst>
        </pc:spChg>
        <pc:spChg chg="add del mod replST">
          <ac:chgData name="Joelle Brehm" userId="a518f54c-6985-42c0-8041-2bb16a414839" providerId="ADAL" clId="{12516E80-A0D9-4B76-86FD-A48ADB9E65BE}" dt="2024-01-03T16:29:31.633" v="51518"/>
          <ac:spMkLst>
            <pc:docMk/>
            <pc:sldMk cId="77660323" sldId="295"/>
            <ac:spMk id="469" creationId="{BB385C66-E07C-78E6-32F0-FB5CB6056F7B}"/>
          </ac:spMkLst>
        </pc:spChg>
        <pc:spChg chg="add del mod replST">
          <ac:chgData name="Joelle Brehm" userId="a518f54c-6985-42c0-8041-2bb16a414839" providerId="ADAL" clId="{12516E80-A0D9-4B76-86FD-A48ADB9E65BE}" dt="2024-01-03T16:29:31.633" v="51519"/>
          <ac:spMkLst>
            <pc:docMk/>
            <pc:sldMk cId="77660323" sldId="295"/>
            <ac:spMk id="470" creationId="{4A0BAA12-D4C7-B983-7A28-F75FEA331E9F}"/>
          </ac:spMkLst>
        </pc:spChg>
        <pc:spChg chg="add del mod replST">
          <ac:chgData name="Joelle Brehm" userId="a518f54c-6985-42c0-8041-2bb16a414839" providerId="ADAL" clId="{12516E80-A0D9-4B76-86FD-A48ADB9E65BE}" dt="2024-01-03T16:29:31.633" v="51520"/>
          <ac:spMkLst>
            <pc:docMk/>
            <pc:sldMk cId="77660323" sldId="295"/>
            <ac:spMk id="471" creationId="{B71367AD-344B-858C-59A9-AFC099EB3CB9}"/>
          </ac:spMkLst>
        </pc:spChg>
        <pc:spChg chg="add del mod replST">
          <ac:chgData name="Joelle Brehm" userId="a518f54c-6985-42c0-8041-2bb16a414839" providerId="ADAL" clId="{12516E80-A0D9-4B76-86FD-A48ADB9E65BE}" dt="2024-01-03T16:29:31.639" v="51521"/>
          <ac:spMkLst>
            <pc:docMk/>
            <pc:sldMk cId="77660323" sldId="295"/>
            <ac:spMk id="472" creationId="{3BB7BCBE-9B7C-1EA7-A4D3-0071D8FEA7A8}"/>
          </ac:spMkLst>
        </pc:spChg>
        <pc:spChg chg="add del mod replST">
          <ac:chgData name="Joelle Brehm" userId="a518f54c-6985-42c0-8041-2bb16a414839" providerId="ADAL" clId="{12516E80-A0D9-4B76-86FD-A48ADB9E65BE}" dt="2024-01-03T16:29:31.639" v="51522"/>
          <ac:spMkLst>
            <pc:docMk/>
            <pc:sldMk cId="77660323" sldId="295"/>
            <ac:spMk id="473" creationId="{25341B35-3F5B-9AB7-C106-5236A78D0909}"/>
          </ac:spMkLst>
        </pc:spChg>
        <pc:spChg chg="add del mod replST">
          <ac:chgData name="Joelle Brehm" userId="a518f54c-6985-42c0-8041-2bb16a414839" providerId="ADAL" clId="{12516E80-A0D9-4B76-86FD-A48ADB9E65BE}" dt="2024-01-03T16:29:31.640" v="51523"/>
          <ac:spMkLst>
            <pc:docMk/>
            <pc:sldMk cId="77660323" sldId="295"/>
            <ac:spMk id="475" creationId="{8E499402-04E3-4D95-FD3E-2232CFA697D3}"/>
          </ac:spMkLst>
        </pc:spChg>
        <pc:spChg chg="add del mod replST">
          <ac:chgData name="Joelle Brehm" userId="a518f54c-6985-42c0-8041-2bb16a414839" providerId="ADAL" clId="{12516E80-A0D9-4B76-86FD-A48ADB9E65BE}" dt="2024-01-03T16:29:31.640" v="51524"/>
          <ac:spMkLst>
            <pc:docMk/>
            <pc:sldMk cId="77660323" sldId="295"/>
            <ac:spMk id="477" creationId="{40D22365-6AAF-D664-3750-0F5CB5869DA8}"/>
          </ac:spMkLst>
        </pc:spChg>
        <pc:spChg chg="add del mod replST">
          <ac:chgData name="Joelle Brehm" userId="a518f54c-6985-42c0-8041-2bb16a414839" providerId="ADAL" clId="{12516E80-A0D9-4B76-86FD-A48ADB9E65BE}" dt="2024-01-03T16:29:31.640" v="51525"/>
          <ac:spMkLst>
            <pc:docMk/>
            <pc:sldMk cId="77660323" sldId="295"/>
            <ac:spMk id="478" creationId="{BFD89A9F-E499-43BE-269C-E8A7B46FFC74}"/>
          </ac:spMkLst>
        </pc:spChg>
        <pc:spChg chg="add del mod replST">
          <ac:chgData name="Joelle Brehm" userId="a518f54c-6985-42c0-8041-2bb16a414839" providerId="ADAL" clId="{12516E80-A0D9-4B76-86FD-A48ADB9E65BE}" dt="2024-01-03T16:29:31.640" v="51526"/>
          <ac:spMkLst>
            <pc:docMk/>
            <pc:sldMk cId="77660323" sldId="295"/>
            <ac:spMk id="479" creationId="{4C3E9A14-C396-2379-42E4-BFD32BDFA97D}"/>
          </ac:spMkLst>
        </pc:spChg>
        <pc:spChg chg="add del mod replST">
          <ac:chgData name="Joelle Brehm" userId="a518f54c-6985-42c0-8041-2bb16a414839" providerId="ADAL" clId="{12516E80-A0D9-4B76-86FD-A48ADB9E65BE}" dt="2024-01-03T16:29:31.640" v="51527"/>
          <ac:spMkLst>
            <pc:docMk/>
            <pc:sldMk cId="77660323" sldId="295"/>
            <ac:spMk id="480" creationId="{3DBE20EB-FE09-8FA7-3005-6CAE392991E1}"/>
          </ac:spMkLst>
        </pc:spChg>
        <pc:spChg chg="add del mod replST">
          <ac:chgData name="Joelle Brehm" userId="a518f54c-6985-42c0-8041-2bb16a414839" providerId="ADAL" clId="{12516E80-A0D9-4B76-86FD-A48ADB9E65BE}" dt="2024-01-03T16:29:31.640" v="51528"/>
          <ac:spMkLst>
            <pc:docMk/>
            <pc:sldMk cId="77660323" sldId="295"/>
            <ac:spMk id="481" creationId="{1467A30A-D13A-5550-3B54-C7559104EED5}"/>
          </ac:spMkLst>
        </pc:spChg>
        <pc:spChg chg="mod ord">
          <ac:chgData name="Joelle Brehm" userId="a518f54c-6985-42c0-8041-2bb16a414839" providerId="ADAL" clId="{12516E80-A0D9-4B76-86FD-A48ADB9E65BE}" dt="2024-01-03T16:29:31.850" v="51774"/>
          <ac:spMkLst>
            <pc:docMk/>
            <pc:sldMk cId="77660323" sldId="295"/>
            <ac:spMk id="482" creationId="{854873FF-C6BF-E63E-44B3-C219F3458EB4}"/>
          </ac:spMkLst>
        </pc:spChg>
        <pc:spChg chg="add del mod replST">
          <ac:chgData name="Joelle Brehm" userId="a518f54c-6985-42c0-8041-2bb16a414839" providerId="ADAL" clId="{12516E80-A0D9-4B76-86FD-A48ADB9E65BE}" dt="2024-01-03T16:29:31.640" v="51529"/>
          <ac:spMkLst>
            <pc:docMk/>
            <pc:sldMk cId="77660323" sldId="295"/>
            <ac:spMk id="483" creationId="{910C7E77-8F19-9D82-63F8-D2CF789CCA5C}"/>
          </ac:spMkLst>
        </pc:spChg>
        <pc:spChg chg="add del mod modVis">
          <ac:chgData name="Joelle Brehm" userId="a518f54c-6985-42c0-8041-2bb16a414839" providerId="ADAL" clId="{12516E80-A0D9-4B76-86FD-A48ADB9E65BE}" dt="2024-01-03T16:28:49.275" v="51514"/>
          <ac:spMkLst>
            <pc:docMk/>
            <pc:sldMk cId="77660323" sldId="295"/>
            <ac:spMk id="484" creationId="{460E9B56-05A8-AEBF-0600-94AE7F0050D4}"/>
          </ac:spMkLst>
        </pc:spChg>
        <pc:spChg chg="mod ord">
          <ac:chgData name="Joelle Brehm" userId="a518f54c-6985-42c0-8041-2bb16a414839" providerId="ADAL" clId="{12516E80-A0D9-4B76-86FD-A48ADB9E65BE}" dt="2024-01-03T16:29:31.850" v="51772"/>
          <ac:spMkLst>
            <pc:docMk/>
            <pc:sldMk cId="77660323" sldId="295"/>
            <ac:spMk id="485" creationId="{0E817BE1-E587-06E4-D9FC-07EC7C45C787}"/>
          </ac:spMkLst>
        </pc:spChg>
        <pc:spChg chg="add del mod replST">
          <ac:chgData name="Joelle Brehm" userId="a518f54c-6985-42c0-8041-2bb16a414839" providerId="ADAL" clId="{12516E80-A0D9-4B76-86FD-A48ADB9E65BE}" dt="2024-01-03T16:29:31.707" v="51572"/>
          <ac:spMkLst>
            <pc:docMk/>
            <pc:sldMk cId="77660323" sldId="295"/>
            <ac:spMk id="486" creationId="{7CAA3B95-4C78-4122-BECA-B5FB0F3F3764}"/>
          </ac:spMkLst>
        </pc:spChg>
        <pc:spChg chg="add del mod replST">
          <ac:chgData name="Joelle Brehm" userId="a518f54c-6985-42c0-8041-2bb16a414839" providerId="ADAL" clId="{12516E80-A0D9-4B76-86FD-A48ADB9E65BE}" dt="2024-01-03T16:29:31.707" v="51571"/>
          <ac:spMkLst>
            <pc:docMk/>
            <pc:sldMk cId="77660323" sldId="295"/>
            <ac:spMk id="487" creationId="{7CAA3B95-4C78-4122-BECA-B5FB0F3F3764}"/>
          </ac:spMkLst>
        </pc:spChg>
        <pc:spChg chg="add del mod modVis">
          <ac:chgData name="Joelle Brehm" userId="a518f54c-6985-42c0-8041-2bb16a414839" providerId="ADAL" clId="{12516E80-A0D9-4B76-86FD-A48ADB9E65BE}" dt="2024-01-03T16:29:31.881" v="51842"/>
          <ac:spMkLst>
            <pc:docMk/>
            <pc:sldMk cId="77660323" sldId="295"/>
            <ac:spMk id="489" creationId="{287C6F3C-D277-ACBA-F9FD-0C9C66B753F9}"/>
          </ac:spMkLst>
        </pc:spChg>
        <pc:spChg chg="mod ord">
          <ac:chgData name="Joelle Brehm" userId="a518f54c-6985-42c0-8041-2bb16a414839" providerId="ADAL" clId="{12516E80-A0D9-4B76-86FD-A48ADB9E65BE}" dt="2024-01-03T16:29:31.850" v="51776"/>
          <ac:spMkLst>
            <pc:docMk/>
            <pc:sldMk cId="77660323" sldId="295"/>
            <ac:spMk id="490" creationId="{9C81118A-E471-58E2-D54E-14C43A3A7D15}"/>
          </ac:spMkLst>
        </pc:spChg>
        <pc:spChg chg="del mod">
          <ac:chgData name="Joelle Brehm" userId="a518f54c-6985-42c0-8041-2bb16a414839" providerId="ADAL" clId="{12516E80-A0D9-4B76-86FD-A48ADB9E65BE}" dt="2024-01-01T19:36:24.902" v="3115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791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50" v="51782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12516E80-A0D9-4B76-86FD-A48ADB9E65BE}" dt="2024-01-03T16:29:31.866" v="51792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12516E80-A0D9-4B76-86FD-A48ADB9E65BE}" dt="2024-01-03T16:29:31.866" v="51793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3T16:29:31.850" v="51778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12516E80-A0D9-4B76-86FD-A48ADB9E65BE}" dt="2024-01-03T16:29:31.866" v="51808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12516E80-A0D9-4B76-86FD-A48ADB9E65BE}" dt="2024-01-03T16:29:31.866" v="51836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12516E80-A0D9-4B76-86FD-A48ADB9E65BE}" dt="2024-01-03T16:29:31.928" v="51844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4:47.693" v="1204"/>
          <ac:graphicFrameMkLst>
            <pc:docMk/>
            <pc:sldMk cId="77660323" sldId="295"/>
            <ac:graphicFrameMk id="18" creationId="{97D7B641-A4FE-CFB3-41E3-BDA103178CD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4:56.356" v="1449"/>
          <ac:graphicFrameMkLst>
            <pc:docMk/>
            <pc:sldMk cId="77660323" sldId="295"/>
            <ac:graphicFrameMk id="20" creationId="{3D0259CA-2813-DAED-36AE-82AD9CBD5924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5:03.561" v="1704"/>
          <ac:graphicFrameMkLst>
            <pc:docMk/>
            <pc:sldMk cId="77660323" sldId="295"/>
            <ac:graphicFrameMk id="23" creationId="{EEEF808B-8BED-B2DE-0318-51CAF44B4621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5:08.641" v="1964"/>
          <ac:graphicFrameMkLst>
            <pc:docMk/>
            <pc:sldMk cId="77660323" sldId="295"/>
            <ac:graphicFrameMk id="35" creationId="{02487DDF-2D47-51AD-3EA8-850F54E7C257}"/>
          </ac:graphicFrameMkLst>
        </pc:graphicFrameChg>
        <pc:graphicFrameChg chg="del">
          <ac:chgData name="Joelle Brehm" userId="a518f54c-6985-42c0-8041-2bb16a414839" providerId="ADAL" clId="{12516E80-A0D9-4B76-86FD-A48ADB9E65BE}" dt="2024-01-01T19:34:45.338" v="932"/>
          <ac:graphicFrameMkLst>
            <pc:docMk/>
            <pc:sldMk cId="77660323" sldId="295"/>
            <ac:graphicFrameMk id="37" creationId="{AD38F9C5-1D65-DF97-FC31-155F571D25E5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16:28:36.224" v="50580"/>
          <ac:graphicFrameMkLst>
            <pc:docMk/>
            <pc:sldMk cId="77660323" sldId="295"/>
            <ac:graphicFrameMk id="40" creationId="{0E8794ED-C105-C62A-1F61-943B21D9943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16.942" v="2741"/>
          <ac:graphicFrameMkLst>
            <pc:docMk/>
            <pc:sldMk cId="77660323" sldId="295"/>
            <ac:graphicFrameMk id="52" creationId="{AB3D20BB-78EE-006D-1E36-D7A151AA62A2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21.613" v="2956"/>
          <ac:graphicFrameMkLst>
            <pc:docMk/>
            <pc:sldMk cId="77660323" sldId="295"/>
            <ac:graphicFrameMk id="56" creationId="{6723CBAB-3A00-2E97-15D1-FF4FF4930B82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36:15.040" v="2520"/>
          <ac:graphicFrameMkLst>
            <pc:docMk/>
            <pc:sldMk cId="77660323" sldId="295"/>
            <ac:graphicFrameMk id="57" creationId="{5E7072C7-C88B-272E-8228-DEFFFBA7B428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25.007" v="3203"/>
          <ac:graphicFrameMkLst>
            <pc:docMk/>
            <pc:sldMk cId="77660323" sldId="295"/>
            <ac:graphicFrameMk id="60" creationId="{ABC502D5-AB4F-D877-CB3F-BF385C9DD0D6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30.793" v="3419"/>
          <ac:graphicFrameMkLst>
            <pc:docMk/>
            <pc:sldMk cId="77660323" sldId="295"/>
            <ac:graphicFrameMk id="63" creationId="{962E913E-087A-8323-CCAC-F8F239043128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16:29:31.850" v="51786"/>
          <ac:graphicFrameMkLst>
            <pc:docMk/>
            <pc:sldMk cId="77660323" sldId="295"/>
            <ac:graphicFrameMk id="449" creationId="{308B6A54-D224-8819-AD87-2E41FB975D1A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42.115" v="4126"/>
          <ac:graphicFrameMkLst>
            <pc:docMk/>
            <pc:sldMk cId="77660323" sldId="295"/>
            <ac:graphicFrameMk id="453" creationId="{A557AAF3-644B-7588-6DA7-F54AF90365E3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43.517" v="4338"/>
          <ac:graphicFrameMkLst>
            <pc:docMk/>
            <pc:sldMk cId="77660323" sldId="295"/>
            <ac:graphicFrameMk id="455" creationId="{4B608A4B-91B5-EE76-487B-B819967B50A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46.947" v="4567"/>
          <ac:graphicFrameMkLst>
            <pc:docMk/>
            <pc:sldMk cId="77660323" sldId="295"/>
            <ac:graphicFrameMk id="457" creationId="{DE8FF708-1649-512B-013F-3D5D63D16F9B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36:50.168" v="4783"/>
          <ac:graphicFrameMkLst>
            <pc:docMk/>
            <pc:sldMk cId="77660323" sldId="295"/>
            <ac:graphicFrameMk id="463" creationId="{50DAD0A1-7665-4201-0488-A54AE0A731C8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16:29:31.866" v="51812"/>
          <ac:graphicFrameMkLst>
            <pc:docMk/>
            <pc:sldMk cId="77660323" sldId="295"/>
            <ac:graphicFrameMk id="465" creationId="{FA3CF842-F0E1-5D20-0D0D-9F67B7E9226C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16:28:49.120" v="51322"/>
          <ac:graphicFrameMkLst>
            <pc:docMk/>
            <pc:sldMk cId="77660323" sldId="295"/>
            <ac:graphicFrameMk id="467" creationId="{5ADD1B2D-F211-D044-2188-8E734B90FBD9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36:40.780" v="3855"/>
          <ac:graphicFrameMkLst>
            <pc:docMk/>
            <pc:sldMk cId="77660323" sldId="295"/>
            <ac:graphicFrameMk id="474" creationId="{EC0940A9-BC69-0808-B352-39247472CFE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3T16:29:31.755" v="51665"/>
          <ac:graphicFrameMkLst>
            <pc:docMk/>
            <pc:sldMk cId="77660323" sldId="295"/>
            <ac:graphicFrameMk id="488" creationId="{A2D627D3-65DE-5E6C-89C2-CE26A39D4B43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3T16:29:31.850" v="51743"/>
          <ac:graphicFrameMkLst>
            <pc:docMk/>
            <pc:sldMk cId="77660323" sldId="295"/>
            <ac:graphicFrameMk id="491" creationId="{446B0A07-9D84-C89D-AFA5-4FF316B99BDF}"/>
          </ac:graphicFrameMkLst>
        </pc:graphicFrameChg>
        <pc:picChg chg="mod ord">
          <ac:chgData name="Joelle Brehm" userId="a518f54c-6985-42c0-8041-2bb16a414839" providerId="ADAL" clId="{12516E80-A0D9-4B76-86FD-A48ADB9E65BE}" dt="2024-01-03T16:29:31.834" v="51735"/>
          <ac:picMkLst>
            <pc:docMk/>
            <pc:sldMk cId="77660323" sldId="295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12516E80-A0D9-4B76-86FD-A48ADB9E65BE}" dt="2024-01-03T16:29:31.834" v="51729"/>
          <ac:picMkLst>
            <pc:docMk/>
            <pc:sldMk cId="77660323" sldId="295"/>
            <ac:picMk id="41" creationId="{B73F9B77-B938-1DFA-3085-0ECFB742FB10}"/>
          </ac:picMkLst>
        </pc:picChg>
        <pc:picChg chg="del mod ord">
          <ac:chgData name="Joelle Brehm" userId="a518f54c-6985-42c0-8041-2bb16a414839" providerId="ADAL" clId="{12516E80-A0D9-4B76-86FD-A48ADB9E65BE}" dt="2024-01-01T19:35:32.238" v="2223" actId="478"/>
          <ac:picMkLst>
            <pc:docMk/>
            <pc:sldMk cId="77660323" sldId="295"/>
            <ac:picMk id="476" creationId="{EAE96AF3-CF29-C835-A60B-4A9A2039F509}"/>
          </ac:picMkLst>
        </pc:picChg>
        <pc:cxnChg chg="mod ord">
          <ac:chgData name="Joelle Brehm" userId="a518f54c-6985-42c0-8041-2bb16a414839" providerId="ADAL" clId="{12516E80-A0D9-4B76-86FD-A48ADB9E65BE}" dt="2024-01-03T16:29:31.850" v="51790"/>
          <ac:cxnSpMkLst>
            <pc:docMk/>
            <pc:sldMk cId="77660323" sldId="295"/>
            <ac:cxnSpMk id="49" creationId="{A1B8BCA2-A4F6-C735-D36D-75C40207794D}"/>
          </ac:cxnSpMkLst>
        </pc:cxnChg>
        <pc:cxnChg chg="mod ord">
          <ac:chgData name="Joelle Brehm" userId="a518f54c-6985-42c0-8041-2bb16a414839" providerId="ADAL" clId="{12516E80-A0D9-4B76-86FD-A48ADB9E65BE}" dt="2024-01-03T16:29:31.850" v="51788"/>
          <ac:cxnSpMkLst>
            <pc:docMk/>
            <pc:sldMk cId="77660323" sldId="295"/>
            <ac:cxnSpMk id="54" creationId="{B97D3FFE-0321-522C-9B78-052236054EF0}"/>
          </ac:cxnSpMkLst>
        </pc:cxnChg>
        <pc:cxnChg chg="mod ord">
          <ac:chgData name="Joelle Brehm" userId="a518f54c-6985-42c0-8041-2bb16a414839" providerId="ADAL" clId="{12516E80-A0D9-4B76-86FD-A48ADB9E65BE}" dt="2024-01-03T16:29:31.850" v="51764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12516E80-A0D9-4B76-86FD-A48ADB9E65BE}" dt="2024-01-03T16:29:31.850" v="51766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12516E80-A0D9-4B76-86FD-A48ADB9E65BE}" dt="2024-01-03T16:29:31.850" v="51768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12516E80-A0D9-4B76-86FD-A48ADB9E65BE}" dt="2024-01-03T16:29:31.866" v="51804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12516E80-A0D9-4B76-86FD-A48ADB9E65BE}" dt="2024-01-03T16:29:31.866" v="51806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12516E80-A0D9-4B76-86FD-A48ADB9E65BE}" dt="2024-01-03T16:29:31.866" v="51832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12516E80-A0D9-4B76-86FD-A48ADB9E65BE}" dt="2024-01-03T16:29:31.866" v="51834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12516E80-A0D9-4B76-86FD-A48ADB9E65BE}" dt="2024-01-03T16:29:31.866" v="51818"/>
          <ac:cxnSpMkLst>
            <pc:docMk/>
            <pc:sldMk cId="77660323" sldId="295"/>
            <ac:cxnSpMk id="451" creationId="{7A172D71-A9C3-9431-7EB5-BE9F63E67BCD}"/>
          </ac:cxnSpMkLst>
        </pc:cxnChg>
        <pc:cxnChg chg="mod ord">
          <ac:chgData name="Joelle Brehm" userId="a518f54c-6985-42c0-8041-2bb16a414839" providerId="ADAL" clId="{12516E80-A0D9-4B76-86FD-A48ADB9E65BE}" dt="2024-01-03T16:29:31.866" v="51814"/>
          <ac:cxnSpMkLst>
            <pc:docMk/>
            <pc:sldMk cId="77660323" sldId="295"/>
            <ac:cxnSpMk id="460" creationId="{E41F7D0A-4DCD-1DBE-52FF-BEB5D8E08212}"/>
          </ac:cxnSpMkLst>
        </pc:cxnChg>
        <pc:cxnChg chg="mod ord">
          <ac:chgData name="Joelle Brehm" userId="a518f54c-6985-42c0-8041-2bb16a414839" providerId="ADAL" clId="{12516E80-A0D9-4B76-86FD-A48ADB9E65BE}" dt="2024-01-03T16:29:31.866" v="51816"/>
          <ac:cxnSpMkLst>
            <pc:docMk/>
            <pc:sldMk cId="77660323" sldId="295"/>
            <ac:cxnSpMk id="461" creationId="{A9880E77-89B4-FAF6-9F4F-4692C63B345B}"/>
          </ac:cxnSpMkLst>
        </pc:cxnChg>
        <pc:cxnChg chg="add del mod ord replST">
          <ac:chgData name="Joelle Brehm" userId="a518f54c-6985-42c0-8041-2bb16a414839" providerId="ADAL" clId="{12516E80-A0D9-4B76-86FD-A48ADB9E65BE}" dt="2024-01-01T19:36:50.168" v="4781"/>
          <ac:cxnSpMkLst>
            <pc:docMk/>
            <pc:sldMk cId="77660323" sldId="295"/>
            <ac:cxnSpMk id="462" creationId="{F3FE0444-2C23-D011-289D-F3D4C4E3ACDF}"/>
          </ac:cxnSpMkLst>
        </pc:cxnChg>
        <pc:cxnChg chg="mod ord">
          <ac:chgData name="Joelle Brehm" userId="a518f54c-6985-42c0-8041-2bb16a414839" providerId="ADAL" clId="{12516E80-A0D9-4B76-86FD-A48ADB9E65BE}" dt="2024-01-03T16:29:31.850" v="51770"/>
          <ac:cxnSpMkLst>
            <pc:docMk/>
            <pc:sldMk cId="77660323" sldId="295"/>
            <ac:cxnSpMk id="499" creationId="{03F78B4F-B1A0-4DEB-C1BE-2365D8B94D05}"/>
          </ac:cxnSpMkLst>
        </pc:cxnChg>
      </pc:sldChg>
      <pc:sldChg chg="addSp delSp modSp mod">
        <pc:chgData name="Joelle Brehm" userId="a518f54c-6985-42c0-8041-2bb16a414839" providerId="ADAL" clId="{12516E80-A0D9-4B76-86FD-A48ADB9E65BE}" dt="2024-01-03T21:34:43.279" v="51863" actId="313"/>
        <pc:sldMkLst>
          <pc:docMk/>
          <pc:sldMk cId="3184321266" sldId="296"/>
        </pc:sldMkLst>
        <pc:spChg chg="add del mod ord">
          <ac:chgData name="Joelle Brehm" userId="a518f54c-6985-42c0-8041-2bb16a414839" providerId="ADAL" clId="{12516E80-A0D9-4B76-86FD-A48ADB9E65BE}" dt="2024-01-03T17:25:26.894" v="51845" actId="478"/>
          <ac:spMkLst>
            <pc:docMk/>
            <pc:sldMk cId="3184321266" sldId="296"/>
            <ac:spMk id="2" creationId="{C3562932-A137-DEAF-7EEF-45383F8DC506}"/>
          </ac:spMkLst>
        </pc:spChg>
        <pc:spChg chg="mod ord">
          <ac:chgData name="Joelle Brehm" userId="a518f54c-6985-42c0-8041-2bb16a414839" providerId="ADAL" clId="{12516E80-A0D9-4B76-86FD-A48ADB9E65BE}" dt="2024-01-01T19:41:12.110" v="8717"/>
          <ac:spMkLst>
            <pc:docMk/>
            <pc:sldMk cId="3184321266" sldId="296"/>
            <ac:spMk id="3" creationId="{86D6AA5F-2727-5417-09CB-42026894EFF8}"/>
          </ac:spMkLst>
        </pc:spChg>
        <pc:spChg chg="mod ord">
          <ac:chgData name="Joelle Brehm" userId="a518f54c-6985-42c0-8041-2bb16a414839" providerId="ADAL" clId="{12516E80-A0D9-4B76-86FD-A48ADB9E65BE}" dt="2024-01-01T19:41:12.108" v="8710"/>
          <ac:spMkLst>
            <pc:docMk/>
            <pc:sldMk cId="3184321266" sldId="296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12516E80-A0D9-4B76-86FD-A48ADB9E65BE}" dt="2024-01-01T19:40:49.419" v="8607"/>
          <ac:spMkLst>
            <pc:docMk/>
            <pc:sldMk cId="3184321266" sldId="296"/>
            <ac:spMk id="6" creationId="{5ECEA578-E9AD-689C-7508-6ACACA30A9F5}"/>
          </ac:spMkLst>
        </pc:spChg>
        <pc:spChg chg="mod ord">
          <ac:chgData name="Joelle Brehm" userId="a518f54c-6985-42c0-8041-2bb16a414839" providerId="ADAL" clId="{12516E80-A0D9-4B76-86FD-A48ADB9E65BE}" dt="2024-01-01T19:41:12.110" v="8719"/>
          <ac:spMkLst>
            <pc:docMk/>
            <pc:sldMk cId="3184321266" sldId="296"/>
            <ac:spMk id="8" creationId="{C75CB710-EFB8-7D57-0F83-AB63CD63F5E0}"/>
          </ac:spMkLst>
        </pc:spChg>
        <pc:spChg chg="mod">
          <ac:chgData name="Joelle Brehm" userId="a518f54c-6985-42c0-8041-2bb16a414839" providerId="ADAL" clId="{12516E80-A0D9-4B76-86FD-A48ADB9E65BE}" dt="2024-01-01T19:41:12.112" v="8723"/>
          <ac:spMkLst>
            <pc:docMk/>
            <pc:sldMk cId="3184321266" sldId="296"/>
            <ac:spMk id="10" creationId="{ACBE2952-1408-2663-AB1D-8F843E822072}"/>
          </ac:spMkLst>
        </pc:spChg>
        <pc:spChg chg="add del mod modVis">
          <ac:chgData name="Joelle Brehm" userId="a518f54c-6985-42c0-8041-2bb16a414839" providerId="ADAL" clId="{12516E80-A0D9-4B76-86FD-A48ADB9E65BE}" dt="2024-01-01T19:40:54.073" v="8676"/>
          <ac:spMkLst>
            <pc:docMk/>
            <pc:sldMk cId="3184321266" sldId="296"/>
            <ac:spMk id="11" creationId="{F1442DB4-6E04-2EF0-4CF5-5BA1DC5278CC}"/>
          </ac:spMkLst>
        </pc:spChg>
        <pc:spChg chg="add del mod modVis">
          <ac:chgData name="Joelle Brehm" userId="a518f54c-6985-42c0-8041-2bb16a414839" providerId="ADAL" clId="{12516E80-A0D9-4B76-86FD-A48ADB9E65BE}" dt="2024-01-01T19:41:12.116" v="8735"/>
          <ac:spMkLst>
            <pc:docMk/>
            <pc:sldMk cId="3184321266" sldId="296"/>
            <ac:spMk id="13" creationId="{99BC633D-1AF9-B051-B78F-0D536207A1A1}"/>
          </ac:spMkLst>
        </pc:spChg>
        <pc:spChg chg="mod">
          <ac:chgData name="Joelle Brehm" userId="a518f54c-6985-42c0-8041-2bb16a414839" providerId="ADAL" clId="{12516E80-A0D9-4B76-86FD-A48ADB9E65BE}" dt="2024-01-01T19:41:12.111" v="8722"/>
          <ac:spMkLst>
            <pc:docMk/>
            <pc:sldMk cId="3184321266" sldId="296"/>
            <ac:spMk id="14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41:12.108" v="8712"/>
          <ac:spMkLst>
            <pc:docMk/>
            <pc:sldMk cId="3184321266" sldId="296"/>
            <ac:spMk id="96" creationId="{13AC7CFA-23AF-445A-96F6-EA0D2FF657A3}"/>
          </ac:spMkLst>
        </pc:spChg>
        <pc:spChg chg="mod">
          <ac:chgData name="Joelle Brehm" userId="a518f54c-6985-42c0-8041-2bb16a414839" providerId="ADAL" clId="{12516E80-A0D9-4B76-86FD-A48ADB9E65BE}" dt="2024-01-01T19:41:12.114" v="8727"/>
          <ac:spMkLst>
            <pc:docMk/>
            <pc:sldMk cId="3184321266" sldId="296"/>
            <ac:spMk id="190" creationId="{7CAA3B95-4C78-4122-BECA-B5FB0F3F3764}"/>
          </ac:spMkLst>
        </pc:spChg>
        <pc:spChg chg="mod ord">
          <ac:chgData name="Joelle Brehm" userId="a518f54c-6985-42c0-8041-2bb16a414839" providerId="ADAL" clId="{12516E80-A0D9-4B76-86FD-A48ADB9E65BE}" dt="2024-01-01T19:41:12.109" v="8714"/>
          <ac:spMkLst>
            <pc:docMk/>
            <pc:sldMk cId="3184321266" sldId="296"/>
            <ac:spMk id="210" creationId="{2DBE4665-8B4A-4508-AC03-BDBC6AA30475}"/>
          </ac:spMkLst>
        </pc:spChg>
        <pc:spChg chg="mod">
          <ac:chgData name="Joelle Brehm" userId="a518f54c-6985-42c0-8041-2bb16a414839" providerId="ADAL" clId="{12516E80-A0D9-4B76-86FD-A48ADB9E65BE}" dt="2024-01-01T19:41:12.113" v="8726"/>
          <ac:spMkLst>
            <pc:docMk/>
            <pc:sldMk cId="3184321266" sldId="296"/>
            <ac:spMk id="1062" creationId="{AAB4FE2D-13B1-774A-33CC-02765FFAA2DA}"/>
          </ac:spMkLst>
        </pc:spChg>
        <pc:spChg chg="mod ord">
          <ac:chgData name="Joelle Brehm" userId="a518f54c-6985-42c0-8041-2bb16a414839" providerId="ADAL" clId="{12516E80-A0D9-4B76-86FD-A48ADB9E65BE}" dt="2024-01-03T21:34:43.279" v="51863" actId="313"/>
          <ac:spMkLst>
            <pc:docMk/>
            <pc:sldMk cId="3184321266" sldId="296"/>
            <ac:spMk id="1065" creationId="{D8CB5779-D0CF-D5F7-B11D-0A8746941D75}"/>
          </ac:spMkLst>
        </pc:spChg>
        <pc:graphicFrameChg chg="mod">
          <ac:chgData name="Joelle Brehm" userId="a518f54c-6985-42c0-8041-2bb16a414839" providerId="ADAL" clId="{12516E80-A0D9-4B76-86FD-A48ADB9E65BE}" dt="2024-01-01T19:41:12.121" v="8737"/>
          <ac:graphicFrameMkLst>
            <pc:docMk/>
            <pc:sldMk cId="3184321266" sldId="296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12516E80-A0D9-4B76-86FD-A48ADB9E65BE}" dt="2024-01-01T19:41:12.078" v="8702"/>
          <ac:graphicFrameMkLst>
            <pc:docMk/>
            <pc:sldMk cId="3184321266" sldId="296"/>
            <ac:graphicFrameMk id="7" creationId="{985DD319-6973-CDCE-24F5-F64EAF6D853D}"/>
          </ac:graphicFrameMkLst>
        </pc:graphicFrameChg>
        <pc:graphicFrameChg chg="add del mod ord replST">
          <ac:chgData name="Joelle Brehm" userId="a518f54c-6985-42c0-8041-2bb16a414839" providerId="ADAL" clId="{12516E80-A0D9-4B76-86FD-A48ADB9E65BE}" dt="2024-01-01T19:40:54.045" v="8643"/>
          <ac:graphicFrameMkLst>
            <pc:docMk/>
            <pc:sldMk cId="3184321266" sldId="296"/>
            <ac:graphicFrameMk id="9" creationId="{9DA6670D-96A6-A62A-3015-0866BA82452E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1:12.111" v="8721"/>
          <ac:graphicFrameMkLst>
            <pc:docMk/>
            <pc:sldMk cId="3184321266" sldId="296"/>
            <ac:graphicFrameMk id="12" creationId="{6B9E93A4-8013-B07D-088F-7424A7189DDA}"/>
          </ac:graphicFrameMkLst>
        </pc:graphicFrameChg>
        <pc:graphicFrameChg chg="add mod ord replST">
          <ac:chgData name="Joelle Brehm" userId="a518f54c-6985-42c0-8041-2bb16a414839" providerId="ADAL" clId="{12516E80-A0D9-4B76-86FD-A48ADB9E65BE}" dt="2024-01-01T19:41:12.113" v="8725"/>
          <ac:graphicFrameMkLst>
            <pc:docMk/>
            <pc:sldMk cId="3184321266" sldId="296"/>
            <ac:graphicFrameMk id="15" creationId="{DAE0F9FB-2E3E-B995-5A99-79E60010423E}"/>
          </ac:graphicFrameMkLst>
        </pc:graphicFrameChg>
        <pc:graphicFrameChg chg="del">
          <ac:chgData name="Joelle Brehm" userId="a518f54c-6985-42c0-8041-2bb16a414839" providerId="ADAL" clId="{12516E80-A0D9-4B76-86FD-A48ADB9E65BE}" dt="2024-01-01T19:40:49.389" v="8574"/>
          <ac:graphicFrameMkLst>
            <pc:docMk/>
            <pc:sldMk cId="3184321266" sldId="296"/>
            <ac:graphicFrameMk id="16" creationId="{6A3DD861-D33B-A9F1-68A2-A77D412F9C09}"/>
          </ac:graphicFrameMkLst>
        </pc:graphicFrameChg>
        <pc:picChg chg="mod">
          <ac:chgData name="Joelle Brehm" userId="a518f54c-6985-42c0-8041-2bb16a414839" providerId="ADAL" clId="{12516E80-A0D9-4B76-86FD-A48ADB9E65BE}" dt="2024-01-01T19:41:12.109" v="8715"/>
          <ac:picMkLst>
            <pc:docMk/>
            <pc:sldMk cId="3184321266" sldId="296"/>
            <ac:picMk id="1026" creationId="{A81E4029-9E9C-E6AC-16A9-5E0666C1EEB4}"/>
          </ac:picMkLst>
        </pc:picChg>
      </pc:sldChg>
    </pc:docChg>
  </pc:docChgLst>
  <pc:docChgLst>
    <pc:chgData name="Joelle Brehm" userId="a518f54c-6985-42c0-8041-2bb16a414839" providerId="ADAL" clId="{D2DE92CD-AADB-43BF-8B53-266FBFF8B69D}"/>
    <pc:docChg chg="undo custSel addSld delSld modSld sldOrd replTag">
      <pc:chgData name="Joelle Brehm" userId="a518f54c-6985-42c0-8041-2bb16a414839" providerId="ADAL" clId="{D2DE92CD-AADB-43BF-8B53-266FBFF8B69D}" dt="2024-02-07T20:07:57.367" v="51199" actId="20577"/>
      <pc:docMkLst>
        <pc:docMk/>
      </pc:docMkLst>
      <pc:sldChg chg="addSp delSp modSp mod ord">
        <pc:chgData name="Joelle Brehm" userId="a518f54c-6985-42c0-8041-2bb16a414839" providerId="ADAL" clId="{D2DE92CD-AADB-43BF-8B53-266FBFF8B69D}" dt="2024-02-07T20:07:57.367" v="51199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D2DE92CD-AADB-43BF-8B53-266FBFF8B69D}" dt="2024-02-07T20:02:45.830" v="51157" actId="478"/>
          <ac:spMkLst>
            <pc:docMk/>
            <pc:sldMk cId="3839614074" sldId="258"/>
            <ac:spMk id="9" creationId="{AA036790-DB74-B852-77F0-7AA58775EFE6}"/>
          </ac:spMkLst>
        </pc:spChg>
        <pc:spChg chg="mod">
          <ac:chgData name="Joelle Brehm" userId="a518f54c-6985-42c0-8041-2bb16a414839" providerId="ADAL" clId="{D2DE92CD-AADB-43BF-8B53-266FBFF8B69D}" dt="2024-02-07T15:46:13.226" v="51150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D2DE92CD-AADB-43BF-8B53-266FBFF8B69D}" dt="2024-02-07T20:07:57.367" v="51199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D2DE92CD-AADB-43BF-8B53-266FBFF8B69D}" dt="2024-02-05T19:48:15.779" v="9266"/>
        <pc:sldMkLst>
          <pc:docMk/>
          <pc:sldMk cId="3798164587" sldId="259"/>
        </pc:sldMkLst>
        <pc:spChg chg="mod ord">
          <ac:chgData name="Joelle Brehm" userId="a518f54c-6985-42c0-8041-2bb16a414839" providerId="ADAL" clId="{D2DE92CD-AADB-43BF-8B53-266FBFF8B69D}" dt="2024-02-05T19:48:15.747" v="9260"/>
          <ac:spMkLst>
            <pc:docMk/>
            <pc:sldMk cId="3798164587" sldId="259"/>
            <ac:spMk id="2" creationId="{8EDF2A74-9587-4C1D-91CA-8D21248ED6E8}"/>
          </ac:spMkLst>
        </pc:spChg>
        <pc:spChg chg="add del mod">
          <ac:chgData name="Joelle Brehm" userId="a518f54c-6985-42c0-8041-2bb16a414839" providerId="ADAL" clId="{D2DE92CD-AADB-43BF-8B53-266FBFF8B69D}" dt="2024-02-05T19:47:26.743" v="7697" actId="478"/>
          <ac:spMkLst>
            <pc:docMk/>
            <pc:sldMk cId="3798164587" sldId="259"/>
            <ac:spMk id="3" creationId="{EA2258ED-F1D2-FAB3-513D-1257835AB26C}"/>
          </ac:spMkLst>
        </pc:spChg>
        <pc:spChg chg="mod ord">
          <ac:chgData name="Joelle Brehm" userId="a518f54c-6985-42c0-8041-2bb16a414839" providerId="ADAL" clId="{D2DE92CD-AADB-43BF-8B53-266FBFF8B69D}" dt="2024-02-05T19:48:15.719" v="9175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D2DE92CD-AADB-43BF-8B53-266FBFF8B69D}" dt="2024-02-05T19:47:31.807" v="7936"/>
          <ac:spMkLst>
            <pc:docMk/>
            <pc:sldMk cId="3798164587" sldId="259"/>
            <ac:spMk id="8" creationId="{75EC3235-6C07-63C2-B951-0D26ED087097}"/>
          </ac:spMkLst>
        </pc:spChg>
        <pc:spChg chg="mod">
          <ac:chgData name="Joelle Brehm" userId="a518f54c-6985-42c0-8041-2bb16a414839" providerId="ADAL" clId="{D2DE92CD-AADB-43BF-8B53-266FBFF8B69D}" dt="2024-02-05T19:48:15.722" v="9186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19:48:15.722" v="9182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19:48:15.722" v="9183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19:48:15.721" v="9180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19:48:15.721" v="9181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19:48:15.722" v="9184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19:48:15.722" v="9185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19:48:15.723" v="9187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19:48:15.723" v="9188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19:48:15.723" v="9189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19:48:15.724" v="9190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19:48:15.724" v="9191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19:48:15.725" v="9193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19:48:15.725" v="9194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19:48:15.726" v="9196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19:48:15.726" v="9195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19:48:15.727" v="9198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19:48:15.727" v="9199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19:48:15.726" v="9197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19:48:15.728" v="9201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19:48:15.736" v="9224"/>
          <ac:spMkLst>
            <pc:docMk/>
            <pc:sldMk cId="3798164587" sldId="259"/>
            <ac:spMk id="32" creationId="{2EFC59B1-C208-1816-2539-FFF2F0D2CED4}"/>
          </ac:spMkLst>
        </pc:spChg>
        <pc:spChg chg="add del mod modVis">
          <ac:chgData name="Joelle Brehm" userId="a518f54c-6985-42c0-8041-2bb16a414839" providerId="ADAL" clId="{D2DE92CD-AADB-43BF-8B53-266FBFF8B69D}" dt="2024-02-05T19:47:39.475" v="8100"/>
          <ac:spMkLst>
            <pc:docMk/>
            <pc:sldMk cId="3798164587" sldId="259"/>
            <ac:spMk id="33" creationId="{26C5CC35-13D9-B024-9F94-324DF3C86752}"/>
          </ac:spMkLst>
        </pc:spChg>
        <pc:spChg chg="mod">
          <ac:chgData name="Joelle Brehm" userId="a518f54c-6985-42c0-8041-2bb16a414839" providerId="ADAL" clId="{D2DE92CD-AADB-43BF-8B53-266FBFF8B69D}" dt="2024-02-05T19:48:15.739" v="9237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D2DE92CD-AADB-43BF-8B53-266FBFF8B69D}" dt="2024-02-05T19:48:15.735" v="9220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D2DE92CD-AADB-43BF-8B53-266FBFF8B69D}" dt="2024-02-05T19:48:15.737" v="9230"/>
          <ac:spMkLst>
            <pc:docMk/>
            <pc:sldMk cId="3798164587" sldId="259"/>
            <ac:spMk id="36" creationId="{24FD96C4-2F4A-AA43-27EB-B5B3270F9A1D}"/>
          </ac:spMkLst>
        </pc:spChg>
        <pc:spChg chg="mod">
          <ac:chgData name="Joelle Brehm" userId="a518f54c-6985-42c0-8041-2bb16a414839" providerId="ADAL" clId="{D2DE92CD-AADB-43BF-8B53-266FBFF8B69D}" dt="2024-02-05T19:48:15.735" v="9223"/>
          <ac:spMkLst>
            <pc:docMk/>
            <pc:sldMk cId="3798164587" sldId="259"/>
            <ac:spMk id="37" creationId="{E3EAC238-37CE-FE97-F754-1E4E04FB6278}"/>
          </ac:spMkLst>
        </pc:spChg>
        <pc:spChg chg="mod">
          <ac:chgData name="Joelle Brehm" userId="a518f54c-6985-42c0-8041-2bb16a414839" providerId="ADAL" clId="{D2DE92CD-AADB-43BF-8B53-266FBFF8B69D}" dt="2024-02-05T19:48:15.738" v="9232"/>
          <ac:spMkLst>
            <pc:docMk/>
            <pc:sldMk cId="3798164587" sldId="259"/>
            <ac:spMk id="38" creationId="{76111FA9-1A54-7051-3AE8-877C73800496}"/>
          </ac:spMkLst>
        </pc:spChg>
        <pc:spChg chg="mod">
          <ac:chgData name="Joelle Brehm" userId="a518f54c-6985-42c0-8041-2bb16a414839" providerId="ADAL" clId="{D2DE92CD-AADB-43BF-8B53-266FBFF8B69D}" dt="2024-02-05T19:48:15.737" v="9229"/>
          <ac:spMkLst>
            <pc:docMk/>
            <pc:sldMk cId="3798164587" sldId="259"/>
            <ac:spMk id="39" creationId="{D4D13DFD-8B8D-47B0-DF09-93358F670D14}"/>
          </ac:spMkLst>
        </pc:spChg>
        <pc:spChg chg="mod">
          <ac:chgData name="Joelle Brehm" userId="a518f54c-6985-42c0-8041-2bb16a414839" providerId="ADAL" clId="{D2DE92CD-AADB-43BF-8B53-266FBFF8B69D}" dt="2024-02-05T19:48:15.735" v="9222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D2DE92CD-AADB-43BF-8B53-266FBFF8B69D}" dt="2024-02-05T19:48:15.735" v="9221"/>
          <ac:spMkLst>
            <pc:docMk/>
            <pc:sldMk cId="3798164587" sldId="259"/>
            <ac:spMk id="41" creationId="{AAEA4991-6EDC-4585-53B3-43FCB8287F41}"/>
          </ac:spMkLst>
        </pc:spChg>
        <pc:spChg chg="del mod">
          <ac:chgData name="Joelle Brehm" userId="a518f54c-6985-42c0-8041-2bb16a414839" providerId="ADAL" clId="{D2DE92CD-AADB-43BF-8B53-266FBFF8B69D}" dt="2024-02-05T19:48:11.049" v="8821"/>
          <ac:spMkLst>
            <pc:docMk/>
            <pc:sldMk cId="3798164587" sldId="259"/>
            <ac:spMk id="44" creationId="{7811DB17-6E2D-499D-5AC3-3E65B529EA69}"/>
          </ac:spMkLst>
        </pc:spChg>
        <pc:spChg chg="add mod replST">
          <ac:chgData name="Joelle Brehm" userId="a518f54c-6985-42c0-8041-2bb16a414839" providerId="ADAL" clId="{D2DE92CD-AADB-43BF-8B53-266FBFF8B69D}" dt="2024-02-05T19:48:15.739" v="9235"/>
          <ac:spMkLst>
            <pc:docMk/>
            <pc:sldMk cId="3798164587" sldId="259"/>
            <ac:spMk id="45" creationId="{834A4A6E-F942-97CD-1964-C91BE6483977}"/>
          </ac:spMkLst>
        </pc:spChg>
        <pc:spChg chg="add mod replST">
          <ac:chgData name="Joelle Brehm" userId="a518f54c-6985-42c0-8041-2bb16a414839" providerId="ADAL" clId="{D2DE92CD-AADB-43BF-8B53-266FBFF8B69D}" dt="2024-02-05T19:48:15.739" v="9236"/>
          <ac:spMkLst>
            <pc:docMk/>
            <pc:sldMk cId="3798164587" sldId="259"/>
            <ac:spMk id="46" creationId="{E6B65AFA-ED65-790E-FD9D-900AB5F10F73}"/>
          </ac:spMkLst>
        </pc:spChg>
        <pc:spChg chg="mod">
          <ac:chgData name="Joelle Brehm" userId="a518f54c-6985-42c0-8041-2bb16a414839" providerId="ADAL" clId="{D2DE92CD-AADB-43BF-8B53-266FBFF8B69D}" dt="2024-02-05T19:48:15.732" v="9210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D2DE92CD-AADB-43BF-8B53-266FBFF8B69D}" dt="2024-02-05T19:48:15.733" v="9216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D2DE92CD-AADB-43BF-8B53-266FBFF8B69D}" dt="2024-02-05T19:48:15.734" v="9218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D2DE92CD-AADB-43BF-8B53-266FBFF8B69D}" dt="2024-02-05T19:48:15.733" v="9214"/>
          <ac:spMkLst>
            <pc:docMk/>
            <pc:sldMk cId="3798164587" sldId="259"/>
            <ac:spMk id="50" creationId="{6E0EEE28-854C-B3D5-8CC6-BD69B0BE61B8}"/>
          </ac:spMkLst>
        </pc:spChg>
        <pc:spChg chg="mod">
          <ac:chgData name="Joelle Brehm" userId="a518f54c-6985-42c0-8041-2bb16a414839" providerId="ADAL" clId="{D2DE92CD-AADB-43BF-8B53-266FBFF8B69D}" dt="2024-02-05T19:48:15.736" v="9226"/>
          <ac:spMkLst>
            <pc:docMk/>
            <pc:sldMk cId="3798164587" sldId="259"/>
            <ac:spMk id="51" creationId="{3CCC5AEF-7BB6-2440-B43E-35D020EB1B82}"/>
          </ac:spMkLst>
        </pc:spChg>
        <pc:spChg chg="mod">
          <ac:chgData name="Joelle Brehm" userId="a518f54c-6985-42c0-8041-2bb16a414839" providerId="ADAL" clId="{D2DE92CD-AADB-43BF-8B53-266FBFF8B69D}" dt="2024-02-05T19:48:15.736" v="9225"/>
          <ac:spMkLst>
            <pc:docMk/>
            <pc:sldMk cId="3798164587" sldId="259"/>
            <ac:spMk id="52" creationId="{D8EE27B5-3F46-02AD-6192-2B83C625A7E3}"/>
          </ac:spMkLst>
        </pc:spChg>
        <pc:spChg chg="mod">
          <ac:chgData name="Joelle Brehm" userId="a518f54c-6985-42c0-8041-2bb16a414839" providerId="ADAL" clId="{D2DE92CD-AADB-43BF-8B53-266FBFF8B69D}" dt="2024-02-05T19:48:15.737" v="9228"/>
          <ac:spMkLst>
            <pc:docMk/>
            <pc:sldMk cId="3798164587" sldId="259"/>
            <ac:spMk id="54" creationId="{2CEA7E2C-E3CA-7941-ACCF-262308344C45}"/>
          </ac:spMkLst>
        </pc:spChg>
        <pc:spChg chg="mod">
          <ac:chgData name="Joelle Brehm" userId="a518f54c-6985-42c0-8041-2bb16a414839" providerId="ADAL" clId="{D2DE92CD-AADB-43BF-8B53-266FBFF8B69D}" dt="2024-02-05T19:48:15.737" v="9227"/>
          <ac:spMkLst>
            <pc:docMk/>
            <pc:sldMk cId="3798164587" sldId="259"/>
            <ac:spMk id="55" creationId="{02AD7D81-8D13-B15E-2594-BD31882D675C}"/>
          </ac:spMkLst>
        </pc:spChg>
        <pc:spChg chg="mod">
          <ac:chgData name="Joelle Brehm" userId="a518f54c-6985-42c0-8041-2bb16a414839" providerId="ADAL" clId="{D2DE92CD-AADB-43BF-8B53-266FBFF8B69D}" dt="2024-02-05T19:48:15.739" v="9234"/>
          <ac:spMkLst>
            <pc:docMk/>
            <pc:sldMk cId="3798164587" sldId="259"/>
            <ac:spMk id="56" creationId="{D0866A98-946F-C9DC-4025-403A17183A3F}"/>
          </ac:spMkLst>
        </pc:spChg>
        <pc:spChg chg="mod ord">
          <ac:chgData name="Joelle Brehm" userId="a518f54c-6985-42c0-8041-2bb16a414839" providerId="ADAL" clId="{D2DE92CD-AADB-43BF-8B53-266FBFF8B69D}" dt="2024-02-05T19:48:15.738" v="9233"/>
          <ac:spMkLst>
            <pc:docMk/>
            <pc:sldMk cId="3798164587" sldId="259"/>
            <ac:spMk id="57" creationId="{9FDD95CB-347D-31C2-8C7C-8885536C3772}"/>
          </ac:spMkLst>
        </pc:spChg>
        <pc:spChg chg="add del mod modVis">
          <ac:chgData name="Joelle Brehm" userId="a518f54c-6985-42c0-8041-2bb16a414839" providerId="ADAL" clId="{D2DE92CD-AADB-43BF-8B53-266FBFF8B69D}" dt="2024-02-05T19:48:07.868" v="8607"/>
          <ac:spMkLst>
            <pc:docMk/>
            <pc:sldMk cId="3798164587" sldId="259"/>
            <ac:spMk id="58" creationId="{9F6F9DA8-02EB-ED75-A31F-2DDF41B8B2E1}"/>
          </ac:spMkLst>
        </pc:spChg>
        <pc:spChg chg="mod">
          <ac:chgData name="Joelle Brehm" userId="a518f54c-6985-42c0-8041-2bb16a414839" providerId="ADAL" clId="{D2DE92CD-AADB-43BF-8B53-266FBFF8B69D}" dt="2024-02-05T19:48:15.738" v="9231"/>
          <ac:spMkLst>
            <pc:docMk/>
            <pc:sldMk cId="3798164587" sldId="259"/>
            <ac:spMk id="59" creationId="{FC0B19CE-D222-373E-7B18-A491724F2CFE}"/>
          </ac:spMkLst>
        </pc:spChg>
        <pc:spChg chg="mod">
          <ac:chgData name="Joelle Brehm" userId="a518f54c-6985-42c0-8041-2bb16a414839" providerId="ADAL" clId="{D2DE92CD-AADB-43BF-8B53-266FBFF8B69D}" dt="2024-02-05T19:48:15.729" v="9204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D2DE92CD-AADB-43BF-8B53-266FBFF8B69D}" dt="2024-02-05T19:48:15.730" v="9206"/>
          <ac:spMkLst>
            <pc:docMk/>
            <pc:sldMk cId="3798164587" sldId="259"/>
            <ac:spMk id="62" creationId="{E621A99F-79E6-44D1-808B-D950A3930E70}"/>
          </ac:spMkLst>
        </pc:spChg>
        <pc:spChg chg="add del mod modVis">
          <ac:chgData name="Joelle Brehm" userId="a518f54c-6985-42c0-8041-2bb16a414839" providerId="ADAL" clId="{D2DE92CD-AADB-43BF-8B53-266FBFF8B69D}" dt="2024-02-05T19:48:09.259" v="8818"/>
          <ac:spMkLst>
            <pc:docMk/>
            <pc:sldMk cId="3798164587" sldId="259"/>
            <ac:spMk id="63" creationId="{D0F41C03-598E-1DA6-4F23-8A2CB1E0F196}"/>
          </ac:spMkLst>
        </pc:spChg>
        <pc:spChg chg="mod">
          <ac:chgData name="Joelle Brehm" userId="a518f54c-6985-42c0-8041-2bb16a414839" providerId="ADAL" clId="{D2DE92CD-AADB-43BF-8B53-266FBFF8B69D}" dt="2024-02-05T19:48:15.730" v="9208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D2DE92CD-AADB-43BF-8B53-266FBFF8B69D}" dt="2024-02-05T19:48:11.433" v="9072"/>
          <ac:spMkLst>
            <pc:docMk/>
            <pc:sldMk cId="3798164587" sldId="259"/>
            <ac:spMk id="66" creationId="{92DAAD62-3CCA-0068-A171-692A592A8C61}"/>
          </ac:spMkLst>
        </pc:spChg>
        <pc:spChg chg="mod">
          <ac:chgData name="Joelle Brehm" userId="a518f54c-6985-42c0-8041-2bb16a414839" providerId="ADAL" clId="{D2DE92CD-AADB-43BF-8B53-266FBFF8B69D}" dt="2024-02-05T19:48:15.733" v="9213"/>
          <ac:spMkLst>
            <pc:docMk/>
            <pc:sldMk cId="3798164587" sldId="259"/>
            <ac:spMk id="67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29" v="9205"/>
          <ac:spMkLst>
            <pc:docMk/>
            <pc:sldMk cId="3798164587" sldId="259"/>
            <ac:spMk id="69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19:48:15.748" v="9264"/>
          <ac:spMkLst>
            <pc:docMk/>
            <pc:sldMk cId="3798164587" sldId="259"/>
            <ac:spMk id="70" creationId="{91B0E205-55B0-E50F-5C67-154371C2AE80}"/>
          </ac:spMkLst>
        </pc:spChg>
        <pc:spChg chg="mod">
          <ac:chgData name="Joelle Brehm" userId="a518f54c-6985-42c0-8041-2bb16a414839" providerId="ADAL" clId="{D2DE92CD-AADB-43BF-8B53-266FBFF8B69D}" dt="2024-02-05T19:48:15.730" v="9207"/>
          <ac:spMkLst>
            <pc:docMk/>
            <pc:sldMk cId="3798164587" sldId="259"/>
            <ac:spMk id="71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31" v="9209"/>
          <ac:spMkLst>
            <pc:docMk/>
            <pc:sldMk cId="3798164587" sldId="259"/>
            <ac:spMk id="7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32" v="9211"/>
          <ac:spMkLst>
            <pc:docMk/>
            <pc:sldMk cId="3798164587" sldId="259"/>
            <ac:spMk id="73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9:48:15.741" v="9239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19:48:15.742" v="9241"/>
          <ac:spMkLst>
            <pc:docMk/>
            <pc:sldMk cId="3798164587" sldId="259"/>
            <ac:spMk id="79" creationId="{F1476AC4-694B-4D83-BFD8-8DCAA4BB1923}"/>
          </ac:spMkLst>
        </pc:spChg>
        <pc:spChg chg="mod">
          <ac:chgData name="Joelle Brehm" userId="a518f54c-6985-42c0-8041-2bb16a414839" providerId="ADAL" clId="{D2DE92CD-AADB-43BF-8B53-266FBFF8B69D}" dt="2024-02-05T19:48:15.733" v="9212"/>
          <ac:spMkLst>
            <pc:docMk/>
            <pc:sldMk cId="3798164587" sldId="259"/>
            <ac:spMk id="91" creationId="{7CAA3B95-4C78-4122-BECA-B5FB0F3F3764}"/>
          </ac:spMkLst>
        </pc:spChg>
        <pc:spChg chg="del mod">
          <ac:chgData name="Joelle Brehm" userId="a518f54c-6985-42c0-8041-2bb16a414839" providerId="ADAL" clId="{D2DE92CD-AADB-43BF-8B53-266FBFF8B69D}" dt="2024-02-05T19:48:11.050" v="8822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33" v="9215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34" v="9217"/>
          <ac:spMkLst>
            <pc:docMk/>
            <pc:sldMk cId="3798164587" sldId="259"/>
            <ac:spMk id="95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9:48:15.743" v="9243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D2DE92CD-AADB-43BF-8B53-266FBFF8B69D}" dt="2024-02-05T19:48:15.734" v="9219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9:48:15.743" v="9245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19:48:15.743" v="9247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19:48:15.743" v="9249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19:48:15.744" v="9252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45" v="9253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45" v="9254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8:15.745" v="9255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19:48:15.745" v="9256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19:48:15.779" v="9266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19:47:31.733" v="7831"/>
          <ac:graphicFrameMkLst>
            <pc:docMk/>
            <pc:sldMk cId="3798164587" sldId="259"/>
            <ac:graphicFrameMk id="9" creationId="{8555D847-A0A7-A056-7B24-E7E3720CC490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48:15.720" v="9179"/>
          <ac:graphicFrameMkLst>
            <pc:docMk/>
            <pc:sldMk cId="3798164587" sldId="259"/>
            <ac:graphicFrameMk id="31" creationId="{F261980A-1680-2E6F-BAFA-30AD5D22E472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48:15.744" v="9251"/>
          <ac:graphicFrameMkLst>
            <pc:docMk/>
            <pc:sldMk cId="3798164587" sldId="259"/>
            <ac:graphicFrameMk id="42" creationId="{544B13B6-91F8-54C4-56A5-307E724B139B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47:39.402" v="7999"/>
          <ac:graphicFrameMkLst>
            <pc:docMk/>
            <pc:sldMk cId="3798164587" sldId="259"/>
            <ac:graphicFrameMk id="53" creationId="{8B190D96-7380-E657-A22A-91BD5F99DA2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48:09.116" v="8714"/>
          <ac:graphicFrameMkLst>
            <pc:docMk/>
            <pc:sldMk cId="3798164587" sldId="259"/>
            <ac:graphicFrameMk id="60" creationId="{8BD33AC0-2A17-0ADC-8E63-C323D34A5663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48:11.325" v="8970"/>
          <ac:graphicFrameMkLst>
            <pc:docMk/>
            <pc:sldMk cId="3798164587" sldId="259"/>
            <ac:graphicFrameMk id="65" creationId="{4DBD22B6-7DAD-AC66-DE2C-B6BEEA0B395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48:15.687" v="9163"/>
          <ac:graphicFrameMkLst>
            <pc:docMk/>
            <pc:sldMk cId="3798164587" sldId="259"/>
            <ac:graphicFrameMk id="68" creationId="{C0F3A912-793D-F50E-8F19-D99B1FAC07B7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48:15.728" v="9203"/>
          <ac:graphicFrameMkLst>
            <pc:docMk/>
            <pc:sldMk cId="3798164587" sldId="259"/>
            <ac:graphicFrameMk id="74" creationId="{3ECA42EB-B48B-1DA0-2D47-15734F8AA3D1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48:07.771" v="8503"/>
          <ac:graphicFrameMkLst>
            <pc:docMk/>
            <pc:sldMk cId="3798164587" sldId="259"/>
            <ac:graphicFrameMk id="80" creationId="{F0CA4BA0-6127-EE8F-3D67-67EFE484E1A7}"/>
          </ac:graphicFrameMkLst>
        </pc:graphicFrameChg>
        <pc:picChg chg="mod ord">
          <ac:chgData name="Joelle Brehm" userId="a518f54c-6985-42c0-8041-2bb16a414839" providerId="ADAL" clId="{D2DE92CD-AADB-43BF-8B53-266FBFF8B69D}" dt="2024-02-05T19:48:15.718" v="9173"/>
          <ac:picMkLst>
            <pc:docMk/>
            <pc:sldMk cId="3798164587" sldId="259"/>
            <ac:picMk id="5" creationId="{8F4A2CF4-0CF3-47E4-B23B-AC49D50CFFA1}"/>
          </ac:picMkLst>
        </pc:picChg>
        <pc:picChg chg="del mod ord">
          <ac:chgData name="Joelle Brehm" userId="a518f54c-6985-42c0-8041-2bb16a414839" providerId="ADAL" clId="{D2DE92CD-AADB-43BF-8B53-266FBFF8B69D}" dt="2024-02-05T19:47:58.962" v="8205" actId="478"/>
          <ac:picMkLst>
            <pc:docMk/>
            <pc:sldMk cId="3798164587" sldId="259"/>
            <ac:picMk id="10" creationId="{D6A98A64-B25C-B59B-0356-6B47FCA91D79}"/>
          </ac:picMkLst>
        </pc:picChg>
        <pc:picChg chg="add mod ord">
          <ac:chgData name="Joelle Brehm" userId="a518f54c-6985-42c0-8041-2bb16a414839" providerId="ADAL" clId="{D2DE92CD-AADB-43BF-8B53-266FBFF8B69D}" dt="2024-02-05T19:48:15.717" v="9171"/>
          <ac:picMkLst>
            <pc:docMk/>
            <pc:sldMk cId="3798164587" sldId="259"/>
            <ac:picMk id="43" creationId="{BF486C99-2537-364B-8697-FC9567A0AFE5}"/>
          </ac:picMkLst>
        </pc:picChg>
        <pc:picChg chg="mod ord">
          <ac:chgData name="Joelle Brehm" userId="a518f54c-6985-42c0-8041-2bb16a414839" providerId="ADAL" clId="{D2DE92CD-AADB-43BF-8B53-266FBFF8B69D}" dt="2024-02-05T19:48:15.746" v="9258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19:48:15.720" v="9177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D2DE92CD-AADB-43BF-8B53-266FBFF8B69D}" dt="2024-02-05T16:09:04.368" v="11" actId="20577"/>
        <pc:sldMkLst>
          <pc:docMk/>
          <pc:sldMk cId="4090961396" sldId="260"/>
        </pc:sldMkLst>
        <pc:spChg chg="mod">
          <ac:chgData name="Joelle Brehm" userId="a518f54c-6985-42c0-8041-2bb16a414839" providerId="ADAL" clId="{D2DE92CD-AADB-43BF-8B53-266FBFF8B69D}" dt="2024-02-05T16:09:04.368" v="11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D2DE92CD-AADB-43BF-8B53-266FBFF8B69D}" dt="2024-02-05T16:34:44.981" v="387"/>
        <pc:sldMkLst>
          <pc:docMk/>
          <pc:sldMk cId="3980989934" sldId="263"/>
        </pc:sldMkLst>
        <pc:spChg chg="mod ord">
          <ac:chgData name="Joelle Brehm" userId="a518f54c-6985-42c0-8041-2bb16a414839" providerId="ADAL" clId="{D2DE92CD-AADB-43BF-8B53-266FBFF8B69D}" dt="2024-02-05T16:34:44.963" v="379"/>
          <ac:spMkLst>
            <pc:docMk/>
            <pc:sldMk cId="3980989934" sldId="263"/>
            <ac:spMk id="2" creationId="{75C72E1E-661F-4997-A353-2798333F5BE3}"/>
          </ac:spMkLst>
        </pc:spChg>
        <pc:spChg chg="add del mod ord">
          <ac:chgData name="Joelle Brehm" userId="a518f54c-6985-42c0-8041-2bb16a414839" providerId="ADAL" clId="{D2DE92CD-AADB-43BF-8B53-266FBFF8B69D}" dt="2024-02-05T16:34:06.230" v="93" actId="478"/>
          <ac:spMkLst>
            <pc:docMk/>
            <pc:sldMk cId="3980989934" sldId="263"/>
            <ac:spMk id="3" creationId="{4F05238C-8381-C49F-12C6-56D0146F5F03}"/>
          </ac:spMkLst>
        </pc:spChg>
        <pc:spChg chg="mod ord">
          <ac:chgData name="Joelle Brehm" userId="a518f54c-6985-42c0-8041-2bb16a414839" providerId="ADAL" clId="{D2DE92CD-AADB-43BF-8B53-266FBFF8B69D}" dt="2024-02-05T16:34:44.949" v="354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D2DE92CD-AADB-43BF-8B53-266FBFF8B69D}" dt="2024-02-05T16:34:44.953" v="363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D2DE92CD-AADB-43BF-8B53-266FBFF8B69D}" dt="2024-02-05T16:34:44.950" v="359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D2DE92CD-AADB-43BF-8B53-266FBFF8B69D}" dt="2024-02-05T16:34:44.950" v="357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D2DE92CD-AADB-43BF-8B53-266FBFF8B69D}" dt="2024-02-05T16:34:44.950" v="358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D2DE92CD-AADB-43BF-8B53-266FBFF8B69D}" dt="2024-02-05T16:34:44.951" v="360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D2DE92CD-AADB-43BF-8B53-266FBFF8B69D}" dt="2024-02-05T16:34:44.955" v="366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D2DE92CD-AADB-43BF-8B53-266FBFF8B69D}" dt="2024-02-05T16:34:44.951" v="361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D2DE92CD-AADB-43BF-8B53-266FBFF8B69D}" dt="2024-02-05T16:34:44.953" v="364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D2DE92CD-AADB-43BF-8B53-266FBFF8B69D}" dt="2024-02-05T16:34:44.952" v="362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D2DE92CD-AADB-43BF-8B53-266FBFF8B69D}" dt="2024-02-05T16:34:44.954" v="365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D2DE92CD-AADB-43BF-8B53-266FBFF8B69D}" dt="2024-02-05T16:34:44.955" v="367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D2DE92CD-AADB-43BF-8B53-266FBFF8B69D}" dt="2024-02-05T16:34:44.956" v="368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D2DE92CD-AADB-43BF-8B53-266FBFF8B69D}" dt="2024-02-05T16:34:44.958" v="370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D2DE92CD-AADB-43BF-8B53-266FBFF8B69D}" dt="2024-02-05T16:34:44.959" v="372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D2DE92CD-AADB-43BF-8B53-266FBFF8B69D}" dt="2024-02-05T16:34:44.967" v="385"/>
          <ac:spMkLst>
            <pc:docMk/>
            <pc:sldMk cId="3980989934" sldId="263"/>
            <ac:spMk id="22" creationId="{6F1AF953-D4D8-FB33-6A4A-BAD24BE9BD98}"/>
          </ac:spMkLst>
        </pc:spChg>
        <pc:spChg chg="mod ord">
          <ac:chgData name="Joelle Brehm" userId="a518f54c-6985-42c0-8041-2bb16a414839" providerId="ADAL" clId="{D2DE92CD-AADB-43BF-8B53-266FBFF8B69D}" dt="2024-02-05T16:34:44.964" v="381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D2DE92CD-AADB-43BF-8B53-266FBFF8B69D}" dt="2024-02-05T16:34:44.960" v="374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D2DE92CD-AADB-43BF-8B53-266FBFF8B69D}" dt="2024-02-05T16:34:44.961" v="376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D2DE92CD-AADB-43BF-8B53-266FBFF8B69D}" dt="2024-02-05T16:34:44.981" v="387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6:34:44.950" v="356"/>
          <ac:graphicFrameMkLst>
            <pc:docMk/>
            <pc:sldMk cId="3980989934" sldId="263"/>
            <ac:graphicFrameMk id="24" creationId="{580EAD9A-C7E2-B94A-C17D-B654D5C2D207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6:34:44.917" v="342"/>
          <ac:graphicFrameMkLst>
            <pc:docMk/>
            <pc:sldMk cId="3980989934" sldId="263"/>
            <ac:graphicFrameMk id="25" creationId="{2EC6D6CD-1F24-7A13-2183-C653E1C9659F}"/>
          </ac:graphicFrameMkLst>
        </pc:graphicFrameChg>
        <pc:picChg chg="add mod ord">
          <ac:chgData name="Joelle Brehm" userId="a518f54c-6985-42c0-8041-2bb16a414839" providerId="ADAL" clId="{D2DE92CD-AADB-43BF-8B53-266FBFF8B69D}" dt="2024-02-05T16:34:44.948" v="352"/>
          <ac:picMkLst>
            <pc:docMk/>
            <pc:sldMk cId="3980989934" sldId="263"/>
            <ac:picMk id="6" creationId="{7B95EC04-C63C-E67F-4497-32E87B7FF817}"/>
          </ac:picMkLst>
        </pc:picChg>
        <pc:picChg chg="add mod ord">
          <ac:chgData name="Joelle Brehm" userId="a518f54c-6985-42c0-8041-2bb16a414839" providerId="ADAL" clId="{D2DE92CD-AADB-43BF-8B53-266FBFF8B69D}" dt="2024-02-05T16:34:44.948" v="350"/>
          <ac:picMkLst>
            <pc:docMk/>
            <pc:sldMk cId="3980989934" sldId="263"/>
            <ac:picMk id="7" creationId="{7CAE78E8-BD45-2D8F-B9F4-2830C482882C}"/>
          </ac:picMkLst>
        </pc:picChg>
        <pc:picChg chg="del mod ord">
          <ac:chgData name="Joelle Brehm" userId="a518f54c-6985-42c0-8041-2bb16a414839" providerId="ADAL" clId="{D2DE92CD-AADB-43BF-8B53-266FBFF8B69D}" dt="2024-02-05T16:33:20.998" v="92" actId="478"/>
          <ac:picMkLst>
            <pc:docMk/>
            <pc:sldMk cId="3980989934" sldId="263"/>
            <ac:picMk id="23" creationId="{3A031BA8-2A33-6831-8C5E-971CC3CFB922}"/>
          </ac:picMkLst>
        </pc:picChg>
        <pc:picChg chg="del mod ord">
          <ac:chgData name="Joelle Brehm" userId="a518f54c-6985-42c0-8041-2bb16a414839" providerId="ADAL" clId="{D2DE92CD-AADB-43BF-8B53-266FBFF8B69D}" dt="2024-02-05T16:34:15.652" v="135" actId="478"/>
          <ac:picMkLst>
            <pc:docMk/>
            <pc:sldMk cId="3980989934" sldId="263"/>
            <ac:picMk id="27" creationId="{A553D7AD-995A-2ABD-FDC5-ABD483D3726E}"/>
          </ac:picMkLst>
        </pc:picChg>
        <pc:picChg chg="mod">
          <ac:chgData name="Joelle Brehm" userId="a518f54c-6985-42c0-8041-2bb16a414839" providerId="ADAL" clId="{D2DE92CD-AADB-43BF-8B53-266FBFF8B69D}" dt="2024-02-05T16:34:44.962" v="377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add del mod">
        <pc:chgData name="Joelle Brehm" userId="a518f54c-6985-42c0-8041-2bb16a414839" providerId="ADAL" clId="{D2DE92CD-AADB-43BF-8B53-266FBFF8B69D}" dt="2024-02-07T15:22:52.738" v="51145"/>
        <pc:sldMkLst>
          <pc:docMk/>
          <pc:sldMk cId="1450446987" sldId="264"/>
        </pc:sldMkLst>
        <pc:spChg chg="add del mod ord">
          <ac:chgData name="Joelle Brehm" userId="a518f54c-6985-42c0-8041-2bb16a414839" providerId="ADAL" clId="{D2DE92CD-AADB-43BF-8B53-266FBFF8B69D}" dt="2024-02-07T15:21:47.437" v="47559" actId="478"/>
          <ac:spMkLst>
            <pc:docMk/>
            <pc:sldMk cId="1450446987" sldId="264"/>
            <ac:spMk id="2" creationId="{1341D2A1-BAE1-62CB-AD7E-6C61A272E1BE}"/>
          </ac:spMkLst>
        </pc:spChg>
        <pc:spChg chg="mod ord">
          <ac:chgData name="Joelle Brehm" userId="a518f54c-6985-42c0-8041-2bb16a414839" providerId="ADAL" clId="{D2DE92CD-AADB-43BF-8B53-266FBFF8B69D}" dt="2024-02-07T15:22:46.729" v="50963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D2DE92CD-AADB-43BF-8B53-266FBFF8B69D}" dt="2024-02-07T15:22:46.777" v="51032"/>
          <ac:spMkLst>
            <pc:docMk/>
            <pc:sldMk cId="1450446987" sldId="264"/>
            <ac:spMk id="6" creationId="{94041F47-DFC6-9E3F-6F9D-DC51588D95FB}"/>
          </ac:spMkLst>
        </pc:spChg>
        <pc:spChg chg="mod">
          <ac:chgData name="Joelle Brehm" userId="a518f54c-6985-42c0-8041-2bb16a414839" providerId="ADAL" clId="{D2DE92CD-AADB-43BF-8B53-266FBFF8B69D}" dt="2024-02-07T15:22:46.774" v="51029"/>
          <ac:spMkLst>
            <pc:docMk/>
            <pc:sldMk cId="1450446987" sldId="264"/>
            <ac:spMk id="7" creationId="{DE57A07F-6746-6404-6ACC-31B88A8A6B3A}"/>
          </ac:spMkLst>
        </pc:spChg>
        <pc:spChg chg="mod">
          <ac:chgData name="Joelle Brehm" userId="a518f54c-6985-42c0-8041-2bb16a414839" providerId="ADAL" clId="{D2DE92CD-AADB-43BF-8B53-266FBFF8B69D}" dt="2024-02-07T15:22:46.776" v="51031"/>
          <ac:spMkLst>
            <pc:docMk/>
            <pc:sldMk cId="1450446987" sldId="264"/>
            <ac:spMk id="8" creationId="{58B78C31-BB5C-89ED-34D3-7C1F9D71DB92}"/>
          </ac:spMkLst>
        </pc:spChg>
        <pc:spChg chg="add del mod modVis">
          <ac:chgData name="Joelle Brehm" userId="a518f54c-6985-42c0-8041-2bb16a414839" providerId="ADAL" clId="{D2DE92CD-AADB-43BF-8B53-266FBFF8B69D}" dt="2024-02-05T19:03:22.310" v="4501"/>
          <ac:spMkLst>
            <pc:docMk/>
            <pc:sldMk cId="1450446987" sldId="264"/>
            <ac:spMk id="10" creationId="{05FB0529-63F4-C71B-66B2-6AF663EEE1AE}"/>
          </ac:spMkLst>
        </pc:spChg>
        <pc:spChg chg="add del mod modVis">
          <ac:chgData name="Joelle Brehm" userId="a518f54c-6985-42c0-8041-2bb16a414839" providerId="ADAL" clId="{D2DE92CD-AADB-43BF-8B53-266FBFF8B69D}" dt="2024-02-07T15:22:06.731" v="47795"/>
          <ac:spMkLst>
            <pc:docMk/>
            <pc:sldMk cId="1450446987" sldId="264"/>
            <ac:spMk id="10" creationId="{783E5FFA-12B9-AFEF-156C-A579905A4819}"/>
          </ac:spMkLst>
        </pc:spChg>
        <pc:spChg chg="mod">
          <ac:chgData name="Joelle Brehm" userId="a518f54c-6985-42c0-8041-2bb16a414839" providerId="ADAL" clId="{D2DE92CD-AADB-43BF-8B53-266FBFF8B69D}" dt="2024-02-07T15:22:46.774" v="51030"/>
          <ac:spMkLst>
            <pc:docMk/>
            <pc:sldMk cId="1450446987" sldId="264"/>
            <ac:spMk id="11" creationId="{D34BD6AF-79B7-0201-A9E6-DEFEE9B380F3}"/>
          </ac:spMkLst>
        </pc:spChg>
        <pc:spChg chg="mod">
          <ac:chgData name="Joelle Brehm" userId="a518f54c-6985-42c0-8041-2bb16a414839" providerId="ADAL" clId="{D2DE92CD-AADB-43BF-8B53-266FBFF8B69D}" dt="2024-02-07T15:22:46.771" v="51023"/>
          <ac:spMkLst>
            <pc:docMk/>
            <pc:sldMk cId="1450446987" sldId="264"/>
            <ac:spMk id="12" creationId="{862A57D3-073F-4309-74D6-FD573764A05D}"/>
          </ac:spMkLst>
        </pc:spChg>
        <pc:spChg chg="add mod replST">
          <ac:chgData name="Joelle Brehm" userId="a518f54c-6985-42c0-8041-2bb16a414839" providerId="ADAL" clId="{D2DE92CD-AADB-43BF-8B53-266FBFF8B69D}" dt="2024-02-07T15:22:46.778" v="51033"/>
          <ac:spMkLst>
            <pc:docMk/>
            <pc:sldMk cId="1450446987" sldId="264"/>
            <ac:spMk id="13" creationId="{59E51F57-4F87-30DB-F9BB-D534DA6D3887}"/>
          </ac:spMkLst>
        </pc:spChg>
        <pc:spChg chg="add del mod modVis">
          <ac:chgData name="Joelle Brehm" userId="a518f54c-6985-42c0-8041-2bb16a414839" providerId="ADAL" clId="{D2DE92CD-AADB-43BF-8B53-266FBFF8B69D}" dt="2024-02-05T19:04:57.306" v="4821"/>
          <ac:spMkLst>
            <pc:docMk/>
            <pc:sldMk cId="1450446987" sldId="264"/>
            <ac:spMk id="14" creationId="{0AC74A02-C9E9-9408-8A58-9E260F6E1F53}"/>
          </ac:spMkLst>
        </pc:spChg>
        <pc:spChg chg="mod">
          <ac:chgData name="Joelle Brehm" userId="a518f54c-6985-42c0-8041-2bb16a414839" providerId="ADAL" clId="{D2DE92CD-AADB-43BF-8B53-266FBFF8B69D}" dt="2024-02-07T15:22:46.785" v="51043"/>
          <ac:spMkLst>
            <pc:docMk/>
            <pc:sldMk cId="1450446987" sldId="264"/>
            <ac:spMk id="15" creationId="{78323779-3C77-06EC-7E74-E6B35BABC750}"/>
          </ac:spMkLst>
        </pc:spChg>
        <pc:spChg chg="mod ord">
          <ac:chgData name="Joelle Brehm" userId="a518f54c-6985-42c0-8041-2bb16a414839" providerId="ADAL" clId="{D2DE92CD-AADB-43BF-8B53-266FBFF8B69D}" dt="2024-02-07T15:22:52.714" v="51137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D2DE92CD-AADB-43BF-8B53-266FBFF8B69D}" dt="2024-02-07T15:22:46.786" v="51044"/>
          <ac:spMkLst>
            <pc:docMk/>
            <pc:sldMk cId="1450446987" sldId="264"/>
            <ac:spMk id="17" creationId="{A63BB7A4-7E0B-7C45-80AE-587ED115AADD}"/>
          </ac:spMkLst>
        </pc:spChg>
        <pc:spChg chg="mod">
          <ac:chgData name="Joelle Brehm" userId="a518f54c-6985-42c0-8041-2bb16a414839" providerId="ADAL" clId="{D2DE92CD-AADB-43BF-8B53-266FBFF8B69D}" dt="2024-02-07T15:22:46.806" v="51079"/>
          <ac:spMkLst>
            <pc:docMk/>
            <pc:sldMk cId="1450446987" sldId="264"/>
            <ac:spMk id="18" creationId="{7CE63A35-6A90-6D8B-CF40-7241933EF0EF}"/>
          </ac:spMkLst>
        </pc:spChg>
        <pc:spChg chg="add mod replST">
          <ac:chgData name="Joelle Brehm" userId="a518f54c-6985-42c0-8041-2bb16a414839" providerId="ADAL" clId="{D2DE92CD-AADB-43BF-8B53-266FBFF8B69D}" dt="2024-02-07T15:22:46.798" v="51062"/>
          <ac:spMkLst>
            <pc:docMk/>
            <pc:sldMk cId="1450446987" sldId="264"/>
            <ac:spMk id="20" creationId="{18BB98B9-3195-BC71-0830-E8C7C89B36EF}"/>
          </ac:spMkLst>
        </pc:spChg>
        <pc:spChg chg="add del mod modVis">
          <ac:chgData name="Joelle Brehm" userId="a518f54c-6985-42c0-8041-2bb16a414839" providerId="ADAL" clId="{D2DE92CD-AADB-43BF-8B53-266FBFF8B69D}" dt="2024-02-07T15:22:13.878" v="48171"/>
          <ac:spMkLst>
            <pc:docMk/>
            <pc:sldMk cId="1450446987" sldId="264"/>
            <ac:spMk id="21" creationId="{2C214C54-2E8C-E9E2-B93D-50205977156B}"/>
          </ac:spMkLst>
        </pc:spChg>
        <pc:spChg chg="del mod">
          <ac:chgData name="Joelle Brehm" userId="a518f54c-6985-42c0-8041-2bb16a414839" providerId="ADAL" clId="{D2DE92CD-AADB-43BF-8B53-266FBFF8B69D}" dt="2024-02-05T19:04:59.182" v="4825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D2DE92CD-AADB-43BF-8B53-266FBFF8B69D}" dt="2024-02-07T15:22:46.812" v="51091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D2DE92CD-AADB-43BF-8B53-266FBFF8B69D}" dt="2024-02-07T15:22:46.784" v="51042"/>
          <ac:spMkLst>
            <pc:docMk/>
            <pc:sldMk cId="1450446987" sldId="264"/>
            <ac:spMk id="23" creationId="{ECE85BCC-DA74-38B9-C409-63F89574AA2B}"/>
          </ac:spMkLst>
        </pc:spChg>
        <pc:spChg chg="mod">
          <ac:chgData name="Joelle Brehm" userId="a518f54c-6985-42c0-8041-2bb16a414839" providerId="ADAL" clId="{D2DE92CD-AADB-43BF-8B53-266FBFF8B69D}" dt="2024-02-07T15:22:46.741" v="50979"/>
          <ac:spMkLst>
            <pc:docMk/>
            <pc:sldMk cId="1450446987" sldId="264"/>
            <ac:spMk id="24" creationId="{E5D53381-936F-04EC-A4BF-61AC62630B7E}"/>
          </ac:spMkLst>
        </pc:spChg>
        <pc:spChg chg="mod">
          <ac:chgData name="Joelle Brehm" userId="a518f54c-6985-42c0-8041-2bb16a414839" providerId="ADAL" clId="{D2DE92CD-AADB-43BF-8B53-266FBFF8B69D}" dt="2024-02-07T15:22:46.772" v="51024"/>
          <ac:spMkLst>
            <pc:docMk/>
            <pc:sldMk cId="1450446987" sldId="264"/>
            <ac:spMk id="25" creationId="{DDCB9CFD-6336-9FEE-8109-046E7B1EDE09}"/>
          </ac:spMkLst>
        </pc:spChg>
        <pc:spChg chg="add mod replST">
          <ac:chgData name="Joelle Brehm" userId="a518f54c-6985-42c0-8041-2bb16a414839" providerId="ADAL" clId="{D2DE92CD-AADB-43BF-8B53-266FBFF8B69D}" dt="2024-02-07T15:22:46.787" v="51045"/>
          <ac:spMkLst>
            <pc:docMk/>
            <pc:sldMk cId="1450446987" sldId="264"/>
            <ac:spMk id="27" creationId="{BE79AA66-A658-FB5E-FB38-1F294A525890}"/>
          </ac:spMkLst>
        </pc:spChg>
        <pc:spChg chg="add del mod modVis">
          <ac:chgData name="Joelle Brehm" userId="a518f54c-6985-42c0-8041-2bb16a414839" providerId="ADAL" clId="{D2DE92CD-AADB-43BF-8B53-266FBFF8B69D}" dt="2024-02-05T19:05:15.457" v="5272"/>
          <ac:spMkLst>
            <pc:docMk/>
            <pc:sldMk cId="1450446987" sldId="264"/>
            <ac:spMk id="28" creationId="{14F9367D-A503-2A4D-84F5-165C8BFA53E0}"/>
          </ac:spMkLst>
        </pc:spChg>
        <pc:spChg chg="add del mod modVis">
          <ac:chgData name="Joelle Brehm" userId="a518f54c-6985-42c0-8041-2bb16a414839" providerId="ADAL" clId="{D2DE92CD-AADB-43BF-8B53-266FBFF8B69D}" dt="2024-02-07T15:22:16.559" v="48365"/>
          <ac:spMkLst>
            <pc:docMk/>
            <pc:sldMk cId="1450446987" sldId="264"/>
            <ac:spMk id="28" creationId="{C2BE86DF-74E2-437A-FE66-205D1B963845}"/>
          </ac:spMkLst>
        </pc:spChg>
        <pc:spChg chg="mod">
          <ac:chgData name="Joelle Brehm" userId="a518f54c-6985-42c0-8041-2bb16a414839" providerId="ADAL" clId="{D2DE92CD-AADB-43BF-8B53-266FBFF8B69D}" dt="2024-02-07T15:22:46.741" v="50980"/>
          <ac:spMkLst>
            <pc:docMk/>
            <pc:sldMk cId="1450446987" sldId="264"/>
            <ac:spMk id="29" creationId="{D93C115D-D127-7D81-3796-9889DB2B0610}"/>
          </ac:spMkLst>
        </pc:spChg>
        <pc:spChg chg="del mod">
          <ac:chgData name="Joelle Brehm" userId="a518f54c-6985-42c0-8041-2bb16a414839" providerId="ADAL" clId="{D2DE92CD-AADB-43BF-8B53-266FBFF8B69D}" dt="2024-02-05T19:04:59.177" v="4824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D2DE92CD-AADB-43BF-8B53-266FBFF8B69D}" dt="2024-02-07T15:22:46.772" v="51025"/>
          <ac:spMkLst>
            <pc:docMk/>
            <pc:sldMk cId="1450446987" sldId="264"/>
            <ac:spMk id="31" creationId="{CA321323-2C4C-2167-68A7-B60C766BB3D9}"/>
          </ac:spMkLst>
        </pc:spChg>
        <pc:spChg chg="add mod replST">
          <ac:chgData name="Joelle Brehm" userId="a518f54c-6985-42c0-8041-2bb16a414839" providerId="ADAL" clId="{D2DE92CD-AADB-43BF-8B53-266FBFF8B69D}" dt="2024-02-07T15:22:46.742" v="50981"/>
          <ac:spMkLst>
            <pc:docMk/>
            <pc:sldMk cId="1450446987" sldId="264"/>
            <ac:spMk id="33" creationId="{F8B53093-42EB-7465-F3DF-B254169B7CA1}"/>
          </ac:spMkLst>
        </pc:spChg>
        <pc:spChg chg="mod">
          <ac:chgData name="Joelle Brehm" userId="a518f54c-6985-42c0-8041-2bb16a414839" providerId="ADAL" clId="{D2DE92CD-AADB-43BF-8B53-266FBFF8B69D}" dt="2024-02-07T15:22:46.780" v="51036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D2DE92CD-AADB-43BF-8B53-266FBFF8B69D}" dt="2024-02-07T15:22:46.779" v="51035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D2DE92CD-AADB-43BF-8B53-266FBFF8B69D}" dt="2024-02-07T15:22:46.784" v="51041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D2DE92CD-AADB-43BF-8B53-266FBFF8B69D}" dt="2024-02-07T15:22:46.781" v="51037"/>
          <ac:spMkLst>
            <pc:docMk/>
            <pc:sldMk cId="1450446987" sldId="264"/>
            <ac:spMk id="37" creationId="{F4881349-7857-4045-CB14-ED7B5F3DF7AB}"/>
          </ac:spMkLst>
        </pc:spChg>
        <pc:spChg chg="add del mod modVis">
          <ac:chgData name="Joelle Brehm" userId="a518f54c-6985-42c0-8041-2bb16a414839" providerId="ADAL" clId="{D2DE92CD-AADB-43BF-8B53-266FBFF8B69D}" dt="2024-02-07T15:22:18.327" v="48562"/>
          <ac:spMkLst>
            <pc:docMk/>
            <pc:sldMk cId="1450446987" sldId="264"/>
            <ac:spMk id="38" creationId="{3DB1EEAE-DB22-5EBB-3BA3-79325A570082}"/>
          </ac:spMkLst>
        </pc:spChg>
        <pc:spChg chg="add del mod modVis">
          <ac:chgData name="Joelle Brehm" userId="a518f54c-6985-42c0-8041-2bb16a414839" providerId="ADAL" clId="{D2DE92CD-AADB-43BF-8B53-266FBFF8B69D}" dt="2024-02-05T19:05:22.513" v="5550"/>
          <ac:spMkLst>
            <pc:docMk/>
            <pc:sldMk cId="1450446987" sldId="264"/>
            <ac:spMk id="38" creationId="{D8431CD5-0B80-99CB-6774-6962D973C92A}"/>
          </ac:spMkLst>
        </pc:spChg>
        <pc:spChg chg="del mod">
          <ac:chgData name="Joelle Brehm" userId="a518f54c-6985-42c0-8041-2bb16a414839" providerId="ADAL" clId="{D2DE92CD-AADB-43BF-8B53-266FBFF8B69D}" dt="2024-02-05T19:05:25.013" v="5554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D2DE92CD-AADB-43BF-8B53-266FBFF8B69D}" dt="2024-02-07T15:22:46.770" v="51022"/>
          <ac:spMkLst>
            <pc:docMk/>
            <pc:sldMk cId="1450446987" sldId="264"/>
            <ac:spMk id="40" creationId="{C58BB8B9-8023-B442-7CDD-CB5E70953466}"/>
          </ac:spMkLst>
        </pc:spChg>
        <pc:spChg chg="add del mod modVis">
          <ac:chgData name="Joelle Brehm" userId="a518f54c-6985-42c0-8041-2bb16a414839" providerId="ADAL" clId="{D2DE92CD-AADB-43BF-8B53-266FBFF8B69D}" dt="2024-02-07T15:22:22.461" v="48763"/>
          <ac:spMkLst>
            <pc:docMk/>
            <pc:sldMk cId="1450446987" sldId="264"/>
            <ac:spMk id="41" creationId="{85F32DDE-AD55-C3B4-727D-CDEC5FEEF9ED}"/>
          </ac:spMkLst>
        </pc:spChg>
        <pc:spChg chg="mod">
          <ac:chgData name="Joelle Brehm" userId="a518f54c-6985-42c0-8041-2bb16a414839" providerId="ADAL" clId="{D2DE92CD-AADB-43BF-8B53-266FBFF8B69D}" dt="2024-02-07T15:22:46.773" v="51026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D2DE92CD-AADB-43BF-8B53-266FBFF8B69D}" dt="2024-02-07T15:22:46.737" v="50972"/>
          <ac:spMkLst>
            <pc:docMk/>
            <pc:sldMk cId="1450446987" sldId="264"/>
            <ac:spMk id="43" creationId="{B0C42678-4B24-F5DF-7ACE-3084C7C56E60}"/>
          </ac:spMkLst>
        </pc:spChg>
        <pc:spChg chg="del mod">
          <ac:chgData name="Joelle Brehm" userId="a518f54c-6985-42c0-8041-2bb16a414839" providerId="ADAL" clId="{D2DE92CD-AADB-43BF-8B53-266FBFF8B69D}" dt="2024-02-05T19:05:25.011" v="5553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D2DE92CD-AADB-43BF-8B53-266FBFF8B69D}" dt="2024-02-07T15:22:46.778" v="51034"/>
          <ac:spMkLst>
            <pc:docMk/>
            <pc:sldMk cId="1450446987" sldId="264"/>
            <ac:spMk id="45" creationId="{8BD270EF-C1D9-9334-E736-146815435DFD}"/>
          </ac:spMkLst>
        </pc:spChg>
        <pc:spChg chg="add del mod modVis">
          <ac:chgData name="Joelle Brehm" userId="a518f54c-6985-42c0-8041-2bb16a414839" providerId="ADAL" clId="{D2DE92CD-AADB-43BF-8B53-266FBFF8B69D}" dt="2024-02-07T15:22:28.178" v="49018"/>
          <ac:spMkLst>
            <pc:docMk/>
            <pc:sldMk cId="1450446987" sldId="264"/>
            <ac:spMk id="46" creationId="{04A79F15-0BD0-4A58-D4F6-95044F3E05A9}"/>
          </ac:spMkLst>
        </pc:spChg>
        <pc:spChg chg="mod">
          <ac:chgData name="Joelle Brehm" userId="a518f54c-6985-42c0-8041-2bb16a414839" providerId="ADAL" clId="{D2DE92CD-AADB-43BF-8B53-266FBFF8B69D}" dt="2024-02-07T15:22:46.740" v="50978"/>
          <ac:spMkLst>
            <pc:docMk/>
            <pc:sldMk cId="1450446987" sldId="264"/>
            <ac:spMk id="47" creationId="{6D64FB34-D8B2-66AB-BCB4-DA6A0216CA2C}"/>
          </ac:spMkLst>
        </pc:spChg>
        <pc:spChg chg="add mod replST">
          <ac:chgData name="Joelle Brehm" userId="a518f54c-6985-42c0-8041-2bb16a414839" providerId="ADAL" clId="{D2DE92CD-AADB-43BF-8B53-266FBFF8B69D}" dt="2024-02-07T15:22:46.746" v="50993"/>
          <ac:spMkLst>
            <pc:docMk/>
            <pc:sldMk cId="1450446987" sldId="264"/>
            <ac:spMk id="48" creationId="{0123679F-CC40-E7DD-5F47-C9F2E6E51361}"/>
          </ac:spMkLst>
        </pc:spChg>
        <pc:spChg chg="mod">
          <ac:chgData name="Joelle Brehm" userId="a518f54c-6985-42c0-8041-2bb16a414839" providerId="ADAL" clId="{D2DE92CD-AADB-43BF-8B53-266FBFF8B69D}" dt="2024-02-07T15:22:46.746" v="50991"/>
          <ac:spMkLst>
            <pc:docMk/>
            <pc:sldMk cId="1450446987" sldId="264"/>
            <ac:spMk id="49" creationId="{6C902FB1-9C72-CCD9-9F28-79FEEA1EBE9E}"/>
          </ac:spMkLst>
        </pc:spChg>
        <pc:spChg chg="mod">
          <ac:chgData name="Joelle Brehm" userId="a518f54c-6985-42c0-8041-2bb16a414839" providerId="ADAL" clId="{D2DE92CD-AADB-43BF-8B53-266FBFF8B69D}" dt="2024-02-07T15:22:46.773" v="51027"/>
          <ac:spMkLst>
            <pc:docMk/>
            <pc:sldMk cId="1450446987" sldId="264"/>
            <ac:spMk id="50" creationId="{5FE9258F-A945-F4FF-832B-478FD9BAC76D}"/>
          </ac:spMkLst>
        </pc:spChg>
        <pc:spChg chg="add del mod modVis">
          <ac:chgData name="Joelle Brehm" userId="a518f54c-6985-42c0-8041-2bb16a414839" providerId="ADAL" clId="{D2DE92CD-AADB-43BF-8B53-266FBFF8B69D}" dt="2024-02-05T19:05:30.336" v="6001"/>
          <ac:spMkLst>
            <pc:docMk/>
            <pc:sldMk cId="1450446987" sldId="264"/>
            <ac:spMk id="51" creationId="{2ACD628F-4D3F-AB99-679A-71324192976E}"/>
          </ac:spMkLst>
        </pc:spChg>
        <pc:spChg chg="add mod replST">
          <ac:chgData name="Joelle Brehm" userId="a518f54c-6985-42c0-8041-2bb16a414839" providerId="ADAL" clId="{D2DE92CD-AADB-43BF-8B53-266FBFF8B69D}" dt="2024-02-07T15:22:46.798" v="51063"/>
          <ac:spMkLst>
            <pc:docMk/>
            <pc:sldMk cId="1450446987" sldId="264"/>
            <ac:spMk id="51" creationId="{7CAA3B95-4C78-4122-BECA-B5FB0F3F3764}"/>
          </ac:spMkLst>
        </pc:spChg>
        <pc:spChg chg="del mod">
          <ac:chgData name="Joelle Brehm" userId="a518f54c-6985-42c0-8041-2bb16a414839" providerId="ADAL" clId="{D2DE92CD-AADB-43BF-8B53-266FBFF8B69D}" dt="2024-02-05T19:05:39.477" v="6283"/>
          <ac:spMkLst>
            <pc:docMk/>
            <pc:sldMk cId="1450446987" sldId="264"/>
            <ac:spMk id="52" creationId="{35E94CE7-373A-9E4A-3654-13C7C305FD02}"/>
          </ac:spMkLst>
        </pc:spChg>
        <pc:spChg chg="mod">
          <ac:chgData name="Joelle Brehm" userId="a518f54c-6985-42c0-8041-2bb16a414839" providerId="ADAL" clId="{D2DE92CD-AADB-43BF-8B53-266FBFF8B69D}" dt="2024-02-07T15:22:46.746" v="50992"/>
          <ac:spMkLst>
            <pc:docMk/>
            <pc:sldMk cId="1450446987" sldId="264"/>
            <ac:spMk id="53" creationId="{522E8E80-2D36-FBB2-D9BA-CCEAD36B44DA}"/>
          </ac:spMkLst>
        </pc:spChg>
        <pc:spChg chg="mod">
          <ac:chgData name="Joelle Brehm" userId="a518f54c-6985-42c0-8041-2bb16a414839" providerId="ADAL" clId="{D2DE92CD-AADB-43BF-8B53-266FBFF8B69D}" dt="2024-02-07T15:22:46.743" v="50984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D2DE92CD-AADB-43BF-8B53-266FBFF8B69D}" dt="2024-02-07T15:22:46.736" v="50970"/>
          <ac:spMkLst>
            <pc:docMk/>
            <pc:sldMk cId="1450446987" sldId="264"/>
            <ac:spMk id="55" creationId="{21D40969-F481-7C90-2962-9DFFAB84841F}"/>
          </ac:spMkLst>
        </pc:spChg>
        <pc:spChg chg="add del mod modVis">
          <ac:chgData name="Joelle Brehm" userId="a518f54c-6985-42c0-8041-2bb16a414839" providerId="ADAL" clId="{D2DE92CD-AADB-43BF-8B53-266FBFF8B69D}" dt="2024-02-07T15:22:28.802" v="49271"/>
          <ac:spMkLst>
            <pc:docMk/>
            <pc:sldMk cId="1450446987" sldId="264"/>
            <ac:spMk id="56" creationId="{CE6053A3-AC37-4D2A-C8EE-29DC0EB9185A}"/>
          </ac:spMkLst>
        </pc:spChg>
        <pc:spChg chg="del mod">
          <ac:chgData name="Joelle Brehm" userId="a518f54c-6985-42c0-8041-2bb16a414839" providerId="ADAL" clId="{D2DE92CD-AADB-43BF-8B53-266FBFF8B69D}" dt="2024-02-05T19:05:39.476" v="6282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D2DE92CD-AADB-43BF-8B53-266FBFF8B69D}" dt="2024-02-07T15:22:46.736" v="50971"/>
          <ac:spMkLst>
            <pc:docMk/>
            <pc:sldMk cId="1450446987" sldId="264"/>
            <ac:spMk id="57" creationId="{691D1289-3B15-0AD2-5838-E87715C40325}"/>
          </ac:spMkLst>
        </pc:spChg>
        <pc:spChg chg="mod">
          <ac:chgData name="Joelle Brehm" userId="a518f54c-6985-42c0-8041-2bb16a414839" providerId="ADAL" clId="{D2DE92CD-AADB-43BF-8B53-266FBFF8B69D}" dt="2024-02-07T15:22:46.745" v="50990"/>
          <ac:spMkLst>
            <pc:docMk/>
            <pc:sldMk cId="1450446987" sldId="264"/>
            <ac:spMk id="58" creationId="{998C3F37-48B7-D5CB-D2DD-2BF1FE08D1D9}"/>
          </ac:spMkLst>
        </pc:spChg>
        <pc:spChg chg="mod">
          <ac:chgData name="Joelle Brehm" userId="a518f54c-6985-42c0-8041-2bb16a414839" providerId="ADAL" clId="{D2DE92CD-AADB-43BF-8B53-266FBFF8B69D}" dt="2024-02-07T15:22:46.737" v="50973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D2DE92CD-AADB-43BF-8B53-266FBFF8B69D}" dt="2024-02-07T15:22:46.788" v="51047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D2DE92CD-AADB-43BF-8B53-266FBFF8B69D}" dt="2024-02-07T15:22:46.790" v="51049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D2DE92CD-AADB-43BF-8B53-266FBFF8B69D}" dt="2024-02-07T15:22:46.792" v="51051"/>
          <ac:spMkLst>
            <pc:docMk/>
            <pc:sldMk cId="1450446987" sldId="264"/>
            <ac:spMk id="62" creationId="{19815E26-2ABF-4A16-94FE-6C4A68E6FBBD}"/>
          </ac:spMkLst>
        </pc:spChg>
        <pc:spChg chg="del mod">
          <ac:chgData name="Joelle Brehm" userId="a518f54c-6985-42c0-8041-2bb16a414839" providerId="ADAL" clId="{D2DE92CD-AADB-43BF-8B53-266FBFF8B69D}" dt="2024-02-05T19:06:02.147" v="7240"/>
          <ac:spMkLst>
            <pc:docMk/>
            <pc:sldMk cId="1450446987" sldId="264"/>
            <ac:spMk id="63" creationId="{09FCBDA2-2BA1-FD0B-C70E-29EBF0B27C7B}"/>
          </ac:spMkLst>
        </pc:spChg>
        <pc:spChg chg="add mod replST">
          <ac:chgData name="Joelle Brehm" userId="a518f54c-6985-42c0-8041-2bb16a414839" providerId="ADAL" clId="{D2DE92CD-AADB-43BF-8B53-266FBFF8B69D}" dt="2024-02-07T15:22:46.799" v="51064"/>
          <ac:spMkLst>
            <pc:docMk/>
            <pc:sldMk cId="1450446987" sldId="264"/>
            <ac:spMk id="6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7T15:22:46.782" v="51038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D2DE92CD-AADB-43BF-8B53-266FBFF8B69D}" dt="2024-02-07T15:22:46.742" v="50982"/>
          <ac:spMkLst>
            <pc:docMk/>
            <pc:sldMk cId="1450446987" sldId="264"/>
            <ac:spMk id="65" creationId="{3157109A-3120-04A6-D693-60F57F766A08}"/>
          </ac:spMkLst>
        </pc:spChg>
        <pc:spChg chg="del mod">
          <ac:chgData name="Joelle Brehm" userId="a518f54c-6985-42c0-8041-2bb16a414839" providerId="ADAL" clId="{D2DE92CD-AADB-43BF-8B53-266FBFF8B69D}" dt="2024-02-05T19:06:02.145" v="7239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D2DE92CD-AADB-43BF-8B53-266FBFF8B69D}" dt="2024-02-07T15:22:46.743" v="50983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D2DE92CD-AADB-43BF-8B53-266FBFF8B69D}" dt="2024-02-07T15:22:46.807" v="51081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D2DE92CD-AADB-43BF-8B53-266FBFF8B69D}" dt="2024-02-07T15:22:46.811" v="51088"/>
          <ac:spMkLst>
            <pc:docMk/>
            <pc:sldMk cId="1450446987" sldId="264"/>
            <ac:spMk id="70" creationId="{13EDC3FB-EAD9-A2B2-8DFB-9D4FBEC4B5A3}"/>
          </ac:spMkLst>
        </pc:spChg>
        <pc:spChg chg="add mod replST">
          <ac:chgData name="Joelle Brehm" userId="a518f54c-6985-42c0-8041-2bb16a414839" providerId="ADAL" clId="{D2DE92CD-AADB-43BF-8B53-266FBFF8B69D}" dt="2024-02-07T15:22:46.812" v="51090"/>
          <ac:spMkLst>
            <pc:docMk/>
            <pc:sldMk cId="1450446987" sldId="264"/>
            <ac:spMk id="71" creationId="{10A10125-A1F9-AD63-5CE4-891EE0CF5D36}"/>
          </ac:spMkLst>
        </pc:spChg>
        <pc:spChg chg="mod">
          <ac:chgData name="Joelle Brehm" userId="a518f54c-6985-42c0-8041-2bb16a414839" providerId="ADAL" clId="{D2DE92CD-AADB-43BF-8B53-266FBFF8B69D}" dt="2024-02-07T15:22:46.810" v="51087"/>
          <ac:spMkLst>
            <pc:docMk/>
            <pc:sldMk cId="1450446987" sldId="264"/>
            <ac:spMk id="72" creationId="{083CFBB9-44A9-ECE4-4C8E-DC2ED54DB4C5}"/>
          </ac:spMkLst>
        </pc:spChg>
        <pc:spChg chg="mod">
          <ac:chgData name="Joelle Brehm" userId="a518f54c-6985-42c0-8041-2bb16a414839" providerId="ADAL" clId="{D2DE92CD-AADB-43BF-8B53-266FBFF8B69D}" dt="2024-02-07T15:22:46.748" v="50996"/>
          <ac:spMkLst>
            <pc:docMk/>
            <pc:sldMk cId="1450446987" sldId="264"/>
            <ac:spMk id="73" creationId="{9222FB5E-7628-BAAE-A4E4-E9F13F9B74EE}"/>
          </ac:spMkLst>
        </pc:spChg>
        <pc:spChg chg="add del mod modVis">
          <ac:chgData name="Joelle Brehm" userId="a518f54c-6985-42c0-8041-2bb16a414839" providerId="ADAL" clId="{D2DE92CD-AADB-43BF-8B53-266FBFF8B69D}" dt="2024-02-07T15:22:29.343" v="49477"/>
          <ac:spMkLst>
            <pc:docMk/>
            <pc:sldMk cId="1450446987" sldId="264"/>
            <ac:spMk id="74" creationId="{479401FE-DEB8-D9D4-11FC-C3C6CE1140B0}"/>
          </ac:spMkLst>
        </pc:spChg>
        <pc:spChg chg="add del mod modVis">
          <ac:chgData name="Joelle Brehm" userId="a518f54c-6985-42c0-8041-2bb16a414839" providerId="ADAL" clId="{D2DE92CD-AADB-43BF-8B53-266FBFF8B69D}" dt="2024-02-05T19:05:37.427" v="6279"/>
          <ac:spMkLst>
            <pc:docMk/>
            <pc:sldMk cId="1450446987" sldId="264"/>
            <ac:spMk id="75" creationId="{F551BEF9-90EE-AA53-EC8D-C328521A5995}"/>
          </ac:spMkLst>
        </pc:spChg>
        <pc:spChg chg="mod">
          <ac:chgData name="Joelle Brehm" userId="a518f54c-6985-42c0-8041-2bb16a414839" providerId="ADAL" clId="{D2DE92CD-AADB-43BF-8B53-266FBFF8B69D}" dt="2024-02-07T15:22:46.744" v="50985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D2DE92CD-AADB-43BF-8B53-266FBFF8B69D}" dt="2024-02-07T15:22:46.797" v="51060"/>
          <ac:spMkLst>
            <pc:docMk/>
            <pc:sldMk cId="1450446987" sldId="264"/>
            <ac:spMk id="77" creationId="{60F97E40-1529-395D-816D-8834F0F881FD}"/>
          </ac:spMkLst>
        </pc:spChg>
        <pc:spChg chg="add del mod modVis">
          <ac:chgData name="Joelle Brehm" userId="a518f54c-6985-42c0-8041-2bb16a414839" providerId="ADAL" clId="{D2DE92CD-AADB-43BF-8B53-266FBFF8B69D}" dt="2024-02-07T15:22:32.885" v="49736"/>
          <ac:spMkLst>
            <pc:docMk/>
            <pc:sldMk cId="1450446987" sldId="264"/>
            <ac:spMk id="78" creationId="{5E30D33C-DEDD-0E68-4196-9198087293DC}"/>
          </ac:spMkLst>
        </pc:spChg>
        <pc:spChg chg="mod">
          <ac:chgData name="Joelle Brehm" userId="a518f54c-6985-42c0-8041-2bb16a414839" providerId="ADAL" clId="{D2DE92CD-AADB-43BF-8B53-266FBFF8B69D}" dt="2024-02-07T15:22:46.817" v="51100"/>
          <ac:spMkLst>
            <pc:docMk/>
            <pc:sldMk cId="1450446987" sldId="264"/>
            <ac:spMk id="79" creationId="{23BEFDDE-D63B-813D-AA9B-DD3758088EEA}"/>
          </ac:spMkLst>
        </pc:spChg>
        <pc:spChg chg="mod">
          <ac:chgData name="Joelle Brehm" userId="a518f54c-6985-42c0-8041-2bb16a414839" providerId="ADAL" clId="{D2DE92CD-AADB-43BF-8B53-266FBFF8B69D}" dt="2024-02-07T15:22:46.813" v="51093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D2DE92CD-AADB-43BF-8B53-266FBFF8B69D}" dt="2024-02-07T15:22:46.760" v="51008"/>
          <ac:spMkLst>
            <pc:docMk/>
            <pc:sldMk cId="1450446987" sldId="264"/>
            <ac:spMk id="81" creationId="{6F4C96C8-F30F-B7F9-162B-D0B13BC90C2B}"/>
          </ac:spMkLst>
        </pc:spChg>
        <pc:spChg chg="add mod replST">
          <ac:chgData name="Joelle Brehm" userId="a518f54c-6985-42c0-8041-2bb16a414839" providerId="ADAL" clId="{D2DE92CD-AADB-43BF-8B53-266FBFF8B69D}" dt="2024-02-07T15:22:46.799" v="51065"/>
          <ac:spMkLst>
            <pc:docMk/>
            <pc:sldMk cId="1450446987" sldId="264"/>
            <ac:spMk id="8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7T15:22:46.816" v="51099"/>
          <ac:spMkLst>
            <pc:docMk/>
            <pc:sldMk cId="1450446987" sldId="264"/>
            <ac:spMk id="83" creationId="{A21D7036-40FA-BB0C-4CA6-E61688467FC8}"/>
          </ac:spMkLst>
        </pc:spChg>
        <pc:spChg chg="mod">
          <ac:chgData name="Joelle Brehm" userId="a518f54c-6985-42c0-8041-2bb16a414839" providerId="ADAL" clId="{D2DE92CD-AADB-43BF-8B53-266FBFF8B69D}" dt="2024-02-07T15:22:46.806" v="51080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D2DE92CD-AADB-43BF-8B53-266FBFF8B69D}" dt="2024-02-07T15:22:46.738" v="50974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D2DE92CD-AADB-43BF-8B53-266FBFF8B69D}" dt="2024-02-07T15:22:46.750" v="50998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D2DE92CD-AADB-43BF-8B53-266FBFF8B69D}" dt="2024-02-07T15:22:46.783" v="51039"/>
          <ac:spMkLst>
            <pc:docMk/>
            <pc:sldMk cId="1450446987" sldId="264"/>
            <ac:spMk id="87" creationId="{06946997-7AFB-6327-F61E-B25533F6C115}"/>
          </ac:spMkLst>
        </pc:spChg>
        <pc:spChg chg="add mod replST">
          <ac:chgData name="Joelle Brehm" userId="a518f54c-6985-42c0-8041-2bb16a414839" providerId="ADAL" clId="{D2DE92CD-AADB-43BF-8B53-266FBFF8B69D}" dt="2024-02-07T15:22:46.818" v="51102"/>
          <ac:spMkLst>
            <pc:docMk/>
            <pc:sldMk cId="1450446987" sldId="264"/>
            <ac:spMk id="88" creationId="{47D2C780-DDE5-CAE0-5CF8-3918C5739A3C}"/>
          </ac:spMkLst>
        </pc:spChg>
        <pc:spChg chg="mod">
          <ac:chgData name="Joelle Brehm" userId="a518f54c-6985-42c0-8041-2bb16a414839" providerId="ADAL" clId="{D2DE92CD-AADB-43BF-8B53-266FBFF8B69D}" dt="2024-02-07T15:22:46.813" v="51092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D2DE92CD-AADB-43BF-8B53-266FBFF8B69D}" dt="2024-02-07T15:22:46.761" v="51010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D2DE92CD-AADB-43BF-8B53-266FBFF8B69D}" dt="2024-02-07T15:22:46.808" v="51082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D2DE92CD-AADB-43BF-8B53-266FBFF8B69D}" dt="2024-02-07T15:22:46.811" v="51089"/>
          <ac:spMkLst>
            <pc:docMk/>
            <pc:sldMk cId="1450446987" sldId="264"/>
            <ac:spMk id="92" creationId="{04EED9C4-BB27-D966-447B-295E7E5DB4D0}"/>
          </ac:spMkLst>
        </pc:spChg>
        <pc:spChg chg="add del mod modVis">
          <ac:chgData name="Joelle Brehm" userId="a518f54c-6985-42c0-8041-2bb16a414839" providerId="ADAL" clId="{D2DE92CD-AADB-43BF-8B53-266FBFF8B69D}" dt="2024-02-05T19:05:44.135" v="6730"/>
          <ac:spMkLst>
            <pc:docMk/>
            <pc:sldMk cId="1450446987" sldId="264"/>
            <ac:spMk id="93" creationId="{41856E05-A456-DEFA-30B3-646C345F4749}"/>
          </ac:spMkLst>
        </pc:spChg>
        <pc:spChg chg="mod">
          <ac:chgData name="Joelle Brehm" userId="a518f54c-6985-42c0-8041-2bb16a414839" providerId="ADAL" clId="{D2DE92CD-AADB-43BF-8B53-266FBFF8B69D}" dt="2024-02-07T15:22:46.738" v="50975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D2DE92CD-AADB-43BF-8B53-266FBFF8B69D}" dt="2024-02-07T15:22:46.744" v="50986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D2DE92CD-AADB-43BF-8B53-266FBFF8B69D}" dt="2024-02-07T15:22:46.793" v="51053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D2DE92CD-AADB-43BF-8B53-266FBFF8B69D}" dt="2024-02-07T15:22:46.794" v="51055"/>
          <ac:spMkLst>
            <pc:docMk/>
            <pc:sldMk cId="1450446987" sldId="264"/>
            <ac:spMk id="97" creationId="{64B2B8D7-E8A8-4757-99A4-69F1EAA48321}"/>
          </ac:spMkLst>
        </pc:spChg>
        <pc:spChg chg="mod">
          <ac:chgData name="Joelle Brehm" userId="a518f54c-6985-42c0-8041-2bb16a414839" providerId="ADAL" clId="{D2DE92CD-AADB-43BF-8B53-266FBFF8B69D}" dt="2024-02-07T15:22:46.757" v="51005"/>
          <ac:spMkLst>
            <pc:docMk/>
            <pc:sldMk cId="1450446987" sldId="264"/>
            <ac:spMk id="98" creationId="{41685772-BE3E-26B1-D464-B2AD278CB65F}"/>
          </ac:spMkLst>
        </pc:spChg>
        <pc:spChg chg="mod">
          <ac:chgData name="Joelle Brehm" userId="a518f54c-6985-42c0-8041-2bb16a414839" providerId="ADAL" clId="{D2DE92CD-AADB-43BF-8B53-266FBFF8B69D}" dt="2024-02-07T15:22:46.814" v="51094"/>
          <ac:spMkLst>
            <pc:docMk/>
            <pc:sldMk cId="1450446987" sldId="264"/>
            <ac:spMk id="99" creationId="{532CB703-5963-C57B-5D4D-6A2C18AD0509}"/>
          </ac:spMkLst>
        </pc:spChg>
        <pc:spChg chg="add mod replST">
          <ac:chgData name="Joelle Brehm" userId="a518f54c-6985-42c0-8041-2bb16a414839" providerId="ADAL" clId="{D2DE92CD-AADB-43BF-8B53-266FBFF8B69D}" dt="2024-02-07T15:22:46.759" v="51007"/>
          <ac:spMkLst>
            <pc:docMk/>
            <pc:sldMk cId="1450446987" sldId="264"/>
            <ac:spMk id="101" creationId="{EE29A4AC-9FCC-452F-30B4-8245793C249E}"/>
          </ac:spMkLst>
        </pc:spChg>
        <pc:spChg chg="mod">
          <ac:chgData name="Joelle Brehm" userId="a518f54c-6985-42c0-8041-2bb16a414839" providerId="ADAL" clId="{D2DE92CD-AADB-43BF-8B53-266FBFF8B69D}" dt="2024-02-07T15:22:46.756" v="51004"/>
          <ac:spMkLst>
            <pc:docMk/>
            <pc:sldMk cId="1450446987" sldId="264"/>
            <ac:spMk id="102" creationId="{6333F09A-AE56-74E1-7B04-F4A5E3860BA0}"/>
          </ac:spMkLst>
        </pc:spChg>
        <pc:spChg chg="add del mod modVis">
          <ac:chgData name="Joelle Brehm" userId="a518f54c-6985-42c0-8041-2bb16a414839" providerId="ADAL" clId="{D2DE92CD-AADB-43BF-8B53-266FBFF8B69D}" dt="2024-02-07T15:22:35.889" v="49956"/>
          <ac:spMkLst>
            <pc:docMk/>
            <pc:sldMk cId="1450446987" sldId="264"/>
            <ac:spMk id="103" creationId="{6FC7E59E-289E-01C6-1982-B7C5319D8C63}"/>
          </ac:spMkLst>
        </pc:spChg>
        <pc:spChg chg="add del mod modVis">
          <ac:chgData name="Joelle Brehm" userId="a518f54c-6985-42c0-8041-2bb16a414839" providerId="ADAL" clId="{D2DE92CD-AADB-43BF-8B53-266FBFF8B69D}" dt="2024-02-05T19:05:51.520" v="7008"/>
          <ac:spMkLst>
            <pc:docMk/>
            <pc:sldMk cId="1450446987" sldId="264"/>
            <ac:spMk id="103" creationId="{D83C4127-1772-AF7A-BD2B-84402F071069}"/>
          </ac:spMkLst>
        </pc:spChg>
        <pc:spChg chg="mod">
          <ac:chgData name="Joelle Brehm" userId="a518f54c-6985-42c0-8041-2bb16a414839" providerId="ADAL" clId="{D2DE92CD-AADB-43BF-8B53-266FBFF8B69D}" dt="2024-02-07T15:22:46.749" v="50997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D2DE92CD-AADB-43BF-8B53-266FBFF8B69D}" dt="2024-02-07T15:22:46.808" v="51083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D2DE92CD-AADB-43BF-8B53-266FBFF8B69D}" dt="2024-02-07T15:22:46.730" v="50965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D2DE92CD-AADB-43BF-8B53-266FBFF8B69D}" dt="2024-02-07T15:22:46.767" v="51017"/>
          <ac:spMkLst>
            <pc:docMk/>
            <pc:sldMk cId="1450446987" sldId="264"/>
            <ac:spMk id="107" creationId="{5A262282-AA4F-2691-1334-7CF06DA0EFE3}"/>
          </ac:spMkLst>
        </pc:spChg>
        <pc:spChg chg="mod">
          <ac:chgData name="Joelle Brehm" userId="a518f54c-6985-42c0-8041-2bb16a414839" providerId="ADAL" clId="{D2DE92CD-AADB-43BF-8B53-266FBFF8B69D}" dt="2024-02-07T15:22:46.761" v="51009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D2DE92CD-AADB-43BF-8B53-266FBFF8B69D}" dt="2024-02-07T15:22:46.751" v="50999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D2DE92CD-AADB-43BF-8B53-266FBFF8B69D}" dt="2024-02-07T15:22:46.744" v="50987"/>
          <ac:spMkLst>
            <pc:docMk/>
            <pc:sldMk cId="1450446987" sldId="264"/>
            <ac:spMk id="110" creationId="{3E9DFF71-BC3D-F5AB-9F34-2E7EB64B1AD3}"/>
          </ac:spMkLst>
        </pc:spChg>
        <pc:spChg chg="mod">
          <ac:chgData name="Joelle Brehm" userId="a518f54c-6985-42c0-8041-2bb16a414839" providerId="ADAL" clId="{D2DE92CD-AADB-43BF-8B53-266FBFF8B69D}" dt="2024-02-07T15:22:52.706" v="51117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D2DE92CD-AADB-43BF-8B53-266FBFF8B69D}" dt="2024-02-07T15:22:46.762" v="51011"/>
          <ac:spMkLst>
            <pc:docMk/>
            <pc:sldMk cId="1450446987" sldId="264"/>
            <ac:spMk id="113" creationId="{345D71C8-6CA8-CC84-D4E5-408E5C14405E}"/>
          </ac:spMkLst>
        </pc:spChg>
        <pc:spChg chg="add mod replST">
          <ac:chgData name="Joelle Brehm" userId="a518f54c-6985-42c0-8041-2bb16a414839" providerId="ADAL" clId="{D2DE92CD-AADB-43BF-8B53-266FBFF8B69D}" dt="2024-02-07T15:22:46.768" v="51019"/>
          <ac:spMkLst>
            <pc:docMk/>
            <pc:sldMk cId="1450446987" sldId="264"/>
            <ac:spMk id="114" creationId="{3CBA50EC-8157-24B9-3AC1-20A64EE1A3BF}"/>
          </ac:spMkLst>
        </pc:spChg>
        <pc:spChg chg="mod">
          <ac:chgData name="Joelle Brehm" userId="a518f54c-6985-42c0-8041-2bb16a414839" providerId="ADAL" clId="{D2DE92CD-AADB-43BF-8B53-266FBFF8B69D}" dt="2024-02-07T15:22:52.707" v="51121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D2DE92CD-AADB-43BF-8B53-266FBFF8B69D}" dt="2024-02-07T15:22:46.814" v="51095"/>
          <ac:spMkLst>
            <pc:docMk/>
            <pc:sldMk cId="1450446987" sldId="264"/>
            <ac:spMk id="116" creationId="{E6B2D068-E691-A10D-15D8-F8578EFD4C29}"/>
          </ac:spMkLst>
        </pc:spChg>
        <pc:spChg chg="add mod replST">
          <ac:chgData name="Joelle Brehm" userId="a518f54c-6985-42c0-8041-2bb16a414839" providerId="ADAL" clId="{D2DE92CD-AADB-43BF-8B53-266FBFF8B69D}" dt="2024-02-07T15:22:46.800" v="51066"/>
          <ac:spMkLst>
            <pc:docMk/>
            <pc:sldMk cId="1450446987" sldId="264"/>
            <ac:spMk id="117" creationId="{16ED222C-BE37-1D08-BF7E-D131AE2BBE04}"/>
          </ac:spMkLst>
        </pc:spChg>
        <pc:spChg chg="add del mod modVis">
          <ac:chgData name="Joelle Brehm" userId="a518f54c-6985-42c0-8041-2bb16a414839" providerId="ADAL" clId="{D2DE92CD-AADB-43BF-8B53-266FBFF8B69D}" dt="2024-02-05T19:05:59.485" v="7236"/>
          <ac:spMkLst>
            <pc:docMk/>
            <pc:sldMk cId="1450446987" sldId="264"/>
            <ac:spMk id="117" creationId="{2BB3AFFA-3AA7-E0C7-42FD-F72EAEF059B1}"/>
          </ac:spMkLst>
        </pc:spChg>
        <pc:spChg chg="mod">
          <ac:chgData name="Joelle Brehm" userId="a518f54c-6985-42c0-8041-2bb16a414839" providerId="ADAL" clId="{D2DE92CD-AADB-43BF-8B53-266FBFF8B69D}" dt="2024-02-07T15:22:46.766" v="51016"/>
          <ac:spMkLst>
            <pc:docMk/>
            <pc:sldMk cId="1450446987" sldId="264"/>
            <ac:spMk id="118" creationId="{64C7D22E-FE71-8346-6A8B-BCCE734C030C}"/>
          </ac:spMkLst>
        </pc:spChg>
        <pc:spChg chg="mod">
          <ac:chgData name="Joelle Brehm" userId="a518f54c-6985-42c0-8041-2bb16a414839" providerId="ADAL" clId="{D2DE92CD-AADB-43BF-8B53-266FBFF8B69D}" dt="2024-02-07T15:22:46.817" v="51101"/>
          <ac:spMkLst>
            <pc:docMk/>
            <pc:sldMk cId="1450446987" sldId="264"/>
            <ac:spMk id="119" creationId="{68A51B41-5F1C-51E6-B7D6-26BE9B80F9FE}"/>
          </ac:spMkLst>
        </pc:spChg>
        <pc:spChg chg="add del mod modVis">
          <ac:chgData name="Joelle Brehm" userId="a518f54c-6985-42c0-8041-2bb16a414839" providerId="ADAL" clId="{D2DE92CD-AADB-43BF-8B53-266FBFF8B69D}" dt="2024-02-07T15:22:37.949" v="50189"/>
          <ac:spMkLst>
            <pc:docMk/>
            <pc:sldMk cId="1450446987" sldId="264"/>
            <ac:spMk id="120" creationId="{E3418C8A-1D53-0C9D-8F24-8C8D202C19DB}"/>
          </ac:spMkLst>
        </pc:spChg>
        <pc:spChg chg="mod">
          <ac:chgData name="Joelle Brehm" userId="a518f54c-6985-42c0-8041-2bb16a414839" providerId="ADAL" clId="{D2DE92CD-AADB-43BF-8B53-266FBFF8B69D}" dt="2024-02-07T15:22:46.758" v="51006"/>
          <ac:spMkLst>
            <pc:docMk/>
            <pc:sldMk cId="1450446987" sldId="264"/>
            <ac:spMk id="122" creationId="{EE58AE63-B2BC-C11A-1802-02E107E19990}"/>
          </ac:spMkLst>
        </pc:spChg>
        <pc:spChg chg="mod">
          <ac:chgData name="Joelle Brehm" userId="a518f54c-6985-42c0-8041-2bb16a414839" providerId="ADAL" clId="{D2DE92CD-AADB-43BF-8B53-266FBFF8B69D}" dt="2024-02-07T15:22:46.752" v="51000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D2DE92CD-AADB-43BF-8B53-266FBFF8B69D}" dt="2024-02-07T15:22:46.809" v="51084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D2DE92CD-AADB-43BF-8B53-266FBFF8B69D}" dt="2024-02-07T15:22:46.739" v="50977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D2DE92CD-AADB-43BF-8B53-266FBFF8B69D}" dt="2024-02-07T15:22:46.763" v="51012"/>
          <ac:spMkLst>
            <pc:docMk/>
            <pc:sldMk cId="1450446987" sldId="264"/>
            <ac:spMk id="127" creationId="{2CF9A986-1E95-AE1A-FD0F-F8AD045E4589}"/>
          </ac:spMkLst>
        </pc:spChg>
        <pc:spChg chg="add del mod modVis">
          <ac:chgData name="Joelle Brehm" userId="a518f54c-6985-42c0-8041-2bb16a414839" providerId="ADAL" clId="{D2DE92CD-AADB-43BF-8B53-266FBFF8B69D}" dt="2024-02-07T15:22:42.665" v="50400"/>
          <ac:spMkLst>
            <pc:docMk/>
            <pc:sldMk cId="1450446987" sldId="264"/>
            <ac:spMk id="128" creationId="{1363EDF6-6728-35FB-F56D-C4F19C064B78}"/>
          </ac:spMkLst>
        </pc:spChg>
        <pc:spChg chg="mod">
          <ac:chgData name="Joelle Brehm" userId="a518f54c-6985-42c0-8041-2bb16a414839" providerId="ADAL" clId="{D2DE92CD-AADB-43BF-8B53-266FBFF8B69D}" dt="2024-02-07T15:22:46.745" v="50989"/>
          <ac:spMkLst>
            <pc:docMk/>
            <pc:sldMk cId="1450446987" sldId="264"/>
            <ac:spMk id="130" creationId="{DB0A6969-9BE6-DD88-9511-7F8FD934DA11}"/>
          </ac:spMkLst>
        </pc:spChg>
        <pc:spChg chg="mod">
          <ac:chgData name="Joelle Brehm" userId="a518f54c-6985-42c0-8041-2bb16a414839" providerId="ADAL" clId="{D2DE92CD-AADB-43BF-8B53-266FBFF8B69D}" dt="2024-02-07T15:22:46.767" v="51018"/>
          <ac:spMkLst>
            <pc:docMk/>
            <pc:sldMk cId="1450446987" sldId="264"/>
            <ac:spMk id="131" creationId="{1E95563A-161A-F388-D6A8-05A228809377}"/>
          </ac:spMkLst>
        </pc:spChg>
        <pc:spChg chg="mod">
          <ac:chgData name="Joelle Brehm" userId="a518f54c-6985-42c0-8041-2bb16a414839" providerId="ADAL" clId="{D2DE92CD-AADB-43BF-8B53-266FBFF8B69D}" dt="2024-02-07T15:22:46.815" v="51096"/>
          <ac:spMkLst>
            <pc:docMk/>
            <pc:sldMk cId="1450446987" sldId="264"/>
            <ac:spMk id="132" creationId="{8E856E10-A2C3-3BD4-C02F-F3D2D343989C}"/>
          </ac:spMkLst>
        </pc:spChg>
        <pc:spChg chg="add del mod modVis">
          <ac:chgData name="Joelle Brehm" userId="a518f54c-6985-42c0-8041-2bb16a414839" providerId="ADAL" clId="{D2DE92CD-AADB-43BF-8B53-266FBFF8B69D}" dt="2024-02-07T15:22:43.285" v="50661"/>
          <ac:spMkLst>
            <pc:docMk/>
            <pc:sldMk cId="1450446987" sldId="264"/>
            <ac:spMk id="133" creationId="{A350307E-BAC9-4228-64AC-BA8CA29A79E1}"/>
          </ac:spMkLst>
        </pc:spChg>
        <pc:spChg chg="mod">
          <ac:chgData name="Joelle Brehm" userId="a518f54c-6985-42c0-8041-2bb16a414839" providerId="ADAL" clId="{D2DE92CD-AADB-43BF-8B53-266FBFF8B69D}" dt="2024-02-07T15:22:46.774" v="51028"/>
          <ac:spMkLst>
            <pc:docMk/>
            <pc:sldMk cId="1450446987" sldId="264"/>
            <ac:spMk id="134" creationId="{4B21D98E-CBDB-7AFB-94BD-6B7A23D60EC2}"/>
          </ac:spMkLst>
        </pc:spChg>
        <pc:spChg chg="mod">
          <ac:chgData name="Joelle Brehm" userId="a518f54c-6985-42c0-8041-2bb16a414839" providerId="ADAL" clId="{D2DE92CD-AADB-43BF-8B53-266FBFF8B69D}" dt="2024-02-07T15:22:52.711" v="51129"/>
          <ac:spMkLst>
            <pc:docMk/>
            <pc:sldMk cId="1450446987" sldId="264"/>
            <ac:spMk id="135" creationId="{005E4CB4-2A31-DB1F-88CB-2FBBBD0C091B}"/>
          </ac:spMkLst>
        </pc:spChg>
        <pc:spChg chg="mod">
          <ac:chgData name="Joelle Brehm" userId="a518f54c-6985-42c0-8041-2bb16a414839" providerId="ADAL" clId="{D2DE92CD-AADB-43BF-8B53-266FBFF8B69D}" dt="2024-02-07T15:22:46.798" v="51061"/>
          <ac:spMkLst>
            <pc:docMk/>
            <pc:sldMk cId="1450446987" sldId="264"/>
            <ac:spMk id="136" creationId="{B0880886-62C0-5AA0-11B4-1A12280C6771}"/>
          </ac:spMkLst>
        </pc:spChg>
        <pc:spChg chg="add del mod replST">
          <ac:chgData name="Joelle Brehm" userId="a518f54c-6985-42c0-8041-2bb16a414839" providerId="ADAL" clId="{D2DE92CD-AADB-43BF-8B53-266FBFF8B69D}" dt="2024-02-07T15:22:43.940" v="50712"/>
          <ac:spMkLst>
            <pc:docMk/>
            <pc:sldMk cId="1450446987" sldId="264"/>
            <ac:spMk id="137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7T15:22:46.810" v="51086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D2DE92CD-AADB-43BF-8B53-266FBFF8B69D}" dt="2024-02-07T15:22:46.752" v="51001"/>
          <ac:spMkLst>
            <pc:docMk/>
            <pc:sldMk cId="1450446987" sldId="264"/>
            <ac:spMk id="139" creationId="{90D6C27A-2B60-467B-C5C7-9CCE43964040}"/>
          </ac:spMkLst>
        </pc:spChg>
        <pc:spChg chg="mod">
          <ac:chgData name="Joelle Brehm" userId="a518f54c-6985-42c0-8041-2bb16a414839" providerId="ADAL" clId="{D2DE92CD-AADB-43BF-8B53-266FBFF8B69D}" dt="2024-02-07T15:22:46.783" v="51040"/>
          <ac:spMkLst>
            <pc:docMk/>
            <pc:sldMk cId="1450446987" sldId="264"/>
            <ac:spMk id="141" creationId="{E36F4C8D-EC2C-AF10-792A-6324A776E04A}"/>
          </ac:spMkLst>
        </pc:spChg>
        <pc:spChg chg="add del mod modVis">
          <ac:chgData name="Joelle Brehm" userId="a518f54c-6985-42c0-8041-2bb16a414839" providerId="ADAL" clId="{D2DE92CD-AADB-43BF-8B53-266FBFF8B69D}" dt="2024-02-07T15:22:44.023" v="50870"/>
          <ac:spMkLst>
            <pc:docMk/>
            <pc:sldMk cId="1450446987" sldId="264"/>
            <ac:spMk id="142" creationId="{3B621E53-D19D-4294-4907-1FED297A3BC2}"/>
          </ac:spMkLst>
        </pc:spChg>
        <pc:spChg chg="mod">
          <ac:chgData name="Joelle Brehm" userId="a518f54c-6985-42c0-8041-2bb16a414839" providerId="ADAL" clId="{D2DE92CD-AADB-43BF-8B53-266FBFF8B69D}" dt="2024-02-07T15:22:46.764" v="51013"/>
          <ac:spMkLst>
            <pc:docMk/>
            <pc:sldMk cId="1450446987" sldId="264"/>
            <ac:spMk id="143" creationId="{8B4F9978-6CBD-ADA8-09AB-786FD14471F8}"/>
          </ac:spMkLst>
        </pc:spChg>
        <pc:spChg chg="mod">
          <ac:chgData name="Joelle Brehm" userId="a518f54c-6985-42c0-8041-2bb16a414839" providerId="ADAL" clId="{D2DE92CD-AADB-43BF-8B53-266FBFF8B69D}" dt="2024-02-07T15:22:52.710" v="51125"/>
          <ac:spMkLst>
            <pc:docMk/>
            <pc:sldMk cId="1450446987" sldId="264"/>
            <ac:spMk id="144" creationId="{5181FAC4-6DC3-041D-2CC1-374608CD8D5F}"/>
          </ac:spMkLst>
        </pc:spChg>
        <pc:spChg chg="mod">
          <ac:chgData name="Joelle Brehm" userId="a518f54c-6985-42c0-8041-2bb16a414839" providerId="ADAL" clId="{D2DE92CD-AADB-43BF-8B53-266FBFF8B69D}" dt="2024-02-07T15:22:46.816" v="51098"/>
          <ac:spMkLst>
            <pc:docMk/>
            <pc:sldMk cId="1450446987" sldId="264"/>
            <ac:spMk id="146" creationId="{6414DE83-49A9-C649-08EC-1FB84B54E2EA}"/>
          </ac:spMkLst>
        </pc:spChg>
        <pc:spChg chg="add mod replST">
          <ac:chgData name="Joelle Brehm" userId="a518f54c-6985-42c0-8041-2bb16a414839" providerId="ADAL" clId="{D2DE92CD-AADB-43BF-8B53-266FBFF8B69D}" dt="2024-02-07T15:22:46.800" v="51067"/>
          <ac:spMkLst>
            <pc:docMk/>
            <pc:sldMk cId="1450446987" sldId="264"/>
            <ac:spMk id="147" creationId="{609F0876-DAE8-330B-73F0-332D7FC04AD2}"/>
          </ac:spMkLst>
        </pc:spChg>
        <pc:spChg chg="mod">
          <ac:chgData name="Joelle Brehm" userId="a518f54c-6985-42c0-8041-2bb16a414839" providerId="ADAL" clId="{D2DE92CD-AADB-43BF-8B53-266FBFF8B69D}" dt="2024-02-07T15:22:46.739" v="50976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D2DE92CD-AADB-43BF-8B53-266FBFF8B69D}" dt="2024-02-07T15:22:46.745" v="50988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D2DE92CD-AADB-43BF-8B53-266FBFF8B69D}" dt="2024-02-07T15:22:46.821" v="51108"/>
          <ac:spMkLst>
            <pc:docMk/>
            <pc:sldMk cId="1450446987" sldId="264"/>
            <ac:spMk id="150" creationId="{D957FCF4-7E47-5FB8-5F27-47A4AC14BE70}"/>
          </ac:spMkLst>
        </pc:spChg>
        <pc:spChg chg="mod">
          <ac:chgData name="Joelle Brehm" userId="a518f54c-6985-42c0-8041-2bb16a414839" providerId="ADAL" clId="{D2DE92CD-AADB-43BF-8B53-266FBFF8B69D}" dt="2024-02-07T15:22:46.755" v="51003"/>
          <ac:spMkLst>
            <pc:docMk/>
            <pc:sldMk cId="1450446987" sldId="264"/>
            <ac:spMk id="154" creationId="{A61E4EE9-FC3E-9FF2-7995-0C75440B927B}"/>
          </ac:spMkLst>
        </pc:spChg>
        <pc:spChg chg="mod">
          <ac:chgData name="Joelle Brehm" userId="a518f54c-6985-42c0-8041-2bb16a414839" providerId="ADAL" clId="{D2DE92CD-AADB-43BF-8B53-266FBFF8B69D}" dt="2024-02-07T15:22:46.753" v="51002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D2DE92CD-AADB-43BF-8B53-266FBFF8B69D}" dt="2024-02-07T15:22:46.764" v="51014"/>
          <ac:spMkLst>
            <pc:docMk/>
            <pc:sldMk cId="1450446987" sldId="264"/>
            <ac:spMk id="158" creationId="{5B6F19F9-65BC-D043-328A-0D4F88644681}"/>
          </ac:spMkLst>
        </pc:spChg>
        <pc:spChg chg="mod">
          <ac:chgData name="Joelle Brehm" userId="a518f54c-6985-42c0-8041-2bb16a414839" providerId="ADAL" clId="{D2DE92CD-AADB-43BF-8B53-266FBFF8B69D}" dt="2024-02-07T15:22:46.796" v="51059"/>
          <ac:spMkLst>
            <pc:docMk/>
            <pc:sldMk cId="1450446987" sldId="264"/>
            <ac:spMk id="159" creationId="{35B271FB-A1D6-D982-7784-49F30BEC4F67}"/>
          </ac:spMkLst>
        </pc:spChg>
        <pc:spChg chg="mod">
          <ac:chgData name="Joelle Brehm" userId="a518f54c-6985-42c0-8041-2bb16a414839" providerId="ADAL" clId="{D2DE92CD-AADB-43BF-8B53-266FBFF8B69D}" dt="2024-02-07T15:22:46.796" v="51058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D2DE92CD-AADB-43BF-8B53-266FBFF8B69D}" dt="2024-02-07T15:22:52.716" v="51141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D2DE92CD-AADB-43BF-8B53-266FBFF8B69D}" dt="2024-02-07T15:22:46.765" v="51015"/>
          <ac:spMkLst>
            <pc:docMk/>
            <pc:sldMk cId="1450446987" sldId="264"/>
            <ac:spMk id="163" creationId="{B4BF5702-9B69-493D-938D-23FA87022A8B}"/>
          </ac:spMkLst>
        </pc:spChg>
        <pc:spChg chg="del mod">
          <ac:chgData name="Joelle Brehm" userId="a518f54c-6985-42c0-8041-2bb16a414839" providerId="ADAL" clId="{D2DE92CD-AADB-43BF-8B53-266FBFF8B69D}" dt="2024-02-07T15:22:22.340" v="48609"/>
          <ac:spMkLst>
            <pc:docMk/>
            <pc:sldMk cId="1450446987" sldId="264"/>
            <ac:spMk id="164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7T15:22:46.809" v="51085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D2DE92CD-AADB-43BF-8B53-266FBFF8B69D}" dt="2024-02-07T15:22:46.815" v="51097"/>
          <ac:spMkLst>
            <pc:docMk/>
            <pc:sldMk cId="1450446987" sldId="264"/>
            <ac:spMk id="167" creationId="{F4E87B54-979D-3FF4-CD65-15E354C7960B}"/>
          </ac:spMkLst>
        </pc:spChg>
        <pc:spChg chg="mod ord">
          <ac:chgData name="Joelle Brehm" userId="a518f54c-6985-42c0-8041-2bb16a414839" providerId="ADAL" clId="{D2DE92CD-AADB-43BF-8B53-266FBFF8B69D}" dt="2024-02-07T15:22:46.805" v="51076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D2DE92CD-AADB-43BF-8B53-266FBFF8B69D}" dt="2024-02-07T15:22:46.819" v="51104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D2DE92CD-AADB-43BF-8B53-266FBFF8B69D}" dt="2024-02-07T15:22:52.738" v="51145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07.695" v="47817"/>
          <ac:graphicFrameMkLst>
            <pc:docMk/>
            <pc:sldMk cId="1450446987" sldId="264"/>
            <ac:graphicFrameMk id="14" creationId="{4F1F79D7-B9F6-83E8-50EB-6B734E169CA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13.752" v="48020"/>
          <ac:graphicFrameMkLst>
            <pc:docMk/>
            <pc:sldMk cId="1450446987" sldId="264"/>
            <ac:graphicFrameMk id="19" creationId="{6273C1BD-C3E5-67BF-883A-FA41422B83A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4:59.235" v="4899"/>
          <ac:graphicFrameMkLst>
            <pc:docMk/>
            <pc:sldMk cId="1450446987" sldId="264"/>
            <ac:graphicFrameMk id="19" creationId="{72C02451-24AA-C3C3-8BE8-3AF23903C2E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5:15.370" v="5120"/>
          <ac:graphicFrameMkLst>
            <pc:docMk/>
            <pc:sldMk cId="1450446987" sldId="264"/>
            <ac:graphicFrameMk id="20" creationId="{AAE81C42-D36D-89A2-19F2-5FDF173FDF79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04:57.209" v="4668"/>
          <ac:graphicFrameMkLst>
            <pc:docMk/>
            <pc:sldMk cId="1450446987" sldId="264"/>
            <ac:graphicFrameMk id="26" creationId="{CEDA1C07-6B8F-68DE-E89E-A5B31B737718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16.457" v="48214"/>
          <ac:graphicFrameMkLst>
            <pc:docMk/>
            <pc:sldMk cId="1450446987" sldId="264"/>
            <ac:graphicFrameMk id="26" creationId="{D3FA3999-483B-2EB8-A205-74771491BE4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18.230" v="48411"/>
          <ac:graphicFrameMkLst>
            <pc:docMk/>
            <pc:sldMk cId="1450446987" sldId="264"/>
            <ac:graphicFrameMk id="30" creationId="{76E9C4AA-0585-16D4-AAC1-61CF329F9EB8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7T15:22:46.770" v="51021"/>
          <ac:graphicFrameMkLst>
            <pc:docMk/>
            <pc:sldMk cId="1450446987" sldId="264"/>
            <ac:graphicFrameMk id="32" creationId="{85103986-E876-3E12-CF10-39E4303DF468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22.343" v="48613"/>
          <ac:graphicFrameMkLst>
            <pc:docMk/>
            <pc:sldMk cId="1450446987" sldId="264"/>
            <ac:graphicFrameMk id="39" creationId="{B143A74C-996A-0595-F7A9-BC701CC6F32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5:25.059" v="5628"/>
          <ac:graphicFrameMkLst>
            <pc:docMk/>
            <pc:sldMk cId="1450446987" sldId="264"/>
            <ac:graphicFrameMk id="41" creationId="{54EF539E-2119-8929-2339-24F3D5313F3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28.093" v="48867"/>
          <ac:graphicFrameMkLst>
            <pc:docMk/>
            <pc:sldMk cId="1450446987" sldId="264"/>
            <ac:graphicFrameMk id="44" creationId="{0395A5A6-F62D-89A0-026A-647ACF85D2D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5:30.260" v="5849"/>
          <ac:graphicFrameMkLst>
            <pc:docMk/>
            <pc:sldMk cId="1450446987" sldId="264"/>
            <ac:graphicFrameMk id="46" creationId="{32677A0A-24C6-7C35-D5B7-4050558E723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28.714" v="49119"/>
          <ac:graphicFrameMkLst>
            <pc:docMk/>
            <pc:sldMk cId="1450446987" sldId="264"/>
            <ac:graphicFrameMk id="52" creationId="{5817A4A0-859B-531E-C49D-2F1766ACD2BE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7T15:22:46.735" v="50969"/>
          <ac:graphicFrameMkLst>
            <pc:docMk/>
            <pc:sldMk cId="1450446987" sldId="264"/>
            <ac:graphicFrameMk id="66" creationId="{AF47BF3E-C242-C87A-6D72-AAD9C619D1D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29.260" v="49325"/>
          <ac:graphicFrameMkLst>
            <pc:docMk/>
            <pc:sldMk cId="1450446987" sldId="264"/>
            <ac:graphicFrameMk id="67" creationId="{72C26799-3131-448C-24DA-190E6A013A3C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05:22.413" v="5397"/>
          <ac:graphicFrameMkLst>
            <pc:docMk/>
            <pc:sldMk cId="1450446987" sldId="264"/>
            <ac:graphicFrameMk id="74" creationId="{8AB9E8F7-B319-B29E-864A-3F7C7B9F50D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32.765" v="49583"/>
          <ac:graphicFrameMkLst>
            <pc:docMk/>
            <pc:sldMk cId="1450446987" sldId="264"/>
            <ac:graphicFrameMk id="75" creationId="{583EBAF9-3B85-F245-B1E3-C1B05FFE50F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5:39.523" v="6357"/>
          <ac:graphicFrameMkLst>
            <pc:docMk/>
            <pc:sldMk cId="1450446987" sldId="264"/>
            <ac:graphicFrameMk id="78" creationId="{946CFEE4-2E3F-BFD7-426B-A47818524238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5:44.051" v="6578"/>
          <ac:graphicFrameMkLst>
            <pc:docMk/>
            <pc:sldMk cId="1450446987" sldId="264"/>
            <ac:graphicFrameMk id="82" creationId="{45D7E577-AA8B-5C85-A296-F9C9CF47338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35.804" v="49803"/>
          <ac:graphicFrameMkLst>
            <pc:docMk/>
            <pc:sldMk cId="1450446987" sldId="264"/>
            <ac:graphicFrameMk id="93" creationId="{05C56BB7-EFC4-9960-680C-86E2B28E2F68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7T15:22:46.806" v="51078"/>
          <ac:graphicFrameMkLst>
            <pc:docMk/>
            <pc:sldMk cId="1450446987" sldId="264"/>
            <ac:graphicFrameMk id="100" creationId="{DCE03E81-D9A6-1C68-DCF3-8DE3D22551E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5:59.367" v="7082"/>
          <ac:graphicFrameMkLst>
            <pc:docMk/>
            <pc:sldMk cId="1450446987" sldId="264"/>
            <ac:graphicFrameMk id="111" creationId="{22504AC6-D99A-D237-FCD8-36B2D011EE2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37.861" v="50035"/>
          <ac:graphicFrameMkLst>
            <pc:docMk/>
            <pc:sldMk cId="1450446987" sldId="264"/>
            <ac:graphicFrameMk id="111" creationId="{FB9F1247-5E49-D531-DC56-07FD42BB504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06:02.194" v="7317"/>
          <ac:graphicFrameMkLst>
            <pc:docMk/>
            <pc:sldMk cId="1450446987" sldId="264"/>
            <ac:graphicFrameMk id="120" creationId="{8BC08B9F-4A23-33E8-976C-5D825FF5D56B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05:37.337" v="6126"/>
          <ac:graphicFrameMkLst>
            <pc:docMk/>
            <pc:sldMk cId="1450446987" sldId="264"/>
            <ac:graphicFrameMk id="121" creationId="{3600351A-8CEC-7223-6A21-4DC58659A93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42.580" v="50246"/>
          <ac:graphicFrameMkLst>
            <pc:docMk/>
            <pc:sldMk cId="1450446987" sldId="264"/>
            <ac:graphicFrameMk id="121" creationId="{78E70F95-38E9-33A4-9C42-D9A33381D70B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7T15:22:46.747" v="50995"/>
          <ac:graphicFrameMkLst>
            <pc:docMk/>
            <pc:sldMk cId="1450446987" sldId="264"/>
            <ac:graphicFrameMk id="123" creationId="{1BA3F4F5-219D-2D45-9229-7CC5071D764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43.205" v="50506"/>
          <ac:graphicFrameMkLst>
            <pc:docMk/>
            <pc:sldMk cId="1450446987" sldId="264"/>
            <ac:graphicFrameMk id="129" creationId="{53DBCECE-0064-7784-1D8A-D058B7CAACE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43.942" v="50716"/>
          <ac:graphicFrameMkLst>
            <pc:docMk/>
            <pc:sldMk cId="1450446987" sldId="264"/>
            <ac:graphicFrameMk id="140" creationId="{4F0ACDF0-8F7C-9DAD-9F1D-3B975F1A1EBB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05:51.441" v="6855"/>
          <ac:graphicFrameMkLst>
            <pc:docMk/>
            <pc:sldMk cId="1450446987" sldId="264"/>
            <ac:graphicFrameMk id="145" creationId="{448AE6B4-59BB-9C39-1D90-20789A56DDD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7T15:22:46.672" v="50953"/>
          <ac:graphicFrameMkLst>
            <pc:docMk/>
            <pc:sldMk cId="1450446987" sldId="264"/>
            <ac:graphicFrameMk id="145" creationId="{CE181B36-E0E9-E0D5-E9D1-7ED959EE1ADB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7T15:22:46.795" v="51057"/>
          <ac:graphicFrameMkLst>
            <pc:docMk/>
            <pc:sldMk cId="1450446987" sldId="264"/>
            <ac:graphicFrameMk id="151" creationId="{B6EC2FB4-80EB-982C-6DAC-13DA4C1007B2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7T15:22:06.590" v="47645"/>
          <ac:graphicFrameMkLst>
            <pc:docMk/>
            <pc:sldMk cId="1450446987" sldId="264"/>
            <ac:graphicFrameMk id="181" creationId="{1AC05109-3A22-17C3-5DA0-8579959CCFCA}"/>
          </ac:graphicFrameMkLst>
        </pc:graphicFrameChg>
        <pc:picChg chg="mod ord">
          <ac:chgData name="Joelle Brehm" userId="a518f54c-6985-42c0-8041-2bb16a414839" providerId="ADAL" clId="{D2DE92CD-AADB-43BF-8B53-266FBFF8B69D}" dt="2024-02-07T15:22:46.733" v="50967"/>
          <ac:picMkLst>
            <pc:docMk/>
            <pc:sldMk cId="1450446987" sldId="264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D2DE92CD-AADB-43BF-8B53-266FBFF8B69D}" dt="2024-02-07T15:22:46.727" v="50961"/>
          <ac:picMkLst>
            <pc:docMk/>
            <pc:sldMk cId="1450446987" sldId="264"/>
            <ac:picMk id="9" creationId="{7844F310-DAA6-0B64-48F4-27433596CAA2}"/>
          </ac:picMkLst>
        </pc:picChg>
        <pc:picChg chg="del mod ord">
          <ac:chgData name="Joelle Brehm" userId="a518f54c-6985-42c0-8041-2bb16a414839" providerId="ADAL" clId="{D2DE92CD-AADB-43BF-8B53-266FBFF8B69D}" dt="2024-02-05T19:03:24.146" v="4504" actId="478"/>
          <ac:picMkLst>
            <pc:docMk/>
            <pc:sldMk cId="1450446987" sldId="264"/>
            <ac:picMk id="147" creationId="{2CF83CC8-961B-1D20-60BC-7579ABEDD577}"/>
          </ac:picMkLst>
        </pc:picChg>
      </pc:sldChg>
      <pc:sldChg chg="addSp delSp modSp mod">
        <pc:chgData name="Joelle Brehm" userId="a518f54c-6985-42c0-8041-2bb16a414839" providerId="ADAL" clId="{D2DE92CD-AADB-43BF-8B53-266FBFF8B69D}" dt="2024-02-05T19:50:57.699" v="11829"/>
        <pc:sldMkLst>
          <pc:docMk/>
          <pc:sldMk cId="3436037945" sldId="265"/>
        </pc:sldMkLst>
        <pc:spChg chg="mod ord">
          <ac:chgData name="Joelle Brehm" userId="a518f54c-6985-42c0-8041-2bb16a414839" providerId="ADAL" clId="{D2DE92CD-AADB-43BF-8B53-266FBFF8B69D}" dt="2024-02-05T19:50:57.665" v="11823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D2DE92CD-AADB-43BF-8B53-266FBFF8B69D}" dt="2024-02-05T19:49:26.182" v="10596" actId="478"/>
          <ac:spMkLst>
            <pc:docMk/>
            <pc:sldMk cId="3436037945" sldId="265"/>
            <ac:spMk id="3" creationId="{C59B0EFF-BB38-AC12-14DA-99FACA152DF0}"/>
          </ac:spMkLst>
        </pc:spChg>
        <pc:spChg chg="add del mod modVis">
          <ac:chgData name="Joelle Brehm" userId="a518f54c-6985-42c0-8041-2bb16a414839" providerId="ADAL" clId="{D2DE92CD-AADB-43BF-8B53-266FBFF8B69D}" dt="2024-02-05T19:49:38.652" v="10811"/>
          <ac:spMkLst>
            <pc:docMk/>
            <pc:sldMk cId="3436037945" sldId="265"/>
            <ac:spMk id="5" creationId="{C7339801-3C87-0CD6-228F-01499DE48C45}"/>
          </ac:spMkLst>
        </pc:spChg>
        <pc:spChg chg="mod ord">
          <ac:chgData name="Joelle Brehm" userId="a518f54c-6985-42c0-8041-2bb16a414839" providerId="ADAL" clId="{D2DE92CD-AADB-43BF-8B53-266FBFF8B69D}" dt="2024-02-05T19:50:57.623" v="11758"/>
          <ac:spMkLst>
            <pc:docMk/>
            <pc:sldMk cId="3436037945" sldId="265"/>
            <ac:spMk id="6" creationId="{B47CE71D-7819-4857-B121-737A3BD39B4D}"/>
          </ac:spMkLst>
        </pc:spChg>
        <pc:spChg chg="del mod">
          <ac:chgData name="Joelle Brehm" userId="a518f54c-6985-42c0-8041-2bb16a414839" providerId="ADAL" clId="{D2DE92CD-AADB-43BF-8B53-266FBFF8B69D}" dt="2024-02-05T19:50:57.373" v="11652"/>
          <ac:spMkLst>
            <pc:docMk/>
            <pc:sldMk cId="3436037945" sldId="265"/>
            <ac:spMk id="9" creationId="{A184008A-CA66-0B0D-B37B-B51441A8EF62}"/>
          </ac:spMkLst>
        </pc:spChg>
        <pc:spChg chg="add del mod modVis">
          <ac:chgData name="Joelle Brehm" userId="a518f54c-6985-42c0-8041-2bb16a414839" providerId="ADAL" clId="{D2DE92CD-AADB-43BF-8B53-266FBFF8B69D}" dt="2024-02-05T19:50:32.812" v="11009"/>
          <ac:spMkLst>
            <pc:docMk/>
            <pc:sldMk cId="3436037945" sldId="265"/>
            <ac:spMk id="10" creationId="{0D8EEBD1-6FC2-F4AA-1253-BADB1ECA9F7B}"/>
          </ac:spMkLst>
        </pc:spChg>
        <pc:spChg chg="mod">
          <ac:chgData name="Joelle Brehm" userId="a518f54c-6985-42c0-8041-2bb16a414839" providerId="ADAL" clId="{D2DE92CD-AADB-43BF-8B53-266FBFF8B69D}" dt="2024-02-05T19:50:57.630" v="11769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19:50:57.628" v="11765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19:50:57.628" v="11766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19:50:57.626" v="11763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19:50:57.626" v="11764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19:50:57.629" v="11767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19:50:57.629" v="11768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19:50:57.630" v="11770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19:50:57.630" v="11771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19:50:57.631" v="11772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19:50:57.631" v="11773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19:50:57.631" v="11774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19:50:57.632" v="11776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19:50:57.634" v="11777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19:50:57.636" v="11779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19:50:57.635" v="11778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19:50:57.637" v="11781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19:50:57.638" v="11782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19:50:57.636" v="11780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19:50:57.639" v="11784"/>
          <ac:spMkLst>
            <pc:docMk/>
            <pc:sldMk cId="3436037945" sldId="265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19:50:57.646" v="11795"/>
          <ac:spMkLst>
            <pc:docMk/>
            <pc:sldMk cId="3436037945" sldId="265"/>
            <ac:spMk id="33" creationId="{88A51C86-CC1A-E0E0-4190-57AF874D78E8}"/>
          </ac:spMkLst>
        </pc:spChg>
        <pc:spChg chg="mod">
          <ac:chgData name="Joelle Brehm" userId="a518f54c-6985-42c0-8041-2bb16a414839" providerId="ADAL" clId="{D2DE92CD-AADB-43BF-8B53-266FBFF8B69D}" dt="2024-02-05T19:50:57.647" v="11796"/>
          <ac:spMkLst>
            <pc:docMk/>
            <pc:sldMk cId="3436037945" sldId="265"/>
            <ac:spMk id="34" creationId="{553B3276-AAC9-7700-1361-C4731F1BB052}"/>
          </ac:spMkLst>
        </pc:spChg>
        <pc:spChg chg="mod">
          <ac:chgData name="Joelle Brehm" userId="a518f54c-6985-42c0-8041-2bb16a414839" providerId="ADAL" clId="{D2DE92CD-AADB-43BF-8B53-266FBFF8B69D}" dt="2024-02-05T19:50:57.641" v="11787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D2DE92CD-AADB-43BF-8B53-266FBFF8B69D}" dt="2024-02-05T19:50:57.642" v="11788"/>
          <ac:spMkLst>
            <pc:docMk/>
            <pc:sldMk cId="3436037945" sldId="265"/>
            <ac:spMk id="39" creationId="{D3B6923F-EF2F-5CB1-1EC9-23DAFECD1AD3}"/>
          </ac:spMkLst>
        </pc:spChg>
        <pc:spChg chg="mod">
          <ac:chgData name="Joelle Brehm" userId="a518f54c-6985-42c0-8041-2bb16a414839" providerId="ADAL" clId="{D2DE92CD-AADB-43BF-8B53-266FBFF8B69D}" dt="2024-02-05T19:50:57.648" v="11797"/>
          <ac:spMkLst>
            <pc:docMk/>
            <pc:sldMk cId="3436037945" sldId="265"/>
            <ac:spMk id="40" creationId="{2A43095D-ADFF-616D-2F9C-314A2CAEAAAB}"/>
          </ac:spMkLst>
        </pc:spChg>
        <pc:spChg chg="mod">
          <ac:chgData name="Joelle Brehm" userId="a518f54c-6985-42c0-8041-2bb16a414839" providerId="ADAL" clId="{D2DE92CD-AADB-43BF-8B53-266FBFF8B69D}" dt="2024-02-05T19:50:57.644" v="11792"/>
          <ac:spMkLst>
            <pc:docMk/>
            <pc:sldMk cId="3436037945" sldId="265"/>
            <ac:spMk id="41" creationId="{16B778E2-8712-DA55-C5AD-4A641096111C}"/>
          </ac:spMkLst>
        </pc:spChg>
        <pc:spChg chg="mod">
          <ac:chgData name="Joelle Brehm" userId="a518f54c-6985-42c0-8041-2bb16a414839" providerId="ADAL" clId="{D2DE92CD-AADB-43BF-8B53-266FBFF8B69D}" dt="2024-02-05T19:50:57.642" v="11789"/>
          <ac:spMkLst>
            <pc:docMk/>
            <pc:sldMk cId="3436037945" sldId="265"/>
            <ac:spMk id="42" creationId="{C3432236-FD50-8E13-A648-6A2FCA3BBBAE}"/>
          </ac:spMkLst>
        </pc:spChg>
        <pc:spChg chg="mod">
          <ac:chgData name="Joelle Brehm" userId="a518f54c-6985-42c0-8041-2bb16a414839" providerId="ADAL" clId="{D2DE92CD-AADB-43BF-8B53-266FBFF8B69D}" dt="2024-02-05T19:50:57.645" v="11793"/>
          <ac:spMkLst>
            <pc:docMk/>
            <pc:sldMk cId="3436037945" sldId="265"/>
            <ac:spMk id="43" creationId="{75C463B6-6FC6-0A00-1C57-A6F7C4BD145A}"/>
          </ac:spMkLst>
        </pc:spChg>
        <pc:spChg chg="mod">
          <ac:chgData name="Joelle Brehm" userId="a518f54c-6985-42c0-8041-2bb16a414839" providerId="ADAL" clId="{D2DE92CD-AADB-43BF-8B53-266FBFF8B69D}" dt="2024-02-05T19:50:57.643" v="11790"/>
          <ac:spMkLst>
            <pc:docMk/>
            <pc:sldMk cId="3436037945" sldId="265"/>
            <ac:spMk id="44" creationId="{16F84182-CECA-3CD8-7D89-52B39ECEBFE4}"/>
          </ac:spMkLst>
        </pc:spChg>
        <pc:spChg chg="mod">
          <ac:chgData name="Joelle Brehm" userId="a518f54c-6985-42c0-8041-2bb16a414839" providerId="ADAL" clId="{D2DE92CD-AADB-43BF-8B53-266FBFF8B69D}" dt="2024-02-05T19:50:57.646" v="11794"/>
          <ac:spMkLst>
            <pc:docMk/>
            <pc:sldMk cId="3436037945" sldId="265"/>
            <ac:spMk id="45" creationId="{790AE0EA-D2B0-6BC1-21FA-449B7C18A555}"/>
          </ac:spMkLst>
        </pc:spChg>
        <pc:spChg chg="add mod replST">
          <ac:chgData name="Joelle Brehm" userId="a518f54c-6985-42c0-8041-2bb16a414839" providerId="ADAL" clId="{D2DE92CD-AADB-43BF-8B53-266FBFF8B69D}" dt="2024-02-05T19:50:57.648" v="11798"/>
          <ac:spMkLst>
            <pc:docMk/>
            <pc:sldMk cId="3436037945" sldId="265"/>
            <ac:spMk id="46" creationId="{CC579B3F-E788-D65D-788A-B21F9610D5BD}"/>
          </ac:spMkLst>
        </pc:spChg>
        <pc:spChg chg="mod">
          <ac:chgData name="Joelle Brehm" userId="a518f54c-6985-42c0-8041-2bb16a414839" providerId="ADAL" clId="{D2DE92CD-AADB-43BF-8B53-266FBFF8B69D}" dt="2024-02-05T19:50:57.643" v="11791"/>
          <ac:spMkLst>
            <pc:docMk/>
            <pc:sldMk cId="3436037945" sldId="265"/>
            <ac:spMk id="47" creationId="{DA382430-2E3A-48A8-BD50-8227787BBF7B}"/>
          </ac:spMkLst>
        </pc:spChg>
        <pc:spChg chg="add del mod modVis">
          <ac:chgData name="Joelle Brehm" userId="a518f54c-6985-42c0-8041-2bb16a414839" providerId="ADAL" clId="{D2DE92CD-AADB-43BF-8B53-266FBFF8B69D}" dt="2024-02-05T19:50:54.500" v="11478"/>
          <ac:spMkLst>
            <pc:docMk/>
            <pc:sldMk cId="3436037945" sldId="265"/>
            <ac:spMk id="48" creationId="{C0D4E043-906B-0B3B-071D-A3379EC5B304}"/>
          </ac:spMkLst>
        </pc:spChg>
        <pc:spChg chg="add del mod modVis">
          <ac:chgData name="Joelle Brehm" userId="a518f54c-6985-42c0-8041-2bb16a414839" providerId="ADAL" clId="{D2DE92CD-AADB-43BF-8B53-266FBFF8B69D}" dt="2024-02-05T19:50:55.755" v="11649"/>
          <ac:spMkLst>
            <pc:docMk/>
            <pc:sldMk cId="3436037945" sldId="265"/>
            <ac:spMk id="50" creationId="{02B58300-3E61-B835-B604-643D38E24F06}"/>
          </ac:spMkLst>
        </pc:spChg>
        <pc:spChg chg="add del mod modVis">
          <ac:chgData name="Joelle Brehm" userId="a518f54c-6985-42c0-8041-2bb16a414839" providerId="ADAL" clId="{D2DE92CD-AADB-43BF-8B53-266FBFF8B69D}" dt="2024-02-05T19:50:57.668" v="11827"/>
          <ac:spMkLst>
            <pc:docMk/>
            <pc:sldMk cId="3436037945" sldId="265"/>
            <ac:spMk id="52" creationId="{351232D2-EDB0-AFFA-BC23-CDBEEE3F9E77}"/>
          </ac:spMkLst>
        </pc:spChg>
        <pc:spChg chg="mod ord">
          <ac:chgData name="Joelle Brehm" userId="a518f54c-6985-42c0-8041-2bb16a414839" providerId="ADAL" clId="{D2DE92CD-AADB-43BF-8B53-266FBFF8B69D}" dt="2024-02-05T19:50:57.650" v="11800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19:50:57.651" v="11802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19:50:57.653" v="11804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19:50:57.653" v="11806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19:50:57.654" v="11808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19:50:57.656" v="11810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D2DE92CD-AADB-43BF-8B53-266FBFF8B69D}" dt="2024-02-05T19:50:57.663" v="11821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D2DE92CD-AADB-43BF-8B53-266FBFF8B69D}" dt="2024-02-05T19:50:57.658" v="11813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0:57.659" v="11814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0:57.659" v="11815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0:57.660" v="11816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19:50:57.661" v="11817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19:50:57.699" v="11829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0:57.626" v="11762"/>
          <ac:graphicFrameMkLst>
            <pc:docMk/>
            <pc:sldMk cId="3436037945" sldId="265"/>
            <ac:graphicFrameMk id="8" creationId="{DC03BD94-C1D8-DAAA-F108-F5E84354048C}"/>
          </ac:graphicFrameMkLst>
        </pc:graphicFrameChg>
        <pc:graphicFrameChg chg="del">
          <ac:chgData name="Joelle Brehm" userId="a518f54c-6985-42c0-8041-2bb16a414839" providerId="ADAL" clId="{D2DE92CD-AADB-43BF-8B53-266FBFF8B69D}" dt="2024-02-05T19:49:38.462" v="10728"/>
          <ac:graphicFrameMkLst>
            <pc:docMk/>
            <pc:sldMk cId="3436037945" sldId="265"/>
            <ac:graphicFrameMk id="31" creationId="{3053AB32-049A-47C8-4AE7-92208BED6F45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0:57.657" v="11812"/>
          <ac:graphicFrameMkLst>
            <pc:docMk/>
            <pc:sldMk cId="3436037945" sldId="265"/>
            <ac:graphicFrameMk id="35" creationId="{8C367658-326B-D9DC-3076-C7E95D1882CC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50:32.752" v="10930"/>
          <ac:graphicFrameMkLst>
            <pc:docMk/>
            <pc:sldMk cId="3436037945" sldId="265"/>
            <ac:graphicFrameMk id="37" creationId="{64366138-6F49-7000-3A13-9D158AA1CF5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50:55.638" v="11556"/>
          <ac:graphicFrameMkLst>
            <pc:docMk/>
            <pc:sldMk cId="3436037945" sldId="265"/>
            <ac:graphicFrameMk id="49" creationId="{664C1467-AE85-BE4B-5636-19CBEF01133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50:57.557" v="11748"/>
          <ac:graphicFrameMkLst>
            <pc:docMk/>
            <pc:sldMk cId="3436037945" sldId="265"/>
            <ac:graphicFrameMk id="51" creationId="{C336F693-BE29-56BD-08A8-3BA202482BE2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0:57.640" v="11786"/>
          <ac:graphicFrameMkLst>
            <pc:docMk/>
            <pc:sldMk cId="3436037945" sldId="265"/>
            <ac:graphicFrameMk id="53" creationId="{C805F7B9-6AE6-A6D0-68C0-3CF97B9F84AF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50:54.420" v="11385"/>
          <ac:graphicFrameMkLst>
            <pc:docMk/>
            <pc:sldMk cId="3436037945" sldId="265"/>
            <ac:graphicFrameMk id="57" creationId="{10C00D3E-5ACD-1934-09EC-0672F6BF4932}"/>
          </ac:graphicFrameMkLst>
        </pc:graphicFrameChg>
        <pc:picChg chg="del mod ord">
          <ac:chgData name="Joelle Brehm" userId="a518f54c-6985-42c0-8041-2bb16a414839" providerId="ADAL" clId="{D2DE92CD-AADB-43BF-8B53-266FBFF8B69D}" dt="2024-02-05T19:50:47.227" v="11096" actId="478"/>
          <ac:picMkLst>
            <pc:docMk/>
            <pc:sldMk cId="3436037945" sldId="265"/>
            <ac:picMk id="32" creationId="{C593BB82-F982-FEA1-7C22-6BAC472A72E7}"/>
          </ac:picMkLst>
        </pc:picChg>
        <pc:picChg chg="add mod ord">
          <ac:chgData name="Joelle Brehm" userId="a518f54c-6985-42c0-8041-2bb16a414839" providerId="ADAL" clId="{D2DE92CD-AADB-43BF-8B53-266FBFF8B69D}" dt="2024-02-05T19:50:57.622" v="11756"/>
          <ac:picMkLst>
            <pc:docMk/>
            <pc:sldMk cId="3436037945" sldId="265"/>
            <ac:picMk id="36" creationId="{57BAD5F2-AC3A-F7AC-00DB-71E5786D8C98}"/>
          </ac:picMkLst>
        </pc:picChg>
        <pc:picChg chg="mod ord">
          <ac:chgData name="Joelle Brehm" userId="a518f54c-6985-42c0-8041-2bb16a414839" providerId="ADAL" clId="{D2DE92CD-AADB-43BF-8B53-266FBFF8B69D}" dt="2024-02-05T19:50:57.662" v="11819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19:50:57.625" v="11760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19:49:20.644" v="10595"/>
        <pc:sldMkLst>
          <pc:docMk/>
          <pc:sldMk cId="2057745716" sldId="266"/>
        </pc:sldMkLst>
        <pc:spChg chg="mod ord">
          <ac:chgData name="Joelle Brehm" userId="a518f54c-6985-42c0-8041-2bb16a414839" providerId="ADAL" clId="{D2DE92CD-AADB-43BF-8B53-266FBFF8B69D}" dt="2024-02-05T19:49:20.597" v="10589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D2DE92CD-AADB-43BF-8B53-266FBFF8B69D}" dt="2024-02-05T19:48:27.612" v="9267" actId="478"/>
          <ac:spMkLst>
            <pc:docMk/>
            <pc:sldMk cId="2057745716" sldId="266"/>
            <ac:spMk id="3" creationId="{CCC8C804-FB0F-59FF-9D16-C217366499F3}"/>
          </ac:spMkLst>
        </pc:spChg>
        <pc:spChg chg="add del mod modVis">
          <ac:chgData name="Joelle Brehm" userId="a518f54c-6985-42c0-8041-2bb16a414839" providerId="ADAL" clId="{D2DE92CD-AADB-43BF-8B53-266FBFF8B69D}" dt="2024-02-05T19:48:31.332" v="9516"/>
          <ac:spMkLst>
            <pc:docMk/>
            <pc:sldMk cId="2057745716" sldId="266"/>
            <ac:spMk id="5" creationId="{DDCC8E16-701D-7CFD-D2B4-165D635634A4}"/>
          </ac:spMkLst>
        </pc:spChg>
        <pc:spChg chg="mod ord">
          <ac:chgData name="Joelle Brehm" userId="a518f54c-6985-42c0-8041-2bb16a414839" providerId="ADAL" clId="{D2DE92CD-AADB-43BF-8B53-266FBFF8B69D}" dt="2024-02-05T19:49:20.525" v="10507"/>
          <ac:spMkLst>
            <pc:docMk/>
            <pc:sldMk cId="2057745716" sldId="266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19:49:20.534" v="10518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19:49:20.531" v="10514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19:49:20.532" v="10515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19:49:20.530" v="10512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19:49:20.531" v="10513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19:49:20.533" v="10516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19:49:20.534" v="10517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19:49:20.535" v="10519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19:49:20.536" v="10520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19:49:20.537" v="10521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19:49:20.538" v="10522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19:49:20.539" v="10523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19:49:20.541" v="10525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19:49:20.543" v="10526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19:49:20.545" v="10528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19:49:20.544" v="10527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19:49:20.546" v="10530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19:49:20.547" v="10531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19:49:20.545" v="10529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19:49:20.548" v="10533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19:49:20.560" v="10546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D2DE92CD-AADB-43BF-8B53-266FBFF8B69D}" dt="2024-02-05T19:49:20.568" v="10558"/>
          <ac:spMkLst>
            <pc:docMk/>
            <pc:sldMk cId="2057745716" sldId="266"/>
            <ac:spMk id="33" creationId="{4776A783-F061-E03D-5F78-B2DE3144370E}"/>
          </ac:spMkLst>
        </pc:spChg>
        <pc:spChg chg="add del mod modVis">
          <ac:chgData name="Joelle Brehm" userId="a518f54c-6985-42c0-8041-2bb16a414839" providerId="ADAL" clId="{D2DE92CD-AADB-43BF-8B53-266FBFF8B69D}" dt="2024-02-05T19:49:09.469" v="9801"/>
          <ac:spMkLst>
            <pc:docMk/>
            <pc:sldMk cId="2057745716" sldId="266"/>
            <ac:spMk id="34" creationId="{686538B0-340A-1E0D-1EBB-D4A1A6BF5A6A}"/>
          </ac:spMkLst>
        </pc:spChg>
        <pc:spChg chg="mod">
          <ac:chgData name="Joelle Brehm" userId="a518f54c-6985-42c0-8041-2bb16a414839" providerId="ADAL" clId="{D2DE92CD-AADB-43BF-8B53-266FBFF8B69D}" dt="2024-02-05T19:49:20.570" v="10560"/>
          <ac:spMkLst>
            <pc:docMk/>
            <pc:sldMk cId="2057745716" sldId="266"/>
            <ac:spMk id="35" creationId="{07FC4FF1-C9FC-C6C2-5A5D-6EECA837BD15}"/>
          </ac:spMkLst>
        </pc:spChg>
        <pc:spChg chg="mod">
          <ac:chgData name="Joelle Brehm" userId="a518f54c-6985-42c0-8041-2bb16a414839" providerId="ADAL" clId="{D2DE92CD-AADB-43BF-8B53-266FBFF8B69D}" dt="2024-02-05T19:49:20.571" v="10562"/>
          <ac:spMkLst>
            <pc:docMk/>
            <pc:sldMk cId="2057745716" sldId="266"/>
            <ac:spMk id="36" creationId="{3764C828-0438-D875-2C45-33FA7010F8CA}"/>
          </ac:spMkLst>
        </pc:spChg>
        <pc:spChg chg="mod">
          <ac:chgData name="Joelle Brehm" userId="a518f54c-6985-42c0-8041-2bb16a414839" providerId="ADAL" clId="{D2DE92CD-AADB-43BF-8B53-266FBFF8B69D}" dt="2024-02-05T19:49:20.571" v="10561"/>
          <ac:spMkLst>
            <pc:docMk/>
            <pc:sldMk cId="2057745716" sldId="266"/>
            <ac:spMk id="37" creationId="{33181A84-3557-D464-C31E-C60C3CBB82A3}"/>
          </ac:spMkLst>
        </pc:spChg>
        <pc:spChg chg="add mod replST">
          <ac:chgData name="Joelle Brehm" userId="a518f54c-6985-42c0-8041-2bb16a414839" providerId="ADAL" clId="{D2DE92CD-AADB-43BF-8B53-266FBFF8B69D}" dt="2024-02-05T19:49:20.573" v="10563"/>
          <ac:spMkLst>
            <pc:docMk/>
            <pc:sldMk cId="2057745716" sldId="266"/>
            <ac:spMk id="39" creationId="{D8831937-ECCE-17CE-638D-71442AEB8CE1}"/>
          </ac:spMkLst>
        </pc:spChg>
        <pc:spChg chg="mod">
          <ac:chgData name="Joelle Brehm" userId="a518f54c-6985-42c0-8041-2bb16a414839" providerId="ADAL" clId="{D2DE92CD-AADB-43BF-8B53-266FBFF8B69D}" dt="2024-02-05T19:49:20.558" v="10544"/>
          <ac:spMkLst>
            <pc:docMk/>
            <pc:sldMk cId="2057745716" sldId="266"/>
            <ac:spMk id="40" creationId="{3C36A0E2-F6F2-5165-E7DD-B1D9CD0FFA1F}"/>
          </ac:spMkLst>
        </pc:spChg>
        <pc:spChg chg="add mod replST">
          <ac:chgData name="Joelle Brehm" userId="a518f54c-6985-42c0-8041-2bb16a414839" providerId="ADAL" clId="{D2DE92CD-AADB-43BF-8B53-266FBFF8B69D}" dt="2024-02-05T19:49:20.574" v="10564"/>
          <ac:spMkLst>
            <pc:docMk/>
            <pc:sldMk cId="2057745716" sldId="266"/>
            <ac:spMk id="41" creationId="{29AEB0C0-1606-DAD4-E036-1191325B42B8}"/>
          </ac:spMkLst>
        </pc:spChg>
        <pc:spChg chg="del mod">
          <ac:chgData name="Joelle Brehm" userId="a518f54c-6985-42c0-8041-2bb16a414839" providerId="ADAL" clId="{D2DE92CD-AADB-43BF-8B53-266FBFF8B69D}" dt="2024-02-05T19:49:20.230" v="10366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D2DE92CD-AADB-43BF-8B53-266FBFF8B69D}" dt="2024-02-05T19:49:20.557" v="10542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D2DE92CD-AADB-43BF-8B53-266FBFF8B69D}" dt="2024-02-05T19:49:20.557" v="10543"/>
          <ac:spMkLst>
            <pc:docMk/>
            <pc:sldMk cId="2057745716" sldId="266"/>
            <ac:spMk id="44" creationId="{3B42FA95-5355-D814-0F19-1287A982B05E}"/>
          </ac:spMkLst>
        </pc:spChg>
        <pc:spChg chg="del mod">
          <ac:chgData name="Joelle Brehm" userId="a518f54c-6985-42c0-8041-2bb16a414839" providerId="ADAL" clId="{D2DE92CD-AADB-43BF-8B53-266FBFF8B69D}" dt="2024-02-05T19:49:20.228" v="10365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D2DE92CD-AADB-43BF-8B53-266FBFF8B69D}" dt="2024-02-05T19:49:20.569" v="10559"/>
          <ac:spMkLst>
            <pc:docMk/>
            <pc:sldMk cId="2057745716" sldId="266"/>
            <ac:spMk id="46" creationId="{F71F0A63-DF39-49D4-2B0A-063A8976E855}"/>
          </ac:spMkLst>
        </pc:spChg>
        <pc:spChg chg="mod">
          <ac:chgData name="Joelle Brehm" userId="a518f54c-6985-42c0-8041-2bb16a414839" providerId="ADAL" clId="{D2DE92CD-AADB-43BF-8B53-266FBFF8B69D}" dt="2024-02-05T19:49:20.556" v="10541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D2DE92CD-AADB-43BF-8B53-266FBFF8B69D}" dt="2024-02-05T19:49:20.568" v="10557"/>
          <ac:spMkLst>
            <pc:docMk/>
            <pc:sldMk cId="2057745716" sldId="266"/>
            <ac:spMk id="48" creationId="{83D70FB8-70C1-9516-ECF9-CBF5EA76AE37}"/>
          </ac:spMkLst>
        </pc:spChg>
        <pc:spChg chg="mod">
          <ac:chgData name="Joelle Brehm" userId="a518f54c-6985-42c0-8041-2bb16a414839" providerId="ADAL" clId="{D2DE92CD-AADB-43BF-8B53-266FBFF8B69D}" dt="2024-02-05T19:49:20.559" v="10545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D2DE92CD-AADB-43BF-8B53-266FBFF8B69D}" dt="2024-02-05T19:49:20.562" v="10548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D2DE92CD-AADB-43BF-8B53-266FBFF8B69D}" dt="2024-02-05T19:49:20.561" v="10547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D2DE92CD-AADB-43BF-8B53-266FBFF8B69D}" dt="2024-02-05T19:49:20.565" v="10554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D2DE92CD-AADB-43BF-8B53-266FBFF8B69D}" dt="2024-02-05T19:49:20.564" v="10553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D2DE92CD-AADB-43BF-8B53-266FBFF8B69D}" dt="2024-02-05T19:49:20.562" v="10550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D2DE92CD-AADB-43BF-8B53-266FBFF8B69D}" dt="2024-02-05T19:49:20.562" v="10549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D2DE92CD-AADB-43BF-8B53-266FBFF8B69D}" dt="2024-02-05T19:49:20.564" v="10552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D2DE92CD-AADB-43BF-8B53-266FBFF8B69D}" dt="2024-02-05T19:49:20.563" v="10551"/>
          <ac:spMkLst>
            <pc:docMk/>
            <pc:sldMk cId="2057745716" sldId="266"/>
            <ac:spMk id="57" creationId="{5B53372F-C271-7F94-7100-D104F06C3037}"/>
          </ac:spMkLst>
        </pc:spChg>
        <pc:spChg chg="mod">
          <ac:chgData name="Joelle Brehm" userId="a518f54c-6985-42c0-8041-2bb16a414839" providerId="ADAL" clId="{D2DE92CD-AADB-43BF-8B53-266FBFF8B69D}" dt="2024-02-05T19:49:20.567" v="10556"/>
          <ac:spMkLst>
            <pc:docMk/>
            <pc:sldMk cId="2057745716" sldId="266"/>
            <ac:spMk id="58" creationId="{DAA22F52-9C0E-72DF-927C-E34B49E164A2}"/>
          </ac:spMkLst>
        </pc:spChg>
        <pc:spChg chg="add del mod modVis">
          <ac:chgData name="Joelle Brehm" userId="a518f54c-6985-42c0-8041-2bb16a414839" providerId="ADAL" clId="{D2DE92CD-AADB-43BF-8B53-266FBFF8B69D}" dt="2024-02-05T19:49:17.198" v="10172"/>
          <ac:spMkLst>
            <pc:docMk/>
            <pc:sldMk cId="2057745716" sldId="266"/>
            <ac:spMk id="59" creationId="{1C3BF123-754E-B34C-3283-7DD861C53825}"/>
          </ac:spMkLst>
        </pc:spChg>
        <pc:spChg chg="mod">
          <ac:chgData name="Joelle Brehm" userId="a518f54c-6985-42c0-8041-2bb16a414839" providerId="ADAL" clId="{D2DE92CD-AADB-43BF-8B53-266FBFF8B69D}" dt="2024-02-05T19:49:20.566" v="10555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D2DE92CD-AADB-43BF-8B53-266FBFF8B69D}" dt="2024-02-05T19:49:19.025" v="10362"/>
          <ac:spMkLst>
            <pc:docMk/>
            <pc:sldMk cId="2057745716" sldId="266"/>
            <ac:spMk id="62" creationId="{B6B8C56B-17A0-2008-49C2-01AE20BD1A13}"/>
          </ac:spMkLst>
        </pc:spChg>
        <pc:spChg chg="add del mod modVis">
          <ac:chgData name="Joelle Brehm" userId="a518f54c-6985-42c0-8041-2bb16a414839" providerId="ADAL" clId="{D2DE92CD-AADB-43BF-8B53-266FBFF8B69D}" dt="2024-02-05T19:49:20.602" v="10593"/>
          <ac:spMkLst>
            <pc:docMk/>
            <pc:sldMk cId="2057745716" sldId="266"/>
            <ac:spMk id="64" creationId="{2C15C189-05E8-FF07-597A-CB040BB9F137}"/>
          </ac:spMkLst>
        </pc:spChg>
        <pc:spChg chg="mod ord">
          <ac:chgData name="Joelle Brehm" userId="a518f54c-6985-42c0-8041-2bb16a414839" providerId="ADAL" clId="{D2DE92CD-AADB-43BF-8B53-266FBFF8B69D}" dt="2024-02-05T19:49:20.575" v="10566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19:49:20.577" v="10568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D2DE92CD-AADB-43BF-8B53-266FBFF8B69D}" dt="2024-02-05T19:49:20.555" v="10540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9:49:20.579" v="10570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19:49:20.581" v="10572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19:49:20.582" v="10574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19:49:20.584" v="10576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19:49:20.552" v="10537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9:20.553" v="10538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9:20.554" v="10539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9:20.552" v="10536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9:20.587" v="10579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9:20.588" v="10580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9:20.588" v="10581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49:20.589" v="10582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19:49:20.590" v="10583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19:49:20.644" v="10595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19:48:31.228" v="9414"/>
          <ac:graphicFrameMkLst>
            <pc:docMk/>
            <pc:sldMk cId="2057745716" sldId="266"/>
            <ac:graphicFrameMk id="8" creationId="{D0E670CC-828F-ED50-C4B5-7DD2235AD2F3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49:20.529" v="10511"/>
          <ac:graphicFrameMkLst>
            <pc:docMk/>
            <pc:sldMk cId="2057745716" sldId="266"/>
            <ac:graphicFrameMk id="10" creationId="{8159890F-0F3A-8731-5A73-1AE8F387A9AB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49:20.586" v="10578"/>
          <ac:graphicFrameMkLst>
            <pc:docMk/>
            <pc:sldMk cId="2057745716" sldId="266"/>
            <ac:graphicFrameMk id="38" creationId="{1402D7BD-1122-6D86-790E-D694F07A98B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49:18.875" v="10264"/>
          <ac:graphicFrameMkLst>
            <pc:docMk/>
            <pc:sldMk cId="2057745716" sldId="266"/>
            <ac:graphicFrameMk id="60" creationId="{9A95BCA9-E746-816F-B7D6-A8F61818F7F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49:20.467" v="10497"/>
          <ac:graphicFrameMkLst>
            <pc:docMk/>
            <pc:sldMk cId="2057745716" sldId="266"/>
            <ac:graphicFrameMk id="63" creationId="{9467E093-51C7-80B9-F4F2-185EC0210F1E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49:20.550" v="10535"/>
          <ac:graphicFrameMkLst>
            <pc:docMk/>
            <pc:sldMk cId="2057745716" sldId="266"/>
            <ac:graphicFrameMk id="65" creationId="{4DBAC749-7142-58E4-3B64-C78B1CDC1B14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49:17.141" v="10074"/>
          <ac:graphicFrameMkLst>
            <pc:docMk/>
            <pc:sldMk cId="2057745716" sldId="266"/>
            <ac:graphicFrameMk id="68" creationId="{51BBB343-4AAD-5953-31E4-B529618F50CB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49:09.405" v="9705"/>
          <ac:graphicFrameMkLst>
            <pc:docMk/>
            <pc:sldMk cId="2057745716" sldId="266"/>
            <ac:graphicFrameMk id="71" creationId="{A83487CA-0A28-9A39-4AE6-B54CF08779CC}"/>
          </ac:graphicFrameMkLst>
        </pc:graphicFrameChg>
        <pc:picChg chg="del mod ord">
          <ac:chgData name="Joelle Brehm" userId="a518f54c-6985-42c0-8041-2bb16a414839" providerId="ADAL" clId="{D2DE92CD-AADB-43BF-8B53-266FBFF8B69D}" dt="2024-02-05T19:48:44.332" v="9616" actId="478"/>
          <ac:picMkLst>
            <pc:docMk/>
            <pc:sldMk cId="2057745716" sldId="266"/>
            <ac:picMk id="9" creationId="{255EC860-4A4A-A109-DA2D-290977C8C91E}"/>
          </ac:picMkLst>
        </pc:picChg>
        <pc:picChg chg="add mod ord">
          <ac:chgData name="Joelle Brehm" userId="a518f54c-6985-42c0-8041-2bb16a414839" providerId="ADAL" clId="{D2DE92CD-AADB-43BF-8B53-266FBFF8B69D}" dt="2024-02-05T19:49:20.524" v="10505"/>
          <ac:picMkLst>
            <pc:docMk/>
            <pc:sldMk cId="2057745716" sldId="266"/>
            <ac:picMk id="31" creationId="{A51D309B-B23A-1515-B6A7-BFA0571D1DA0}"/>
          </ac:picMkLst>
        </pc:picChg>
        <pc:picChg chg="mod ord">
          <ac:chgData name="Joelle Brehm" userId="a518f54c-6985-42c0-8041-2bb16a414839" providerId="ADAL" clId="{D2DE92CD-AADB-43BF-8B53-266FBFF8B69D}" dt="2024-02-05T19:49:20.594" v="10587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D2DE92CD-AADB-43BF-8B53-266FBFF8B69D}" dt="2024-02-05T19:49:20.592" v="10585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19:49:20.527" v="10509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19:53:02.880" v="13082"/>
        <pc:sldMkLst>
          <pc:docMk/>
          <pc:sldMk cId="3795966898" sldId="267"/>
        </pc:sldMkLst>
        <pc:spChg chg="mod ord">
          <ac:chgData name="Joelle Brehm" userId="a518f54c-6985-42c0-8041-2bb16a414839" providerId="ADAL" clId="{D2DE92CD-AADB-43BF-8B53-266FBFF8B69D}" dt="2024-02-05T19:53:02.858" v="13076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D2DE92CD-AADB-43BF-8B53-266FBFF8B69D}" dt="2024-02-05T19:52:20.029" v="11830" actId="478"/>
          <ac:spMkLst>
            <pc:docMk/>
            <pc:sldMk cId="3795966898" sldId="267"/>
            <ac:spMk id="3" creationId="{C6111AFD-7179-97E6-058A-B76A0CB191D0}"/>
          </ac:spMkLst>
        </pc:spChg>
        <pc:spChg chg="add del mod modVis">
          <ac:chgData name="Joelle Brehm" userId="a518f54c-6985-42c0-8041-2bb16a414839" providerId="ADAL" clId="{D2DE92CD-AADB-43BF-8B53-266FBFF8B69D}" dt="2024-02-05T19:52:24.481" v="12045"/>
          <ac:spMkLst>
            <pc:docMk/>
            <pc:sldMk cId="3795966898" sldId="267"/>
            <ac:spMk id="5" creationId="{70AAEAAB-6965-E6B5-0B71-A208EA744BCF}"/>
          </ac:spMkLst>
        </pc:spChg>
        <pc:spChg chg="mod ord">
          <ac:chgData name="Joelle Brehm" userId="a518f54c-6985-42c0-8041-2bb16a414839" providerId="ADAL" clId="{D2DE92CD-AADB-43BF-8B53-266FBFF8B69D}" dt="2024-02-05T19:53:02.832" v="13011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19:53:02.836" v="13022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19:53:02.835" v="13018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19:53:02.835" v="13019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19:53:02.834" v="13016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19:53:02.835" v="13017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19:53:02.836" v="13020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19:53:02.836" v="13021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19:53:02.837" v="13023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19:53:02.837" v="13024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19:53:02.837" v="13025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19:53:02.838" v="13026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19:53:02.838" v="13027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19:53:02.839" v="13029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19:53:02.839" v="13030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19:53:02.840" v="13032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19:53:02.839" v="13031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19:53:02.841" v="13034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19:53:02.841" v="13035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19:53:02.840" v="13033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19:53:02.842" v="13037"/>
          <ac:spMkLst>
            <pc:docMk/>
            <pc:sldMk cId="3795966898" sldId="267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D2DE92CD-AADB-43BF-8B53-266FBFF8B69D}" dt="2024-02-05T19:52:48.411" v="12352"/>
          <ac:spMkLst>
            <pc:docMk/>
            <pc:sldMk cId="3795966898" sldId="267"/>
            <ac:spMk id="31" creationId="{E929B316-8349-E1D0-86F4-3B9E8EBE8FBB}"/>
          </ac:spMkLst>
        </pc:spChg>
        <pc:spChg chg="mod">
          <ac:chgData name="Joelle Brehm" userId="a518f54c-6985-42c0-8041-2bb16a414839" providerId="ADAL" clId="{D2DE92CD-AADB-43BF-8B53-266FBFF8B69D}" dt="2024-02-05T19:53:02.845" v="13045"/>
          <ac:spMkLst>
            <pc:docMk/>
            <pc:sldMk cId="3795966898" sldId="267"/>
            <ac:spMk id="32" creationId="{D88A5B48-AEEB-61CD-49C8-685CA2FA5FCC}"/>
          </ac:spMkLst>
        </pc:spChg>
        <pc:spChg chg="del mod">
          <ac:chgData name="Joelle Brehm" userId="a518f54c-6985-42c0-8041-2bb16a414839" providerId="ADAL" clId="{D2DE92CD-AADB-43BF-8B53-266FBFF8B69D}" dt="2024-02-05T19:53:02.707" v="12903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D2DE92CD-AADB-43BF-8B53-266FBFF8B69D}" dt="2024-02-05T19:53:02.843" v="13040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D2DE92CD-AADB-43BF-8B53-266FBFF8B69D}" dt="2024-02-05T19:53:02.847" v="13048"/>
          <ac:spMkLst>
            <pc:docMk/>
            <pc:sldMk cId="3795966898" sldId="267"/>
            <ac:spMk id="37" creationId="{0A296482-73A5-3697-F8D4-5A660F4A5947}"/>
          </ac:spMkLst>
        </pc:spChg>
        <pc:spChg chg="mod">
          <ac:chgData name="Joelle Brehm" userId="a518f54c-6985-42c0-8041-2bb16a414839" providerId="ADAL" clId="{D2DE92CD-AADB-43BF-8B53-266FBFF8B69D}" dt="2024-02-05T19:53:02.843" v="13041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D2DE92CD-AADB-43BF-8B53-266FBFF8B69D}" dt="2024-02-05T19:53:02.844" v="13043"/>
          <ac:spMkLst>
            <pc:docMk/>
            <pc:sldMk cId="3795966898" sldId="267"/>
            <ac:spMk id="40" creationId="{E572EFC5-A7FD-69F6-5C31-AAA859CEB992}"/>
          </ac:spMkLst>
        </pc:spChg>
        <pc:spChg chg="add mod replST">
          <ac:chgData name="Joelle Brehm" userId="a518f54c-6985-42c0-8041-2bb16a414839" providerId="ADAL" clId="{D2DE92CD-AADB-43BF-8B53-266FBFF8B69D}" dt="2024-02-05T19:53:02.849" v="13051"/>
          <ac:spMkLst>
            <pc:docMk/>
            <pc:sldMk cId="3795966898" sldId="267"/>
            <ac:spMk id="41" creationId="{1544008B-7BC7-360D-B647-986A196ADF59}"/>
          </ac:spMkLst>
        </pc:spChg>
        <pc:spChg chg="mod">
          <ac:chgData name="Joelle Brehm" userId="a518f54c-6985-42c0-8041-2bb16a414839" providerId="ADAL" clId="{D2DE92CD-AADB-43BF-8B53-266FBFF8B69D}" dt="2024-02-05T19:53:02.844" v="13042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D2DE92CD-AADB-43BF-8B53-266FBFF8B69D}" dt="2024-02-05T19:53:02.846" v="13046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D2DE92CD-AADB-43BF-8B53-266FBFF8B69D}" dt="2024-02-05T19:53:02.845" v="13044"/>
          <ac:spMkLst>
            <pc:docMk/>
            <pc:sldMk cId="3795966898" sldId="267"/>
            <ac:spMk id="44" creationId="{40B65240-400F-5791-7F3E-FCB0C3838579}"/>
          </ac:spMkLst>
        </pc:spChg>
        <pc:spChg chg="mod">
          <ac:chgData name="Joelle Brehm" userId="a518f54c-6985-42c0-8041-2bb16a414839" providerId="ADAL" clId="{D2DE92CD-AADB-43BF-8B53-266FBFF8B69D}" dt="2024-02-05T19:53:02.848" v="13049"/>
          <ac:spMkLst>
            <pc:docMk/>
            <pc:sldMk cId="3795966898" sldId="267"/>
            <ac:spMk id="45" creationId="{5ACDDB66-5F72-9CF8-8B82-2B020F8894AD}"/>
          </ac:spMkLst>
        </pc:spChg>
        <pc:spChg chg="mod">
          <ac:chgData name="Joelle Brehm" userId="a518f54c-6985-42c0-8041-2bb16a414839" providerId="ADAL" clId="{D2DE92CD-AADB-43BF-8B53-266FBFF8B69D}" dt="2024-02-05T19:53:02.846" v="13047"/>
          <ac:spMkLst>
            <pc:docMk/>
            <pc:sldMk cId="3795966898" sldId="267"/>
            <ac:spMk id="46" creationId="{2B2E11F0-202F-7C08-CDCD-D9021CA2670F}"/>
          </ac:spMkLst>
        </pc:spChg>
        <pc:spChg chg="mod">
          <ac:chgData name="Joelle Brehm" userId="a518f54c-6985-42c0-8041-2bb16a414839" providerId="ADAL" clId="{D2DE92CD-AADB-43BF-8B53-266FBFF8B69D}" dt="2024-02-05T19:53:02.848" v="13050"/>
          <ac:spMkLst>
            <pc:docMk/>
            <pc:sldMk cId="3795966898" sldId="267"/>
            <ac:spMk id="47" creationId="{3DBF8D64-4F6D-0CD0-9A0D-73552A46C028}"/>
          </ac:spMkLst>
        </pc:spChg>
        <pc:spChg chg="mod">
          <ac:chgData name="Joelle Brehm" userId="a518f54c-6985-42c0-8041-2bb16a414839" providerId="ADAL" clId="{D2DE92CD-AADB-43BF-8B53-266FBFF8B69D}" dt="2024-02-05T19:53:02.856" v="13068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D2DE92CD-AADB-43BF-8B53-266FBFF8B69D}" dt="2024-02-05T19:52:58.285" v="12729"/>
          <ac:spMkLst>
            <pc:docMk/>
            <pc:sldMk cId="3795966898" sldId="267"/>
            <ac:spMk id="49" creationId="{A9362E91-68A6-AA23-0DB5-0A1D3ADD70BC}"/>
          </ac:spMkLst>
        </pc:spChg>
        <pc:spChg chg="add del mod modVis">
          <ac:chgData name="Joelle Brehm" userId="a518f54c-6985-42c0-8041-2bb16a414839" providerId="ADAL" clId="{D2DE92CD-AADB-43BF-8B53-266FBFF8B69D}" dt="2024-02-05T19:52:59.773" v="12900"/>
          <ac:spMkLst>
            <pc:docMk/>
            <pc:sldMk cId="3795966898" sldId="267"/>
            <ac:spMk id="51" creationId="{31C48E7C-7A47-7DA7-CA40-7829A97E3D2C}"/>
          </ac:spMkLst>
        </pc:spChg>
        <pc:spChg chg="add del mod modVis">
          <ac:chgData name="Joelle Brehm" userId="a518f54c-6985-42c0-8041-2bb16a414839" providerId="ADAL" clId="{D2DE92CD-AADB-43BF-8B53-266FBFF8B69D}" dt="2024-02-05T19:53:02.860" v="13080"/>
          <ac:spMkLst>
            <pc:docMk/>
            <pc:sldMk cId="3795966898" sldId="267"/>
            <ac:spMk id="53" creationId="{1A77B879-A518-3213-B822-D2999CDB08B4}"/>
          </ac:spMkLst>
        </pc:spChg>
        <pc:spChg chg="mod ord">
          <ac:chgData name="Joelle Brehm" userId="a518f54c-6985-42c0-8041-2bb16a414839" providerId="ADAL" clId="{D2DE92CD-AADB-43BF-8B53-266FBFF8B69D}" dt="2024-02-05T19:53:02.850" v="13053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19:53:02.850" v="13055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19:53:02.852" v="13057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19:53:02.858" v="13074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D2DE92CD-AADB-43BF-8B53-266FBFF8B69D}" dt="2024-02-05T19:53:02.853" v="13059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19:53:02.854" v="13061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19:53:02.854" v="13063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19:53:02.856" v="13066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3:02.856" v="13067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3:02.856" v="13069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19:53:02.857" v="13070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19:53:02.880" v="13082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3:02.834" v="13015"/>
          <ac:graphicFrameMkLst>
            <pc:docMk/>
            <pc:sldMk cId="3795966898" sldId="267"/>
            <ac:graphicFrameMk id="8" creationId="{63E421C7-E722-B9BD-1D36-95EFD8055755}"/>
          </ac:graphicFrameMkLst>
        </pc:graphicFrameChg>
        <pc:graphicFrameChg chg="del">
          <ac:chgData name="Joelle Brehm" userId="a518f54c-6985-42c0-8041-2bb16a414839" providerId="ADAL" clId="{D2DE92CD-AADB-43BF-8B53-266FBFF8B69D}" dt="2024-02-05T19:52:24.395" v="11962"/>
          <ac:graphicFrameMkLst>
            <pc:docMk/>
            <pc:sldMk cId="3795966898" sldId="267"/>
            <ac:graphicFrameMk id="9" creationId="{55086ED5-24F8-87D4-1284-45C8797D5211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52:48.304" v="12273"/>
          <ac:graphicFrameMkLst>
            <pc:docMk/>
            <pc:sldMk cId="3795966898" sldId="267"/>
            <ac:graphicFrameMk id="33" creationId="{20C20CEF-43DB-6F41-203A-CF1A2F3A19D9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3:02.855" v="13065"/>
          <ac:graphicFrameMkLst>
            <pc:docMk/>
            <pc:sldMk cId="3795966898" sldId="267"/>
            <ac:graphicFrameMk id="34" creationId="{6630D7C4-A086-D284-9BD9-D1D35B04B24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52:59.705" v="12809"/>
          <ac:graphicFrameMkLst>
            <pc:docMk/>
            <pc:sldMk cId="3795966898" sldId="267"/>
            <ac:graphicFrameMk id="50" creationId="{4DAEDFEE-C38C-0160-19B7-EDC1CE00B77C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53:02.793" v="13001"/>
          <ac:graphicFrameMkLst>
            <pc:docMk/>
            <pc:sldMk cId="3795966898" sldId="267"/>
            <ac:graphicFrameMk id="52" creationId="{C880A16A-9F72-8AC4-5BAA-352F597F468C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52:58.213" v="12643"/>
          <ac:graphicFrameMkLst>
            <pc:docMk/>
            <pc:sldMk cId="3795966898" sldId="267"/>
            <ac:graphicFrameMk id="54" creationId="{04600C40-F8EF-4FED-5F01-25413E0BC0C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3:02.842" v="13039"/>
          <ac:graphicFrameMkLst>
            <pc:docMk/>
            <pc:sldMk cId="3795966898" sldId="267"/>
            <ac:graphicFrameMk id="55" creationId="{86D0F64B-E94C-5567-F902-56E4F0F87260}"/>
          </ac:graphicFrameMkLst>
        </pc:graphicFrameChg>
        <pc:picChg chg="add mod ord">
          <ac:chgData name="Joelle Brehm" userId="a518f54c-6985-42c0-8041-2bb16a414839" providerId="ADAL" clId="{D2DE92CD-AADB-43BF-8B53-266FBFF8B69D}" dt="2024-02-05T19:53:02.832" v="13009"/>
          <ac:picMkLst>
            <pc:docMk/>
            <pc:sldMk cId="3795966898" sldId="267"/>
            <ac:picMk id="10" creationId="{A7312F16-8AB0-A92D-0D72-ADF2A72C063A}"/>
          </ac:picMkLst>
        </pc:picChg>
        <pc:picChg chg="del mod ord">
          <ac:chgData name="Joelle Brehm" userId="a518f54c-6985-42c0-8041-2bb16a414839" providerId="ADAL" clId="{D2DE92CD-AADB-43BF-8B53-266FBFF8B69D}" dt="2024-02-05T19:52:39.653" v="12133" actId="478"/>
          <ac:picMkLst>
            <pc:docMk/>
            <pc:sldMk cId="3795966898" sldId="267"/>
            <ac:picMk id="39" creationId="{6F94A58B-E658-4819-177C-B563F989B75F}"/>
          </ac:picMkLst>
        </pc:picChg>
        <pc:picChg chg="mod ord">
          <ac:chgData name="Joelle Brehm" userId="a518f54c-6985-42c0-8041-2bb16a414839" providerId="ADAL" clId="{D2DE92CD-AADB-43BF-8B53-266FBFF8B69D}" dt="2024-02-05T19:53:02.857" v="13072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19:53:02.833" v="13013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19:53:58.949" v="14276"/>
        <pc:sldMkLst>
          <pc:docMk/>
          <pc:sldMk cId="622078465" sldId="269"/>
        </pc:sldMkLst>
        <pc:spChg chg="add del mod">
          <ac:chgData name="Joelle Brehm" userId="a518f54c-6985-42c0-8041-2bb16a414839" providerId="ADAL" clId="{D2DE92CD-AADB-43BF-8B53-266FBFF8B69D}" dt="2024-02-05T19:53:12.300" v="13083" actId="478"/>
          <ac:spMkLst>
            <pc:docMk/>
            <pc:sldMk cId="622078465" sldId="269"/>
            <ac:spMk id="2" creationId="{AA23495B-48E7-24FB-A699-A8BD0F97282A}"/>
          </ac:spMkLst>
        </pc:spChg>
        <pc:spChg chg="mod ord">
          <ac:chgData name="Joelle Brehm" userId="a518f54c-6985-42c0-8041-2bb16a414839" providerId="ADAL" clId="{D2DE92CD-AADB-43BF-8B53-266FBFF8B69D}" dt="2024-02-05T19:53:58.914" v="14270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D2DE92CD-AADB-43BF-8B53-266FBFF8B69D}" dt="2024-02-05T19:53:26.511" v="13298"/>
          <ac:spMkLst>
            <pc:docMk/>
            <pc:sldMk cId="622078465" sldId="269"/>
            <ac:spMk id="5" creationId="{96E0E177-A3BC-A879-A465-1959ADEE4E8C}"/>
          </ac:spMkLst>
        </pc:spChg>
        <pc:spChg chg="mod ord">
          <ac:chgData name="Joelle Brehm" userId="a518f54c-6985-42c0-8041-2bb16a414839" providerId="ADAL" clId="{D2DE92CD-AADB-43BF-8B53-266FBFF8B69D}" dt="2024-02-05T19:53:58.869" v="14205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19:53:58.892" v="14238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D2DE92CD-AADB-43BF-8B53-266FBFF8B69D}" dt="2024-02-05T19:53:58.876" v="14216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19:53:58.873" v="14212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19:53:58.874" v="14213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19:53:58.872" v="14210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19:53:58.872" v="14211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19:53:58.874" v="14214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19:53:58.875" v="14215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19:53:58.876" v="14217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19:53:58.877" v="14218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19:53:58.878" v="14219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19:53:58.878" v="14220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19:53:58.879" v="14221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19:53:58.880" v="14223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19:53:58.881" v="14224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19:53:58.883" v="14226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19:53:58.882" v="14225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19:53:58.884" v="14228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19:53:58.885" v="14229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19:53:58.883" v="14227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19:53:58.886" v="14231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19:53:58.890" v="14236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D2DE92CD-AADB-43BF-8B53-266FBFF8B69D}" dt="2024-02-05T19:53:58.891" v="14237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D2DE92CD-AADB-43BF-8B53-266FBFF8B69D}" dt="2024-02-05T19:53:58.889" v="14235"/>
          <ac:spMkLst>
            <pc:docMk/>
            <pc:sldMk cId="622078465" sldId="269"/>
            <ac:spMk id="34" creationId="{361A309D-582A-9EF2-AAA6-D0365E1E80AF}"/>
          </ac:spMkLst>
        </pc:spChg>
        <pc:spChg chg="mod">
          <ac:chgData name="Joelle Brehm" userId="a518f54c-6985-42c0-8041-2bb16a414839" providerId="ADAL" clId="{D2DE92CD-AADB-43BF-8B53-266FBFF8B69D}" dt="2024-02-05T19:53:58.896" v="14242"/>
          <ac:spMkLst>
            <pc:docMk/>
            <pc:sldMk cId="622078465" sldId="269"/>
            <ac:spMk id="36" creationId="{68733CF5-8A2C-4045-0CB9-423CA4B0F6E1}"/>
          </ac:spMkLst>
        </pc:spChg>
        <pc:spChg chg="mod">
          <ac:chgData name="Joelle Brehm" userId="a518f54c-6985-42c0-8041-2bb16a414839" providerId="ADAL" clId="{D2DE92CD-AADB-43BF-8B53-266FBFF8B69D}" dt="2024-02-05T19:53:58.893" v="14239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D2DE92CD-AADB-43BF-8B53-266FBFF8B69D}" dt="2024-02-05T19:53:58.894" v="14240"/>
          <ac:spMkLst>
            <pc:docMk/>
            <pc:sldMk cId="622078465" sldId="269"/>
            <ac:spMk id="38" creationId="{81A34C8B-3AB7-1E3C-EABE-00492913B3D2}"/>
          </ac:spMkLst>
        </pc:spChg>
        <pc:spChg chg="add del mod modVis">
          <ac:chgData name="Joelle Brehm" userId="a518f54c-6985-42c0-8041-2bb16a414839" providerId="ADAL" clId="{D2DE92CD-AADB-43BF-8B53-266FBFF8B69D}" dt="2024-02-05T19:53:48.069" v="13573"/>
          <ac:spMkLst>
            <pc:docMk/>
            <pc:sldMk cId="622078465" sldId="269"/>
            <ac:spMk id="39" creationId="{6D2F4AC3-8F07-BD1B-8F8B-47D09BC44F24}"/>
          </ac:spMkLst>
        </pc:spChg>
        <pc:spChg chg="mod">
          <ac:chgData name="Joelle Brehm" userId="a518f54c-6985-42c0-8041-2bb16a414839" providerId="ADAL" clId="{D2DE92CD-AADB-43BF-8B53-266FBFF8B69D}" dt="2024-02-05T19:53:58.895" v="14241"/>
          <ac:spMkLst>
            <pc:docMk/>
            <pc:sldMk cId="622078465" sldId="269"/>
            <ac:spMk id="40" creationId="{88D90EFE-E362-B516-8CB5-42E8A0F19B96}"/>
          </ac:spMkLst>
        </pc:spChg>
        <pc:spChg chg="mod">
          <ac:chgData name="Joelle Brehm" userId="a518f54c-6985-42c0-8041-2bb16a414839" providerId="ADAL" clId="{D2DE92CD-AADB-43BF-8B53-266FBFF8B69D}" dt="2024-02-05T19:53:58.896" v="14243"/>
          <ac:spMkLst>
            <pc:docMk/>
            <pc:sldMk cId="622078465" sldId="269"/>
            <ac:spMk id="42" creationId="{D1BED0AC-AAFB-7B18-5C9F-F7242C07E3F7}"/>
          </ac:spMkLst>
        </pc:spChg>
        <pc:spChg chg="mod">
          <ac:chgData name="Joelle Brehm" userId="a518f54c-6985-42c0-8041-2bb16a414839" providerId="ADAL" clId="{D2DE92CD-AADB-43BF-8B53-266FBFF8B69D}" dt="2024-02-05T19:53:58.897" v="14244"/>
          <ac:spMkLst>
            <pc:docMk/>
            <pc:sldMk cId="622078465" sldId="269"/>
            <ac:spMk id="44" creationId="{7CF7601D-52B5-FA09-CF16-65EB783A2223}"/>
          </ac:spMkLst>
        </pc:spChg>
        <pc:spChg chg="add mod replST">
          <ac:chgData name="Joelle Brehm" userId="a518f54c-6985-42c0-8041-2bb16a414839" providerId="ADAL" clId="{D2DE92CD-AADB-43BF-8B53-266FBFF8B69D}" dt="2024-02-05T19:53:58.898" v="14245"/>
          <ac:spMkLst>
            <pc:docMk/>
            <pc:sldMk cId="622078465" sldId="269"/>
            <ac:spMk id="45" creationId="{EB662A17-D4B7-1A35-9E98-701F790A1C6F}"/>
          </ac:spMkLst>
        </pc:spChg>
        <pc:spChg chg="add del mod modVis">
          <ac:chgData name="Joelle Brehm" userId="a518f54c-6985-42c0-8041-2bb16a414839" providerId="ADAL" clId="{D2DE92CD-AADB-43BF-8B53-266FBFF8B69D}" dt="2024-02-05T19:53:55.255" v="13925"/>
          <ac:spMkLst>
            <pc:docMk/>
            <pc:sldMk cId="622078465" sldId="269"/>
            <ac:spMk id="46" creationId="{6105465A-FB4A-1C01-49EF-100A8D770CB8}"/>
          </ac:spMkLst>
        </pc:spChg>
        <pc:spChg chg="add del mod modVis">
          <ac:chgData name="Joelle Brehm" userId="a518f54c-6985-42c0-8041-2bb16a414839" providerId="ADAL" clId="{D2DE92CD-AADB-43BF-8B53-266FBFF8B69D}" dt="2024-02-05T19:53:56.368" v="14096"/>
          <ac:spMkLst>
            <pc:docMk/>
            <pc:sldMk cId="622078465" sldId="269"/>
            <ac:spMk id="48" creationId="{919D1FDE-C4DF-EBD0-1F24-345D719EB5CB}"/>
          </ac:spMkLst>
        </pc:spChg>
        <pc:spChg chg="mod">
          <ac:chgData name="Joelle Brehm" userId="a518f54c-6985-42c0-8041-2bb16a414839" providerId="ADAL" clId="{D2DE92CD-AADB-43BF-8B53-266FBFF8B69D}" dt="2024-02-05T19:53:58.911" v="14264"/>
          <ac:spMkLst>
            <pc:docMk/>
            <pc:sldMk cId="622078465" sldId="269"/>
            <ac:spMk id="50" creationId="{69BAD6A3-FF64-4C04-1D02-164463F908A1}"/>
          </ac:spMkLst>
        </pc:spChg>
        <pc:spChg chg="add del mod modVis">
          <ac:chgData name="Joelle Brehm" userId="a518f54c-6985-42c0-8041-2bb16a414839" providerId="ADAL" clId="{D2DE92CD-AADB-43BF-8B53-266FBFF8B69D}" dt="2024-02-05T19:53:58.918" v="14274"/>
          <ac:spMkLst>
            <pc:docMk/>
            <pc:sldMk cId="622078465" sldId="269"/>
            <ac:spMk id="51" creationId="{CC3CC67A-37C0-8495-209C-8B142787C9C1}"/>
          </ac:spMkLst>
        </pc:spChg>
        <pc:spChg chg="mod ord">
          <ac:chgData name="Joelle Brehm" userId="a518f54c-6985-42c0-8041-2bb16a414839" providerId="ADAL" clId="{D2DE92CD-AADB-43BF-8B53-266FBFF8B69D}" dt="2024-02-05T19:53:58.913" v="14268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D2DE92CD-AADB-43BF-8B53-266FBFF8B69D}" dt="2024-02-05T19:53:58.899" v="14247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19:53:58.901" v="14249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D2DE92CD-AADB-43BF-8B53-266FBFF8B69D}" dt="2024-02-05T19:53:58.650" v="14099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3:58.888" v="14234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9:53:58.903" v="14251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19:53:58.904" v="14253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19:53:58.906" v="14255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19:53:58.907" v="14257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19:53:58.908" v="14260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3:58.909" v="14261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9:53:58.910" v="14262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19:53:58.910" v="14263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19:53:58.949" v="14276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3:58.871" v="14209"/>
          <ac:graphicFrameMkLst>
            <pc:docMk/>
            <pc:sldMk cId="622078465" sldId="269"/>
            <ac:graphicFrameMk id="8" creationId="{5B152BFA-598E-904A-5182-BD067DC98D90}"/>
          </ac:graphicFrameMkLst>
        </pc:graphicFrameChg>
        <pc:graphicFrameChg chg="del">
          <ac:chgData name="Joelle Brehm" userId="a518f54c-6985-42c0-8041-2bb16a414839" providerId="ADAL" clId="{D2DE92CD-AADB-43BF-8B53-266FBFF8B69D}" dt="2024-02-05T19:53:26.394" v="13215"/>
          <ac:graphicFrameMkLst>
            <pc:docMk/>
            <pc:sldMk cId="622078465" sldId="269"/>
            <ac:graphicFrameMk id="9" creationId="{23C5C5FD-50AF-072B-A29A-A22357ED4E70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3:58.908" v="14259"/>
          <ac:graphicFrameMkLst>
            <pc:docMk/>
            <pc:sldMk cId="622078465" sldId="269"/>
            <ac:graphicFrameMk id="41" creationId="{33C0C26B-D21C-DDB6-8DE1-F6680179AA23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53:47.985" v="13494"/>
          <ac:graphicFrameMkLst>
            <pc:docMk/>
            <pc:sldMk cId="622078465" sldId="269"/>
            <ac:graphicFrameMk id="43" creationId="{FFE1785F-5ABA-41A4-EC0D-7AD5C33C8FE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53:56.234" v="14003"/>
          <ac:graphicFrameMkLst>
            <pc:docMk/>
            <pc:sldMk cId="622078465" sldId="269"/>
            <ac:graphicFrameMk id="47" creationId="{ACE1585F-DF3E-7C58-11D9-B006EAFC19A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53:58.810" v="14195"/>
          <ac:graphicFrameMkLst>
            <pc:docMk/>
            <pc:sldMk cId="622078465" sldId="269"/>
            <ac:graphicFrameMk id="49" creationId="{D6C5D313-2D74-631C-13FA-60FEA338FB93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53:58.887" v="14233"/>
          <ac:graphicFrameMkLst>
            <pc:docMk/>
            <pc:sldMk cId="622078465" sldId="269"/>
            <ac:graphicFrameMk id="52" creationId="{81BA2663-D1B9-4419-DBB9-C35D1E3B1BAA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53:55.179" v="13837"/>
          <ac:graphicFrameMkLst>
            <pc:docMk/>
            <pc:sldMk cId="622078465" sldId="269"/>
            <ac:graphicFrameMk id="54" creationId="{56F3E0A4-2C67-2ECC-EE70-813E92954662}"/>
          </ac:graphicFrameMkLst>
        </pc:graphicFrameChg>
        <pc:picChg chg="add mod ord">
          <ac:chgData name="Joelle Brehm" userId="a518f54c-6985-42c0-8041-2bb16a414839" providerId="ADAL" clId="{D2DE92CD-AADB-43BF-8B53-266FBFF8B69D}" dt="2024-02-05T19:53:58.867" v="14203"/>
          <ac:picMkLst>
            <pc:docMk/>
            <pc:sldMk cId="622078465" sldId="269"/>
            <ac:picMk id="31" creationId="{C03F784F-E748-32F2-0326-FBFAAF53604C}"/>
          </ac:picMkLst>
        </pc:picChg>
        <pc:picChg chg="del mod ord">
          <ac:chgData name="Joelle Brehm" userId="a518f54c-6985-42c0-8041-2bb16a414839" providerId="ADAL" clId="{D2DE92CD-AADB-43BF-8B53-266FBFF8B69D}" dt="2024-02-05T19:53:39.961" v="13384" actId="478"/>
          <ac:picMkLst>
            <pc:docMk/>
            <pc:sldMk cId="622078465" sldId="269"/>
            <ac:picMk id="35" creationId="{1C868E87-1661-F239-E5DC-97AB66E68B6D}"/>
          </ac:picMkLst>
        </pc:picChg>
        <pc:picChg chg="mod ord">
          <ac:chgData name="Joelle Brehm" userId="a518f54c-6985-42c0-8041-2bb16a414839" providerId="ADAL" clId="{D2DE92CD-AADB-43BF-8B53-266FBFF8B69D}" dt="2024-02-05T19:53:58.912" v="14266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19:53:58.870" v="14207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41:50.683" v="31504"/>
        <pc:sldMkLst>
          <pc:docMk/>
          <pc:sldMk cId="1002023985" sldId="270"/>
        </pc:sldMkLst>
        <pc:spChg chg="mod ord">
          <ac:chgData name="Joelle Brehm" userId="a518f54c-6985-42c0-8041-2bb16a414839" providerId="ADAL" clId="{D2DE92CD-AADB-43BF-8B53-266FBFF8B69D}" dt="2024-02-05T21:41:50.667" v="31498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D2DE92CD-AADB-43BF-8B53-266FBFF8B69D}" dt="2024-02-05T21:31:01.808" v="28826" actId="478"/>
          <ac:spMkLst>
            <pc:docMk/>
            <pc:sldMk cId="1002023985" sldId="270"/>
            <ac:spMk id="3" creationId="{FC3280B5-6107-2D03-5D4C-E724861CA21C}"/>
          </ac:spMkLst>
        </pc:spChg>
        <pc:spChg chg="add del mod modVis">
          <ac:chgData name="Joelle Brehm" userId="a518f54c-6985-42c0-8041-2bb16a414839" providerId="ADAL" clId="{D2DE92CD-AADB-43BF-8B53-266FBFF8B69D}" dt="2024-02-05T21:40:43.141" v="29057"/>
          <ac:spMkLst>
            <pc:docMk/>
            <pc:sldMk cId="1002023985" sldId="270"/>
            <ac:spMk id="5" creationId="{076E23F7-E63D-D792-E887-3988CD9AD796}"/>
          </ac:spMkLst>
        </pc:spChg>
        <pc:spChg chg="mod ord">
          <ac:chgData name="Joelle Brehm" userId="a518f54c-6985-42c0-8041-2bb16a414839" providerId="ADAL" clId="{D2DE92CD-AADB-43BF-8B53-266FBFF8B69D}" dt="2024-02-05T21:41:50.633" v="31410"/>
          <ac:spMkLst>
            <pc:docMk/>
            <pc:sldMk cId="1002023985" sldId="27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D2DE92CD-AADB-43BF-8B53-266FBFF8B69D}" dt="2024-02-05T21:40:50.189" v="29211"/>
          <ac:spMkLst>
            <pc:docMk/>
            <pc:sldMk cId="1002023985" sldId="270"/>
            <ac:spMk id="9" creationId="{CE5B27BD-BA24-933F-D521-30F970ED77EB}"/>
          </ac:spMkLst>
        </pc:spChg>
        <pc:spChg chg="mod">
          <ac:chgData name="Joelle Brehm" userId="a518f54c-6985-42c0-8041-2bb16a414839" providerId="ADAL" clId="{D2DE92CD-AADB-43BF-8B53-266FBFF8B69D}" dt="2024-02-05T21:41:50.649" v="31451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D2DE92CD-AADB-43BF-8B53-266FBFF8B69D}" dt="2024-02-05T21:41:50.633" v="31421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41:50.633" v="31417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41:50.633" v="31418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41:50.633" v="31415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41:50.633" v="31416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41:50.633" v="31419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41:50.633" v="31420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41:50.633" v="31422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41:50.633" v="31423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41:50.633" v="31424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41:50.633" v="31425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41:50.633" v="31426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41:50.633" v="31428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41:50.633" v="31431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41:50.633" v="31433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41:50.633" v="31432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41:50.633" v="31436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41:50.633" v="31437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41:50.633" v="31435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41:50.649" v="31439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41:50.649" v="31466"/>
          <ac:spMkLst>
            <pc:docMk/>
            <pc:sldMk cId="1002023985" sldId="270"/>
            <ac:spMk id="32" creationId="{08AA1604-C221-6E9B-740F-41449B8DB0E9}"/>
          </ac:spMkLst>
        </pc:spChg>
        <pc:spChg chg="mod ord">
          <ac:chgData name="Joelle Brehm" userId="a518f54c-6985-42c0-8041-2bb16a414839" providerId="ADAL" clId="{D2DE92CD-AADB-43BF-8B53-266FBFF8B69D}" dt="2024-02-05T21:41:50.649" v="31450"/>
          <ac:spMkLst>
            <pc:docMk/>
            <pc:sldMk cId="1002023985" sldId="270"/>
            <ac:spMk id="33" creationId="{F76D64DC-4154-E4CF-EF48-9A68CB6317E4}"/>
          </ac:spMkLst>
        </pc:spChg>
        <pc:spChg chg="mod ord">
          <ac:chgData name="Joelle Brehm" userId="a518f54c-6985-42c0-8041-2bb16a414839" providerId="ADAL" clId="{D2DE92CD-AADB-43BF-8B53-266FBFF8B69D}" dt="2024-02-05T21:41:50.633" v="31430"/>
          <ac:spMkLst>
            <pc:docMk/>
            <pc:sldMk cId="1002023985" sldId="270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D2DE92CD-AADB-43BF-8B53-266FBFF8B69D}" dt="2024-02-05T21:41:50.649" v="31471"/>
          <ac:spMkLst>
            <pc:docMk/>
            <pc:sldMk cId="1002023985" sldId="270"/>
            <ac:spMk id="38" creationId="{BB0D67DD-2C63-A046-707C-1F332B15DC1E}"/>
          </ac:spMkLst>
        </pc:spChg>
        <pc:spChg chg="add mod ord replST">
          <ac:chgData name="Joelle Brehm" userId="a518f54c-6985-42c0-8041-2bb16a414839" providerId="ADAL" clId="{D2DE92CD-AADB-43BF-8B53-266FBFF8B69D}" dt="2024-02-05T21:41:50.649" v="31472"/>
          <ac:spMkLst>
            <pc:docMk/>
            <pc:sldMk cId="1002023985" sldId="270"/>
            <ac:spMk id="39" creationId="{8E63D2DC-8A78-99F3-5681-8D0584E6C5DD}"/>
          </ac:spMkLst>
        </pc:spChg>
        <pc:spChg chg="add del mod modVis">
          <ac:chgData name="Joelle Brehm" userId="a518f54c-6985-42c0-8041-2bb16a414839" providerId="ADAL" clId="{D2DE92CD-AADB-43BF-8B53-266FBFF8B69D}" dt="2024-02-05T21:41:24.821" v="29718"/>
          <ac:spMkLst>
            <pc:docMk/>
            <pc:sldMk cId="1002023985" sldId="270"/>
            <ac:spMk id="40" creationId="{6D4899CE-9904-F735-92C0-745DBE08A625}"/>
          </ac:spMkLst>
        </pc:spChg>
        <pc:spChg chg="add del mod modVis">
          <ac:chgData name="Joelle Brehm" userId="a518f54c-6985-42c0-8041-2bb16a414839" providerId="ADAL" clId="{D2DE92CD-AADB-43BF-8B53-266FBFF8B69D}" dt="2024-02-05T21:41:26.053" v="29926"/>
          <ac:spMkLst>
            <pc:docMk/>
            <pc:sldMk cId="1002023985" sldId="270"/>
            <ac:spMk id="42" creationId="{D6A60D7A-8E95-A77C-69BB-5DCE396A61AB}"/>
          </ac:spMkLst>
        </pc:spChg>
        <pc:spChg chg="del mod">
          <ac:chgData name="Joelle Brehm" userId="a518f54c-6985-42c0-8041-2bb16a414839" providerId="ADAL" clId="{D2DE92CD-AADB-43BF-8B53-266FBFF8B69D}" dt="2024-02-05T21:41:27.769" v="29930"/>
          <ac:spMkLst>
            <pc:docMk/>
            <pc:sldMk cId="1002023985" sldId="270"/>
            <ac:spMk id="43" creationId="{29357330-070C-17EC-0CAB-CAD445419341}"/>
          </ac:spMkLst>
        </pc:spChg>
        <pc:spChg chg="del mod">
          <ac:chgData name="Joelle Brehm" userId="a518f54c-6985-42c0-8041-2bb16a414839" providerId="ADAL" clId="{D2DE92CD-AADB-43BF-8B53-266FBFF8B69D}" dt="2024-02-05T21:41:27.769" v="29929"/>
          <ac:spMkLst>
            <pc:docMk/>
            <pc:sldMk cId="1002023985" sldId="270"/>
            <ac:spMk id="44" creationId="{D21335E5-EBC4-9286-DD2D-7735A09D41EB}"/>
          </ac:spMkLst>
        </pc:spChg>
        <pc:spChg chg="mod">
          <ac:chgData name="Joelle Brehm" userId="a518f54c-6985-42c0-8041-2bb16a414839" providerId="ADAL" clId="{D2DE92CD-AADB-43BF-8B53-266FBFF8B69D}" dt="2024-02-05T21:41:50.649" v="31458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D2DE92CD-AADB-43BF-8B53-266FBFF8B69D}" dt="2024-02-05T21:41:50.649" v="31460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D2DE92CD-AADB-43BF-8B53-266FBFF8B69D}" dt="2024-02-05T21:41:50.649" v="31473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D2DE92CD-AADB-43BF-8B53-266FBFF8B69D}" dt="2024-02-05T21:41:50.649" v="31459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D2DE92CD-AADB-43BF-8B53-266FBFF8B69D}" dt="2024-02-05T21:41:50.649" v="31455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D2DE92CD-AADB-43BF-8B53-266FBFF8B69D}" dt="2024-02-05T21:41:50.649" v="31453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D2DE92CD-AADB-43BF-8B53-266FBFF8B69D}" dt="2024-02-05T21:41:50.649" v="31454"/>
          <ac:spMkLst>
            <pc:docMk/>
            <pc:sldMk cId="1002023985" sldId="270"/>
            <ac:spMk id="52" creationId="{CDAA8CD8-B796-5FFD-8D34-2773F7AB7F1D}"/>
          </ac:spMkLst>
        </pc:spChg>
        <pc:spChg chg="add del mod modVis">
          <ac:chgData name="Joelle Brehm" userId="a518f54c-6985-42c0-8041-2bb16a414839" providerId="ADAL" clId="{D2DE92CD-AADB-43BF-8B53-266FBFF8B69D}" dt="2024-02-05T21:41:27.956" v="30177"/>
          <ac:spMkLst>
            <pc:docMk/>
            <pc:sldMk cId="1002023985" sldId="270"/>
            <ac:spMk id="53" creationId="{6410F8CB-A4EA-4FC1-23EF-17921043DC05}"/>
          </ac:spMkLst>
        </pc:spChg>
        <pc:spChg chg="mod">
          <ac:chgData name="Joelle Brehm" userId="a518f54c-6985-42c0-8041-2bb16a414839" providerId="ADAL" clId="{D2DE92CD-AADB-43BF-8B53-266FBFF8B69D}" dt="2024-02-05T21:41:50.649" v="31464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D2DE92CD-AADB-43BF-8B53-266FBFF8B69D}" dt="2024-02-05T21:41:50.649" v="31462"/>
          <ac:spMkLst>
            <pc:docMk/>
            <pc:sldMk cId="1002023985" sldId="270"/>
            <ac:spMk id="55" creationId="{E5519A9A-9BE6-DCEA-87DD-CC3F6748DE83}"/>
          </ac:spMkLst>
        </pc:spChg>
        <pc:spChg chg="mod">
          <ac:chgData name="Joelle Brehm" userId="a518f54c-6985-42c0-8041-2bb16a414839" providerId="ADAL" clId="{D2DE92CD-AADB-43BF-8B53-266FBFF8B69D}" dt="2024-02-05T21:41:50.649" v="31452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D2DE92CD-AADB-43BF-8B53-266FBFF8B69D}" dt="2024-02-05T21:41:50.649" v="31457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D2DE92CD-AADB-43BF-8B53-266FBFF8B69D}" dt="2024-02-05T21:41:50.649" v="31456"/>
          <ac:spMkLst>
            <pc:docMk/>
            <pc:sldMk cId="1002023985" sldId="270"/>
            <ac:spMk id="59" creationId="{15DED5C0-8834-6FCE-242E-76495D4381EE}"/>
          </ac:spMkLst>
        </pc:spChg>
        <pc:spChg chg="mod ord">
          <ac:chgData name="Joelle Brehm" userId="a518f54c-6985-42c0-8041-2bb16a414839" providerId="ADAL" clId="{D2DE92CD-AADB-43BF-8B53-266FBFF8B69D}" dt="2024-02-05T21:41:50.649" v="31461"/>
          <ac:spMkLst>
            <pc:docMk/>
            <pc:sldMk cId="1002023985" sldId="270"/>
            <ac:spMk id="60" creationId="{0C74CE89-8513-C13D-30DC-F81C311B717E}"/>
          </ac:spMkLst>
        </pc:spChg>
        <pc:spChg chg="mod">
          <ac:chgData name="Joelle Brehm" userId="a518f54c-6985-42c0-8041-2bb16a414839" providerId="ADAL" clId="{D2DE92CD-AADB-43BF-8B53-266FBFF8B69D}" dt="2024-02-05T21:41:50.649" v="31449"/>
          <ac:spMkLst>
            <pc:docMk/>
            <pc:sldMk cId="1002023985" sldId="270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41:30.496" v="30366"/>
          <ac:spMkLst>
            <pc:docMk/>
            <pc:sldMk cId="1002023985" sldId="270"/>
            <ac:spMk id="63" creationId="{621FF8CE-C9F1-4BD9-A4AE-87C850D8AFB5}"/>
          </ac:spMkLst>
        </pc:spChg>
        <pc:spChg chg="mod">
          <ac:chgData name="Joelle Brehm" userId="a518f54c-6985-42c0-8041-2bb16a414839" providerId="ADAL" clId="{D2DE92CD-AADB-43BF-8B53-266FBFF8B69D}" dt="2024-02-05T21:41:50.649" v="31463"/>
          <ac:spMkLst>
            <pc:docMk/>
            <pc:sldMk cId="1002023985" sldId="270"/>
            <ac:spMk id="64" creationId="{41EAF63A-0EB0-1655-3104-FBA53C392892}"/>
          </ac:spMkLst>
        </pc:spChg>
        <pc:spChg chg="add del mod modVis">
          <ac:chgData name="Joelle Brehm" userId="a518f54c-6985-42c0-8041-2bb16a414839" providerId="ADAL" clId="{D2DE92CD-AADB-43BF-8B53-266FBFF8B69D}" dt="2024-02-05T21:41:33.118" v="30552"/>
          <ac:spMkLst>
            <pc:docMk/>
            <pc:sldMk cId="1002023985" sldId="270"/>
            <ac:spMk id="66" creationId="{306F760E-6384-A769-4239-491DD2DA64A2}"/>
          </ac:spMkLst>
        </pc:spChg>
        <pc:spChg chg="mod">
          <ac:chgData name="Joelle Brehm" userId="a518f54c-6985-42c0-8041-2bb16a414839" providerId="ADAL" clId="{D2DE92CD-AADB-43BF-8B53-266FBFF8B69D}" dt="2024-02-05T21:41:50.649" v="31442"/>
          <ac:spMkLst>
            <pc:docMk/>
            <pc:sldMk cId="1002023985" sldId="270"/>
            <ac:spMk id="68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43"/>
          <ac:spMkLst>
            <pc:docMk/>
            <pc:sldMk cId="1002023985" sldId="270"/>
            <ac:spMk id="69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44"/>
          <ac:spMkLst>
            <pc:docMk/>
            <pc:sldMk cId="1002023985" sldId="270"/>
            <ac:spMk id="70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45"/>
          <ac:spMkLst>
            <pc:docMk/>
            <pc:sldMk cId="1002023985" sldId="270"/>
            <ac:spMk id="71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47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48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33" v="31434"/>
          <ac:spMkLst>
            <pc:docMk/>
            <pc:sldMk cId="1002023985" sldId="270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D2DE92CD-AADB-43BF-8B53-266FBFF8B69D}" dt="2024-02-05T21:41:35.290" v="30739"/>
          <ac:spMkLst>
            <pc:docMk/>
            <pc:sldMk cId="1002023985" sldId="270"/>
            <ac:spMk id="75" creationId="{AF340744-52B9-1C13-E8DE-9F550870E96B}"/>
          </ac:spMkLst>
        </pc:spChg>
        <pc:spChg chg="add del mod modVis">
          <ac:chgData name="Joelle Brehm" userId="a518f54c-6985-42c0-8041-2bb16a414839" providerId="ADAL" clId="{D2DE92CD-AADB-43BF-8B53-266FBFF8B69D}" dt="2024-02-05T21:41:37.302" v="30926"/>
          <ac:spMkLst>
            <pc:docMk/>
            <pc:sldMk cId="1002023985" sldId="270"/>
            <ac:spMk id="77" creationId="{C9384473-D3ED-4D27-869A-2870EE17FADC}"/>
          </ac:spMkLst>
        </pc:spChg>
        <pc:spChg chg="mod ord">
          <ac:chgData name="Joelle Brehm" userId="a518f54c-6985-42c0-8041-2bb16a414839" providerId="ADAL" clId="{D2DE92CD-AADB-43BF-8B53-266FBFF8B69D}" dt="2024-02-05T21:41:50.649" v="31475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41:50.649" v="31477"/>
          <ac:spMkLst>
            <pc:docMk/>
            <pc:sldMk cId="1002023985" sldId="270"/>
            <ac:spMk id="79" creationId="{F1476AC4-694B-4D83-BFD8-8DCAA4BB1923}"/>
          </ac:spMkLst>
        </pc:spChg>
        <pc:spChg chg="add del mod modVis">
          <ac:chgData name="Joelle Brehm" userId="a518f54c-6985-42c0-8041-2bb16a414839" providerId="ADAL" clId="{D2DE92CD-AADB-43BF-8B53-266FBFF8B69D}" dt="2024-02-05T21:41:39.964" v="31120"/>
          <ac:spMkLst>
            <pc:docMk/>
            <pc:sldMk cId="1002023985" sldId="270"/>
            <ac:spMk id="81" creationId="{7128E237-79A4-D3C7-A2B4-016C1D42F883}"/>
          </ac:spMkLst>
        </pc:spChg>
        <pc:spChg chg="add del mod modVis">
          <ac:chgData name="Joelle Brehm" userId="a518f54c-6985-42c0-8041-2bb16a414839" providerId="ADAL" clId="{D2DE92CD-AADB-43BF-8B53-266FBFF8B69D}" dt="2024-02-05T21:41:42.234" v="31308"/>
          <ac:spMkLst>
            <pc:docMk/>
            <pc:sldMk cId="1002023985" sldId="270"/>
            <ac:spMk id="83" creationId="{2D085C30-7EDB-93B1-ACD2-1C38945AD9AD}"/>
          </ac:spMkLst>
        </pc:spChg>
        <pc:spChg chg="add del mod modVis">
          <ac:chgData name="Joelle Brehm" userId="a518f54c-6985-42c0-8041-2bb16a414839" providerId="ADAL" clId="{D2DE92CD-AADB-43BF-8B53-266FBFF8B69D}" dt="2024-02-05T21:41:50.667" v="31502"/>
          <ac:spMkLst>
            <pc:docMk/>
            <pc:sldMk cId="1002023985" sldId="270"/>
            <ac:spMk id="85" creationId="{9F19B315-C4A5-50A3-8ED9-F3A168DC21DA}"/>
          </ac:spMkLst>
        </pc:spChg>
        <pc:spChg chg="mod">
          <ac:chgData name="Joelle Brehm" userId="a518f54c-6985-42c0-8041-2bb16a414839" providerId="ADAL" clId="{D2DE92CD-AADB-43BF-8B53-266FBFF8B69D}" dt="2024-02-05T21:41:50.649" v="31468"/>
          <ac:spMkLst>
            <pc:docMk/>
            <pc:sldMk cId="1002023985" sldId="270"/>
            <ac:spMk id="93" creationId="{B1BBD422-A0F8-8CC0-B23C-8A9CB3A1C6D6}"/>
          </ac:spMkLst>
        </pc:spChg>
        <pc:spChg chg="mod">
          <ac:chgData name="Joelle Brehm" userId="a518f54c-6985-42c0-8041-2bb16a414839" providerId="ADAL" clId="{D2DE92CD-AADB-43BF-8B53-266FBFF8B69D}" dt="2024-02-05T21:41:50.649" v="31470"/>
          <ac:spMkLst>
            <pc:docMk/>
            <pc:sldMk cId="1002023985" sldId="270"/>
            <ac:spMk id="94" creationId="{51EBDFDB-5209-9250-277A-278A1E76D5CD}"/>
          </ac:spMkLst>
        </pc:spChg>
        <pc:spChg chg="mod">
          <ac:chgData name="Joelle Brehm" userId="a518f54c-6985-42c0-8041-2bb16a414839" providerId="ADAL" clId="{D2DE92CD-AADB-43BF-8B53-266FBFF8B69D}" dt="2024-02-05T21:41:50.649" v="31469"/>
          <ac:spMkLst>
            <pc:docMk/>
            <pc:sldMk cId="1002023985" sldId="270"/>
            <ac:spMk id="97" creationId="{C2B1B1FC-2665-491D-9D8C-8903880B36C8}"/>
          </ac:spMkLst>
        </pc:spChg>
        <pc:spChg chg="mod ord">
          <ac:chgData name="Joelle Brehm" userId="a518f54c-6985-42c0-8041-2bb16a414839" providerId="ADAL" clId="{D2DE92CD-AADB-43BF-8B53-266FBFF8B69D}" dt="2024-02-05T21:41:50.649" v="31479"/>
          <ac:spMkLst>
            <pc:docMk/>
            <pc:sldMk cId="1002023985" sldId="270"/>
            <ac:spMk id="100" creationId="{8B5667AB-609C-4AEA-83B3-24E395C8F420}"/>
          </ac:spMkLst>
        </pc:spChg>
        <pc:spChg chg="mod">
          <ac:chgData name="Joelle Brehm" userId="a518f54c-6985-42c0-8041-2bb16a414839" providerId="ADAL" clId="{D2DE92CD-AADB-43BF-8B53-266FBFF8B69D}" dt="2024-02-05T21:41:50.649" v="31467"/>
          <ac:spMkLst>
            <pc:docMk/>
            <pc:sldMk cId="1002023985" sldId="270"/>
            <ac:spMk id="103" creationId="{7690AA4A-71C2-2257-266C-E805FC265889}"/>
          </ac:spMkLst>
        </pc:spChg>
        <pc:spChg chg="mod ord">
          <ac:chgData name="Joelle Brehm" userId="a518f54c-6985-42c0-8041-2bb16a414839" providerId="ADAL" clId="{D2DE92CD-AADB-43BF-8B53-266FBFF8B69D}" dt="2024-02-05T21:41:50.649" v="31481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41:50.649" v="31483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41:50.649" v="31485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41:50.649" v="31465"/>
          <ac:spMkLst>
            <pc:docMk/>
            <pc:sldMk cId="1002023985" sldId="270"/>
            <ac:spMk id="111" creationId="{DD839E76-A267-BB7D-5F18-E1B3B8823A3B}"/>
          </ac:spMkLst>
        </pc:spChg>
        <pc:spChg chg="mod">
          <ac:chgData name="Joelle Brehm" userId="a518f54c-6985-42c0-8041-2bb16a414839" providerId="ADAL" clId="{D2DE92CD-AADB-43BF-8B53-266FBFF8B69D}" dt="2024-02-05T21:41:50.649" v="31488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89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90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1:50.649" v="31491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41:50.649" v="31492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D2DE92CD-AADB-43BF-8B53-266FBFF8B69D}" dt="2024-02-05T21:41:50.649" v="31446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D2DE92CD-AADB-43BF-8B53-266FBFF8B69D}" dt="2024-02-05T21:41:50.683" v="31504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0:50.141" v="29109"/>
          <ac:graphicFrameMkLst>
            <pc:docMk/>
            <pc:sldMk cId="1002023985" sldId="270"/>
            <ac:graphicFrameMk id="8" creationId="{FE9E2504-5018-F50E-93F7-F06646B14ECB}"/>
          </ac:graphicFrameMkLst>
        </pc:graphicFrameChg>
        <pc:graphicFrameChg chg="del">
          <ac:chgData name="Joelle Brehm" userId="a518f54c-6985-42c0-8041-2bb16a414839" providerId="ADAL" clId="{D2DE92CD-AADB-43BF-8B53-266FBFF8B69D}" dt="2024-02-05T21:40:43.101" v="28951"/>
          <ac:graphicFrameMkLst>
            <pc:docMk/>
            <pc:sldMk cId="1002023985" sldId="270"/>
            <ac:graphicFrameMk id="31" creationId="{DC8B7FE7-B0FD-ED27-3856-B88AC4C61D69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1:50.633" v="31414"/>
          <ac:graphicFrameMkLst>
            <pc:docMk/>
            <pc:sldMk cId="1002023985" sldId="270"/>
            <ac:graphicFrameMk id="34" creationId="{2780A749-EF3A-238F-5380-B49A60A66C2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25.991" v="29820"/>
          <ac:graphicFrameMkLst>
            <pc:docMk/>
            <pc:sldMk cId="1002023985" sldId="270"/>
            <ac:graphicFrameMk id="41" creationId="{AD7F6FBD-3CAE-F94F-6B49-B77E21F47B6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27.895" v="30073"/>
          <ac:graphicFrameMkLst>
            <pc:docMk/>
            <pc:sldMk cId="1002023985" sldId="270"/>
            <ac:graphicFrameMk id="45" creationId="{046EB07C-7095-9DBE-BC5E-E6625B38FB8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30.443" v="30263"/>
          <ac:graphicFrameMkLst>
            <pc:docMk/>
            <pc:sldMk cId="1002023985" sldId="270"/>
            <ac:graphicFrameMk id="61" creationId="{03DFA991-47A7-F0B5-5871-144C5A2B700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33.066" v="30449"/>
          <ac:graphicFrameMkLst>
            <pc:docMk/>
            <pc:sldMk cId="1002023985" sldId="270"/>
            <ac:graphicFrameMk id="65" creationId="{8B47E06F-9F50-918D-8DCB-A5A025AADB5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35.234" v="30636"/>
          <ac:graphicFrameMkLst>
            <pc:docMk/>
            <pc:sldMk cId="1002023985" sldId="270"/>
            <ac:graphicFrameMk id="67" creationId="{EA1B1AC8-4F3E-CEFF-1EEE-29025535EB1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37.239" v="30822"/>
          <ac:graphicFrameMkLst>
            <pc:docMk/>
            <pc:sldMk cId="1002023985" sldId="270"/>
            <ac:graphicFrameMk id="76" creationId="{8FBCB8CA-3C9E-75A8-F865-A2B87A8CF26C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39.917" v="31017"/>
          <ac:graphicFrameMkLst>
            <pc:docMk/>
            <pc:sldMk cId="1002023985" sldId="270"/>
            <ac:graphicFrameMk id="80" creationId="{D8636A61-3B05-751C-4FF2-9AF36B0040A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1:42.183" v="31206"/>
          <ac:graphicFrameMkLst>
            <pc:docMk/>
            <pc:sldMk cId="1002023985" sldId="270"/>
            <ac:graphicFrameMk id="82" creationId="{EB8916C7-B518-69A1-6166-6576925F34E8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1:50.649" v="31441"/>
          <ac:graphicFrameMkLst>
            <pc:docMk/>
            <pc:sldMk cId="1002023985" sldId="270"/>
            <ac:graphicFrameMk id="84" creationId="{0F955FAA-CBA2-6D7C-A34A-E1C8827C46A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1:50.649" v="31487"/>
          <ac:graphicFrameMkLst>
            <pc:docMk/>
            <pc:sldMk cId="1002023985" sldId="270"/>
            <ac:graphicFrameMk id="86" creationId="{1BB7DC75-2234-2232-8A94-53F44E555191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1:50.602" v="31400"/>
          <ac:graphicFrameMkLst>
            <pc:docMk/>
            <pc:sldMk cId="1002023985" sldId="270"/>
            <ac:graphicFrameMk id="92" creationId="{FE5191B7-76AE-CE0A-7CA9-6F39D82D47B9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1:24.769" v="29612"/>
          <ac:graphicFrameMkLst>
            <pc:docMk/>
            <pc:sldMk cId="1002023985" sldId="270"/>
            <ac:graphicFrameMk id="115" creationId="{BD8CE6DF-FEE6-3FF7-496B-B06FD75BBD8C}"/>
          </ac:graphicFrameMkLst>
        </pc:graphicFrameChg>
        <pc:picChg chg="del mod ord">
          <ac:chgData name="Joelle Brehm" userId="a518f54c-6985-42c0-8041-2bb16a414839" providerId="ADAL" clId="{D2DE92CD-AADB-43BF-8B53-266FBFF8B69D}" dt="2024-02-05T21:41:17.239" v="29321" actId="478"/>
          <ac:picMkLst>
            <pc:docMk/>
            <pc:sldMk cId="1002023985" sldId="270"/>
            <ac:picMk id="35" creationId="{62107706-A9D9-4F59-535E-551E24A22EDB}"/>
          </ac:picMkLst>
        </pc:picChg>
        <pc:picChg chg="add mod ord">
          <ac:chgData name="Joelle Brehm" userId="a518f54c-6985-42c0-8041-2bb16a414839" providerId="ADAL" clId="{D2DE92CD-AADB-43BF-8B53-266FBFF8B69D}" dt="2024-02-05T21:41:50.633" v="31408"/>
          <ac:picMkLst>
            <pc:docMk/>
            <pc:sldMk cId="1002023985" sldId="270"/>
            <ac:picMk id="36" creationId="{23A4C1E1-F183-A6C6-C841-A91E494A53A3}"/>
          </ac:picMkLst>
        </pc:picChg>
        <pc:picChg chg="mod ord">
          <ac:chgData name="Joelle Brehm" userId="a518f54c-6985-42c0-8041-2bb16a414839" providerId="ADAL" clId="{D2DE92CD-AADB-43BF-8B53-266FBFF8B69D}" dt="2024-02-05T21:41:50.665" v="31496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D2DE92CD-AADB-43BF-8B53-266FBFF8B69D}" dt="2024-02-05T21:41:50.665" v="31494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41:50.633" v="31412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0:20:16.849" v="15728"/>
        <pc:sldMkLst>
          <pc:docMk/>
          <pc:sldMk cId="2815334483" sldId="271"/>
        </pc:sldMkLst>
        <pc:spChg chg="add del mod">
          <ac:chgData name="Joelle Brehm" userId="a518f54c-6985-42c0-8041-2bb16a414839" providerId="ADAL" clId="{D2DE92CD-AADB-43BF-8B53-266FBFF8B69D}" dt="2024-02-05T20:19:23.466" v="14277" actId="478"/>
          <ac:spMkLst>
            <pc:docMk/>
            <pc:sldMk cId="2815334483" sldId="271"/>
            <ac:spMk id="2" creationId="{CB7DEB55-7352-A4F3-7273-AE88C4251430}"/>
          </ac:spMkLst>
        </pc:spChg>
        <pc:spChg chg="mod ord">
          <ac:chgData name="Joelle Brehm" userId="a518f54c-6985-42c0-8041-2bb16a414839" providerId="ADAL" clId="{D2DE92CD-AADB-43BF-8B53-266FBFF8B69D}" dt="2024-02-05T20:20:16.830" v="15722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D2DE92CD-AADB-43BF-8B53-266FBFF8B69D}" dt="2024-02-05T20:19:34.791" v="14494"/>
          <ac:spMkLst>
            <pc:docMk/>
            <pc:sldMk cId="2815334483" sldId="271"/>
            <ac:spMk id="5" creationId="{D3420AA0-9473-96B0-67DA-000CB3802F69}"/>
          </ac:spMkLst>
        </pc:spChg>
        <pc:spChg chg="mod ord">
          <ac:chgData name="Joelle Brehm" userId="a518f54c-6985-42c0-8041-2bb16a414839" providerId="ADAL" clId="{D2DE92CD-AADB-43BF-8B53-266FBFF8B69D}" dt="2024-02-05T20:20:16.813" v="15657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0:20:16.820" v="15686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D2DE92CD-AADB-43BF-8B53-266FBFF8B69D}" dt="2024-02-05T20:20:16.816" v="15668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0:20:16.815" v="15664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0:20:16.815" v="15665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0:20:16.814" v="15662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0:20:16.815" v="15663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0:20:16.815" v="15666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0:20:16.815" v="15667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0:20:16.816" v="15669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0:20:16.816" v="15670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0:20:16.816" v="15671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0:20:16.817" v="15672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0:20:16.817" v="15673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0:20:16.817" v="15675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0:20:16.818" v="15676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0:20:16.818" v="15678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0:20:16.818" v="15677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0:20:16.819" v="15680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0:20:16.819" v="15681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0:20:16.819" v="15679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0:20:16.820" v="15683"/>
          <ac:spMkLst>
            <pc:docMk/>
            <pc:sldMk cId="2815334483" sldId="271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D2DE92CD-AADB-43BF-8B53-266FBFF8B69D}" dt="2024-02-05T20:19:42.614" v="14705"/>
          <ac:spMkLst>
            <pc:docMk/>
            <pc:sldMk cId="2815334483" sldId="271"/>
            <ac:spMk id="31" creationId="{301D7FBE-69F4-6BF3-4ECA-B90C385FEF3F}"/>
          </ac:spMkLst>
        </pc:spChg>
        <pc:spChg chg="mod">
          <ac:chgData name="Joelle Brehm" userId="a518f54c-6985-42c0-8041-2bb16a414839" providerId="ADAL" clId="{D2DE92CD-AADB-43BF-8B53-266FBFF8B69D}" dt="2024-02-05T20:20:16.821" v="15689"/>
          <ac:spMkLst>
            <pc:docMk/>
            <pc:sldMk cId="2815334483" sldId="271"/>
            <ac:spMk id="32" creationId="{8777249A-D943-16C1-E900-269856ADE995}"/>
          </ac:spMkLst>
        </pc:spChg>
        <pc:spChg chg="mod">
          <ac:chgData name="Joelle Brehm" userId="a518f54c-6985-42c0-8041-2bb16a414839" providerId="ADAL" clId="{D2DE92CD-AADB-43BF-8B53-266FBFF8B69D}" dt="2024-02-05T20:20:16.823" v="15695"/>
          <ac:spMkLst>
            <pc:docMk/>
            <pc:sldMk cId="2815334483" sldId="271"/>
            <ac:spMk id="34" creationId="{A8CE6006-892B-02A7-FD6F-1A7CFF52A860}"/>
          </ac:spMkLst>
        </pc:spChg>
        <pc:spChg chg="mod">
          <ac:chgData name="Joelle Brehm" userId="a518f54c-6985-42c0-8041-2bb16a414839" providerId="ADAL" clId="{D2DE92CD-AADB-43BF-8B53-266FBFF8B69D}" dt="2024-02-05T20:20:16.828" v="15713"/>
          <ac:spMkLst>
            <pc:docMk/>
            <pc:sldMk cId="2815334483" sldId="271"/>
            <ac:spMk id="35" creationId="{45572655-755F-8D0B-3A48-D4124A0ED0D7}"/>
          </ac:spMkLst>
        </pc:spChg>
        <pc:spChg chg="del mod">
          <ac:chgData name="Joelle Brehm" userId="a518f54c-6985-42c0-8041-2bb16a414839" providerId="ADAL" clId="{D2DE92CD-AADB-43BF-8B53-266FBFF8B69D}" dt="2024-02-05T20:20:16.703" v="15553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D2DE92CD-AADB-43BF-8B53-266FBFF8B69D}" dt="2024-02-05T20:20:16.828" v="15714"/>
          <ac:spMkLst>
            <pc:docMk/>
            <pc:sldMk cId="2815334483" sldId="271"/>
            <ac:spMk id="38" creationId="{93F58660-4061-9E2B-E06A-098BB1CF0FFF}"/>
          </ac:spMkLst>
        </pc:spChg>
        <pc:spChg chg="mod">
          <ac:chgData name="Joelle Brehm" userId="a518f54c-6985-42c0-8041-2bb16a414839" providerId="ADAL" clId="{D2DE92CD-AADB-43BF-8B53-266FBFF8B69D}" dt="2024-02-05T20:20:16.823" v="15694"/>
          <ac:spMkLst>
            <pc:docMk/>
            <pc:sldMk cId="2815334483" sldId="271"/>
            <ac:spMk id="39" creationId="{3FE8D96F-1EA9-E112-7607-E4758CD02F39}"/>
          </ac:spMkLst>
        </pc:spChg>
        <pc:spChg chg="mod">
          <ac:chgData name="Joelle Brehm" userId="a518f54c-6985-42c0-8041-2bb16a414839" providerId="ADAL" clId="{D2DE92CD-AADB-43BF-8B53-266FBFF8B69D}" dt="2024-02-05T20:20:16.828" v="15715"/>
          <ac:spMkLst>
            <pc:docMk/>
            <pc:sldMk cId="2815334483" sldId="271"/>
            <ac:spMk id="40" creationId="{33780D94-8B0A-E364-5A19-A4B2AB6B6976}"/>
          </ac:spMkLst>
        </pc:spChg>
        <pc:spChg chg="mod">
          <ac:chgData name="Joelle Brehm" userId="a518f54c-6985-42c0-8041-2bb16a414839" providerId="ADAL" clId="{D2DE92CD-AADB-43BF-8B53-266FBFF8B69D}" dt="2024-02-05T20:20:16.822" v="15690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D2DE92CD-AADB-43BF-8B53-266FBFF8B69D}" dt="2024-02-05T20:20:16.821" v="15687"/>
          <ac:spMkLst>
            <pc:docMk/>
            <pc:sldMk cId="2815334483" sldId="271"/>
            <ac:spMk id="42" creationId="{6259DA9A-2854-0028-25DD-8E34BDEB2937}"/>
          </ac:spMkLst>
        </pc:spChg>
        <pc:spChg chg="mod">
          <ac:chgData name="Joelle Brehm" userId="a518f54c-6985-42c0-8041-2bb16a414839" providerId="ADAL" clId="{D2DE92CD-AADB-43BF-8B53-266FBFF8B69D}" dt="2024-02-05T20:20:16.829" v="15716"/>
          <ac:spMkLst>
            <pc:docMk/>
            <pc:sldMk cId="2815334483" sldId="271"/>
            <ac:spMk id="43" creationId="{5D904BC7-CC0E-1989-F3A8-B1ADF5AF819F}"/>
          </ac:spMkLst>
        </pc:spChg>
        <pc:spChg chg="mod">
          <ac:chgData name="Joelle Brehm" userId="a518f54c-6985-42c0-8041-2bb16a414839" providerId="ADAL" clId="{D2DE92CD-AADB-43BF-8B53-266FBFF8B69D}" dt="2024-02-05T20:20:16.822" v="15691"/>
          <ac:spMkLst>
            <pc:docMk/>
            <pc:sldMk cId="2815334483" sldId="271"/>
            <ac:spMk id="44" creationId="{2A226A46-FF6E-9786-3934-AE547CB60305}"/>
          </ac:spMkLst>
        </pc:spChg>
        <pc:spChg chg="mod">
          <ac:chgData name="Joelle Brehm" userId="a518f54c-6985-42c0-8041-2bb16a414839" providerId="ADAL" clId="{D2DE92CD-AADB-43BF-8B53-266FBFF8B69D}" dt="2024-02-05T20:20:16.822" v="15692"/>
          <ac:spMkLst>
            <pc:docMk/>
            <pc:sldMk cId="2815334483" sldId="271"/>
            <ac:spMk id="46" creationId="{930ECC5A-4534-E4CB-B946-9975134BC620}"/>
          </ac:spMkLst>
        </pc:spChg>
        <pc:spChg chg="mod">
          <ac:chgData name="Joelle Brehm" userId="a518f54c-6985-42c0-8041-2bb16a414839" providerId="ADAL" clId="{D2DE92CD-AADB-43BF-8B53-266FBFF8B69D}" dt="2024-02-05T20:20:16.821" v="15688"/>
          <ac:spMkLst>
            <pc:docMk/>
            <pc:sldMk cId="2815334483" sldId="271"/>
            <ac:spMk id="48" creationId="{E51CFCE3-4E32-6059-9327-A1EFC827F040}"/>
          </ac:spMkLst>
        </pc:spChg>
        <pc:spChg chg="mod">
          <ac:chgData name="Joelle Brehm" userId="a518f54c-6985-42c0-8041-2bb16a414839" providerId="ADAL" clId="{D2DE92CD-AADB-43BF-8B53-266FBFF8B69D}" dt="2024-02-05T20:20:16.823" v="15696"/>
          <ac:spMkLst>
            <pc:docMk/>
            <pc:sldMk cId="2815334483" sldId="271"/>
            <ac:spMk id="51" creationId="{D8AE21DE-2650-D35B-B0CE-FC60DFB87981}"/>
          </ac:spMkLst>
        </pc:spChg>
        <pc:spChg chg="add mod replST">
          <ac:chgData name="Joelle Brehm" userId="a518f54c-6985-42c0-8041-2bb16a414839" providerId="ADAL" clId="{D2DE92CD-AADB-43BF-8B53-266FBFF8B69D}" dt="2024-02-05T20:20:16.823" v="15697"/>
          <ac:spMkLst>
            <pc:docMk/>
            <pc:sldMk cId="2815334483" sldId="271"/>
            <ac:spMk id="52" creationId="{53628FE2-0A0B-9EF5-96A1-DA716D6AD9E6}"/>
          </ac:spMkLst>
        </pc:spChg>
        <pc:spChg chg="add del mod modVis">
          <ac:chgData name="Joelle Brehm" userId="a518f54c-6985-42c0-8041-2bb16a414839" providerId="ADAL" clId="{D2DE92CD-AADB-43BF-8B53-266FBFF8B69D}" dt="2024-02-05T20:20:11.976" v="15383"/>
          <ac:spMkLst>
            <pc:docMk/>
            <pc:sldMk cId="2815334483" sldId="271"/>
            <ac:spMk id="53" creationId="{7192C714-05C3-1790-BD2C-F5A983D36F4C}"/>
          </ac:spMkLst>
        </pc:spChg>
        <pc:spChg chg="mod">
          <ac:chgData name="Joelle Brehm" userId="a518f54c-6985-42c0-8041-2bb16a414839" providerId="ADAL" clId="{D2DE92CD-AADB-43BF-8B53-266FBFF8B69D}" dt="2024-02-05T20:20:16.823" v="15693"/>
          <ac:spMkLst>
            <pc:docMk/>
            <pc:sldMk cId="2815334483" sldId="271"/>
            <ac:spMk id="54" creationId="{040A7AC0-BA49-481C-2E93-53505ECC740A}"/>
          </ac:spMkLst>
        </pc:spChg>
        <pc:spChg chg="add del mod modVis">
          <ac:chgData name="Joelle Brehm" userId="a518f54c-6985-42c0-8041-2bb16a414839" providerId="ADAL" clId="{D2DE92CD-AADB-43BF-8B53-266FBFF8B69D}" dt="2024-02-05T20:20:13.498" v="15550"/>
          <ac:spMkLst>
            <pc:docMk/>
            <pc:sldMk cId="2815334483" sldId="271"/>
            <ac:spMk id="56" creationId="{3311727B-1E14-877D-4831-1F515764AB1F}"/>
          </ac:spMkLst>
        </pc:spChg>
        <pc:spChg chg="mod ord">
          <ac:chgData name="Joelle Brehm" userId="a518f54c-6985-42c0-8041-2bb16a414839" providerId="ADAL" clId="{D2DE92CD-AADB-43BF-8B53-266FBFF8B69D}" dt="2024-02-05T20:20:16.830" v="15720"/>
          <ac:spMkLst>
            <pc:docMk/>
            <pc:sldMk cId="2815334483" sldId="271"/>
            <ac:spMk id="58" creationId="{13D3C19C-081E-48C7-8BE2-5EF3E8A1DEEB}"/>
          </ac:spMkLst>
        </pc:spChg>
        <pc:spChg chg="add del mod modVis">
          <ac:chgData name="Joelle Brehm" userId="a518f54c-6985-42c0-8041-2bb16a414839" providerId="ADAL" clId="{D2DE92CD-AADB-43BF-8B53-266FBFF8B69D}" dt="2024-02-05T20:20:16.831" v="15726"/>
          <ac:spMkLst>
            <pc:docMk/>
            <pc:sldMk cId="2815334483" sldId="271"/>
            <ac:spMk id="59" creationId="{25B90645-F8BF-10E0-BD67-0DD19FB3EB3D}"/>
          </ac:spMkLst>
        </pc:spChg>
        <pc:spChg chg="mod ord">
          <ac:chgData name="Joelle Brehm" userId="a518f54c-6985-42c0-8041-2bb16a414839" providerId="ADAL" clId="{D2DE92CD-AADB-43BF-8B53-266FBFF8B69D}" dt="2024-02-05T20:20:16.824" v="15699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0:20:16.825" v="15701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0:20:16.825" v="15703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0:20:16.826" v="15705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0:20:16.826" v="15707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0:20:16.827" v="15709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0:20:16.828" v="15712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0:20:16.849" v="15728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0:16.814" v="15661"/>
          <ac:graphicFrameMkLst>
            <pc:docMk/>
            <pc:sldMk cId="2815334483" sldId="271"/>
            <ac:graphicFrameMk id="8" creationId="{DDE6B3D5-F5EC-FBB4-7467-6A13C23EED18}"/>
          </ac:graphicFrameMkLst>
        </pc:graphicFrameChg>
        <pc:graphicFrameChg chg="del">
          <ac:chgData name="Joelle Brehm" userId="a518f54c-6985-42c0-8041-2bb16a414839" providerId="ADAL" clId="{D2DE92CD-AADB-43BF-8B53-266FBFF8B69D}" dt="2024-02-05T20:19:34.692" v="14409"/>
          <ac:graphicFrameMkLst>
            <pc:docMk/>
            <pc:sldMk cId="2815334483" sldId="271"/>
            <ac:graphicFrameMk id="9" creationId="{395CDB5B-CE1A-CD7F-B1AD-B1A67DCAE73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19:46.724" v="14727"/>
          <ac:graphicFrameMkLst>
            <pc:docMk/>
            <pc:sldMk cId="2815334483" sldId="271"/>
            <ac:graphicFrameMk id="36" creationId="{CE7167CF-D20B-52D8-FFB5-67F8FF812AF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19:48.096" v="14826"/>
          <ac:graphicFrameMkLst>
            <pc:docMk/>
            <pc:sldMk cId="2815334483" sldId="271"/>
            <ac:graphicFrameMk id="45" creationId="{433C6BBA-637A-968B-09C5-EE4FF52F35D6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0:16.827" v="15711"/>
          <ac:graphicFrameMkLst>
            <pc:docMk/>
            <pc:sldMk cId="2815334483" sldId="271"/>
            <ac:graphicFrameMk id="47" creationId="{DE39813E-317B-67F6-2073-6D4E290EAADE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19:42.558" v="14626"/>
          <ac:graphicFrameMkLst>
            <pc:docMk/>
            <pc:sldMk cId="2815334483" sldId="271"/>
            <ac:graphicFrameMk id="50" creationId="{3FED44BE-CF21-ABB6-0E74-151229D452D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0:13.430" v="15459"/>
          <ac:graphicFrameMkLst>
            <pc:docMk/>
            <pc:sldMk cId="2815334483" sldId="271"/>
            <ac:graphicFrameMk id="55" creationId="{46A5A36E-3C96-0498-470E-FE6DB454A11D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0:16.787" v="15647"/>
          <ac:graphicFrameMkLst>
            <pc:docMk/>
            <pc:sldMk cId="2815334483" sldId="271"/>
            <ac:graphicFrameMk id="57" creationId="{9B605C45-3DAC-E77C-DC66-D4F30B28CE3F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0:16.820" v="15685"/>
          <ac:graphicFrameMkLst>
            <pc:docMk/>
            <pc:sldMk cId="2815334483" sldId="271"/>
            <ac:graphicFrameMk id="60" creationId="{A8ED65AD-C3F4-E5DA-4FED-1B3CCB96A4F5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20:11.898" v="15297"/>
          <ac:graphicFrameMkLst>
            <pc:docMk/>
            <pc:sldMk cId="2815334483" sldId="271"/>
            <ac:graphicFrameMk id="61" creationId="{6D78C517-2C22-0F98-A7D1-2C3A74560A5A}"/>
          </ac:graphicFrameMkLst>
        </pc:graphicFrameChg>
        <pc:picChg chg="del mod ord">
          <ac:chgData name="Joelle Brehm" userId="a518f54c-6985-42c0-8041-2bb16a414839" providerId="ADAL" clId="{D2DE92CD-AADB-43BF-8B53-266FBFF8B69D}" dt="2024-02-05T20:20:03.347" v="14990" actId="478"/>
          <ac:picMkLst>
            <pc:docMk/>
            <pc:sldMk cId="2815334483" sldId="271"/>
            <ac:picMk id="33" creationId="{652D2DC7-5159-B9E5-C92E-08CFCFAF315F}"/>
          </ac:picMkLst>
        </pc:picChg>
        <pc:picChg chg="add mod ord">
          <ac:chgData name="Joelle Brehm" userId="a518f54c-6985-42c0-8041-2bb16a414839" providerId="ADAL" clId="{D2DE92CD-AADB-43BF-8B53-266FBFF8B69D}" dt="2024-02-05T20:20:16.812" v="15655"/>
          <ac:picMkLst>
            <pc:docMk/>
            <pc:sldMk cId="2815334483" sldId="271"/>
            <ac:picMk id="49" creationId="{B1409334-55A9-A793-A5C2-5716A662894A}"/>
          </ac:picMkLst>
        </pc:picChg>
        <pc:picChg chg="mod ord">
          <ac:chgData name="Joelle Brehm" userId="a518f54c-6985-42c0-8041-2bb16a414839" providerId="ADAL" clId="{D2DE92CD-AADB-43BF-8B53-266FBFF8B69D}" dt="2024-02-05T20:20:16.829" v="15718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0:20:16.813" v="15659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0:21:14.424" v="17506"/>
        <pc:sldMkLst>
          <pc:docMk/>
          <pc:sldMk cId="1407012127" sldId="272"/>
        </pc:sldMkLst>
        <pc:spChg chg="mod ord">
          <ac:chgData name="Joelle Brehm" userId="a518f54c-6985-42c0-8041-2bb16a414839" providerId="ADAL" clId="{D2DE92CD-AADB-43BF-8B53-266FBFF8B69D}" dt="2024-02-05T20:21:14.408" v="17500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D2DE92CD-AADB-43BF-8B53-266FBFF8B69D}" dt="2024-02-05T20:20:24.315" v="15729" actId="478"/>
          <ac:spMkLst>
            <pc:docMk/>
            <pc:sldMk cId="1407012127" sldId="272"/>
            <ac:spMk id="3" creationId="{C52916D0-6412-C45B-9C75-5FAAE7CCA9BF}"/>
          </ac:spMkLst>
        </pc:spChg>
        <pc:spChg chg="add del mod modVis">
          <ac:chgData name="Joelle Brehm" userId="a518f54c-6985-42c0-8041-2bb16a414839" providerId="ADAL" clId="{D2DE92CD-AADB-43BF-8B53-266FBFF8B69D}" dt="2024-02-05T20:20:34.210" v="15946"/>
          <ac:spMkLst>
            <pc:docMk/>
            <pc:sldMk cId="1407012127" sldId="272"/>
            <ac:spMk id="5" creationId="{39429A50-F133-1884-4134-CBD286FE12DB}"/>
          </ac:spMkLst>
        </pc:spChg>
        <pc:spChg chg="mod ord">
          <ac:chgData name="Joelle Brehm" userId="a518f54c-6985-42c0-8041-2bb16a414839" providerId="ADAL" clId="{D2DE92CD-AADB-43BF-8B53-266FBFF8B69D}" dt="2024-02-05T20:21:14.393" v="17435"/>
          <ac:spMkLst>
            <pc:docMk/>
            <pc:sldMk cId="1407012127" sldId="272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D2DE92CD-AADB-43BF-8B53-266FBFF8B69D}" dt="2024-02-05T20:20:42.772" v="16130"/>
          <ac:spMkLst>
            <pc:docMk/>
            <pc:sldMk cId="1407012127" sldId="272"/>
            <ac:spMk id="10" creationId="{087A22A2-E0D2-EF8F-33EA-5FFE20294591}"/>
          </ac:spMkLst>
        </pc:spChg>
        <pc:spChg chg="mod">
          <ac:chgData name="Joelle Brehm" userId="a518f54c-6985-42c0-8041-2bb16a414839" providerId="ADAL" clId="{D2DE92CD-AADB-43BF-8B53-266FBFF8B69D}" dt="2024-02-05T20:21:14.395" v="17446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0:21:14.394" v="17442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0:21:14.394" v="17443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0:21:14.394" v="17440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0:21:14.394" v="17441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0:21:14.395" v="17444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0:21:14.395" v="17445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0:21:14.395" v="17447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0:21:14.395" v="17448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0:21:14.396" v="17449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0:21:14.396" v="17450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0:21:14.396" v="17451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0:21:14.397" v="17453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0:21:14.397" v="17454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0:21:14.397" v="17456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0:21:14.397" v="17455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0:21:14.398" v="17458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0:21:14.398" v="17459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0:21:14.398" v="17457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0:21:14.399" v="17461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0:21:14.400" v="17469"/>
          <ac:spMkLst>
            <pc:docMk/>
            <pc:sldMk cId="1407012127" sldId="272"/>
            <ac:spMk id="31" creationId="{12D405BD-09A7-5DE2-D31C-098B6254BA48}"/>
          </ac:spMkLst>
        </pc:spChg>
        <pc:spChg chg="mod">
          <ac:chgData name="Joelle Brehm" userId="a518f54c-6985-42c0-8041-2bb16a414839" providerId="ADAL" clId="{D2DE92CD-AADB-43BF-8B53-266FBFF8B69D}" dt="2024-02-05T20:21:14.402" v="17473"/>
          <ac:spMkLst>
            <pc:docMk/>
            <pc:sldMk cId="1407012127" sldId="272"/>
            <ac:spMk id="33" creationId="{DEE0E245-78E9-7A67-664E-EC2B0754BE35}"/>
          </ac:spMkLst>
        </pc:spChg>
        <pc:spChg chg="add mod replST">
          <ac:chgData name="Joelle Brehm" userId="a518f54c-6985-42c0-8041-2bb16a414839" providerId="ADAL" clId="{D2DE92CD-AADB-43BF-8B53-266FBFF8B69D}" dt="2024-02-05T20:21:14.402" v="17475"/>
          <ac:spMkLst>
            <pc:docMk/>
            <pc:sldMk cId="1407012127" sldId="272"/>
            <ac:spMk id="35" creationId="{9A61C4AC-2BC0-7427-87BB-C00DF9E032F6}"/>
          </ac:spMkLst>
        </pc:spChg>
        <pc:spChg chg="mod">
          <ac:chgData name="Joelle Brehm" userId="a518f54c-6985-42c0-8041-2bb16a414839" providerId="ADAL" clId="{D2DE92CD-AADB-43BF-8B53-266FBFF8B69D}" dt="2024-02-05T20:21:14.401" v="17471"/>
          <ac:spMkLst>
            <pc:docMk/>
            <pc:sldMk cId="1407012127" sldId="272"/>
            <ac:spMk id="36" creationId="{C8D3E2C2-3C12-3A42-5737-E5E3D3EAF8EA}"/>
          </ac:spMkLst>
        </pc:spChg>
        <pc:spChg chg="del mod">
          <ac:chgData name="Joelle Brehm" userId="a518f54c-6985-42c0-8041-2bb16a414839" providerId="ADAL" clId="{D2DE92CD-AADB-43BF-8B53-266FBFF8B69D}" dt="2024-02-05T20:21:05.254" v="16834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D2DE92CD-AADB-43BF-8B53-266FBFF8B69D}" dt="2024-02-05T20:21:14.399" v="17464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D2DE92CD-AADB-43BF-8B53-266FBFF8B69D}" dt="2024-02-05T20:21:14.400" v="17466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D2DE92CD-AADB-43BF-8B53-266FBFF8B69D}" dt="2024-02-05T20:21:14.400" v="17468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D2DE92CD-AADB-43BF-8B53-266FBFF8B69D}" dt="2024-02-05T20:21:14.399" v="17465"/>
          <ac:spMkLst>
            <pc:docMk/>
            <pc:sldMk cId="1407012127" sldId="272"/>
            <ac:spMk id="41" creationId="{3B0A3A52-5D18-7245-58AE-791EE368F68D}"/>
          </ac:spMkLst>
        </pc:spChg>
        <pc:spChg chg="mod">
          <ac:chgData name="Joelle Brehm" userId="a518f54c-6985-42c0-8041-2bb16a414839" providerId="ADAL" clId="{D2DE92CD-AADB-43BF-8B53-266FBFF8B69D}" dt="2024-02-05T20:21:14.401" v="17472"/>
          <ac:spMkLst>
            <pc:docMk/>
            <pc:sldMk cId="1407012127" sldId="272"/>
            <ac:spMk id="42" creationId="{1CCE2CD3-9785-B79A-EAFB-8C7C97C912CB}"/>
          </ac:spMkLst>
        </pc:spChg>
        <pc:spChg chg="mod">
          <ac:chgData name="Joelle Brehm" userId="a518f54c-6985-42c0-8041-2bb16a414839" providerId="ADAL" clId="{D2DE92CD-AADB-43BF-8B53-266FBFF8B69D}" dt="2024-02-05T20:21:14.400" v="17467"/>
          <ac:spMkLst>
            <pc:docMk/>
            <pc:sldMk cId="1407012127" sldId="272"/>
            <ac:spMk id="43" creationId="{FB4FB43F-D084-EE9C-5BF8-B064116032D0}"/>
          </ac:spMkLst>
        </pc:spChg>
        <pc:spChg chg="mod">
          <ac:chgData name="Joelle Brehm" userId="a518f54c-6985-42c0-8041-2bb16a414839" providerId="ADAL" clId="{D2DE92CD-AADB-43BF-8B53-266FBFF8B69D}" dt="2024-02-05T20:21:14.401" v="17470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D2DE92CD-AADB-43BF-8B53-266FBFF8B69D}" dt="2024-02-05T20:21:02.295" v="16659"/>
          <ac:spMkLst>
            <pc:docMk/>
            <pc:sldMk cId="1407012127" sldId="272"/>
            <ac:spMk id="46" creationId="{3CF2CB27-6EEB-2134-D6FA-7F85187A3064}"/>
          </ac:spMkLst>
        </pc:spChg>
        <pc:spChg chg="add del mod ord replST">
          <ac:chgData name="Joelle Brehm" userId="a518f54c-6985-42c0-8041-2bb16a414839" providerId="ADAL" clId="{D2DE92CD-AADB-43BF-8B53-266FBFF8B69D}" dt="2024-02-05T20:21:05.415" v="16974"/>
          <ac:spMkLst>
            <pc:docMk/>
            <pc:sldMk cId="1407012127" sldId="272"/>
            <ac:spMk id="47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1:14.402" v="17474"/>
          <ac:spMkLst>
            <pc:docMk/>
            <pc:sldMk cId="1407012127" sldId="272"/>
            <ac:spMk id="49" creationId="{BFBE4DAB-6CE3-A4D4-76EB-EE4B23B402B6}"/>
          </ac:spMkLst>
        </pc:spChg>
        <pc:spChg chg="add del mod modVis">
          <ac:chgData name="Joelle Brehm" userId="a518f54c-6985-42c0-8041-2bb16a414839" providerId="ADAL" clId="{D2DE92CD-AADB-43BF-8B53-266FBFF8B69D}" dt="2024-02-05T20:21:03.390" v="16831"/>
          <ac:spMkLst>
            <pc:docMk/>
            <pc:sldMk cId="1407012127" sldId="272"/>
            <ac:spMk id="51" creationId="{CE9F4DB2-C8CB-7EB9-CCAB-FD795CD51D53}"/>
          </ac:spMkLst>
        </pc:spChg>
        <pc:spChg chg="add del mod modVis">
          <ac:chgData name="Joelle Brehm" userId="a518f54c-6985-42c0-8041-2bb16a414839" providerId="ADAL" clId="{D2DE92CD-AADB-43BF-8B53-266FBFF8B69D}" dt="2024-02-05T20:21:05.488" v="17092"/>
          <ac:spMkLst>
            <pc:docMk/>
            <pc:sldMk cId="1407012127" sldId="272"/>
            <ac:spMk id="53" creationId="{37D28FA7-434D-8D1E-44E9-EAA884620759}"/>
          </ac:spMkLst>
        </pc:spChg>
        <pc:spChg chg="add del mod ord replST">
          <ac:chgData name="Joelle Brehm" userId="a518f54c-6985-42c0-8041-2bb16a414839" providerId="ADAL" clId="{D2DE92CD-AADB-43BF-8B53-266FBFF8B69D}" dt="2024-02-05T20:21:10.725" v="17291"/>
          <ac:spMkLst>
            <pc:docMk/>
            <pc:sldMk cId="1407012127" sldId="272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0:21:07.997" v="17237"/>
          <ac:spMkLst>
            <pc:docMk/>
            <pc:sldMk cId="1407012127" sldId="272"/>
            <ac:spMk id="56" creationId="{5DF09142-BC9F-8C40-BD90-09D749C7D727}"/>
          </ac:spMkLst>
        </pc:spChg>
        <pc:spChg chg="add del mod modVis">
          <ac:chgData name="Joelle Brehm" userId="a518f54c-6985-42c0-8041-2bb16a414839" providerId="ADAL" clId="{D2DE92CD-AADB-43BF-8B53-266FBFF8B69D}" dt="2024-02-05T20:21:10.769" v="17372"/>
          <ac:spMkLst>
            <pc:docMk/>
            <pc:sldMk cId="1407012127" sldId="272"/>
            <ac:spMk id="58" creationId="{4565561D-7873-4246-DE36-1AE824F6669A}"/>
          </ac:spMkLst>
        </pc:spChg>
        <pc:spChg chg="add del mod modVis">
          <ac:chgData name="Joelle Brehm" userId="a518f54c-6985-42c0-8041-2bb16a414839" providerId="ADAL" clId="{D2DE92CD-AADB-43BF-8B53-266FBFF8B69D}" dt="2024-02-05T20:21:14.409" v="17504"/>
          <ac:spMkLst>
            <pc:docMk/>
            <pc:sldMk cId="1407012127" sldId="272"/>
            <ac:spMk id="60" creationId="{65B0E270-3D48-C270-CC5C-4CEB2A94CD4B}"/>
          </ac:spMkLst>
        </pc:spChg>
        <pc:spChg chg="mod ord">
          <ac:chgData name="Joelle Brehm" userId="a518f54c-6985-42c0-8041-2bb16a414839" providerId="ADAL" clId="{D2DE92CD-AADB-43BF-8B53-266FBFF8B69D}" dt="2024-02-05T20:21:14.407" v="17498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D2DE92CD-AADB-43BF-8B53-266FBFF8B69D}" dt="2024-02-05T20:21:14.402" v="17477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0:21:14.403" v="17479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0:21:14.403" v="17481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0:21:14.404" v="17483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0:21:14.404" v="17485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0:21:14.405" v="17487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0:21:14.405" v="17490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1:14.406" v="17491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1:14.406" v="17492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1:14.406" v="17493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0:21:14.407" v="17494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0:21:14.424" v="17506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1:14.393" v="17439"/>
          <ac:graphicFrameMkLst>
            <pc:docMk/>
            <pc:sldMk cId="1407012127" sldId="272"/>
            <ac:graphicFrameMk id="8" creationId="{B2C05545-E43F-572C-C882-F794D9F8D6B5}"/>
          </ac:graphicFrameMkLst>
        </pc:graphicFrameChg>
        <pc:graphicFrameChg chg="del">
          <ac:chgData name="Joelle Brehm" userId="a518f54c-6985-42c0-8041-2bb16a414839" providerId="ADAL" clId="{D2DE92CD-AADB-43BF-8B53-266FBFF8B69D}" dt="2024-02-05T20:20:34.143" v="15863"/>
          <ac:graphicFrameMkLst>
            <pc:docMk/>
            <pc:sldMk cId="1407012127" sldId="272"/>
            <ac:graphicFrameMk id="9" creationId="{77E0BEDC-C6EF-F3BE-59BC-8A426EDAD78B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1:14.405" v="17489"/>
          <ac:graphicFrameMkLst>
            <pc:docMk/>
            <pc:sldMk cId="1407012127" sldId="272"/>
            <ac:graphicFrameMk id="32" creationId="{4EB330BE-AACC-E6D3-2217-3F4D5C5A9554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20:42.713" v="16051"/>
          <ac:graphicFrameMkLst>
            <pc:docMk/>
            <pc:sldMk cId="1407012127" sldId="272"/>
            <ac:graphicFrameMk id="48" creationId="{FD5C3299-9035-2D4F-E967-CA20183D67E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1:03.325" v="16736"/>
          <ac:graphicFrameMkLst>
            <pc:docMk/>
            <pc:sldMk cId="1407012127" sldId="272"/>
            <ac:graphicFrameMk id="50" creationId="{F1AC1CFB-5D38-F949-EEBE-9BDF0D6B017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1:05.424" v="16998"/>
          <ac:graphicFrameMkLst>
            <pc:docMk/>
            <pc:sldMk cId="1407012127" sldId="272"/>
            <ac:graphicFrameMk id="52" creationId="{466218D6-878A-6614-F5D9-EAE3E06770A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1:07.951" v="17156"/>
          <ac:graphicFrameMkLst>
            <pc:docMk/>
            <pc:sldMk cId="1407012127" sldId="272"/>
            <ac:graphicFrameMk id="55" creationId="{DB85F5E9-CE75-ED98-A360-01C3DC16E10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1:10.727" v="17293"/>
          <ac:graphicFrameMkLst>
            <pc:docMk/>
            <pc:sldMk cId="1407012127" sldId="272"/>
            <ac:graphicFrameMk id="57" creationId="{1BEC2C80-B59D-974E-86DC-E9E2956B3DB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1:14.368" v="17425"/>
          <ac:graphicFrameMkLst>
            <pc:docMk/>
            <pc:sldMk cId="1407012127" sldId="272"/>
            <ac:graphicFrameMk id="59" creationId="{8F3E83AF-E1E2-1F8B-3806-A53B50A46826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21:02.240" v="16569"/>
          <ac:graphicFrameMkLst>
            <pc:docMk/>
            <pc:sldMk cId="1407012127" sldId="272"/>
            <ac:graphicFrameMk id="61" creationId="{0F620426-2A7D-DF0C-67F7-754B97A309E3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1:14.399" v="17463"/>
          <ac:graphicFrameMkLst>
            <pc:docMk/>
            <pc:sldMk cId="1407012127" sldId="272"/>
            <ac:graphicFrameMk id="62" creationId="{25908942-42BE-E17A-3AAA-8A84EC7BDD53}"/>
          </ac:graphicFrameMkLst>
        </pc:graphicFrameChg>
        <pc:picChg chg="add mod ord">
          <ac:chgData name="Joelle Brehm" userId="a518f54c-6985-42c0-8041-2bb16a414839" providerId="ADAL" clId="{D2DE92CD-AADB-43BF-8B53-266FBFF8B69D}" dt="2024-02-05T20:21:14.392" v="17433"/>
          <ac:picMkLst>
            <pc:docMk/>
            <pc:sldMk cId="1407012127" sldId="272"/>
            <ac:picMk id="34" creationId="{0C29357C-724C-3BCA-6305-BC2F33790156}"/>
          </ac:picMkLst>
        </pc:picChg>
        <pc:picChg chg="del mod ord">
          <ac:chgData name="Joelle Brehm" userId="a518f54c-6985-42c0-8041-2bb16a414839" providerId="ADAL" clId="{D2DE92CD-AADB-43BF-8B53-266FBFF8B69D}" dt="2024-02-05T20:20:55.690" v="16213" actId="478"/>
          <ac:picMkLst>
            <pc:docMk/>
            <pc:sldMk cId="1407012127" sldId="272"/>
            <ac:picMk id="45" creationId="{28BA2D66-A538-83A4-5D0D-16FD658AFA39}"/>
          </ac:picMkLst>
        </pc:picChg>
        <pc:picChg chg="mod ord">
          <ac:chgData name="Joelle Brehm" userId="a518f54c-6985-42c0-8041-2bb16a414839" providerId="ADAL" clId="{D2DE92CD-AADB-43BF-8B53-266FBFF8B69D}" dt="2024-02-05T20:21:14.407" v="17496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0:21:14.393" v="17437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0:22:18.715" v="18680"/>
        <pc:sldMkLst>
          <pc:docMk/>
          <pc:sldMk cId="4005475890" sldId="273"/>
        </pc:sldMkLst>
        <pc:spChg chg="mod ord">
          <ac:chgData name="Joelle Brehm" userId="a518f54c-6985-42c0-8041-2bb16a414839" providerId="ADAL" clId="{D2DE92CD-AADB-43BF-8B53-266FBFF8B69D}" dt="2024-02-05T20:22:18.688" v="18674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D2DE92CD-AADB-43BF-8B53-266FBFF8B69D}" dt="2024-02-05T20:21:19.236" v="17507" actId="478"/>
          <ac:spMkLst>
            <pc:docMk/>
            <pc:sldMk cId="4005475890" sldId="273"/>
            <ac:spMk id="3" creationId="{A09930F7-0F05-F2DF-BD7A-B268C47F5F21}"/>
          </ac:spMkLst>
        </pc:spChg>
        <pc:spChg chg="add del mod modVis">
          <ac:chgData name="Joelle Brehm" userId="a518f54c-6985-42c0-8041-2bb16a414839" providerId="ADAL" clId="{D2DE92CD-AADB-43BF-8B53-266FBFF8B69D}" dt="2024-02-05T20:21:32.183" v="17720"/>
          <ac:spMkLst>
            <pc:docMk/>
            <pc:sldMk cId="4005475890" sldId="273"/>
            <ac:spMk id="5" creationId="{9A6AC484-40B5-6CE6-6EA9-452A0AD8C564}"/>
          </ac:spMkLst>
        </pc:spChg>
        <pc:spChg chg="mod ord">
          <ac:chgData name="Joelle Brehm" userId="a518f54c-6985-42c0-8041-2bb16a414839" providerId="ADAL" clId="{D2DE92CD-AADB-43BF-8B53-266FBFF8B69D}" dt="2024-02-05T20:22:18.667" v="18609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0:22:18.679" v="18646"/>
          <ac:spMkLst>
            <pc:docMk/>
            <pc:sldMk cId="4005475890" sldId="273"/>
            <ac:spMk id="10" creationId="{F4526B17-4D9D-5E61-CE0E-B2D48C5D6FAD}"/>
          </ac:spMkLst>
        </pc:spChg>
        <pc:spChg chg="mod">
          <ac:chgData name="Joelle Brehm" userId="a518f54c-6985-42c0-8041-2bb16a414839" providerId="ADAL" clId="{D2DE92CD-AADB-43BF-8B53-266FBFF8B69D}" dt="2024-02-05T20:22:18.670" v="18620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0:22:18.669" v="18616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0:22:18.669" v="18617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0:22:18.668" v="18614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0:22:18.668" v="18615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0:22:18.669" v="18618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0:22:18.670" v="18619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0:22:18.670" v="18621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0:22:18.671" v="18622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0:22:18.671" v="18623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0:22:18.671" v="18624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0:22:18.672" v="18625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0:22:18.673" v="18627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0:22:18.673" v="18628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0:22:18.673" v="18630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0:22:18.673" v="18629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0:22:18.674" v="18632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0:22:18.674" v="18633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0:22:18.673" v="18631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0:22:18.675" v="18635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0:22:18.677" v="18641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D2DE92CD-AADB-43BF-8B53-266FBFF8B69D}" dt="2024-02-05T20:22:18.677" v="18642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D2DE92CD-AADB-43BF-8B53-266FBFF8B69D}" dt="2024-02-05T20:22:18.676" v="18639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D2DE92CD-AADB-43BF-8B53-266FBFF8B69D}" dt="2024-02-05T20:22:18.676" v="18640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D2DE92CD-AADB-43BF-8B53-266FBFF8B69D}" dt="2024-02-05T20:22:18.677" v="18643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D2DE92CD-AADB-43BF-8B53-266FBFF8B69D}" dt="2024-02-05T20:22:18.678" v="18644"/>
          <ac:spMkLst>
            <pc:docMk/>
            <pc:sldMk cId="4005475890" sldId="273"/>
            <ac:spMk id="38" creationId="{8B5BCAB4-60F8-4FD5-A40F-97245FABCE9A}"/>
          </ac:spMkLst>
        </pc:spChg>
        <pc:spChg chg="add mod replST">
          <ac:chgData name="Joelle Brehm" userId="a518f54c-6985-42c0-8041-2bb16a414839" providerId="ADAL" clId="{D2DE92CD-AADB-43BF-8B53-266FBFF8B69D}" dt="2024-02-05T20:22:18.680" v="18649"/>
          <ac:spMkLst>
            <pc:docMk/>
            <pc:sldMk cId="4005475890" sldId="273"/>
            <ac:spMk id="39" creationId="{6EB370A9-5BCE-98AF-C8A7-2C1083EB4B47}"/>
          </ac:spMkLst>
        </pc:spChg>
        <pc:spChg chg="mod">
          <ac:chgData name="Joelle Brehm" userId="a518f54c-6985-42c0-8041-2bb16a414839" providerId="ADAL" clId="{D2DE92CD-AADB-43BF-8B53-266FBFF8B69D}" dt="2024-02-05T20:22:18.678" v="18645"/>
          <ac:spMkLst>
            <pc:docMk/>
            <pc:sldMk cId="4005475890" sldId="273"/>
            <ac:spMk id="40" creationId="{6DF186F3-D7BB-E35B-BC5F-B5541CDFEBC5}"/>
          </ac:spMkLst>
        </pc:spChg>
        <pc:spChg chg="add del mod modVis">
          <ac:chgData name="Joelle Brehm" userId="a518f54c-6985-42c0-8041-2bb16a414839" providerId="ADAL" clId="{D2DE92CD-AADB-43BF-8B53-266FBFF8B69D}" dt="2024-02-05T20:22:06.418" v="18189"/>
          <ac:spMkLst>
            <pc:docMk/>
            <pc:sldMk cId="4005475890" sldId="273"/>
            <ac:spMk id="41" creationId="{F219861D-4008-D343-B7E4-4CF848E3BEB2}"/>
          </ac:spMkLst>
        </pc:spChg>
        <pc:spChg chg="mod">
          <ac:chgData name="Joelle Brehm" userId="a518f54c-6985-42c0-8041-2bb16a414839" providerId="ADAL" clId="{D2DE92CD-AADB-43BF-8B53-266FBFF8B69D}" dt="2024-02-05T20:22:18.679" v="18647"/>
          <ac:spMkLst>
            <pc:docMk/>
            <pc:sldMk cId="4005475890" sldId="273"/>
            <ac:spMk id="42" creationId="{7FC47C4A-8CF4-7E0B-5C11-19422C1D0358}"/>
          </ac:spMkLst>
        </pc:spChg>
        <pc:spChg chg="mod">
          <ac:chgData name="Joelle Brehm" userId="a518f54c-6985-42c0-8041-2bb16a414839" providerId="ADAL" clId="{D2DE92CD-AADB-43BF-8B53-266FBFF8B69D}" dt="2024-02-05T20:22:18.679" v="18648"/>
          <ac:spMkLst>
            <pc:docMk/>
            <pc:sldMk cId="4005475890" sldId="273"/>
            <ac:spMk id="44" creationId="{F5DD50D0-308B-02DF-A219-2C10A5776DF3}"/>
          </ac:spMkLst>
        </pc:spChg>
        <pc:spChg chg="add del mod modVis">
          <ac:chgData name="Joelle Brehm" userId="a518f54c-6985-42c0-8041-2bb16a414839" providerId="ADAL" clId="{D2DE92CD-AADB-43BF-8B53-266FBFF8B69D}" dt="2024-02-05T20:22:08.641" v="18327"/>
          <ac:spMkLst>
            <pc:docMk/>
            <pc:sldMk cId="4005475890" sldId="273"/>
            <ac:spMk id="46" creationId="{1A0C328F-47FE-9DE4-3716-5F56EA2C76E0}"/>
          </ac:spMkLst>
        </pc:spChg>
        <pc:spChg chg="add del mod modVis">
          <ac:chgData name="Joelle Brehm" userId="a518f54c-6985-42c0-8041-2bb16a414839" providerId="ADAL" clId="{D2DE92CD-AADB-43BF-8B53-266FBFF8B69D}" dt="2024-02-05T20:22:11.134" v="18505"/>
          <ac:spMkLst>
            <pc:docMk/>
            <pc:sldMk cId="4005475890" sldId="273"/>
            <ac:spMk id="48" creationId="{A3B93474-D030-E883-3D01-84D343E1226C}"/>
          </ac:spMkLst>
        </pc:spChg>
        <pc:spChg chg="add del mod modVis">
          <ac:chgData name="Joelle Brehm" userId="a518f54c-6985-42c0-8041-2bb16a414839" providerId="ADAL" clId="{D2DE92CD-AADB-43BF-8B53-266FBFF8B69D}" dt="2024-02-05T20:22:18.690" v="18678"/>
          <ac:spMkLst>
            <pc:docMk/>
            <pc:sldMk cId="4005475890" sldId="273"/>
            <ac:spMk id="50" creationId="{99AA7399-0309-B9CF-3F47-8AA22DA68633}"/>
          </ac:spMkLst>
        </pc:spChg>
        <pc:spChg chg="mod ord">
          <ac:chgData name="Joelle Brehm" userId="a518f54c-6985-42c0-8041-2bb16a414839" providerId="ADAL" clId="{D2DE92CD-AADB-43BF-8B53-266FBFF8B69D}" dt="2024-02-05T20:22:18.687" v="18672"/>
          <ac:spMkLst>
            <pc:docMk/>
            <pc:sldMk cId="4005475890" sldId="273"/>
            <ac:spMk id="58" creationId="{FEC487CB-3123-46A1-8350-8669839FA870}"/>
          </ac:spMkLst>
        </pc:spChg>
        <pc:spChg chg="mod ord">
          <ac:chgData name="Joelle Brehm" userId="a518f54c-6985-42c0-8041-2bb16a414839" providerId="ADAL" clId="{D2DE92CD-AADB-43BF-8B53-266FBFF8B69D}" dt="2024-02-05T20:22:18.680" v="18651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0:22:18.681" v="18653"/>
          <ac:spMkLst>
            <pc:docMk/>
            <pc:sldMk cId="4005475890" sldId="273"/>
            <ac:spMk id="79" creationId="{F1476AC4-694B-4D83-BFD8-8DCAA4BB1923}"/>
          </ac:spMkLst>
        </pc:spChg>
        <pc:spChg chg="del mod">
          <ac:chgData name="Joelle Brehm" userId="a518f54c-6985-42c0-8041-2bb16a414839" providerId="ADAL" clId="{D2DE92CD-AADB-43BF-8B53-266FBFF8B69D}" dt="2024-02-05T20:22:10.722" v="18330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2:18.676" v="18638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0:22:18.682" v="18655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0:22:18.683" v="18657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0:22:18.683" v="18659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0:22:18.684" v="18661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0:22:18.684" v="18664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2:18.685" v="18665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2:18.685" v="18666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22:18.685" v="18667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0:22:18.686" v="18668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0:22:18.715" v="18680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0:21:32.117" v="17639"/>
          <ac:graphicFrameMkLst>
            <pc:docMk/>
            <pc:sldMk cId="4005475890" sldId="273"/>
            <ac:graphicFrameMk id="8" creationId="{21E1E817-17A6-67A1-D97F-CBEA5A2C6500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2:18.668" v="18613"/>
          <ac:graphicFrameMkLst>
            <pc:docMk/>
            <pc:sldMk cId="4005475890" sldId="273"/>
            <ac:graphicFrameMk id="31" creationId="{63962770-C8FF-53AA-DD45-744B717AB151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22:18.620" v="18599"/>
          <ac:graphicFrameMkLst>
            <pc:docMk/>
            <pc:sldMk cId="4005475890" sldId="273"/>
            <ac:graphicFrameMk id="43" creationId="{30A438A9-D282-5436-4CEB-55E992505F1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2:08.578" v="18247"/>
          <ac:graphicFrameMkLst>
            <pc:docMk/>
            <pc:sldMk cId="4005475890" sldId="273"/>
            <ac:graphicFrameMk id="45" creationId="{A7976915-CA72-A59F-EAC0-1C9D23544483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2:10.973" v="18426"/>
          <ac:graphicFrameMkLst>
            <pc:docMk/>
            <pc:sldMk cId="4005475890" sldId="273"/>
            <ac:graphicFrameMk id="47" creationId="{B1D6A989-53C0-F07D-518F-775973113E6E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2:18.675" v="18637"/>
          <ac:graphicFrameMkLst>
            <pc:docMk/>
            <pc:sldMk cId="4005475890" sldId="273"/>
            <ac:graphicFrameMk id="49" creationId="{B0BAEF1D-0F51-88BF-1AFF-5A31E7908930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22:18.684" v="18663"/>
          <ac:graphicFrameMkLst>
            <pc:docMk/>
            <pc:sldMk cId="4005475890" sldId="273"/>
            <ac:graphicFrameMk id="51" creationId="{483B1145-14A1-187C-1C04-2335AB6469CA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22:06.356" v="18101"/>
          <ac:graphicFrameMkLst>
            <pc:docMk/>
            <pc:sldMk cId="4005475890" sldId="273"/>
            <ac:graphicFrameMk id="54" creationId="{7F472927-4930-517A-DC6F-9FA88636AE72}"/>
          </ac:graphicFrameMkLst>
        </pc:graphicFrameChg>
        <pc:picChg chg="del mod ord">
          <ac:chgData name="Joelle Brehm" userId="a518f54c-6985-42c0-8041-2bb16a414839" providerId="ADAL" clId="{D2DE92CD-AADB-43BF-8B53-266FBFF8B69D}" dt="2024-02-05T20:21:59.694" v="17825" actId="478"/>
          <ac:picMkLst>
            <pc:docMk/>
            <pc:sldMk cId="4005475890" sldId="273"/>
            <ac:picMk id="9" creationId="{338776CA-6372-10F0-A004-46B5E7C839B3}"/>
          </ac:picMkLst>
        </pc:picChg>
        <pc:picChg chg="add mod ord">
          <ac:chgData name="Joelle Brehm" userId="a518f54c-6985-42c0-8041-2bb16a414839" providerId="ADAL" clId="{D2DE92CD-AADB-43BF-8B53-266FBFF8B69D}" dt="2024-02-05T20:22:18.666" v="18607"/>
          <ac:picMkLst>
            <pc:docMk/>
            <pc:sldMk cId="4005475890" sldId="273"/>
            <ac:picMk id="35" creationId="{28E7A0D6-7650-91ED-738D-6259ECD3A3A7}"/>
          </ac:picMkLst>
        </pc:picChg>
        <pc:picChg chg="mod ord">
          <ac:chgData name="Joelle Brehm" userId="a518f54c-6985-42c0-8041-2bb16a414839" providerId="ADAL" clId="{D2DE92CD-AADB-43BF-8B53-266FBFF8B69D}" dt="2024-02-05T20:22:18.686" v="18670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0:22:18.667" v="18611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0:38:45.039" v="21058"/>
        <pc:sldMkLst>
          <pc:docMk/>
          <pc:sldMk cId="3374649050" sldId="274"/>
        </pc:sldMkLst>
        <pc:spChg chg="mod ord">
          <ac:chgData name="Joelle Brehm" userId="a518f54c-6985-42c0-8041-2bb16a414839" providerId="ADAL" clId="{D2DE92CD-AADB-43BF-8B53-266FBFF8B69D}" dt="2024-02-05T20:38:45.025" v="21052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D2DE92CD-AADB-43BF-8B53-266FBFF8B69D}" dt="2024-02-05T20:27:01.137" v="18681" actId="478"/>
          <ac:spMkLst>
            <pc:docMk/>
            <pc:sldMk cId="3374649050" sldId="274"/>
            <ac:spMk id="3" creationId="{19583DE0-A01D-9B52-03BD-CDE3A6972688}"/>
          </ac:spMkLst>
        </pc:spChg>
        <pc:spChg chg="add del mod modVis">
          <ac:chgData name="Joelle Brehm" userId="a518f54c-6985-42c0-8041-2bb16a414839" providerId="ADAL" clId="{D2DE92CD-AADB-43BF-8B53-266FBFF8B69D}" dt="2024-02-05T20:27:11.932" v="18898"/>
          <ac:spMkLst>
            <pc:docMk/>
            <pc:sldMk cId="3374649050" sldId="274"/>
            <ac:spMk id="5" creationId="{49871151-A23D-9CA5-4DF3-992C40CC466B}"/>
          </ac:spMkLst>
        </pc:spChg>
        <pc:spChg chg="mod ord">
          <ac:chgData name="Joelle Brehm" userId="a518f54c-6985-42c0-8041-2bb16a414839" providerId="ADAL" clId="{D2DE92CD-AADB-43BF-8B53-266FBFF8B69D}" dt="2024-02-05T20:38:45.010" v="20989"/>
          <ac:spMkLst>
            <pc:docMk/>
            <pc:sldMk cId="3374649050" sldId="274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D2DE92CD-AADB-43BF-8B53-266FBFF8B69D}" dt="2024-02-05T20:27:50.584" v="19030"/>
          <ac:spMkLst>
            <pc:docMk/>
            <pc:sldMk cId="3374649050" sldId="274"/>
            <ac:spMk id="9" creationId="{997F0F56-29C6-0C07-A63E-EAC29B84D6DF}"/>
          </ac:spMkLst>
        </pc:spChg>
        <pc:spChg chg="mod">
          <ac:chgData name="Joelle Brehm" userId="a518f54c-6985-42c0-8041-2bb16a414839" providerId="ADAL" clId="{D2DE92CD-AADB-43BF-8B53-266FBFF8B69D}" dt="2024-02-05T20:38:45.013" v="21000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0:38:45.012" v="20996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0:38:45.013" v="20997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0:38:45.012" v="20994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0:38:45.012" v="20995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0:38:45.013" v="20998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0:38:45.013" v="20999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0:38:45.013" v="21001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0:38:45.014" v="21002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0:38:45.014" v="21003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0:38:45.014" v="21004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0:38:45.014" v="21005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0:38:45.015" v="21007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0:38:45.015" v="21008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0:38:45.015" v="21010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0:38:45.015" v="21009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0:38:45.016" v="21012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0:38:45.016" v="21013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0:38:45.016" v="21011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0:38:45.017" v="21015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0:38:45.018" v="21022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D2DE92CD-AADB-43BF-8B53-266FBFF8B69D}" dt="2024-02-05T20:38:45.017" v="21019"/>
          <ac:spMkLst>
            <pc:docMk/>
            <pc:sldMk cId="3374649050" sldId="274"/>
            <ac:spMk id="33" creationId="{8A5C4479-0363-6F13-F887-8871FD03F34C}"/>
          </ac:spMkLst>
        </pc:spChg>
        <pc:spChg chg="mod">
          <ac:chgData name="Joelle Brehm" userId="a518f54c-6985-42c0-8041-2bb16a414839" providerId="ADAL" clId="{D2DE92CD-AADB-43BF-8B53-266FBFF8B69D}" dt="2024-02-05T20:38:45.018" v="21021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D2DE92CD-AADB-43BF-8B53-266FBFF8B69D}" dt="2024-02-05T20:38:45.018" v="21023"/>
          <ac:spMkLst>
            <pc:docMk/>
            <pc:sldMk cId="3374649050" sldId="274"/>
            <ac:spMk id="36" creationId="{88575725-6998-54DE-FE5F-DCCF247F6A3F}"/>
          </ac:spMkLst>
        </pc:spChg>
        <pc:spChg chg="mod">
          <ac:chgData name="Joelle Brehm" userId="a518f54c-6985-42c0-8041-2bb16a414839" providerId="ADAL" clId="{D2DE92CD-AADB-43BF-8B53-266FBFF8B69D}" dt="2024-02-05T20:38:45.018" v="21020"/>
          <ac:spMkLst>
            <pc:docMk/>
            <pc:sldMk cId="3374649050" sldId="274"/>
            <ac:spMk id="38" creationId="{1995B1DD-126C-92BA-1668-3B87C2F5B1E5}"/>
          </ac:spMkLst>
        </pc:spChg>
        <pc:spChg chg="mod">
          <ac:chgData name="Joelle Brehm" userId="a518f54c-6985-42c0-8041-2bb16a414839" providerId="ADAL" clId="{D2DE92CD-AADB-43BF-8B53-266FBFF8B69D}" dt="2024-02-05T20:38:45.019" v="21027"/>
          <ac:spMkLst>
            <pc:docMk/>
            <pc:sldMk cId="3374649050" sldId="274"/>
            <ac:spMk id="39" creationId="{89E6B1B8-FAF0-A6A0-1BC8-497F71E112CB}"/>
          </ac:spMkLst>
        </pc:spChg>
        <pc:spChg chg="mod">
          <ac:chgData name="Joelle Brehm" userId="a518f54c-6985-42c0-8041-2bb16a414839" providerId="ADAL" clId="{D2DE92CD-AADB-43BF-8B53-266FBFF8B69D}" dt="2024-02-05T20:38:45.018" v="21024"/>
          <ac:spMkLst>
            <pc:docMk/>
            <pc:sldMk cId="3374649050" sldId="274"/>
            <ac:spMk id="40" creationId="{8BA31CDF-8D43-74CD-D3E4-26F103CC0D3B}"/>
          </ac:spMkLst>
        </pc:spChg>
        <pc:spChg chg="mod">
          <ac:chgData name="Joelle Brehm" userId="a518f54c-6985-42c0-8041-2bb16a414839" providerId="ADAL" clId="{D2DE92CD-AADB-43BF-8B53-266FBFF8B69D}" dt="2024-02-05T20:38:45.018" v="21025"/>
          <ac:spMkLst>
            <pc:docMk/>
            <pc:sldMk cId="3374649050" sldId="274"/>
            <ac:spMk id="41" creationId="{B7AB9DCF-AEC0-1EB4-2709-C783258EE0AF}"/>
          </ac:spMkLst>
        </pc:spChg>
        <pc:spChg chg="mod">
          <ac:chgData name="Joelle Brehm" userId="a518f54c-6985-42c0-8041-2bb16a414839" providerId="ADAL" clId="{D2DE92CD-AADB-43BF-8B53-266FBFF8B69D}" dt="2024-02-05T20:38:45.019" v="21026"/>
          <ac:spMkLst>
            <pc:docMk/>
            <pc:sldMk cId="3374649050" sldId="274"/>
            <ac:spMk id="42" creationId="{41583D19-C077-7FD0-6F5A-DBE565BC62CF}"/>
          </ac:spMkLst>
        </pc:spChg>
        <pc:spChg chg="mod">
          <ac:chgData name="Joelle Brehm" userId="a518f54c-6985-42c0-8041-2bb16a414839" providerId="ADAL" clId="{D2DE92CD-AADB-43BF-8B53-266FBFF8B69D}" dt="2024-02-05T20:38:45.022" v="21044"/>
          <ac:spMkLst>
            <pc:docMk/>
            <pc:sldMk cId="3374649050" sldId="274"/>
            <ac:spMk id="43" creationId="{71A50278-0560-C951-1F18-CA11BF2F6494}"/>
          </ac:spMkLst>
        </pc:spChg>
        <pc:spChg chg="mod">
          <ac:chgData name="Joelle Brehm" userId="a518f54c-6985-42c0-8041-2bb16a414839" providerId="ADAL" clId="{D2DE92CD-AADB-43BF-8B53-266FBFF8B69D}" dt="2024-02-05T20:38:45.019" v="21028"/>
          <ac:spMkLst>
            <pc:docMk/>
            <pc:sldMk cId="3374649050" sldId="274"/>
            <ac:spMk id="45" creationId="{020AC365-4654-40E5-2FE6-86C3FC6C4C65}"/>
          </ac:spMkLst>
        </pc:spChg>
        <pc:spChg chg="add del mod modVis">
          <ac:chgData name="Joelle Brehm" userId="a518f54c-6985-42c0-8041-2bb16a414839" providerId="ADAL" clId="{D2DE92CD-AADB-43BF-8B53-266FBFF8B69D}" dt="2024-02-05T20:37:49.154" v="19326"/>
          <ac:spMkLst>
            <pc:docMk/>
            <pc:sldMk cId="3374649050" sldId="274"/>
            <ac:spMk id="46" creationId="{A0C57A0F-EFFC-B95D-9201-A76325030119}"/>
          </ac:spMkLst>
        </pc:spChg>
        <pc:spChg chg="add mod replST">
          <ac:chgData name="Joelle Brehm" userId="a518f54c-6985-42c0-8041-2bb16a414839" providerId="ADAL" clId="{D2DE92CD-AADB-43BF-8B53-266FBFF8B69D}" dt="2024-02-05T20:38:45.019" v="21029"/>
          <ac:spMkLst>
            <pc:docMk/>
            <pc:sldMk cId="3374649050" sldId="274"/>
            <ac:spMk id="50" creationId="{2926314F-BD6E-0404-97CF-8949EB65A226}"/>
          </ac:spMkLst>
        </pc:spChg>
        <pc:spChg chg="add del mod modVis">
          <ac:chgData name="Joelle Brehm" userId="a518f54c-6985-42c0-8041-2bb16a414839" providerId="ADAL" clId="{D2DE92CD-AADB-43BF-8B53-266FBFF8B69D}" dt="2024-02-05T20:38:00.721" v="19931"/>
          <ac:spMkLst>
            <pc:docMk/>
            <pc:sldMk cId="3374649050" sldId="274"/>
            <ac:spMk id="51" creationId="{00D7DFC2-420D-C1F7-3463-496A6126E388}"/>
          </ac:spMkLst>
        </pc:spChg>
        <pc:spChg chg="add del mod ord replST">
          <ac:chgData name="Joelle Brehm" userId="a518f54c-6985-42c0-8041-2bb16a414839" providerId="ADAL" clId="{D2DE92CD-AADB-43BF-8B53-266FBFF8B69D}" dt="2024-02-05T20:38:05.402" v="20057"/>
          <ac:spMkLst>
            <pc:docMk/>
            <pc:sldMk cId="3374649050" sldId="274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0:38:05.483" v="20174"/>
          <ac:spMkLst>
            <pc:docMk/>
            <pc:sldMk cId="3374649050" sldId="274"/>
            <ac:spMk id="54" creationId="{F95689F8-A73D-FE4C-A1C1-718FECE6EB9A}"/>
          </ac:spMkLst>
        </pc:spChg>
        <pc:spChg chg="add del mod ord replST">
          <ac:chgData name="Joelle Brehm" userId="a518f54c-6985-42c0-8041-2bb16a414839" providerId="ADAL" clId="{D2DE92CD-AADB-43BF-8B53-266FBFF8B69D}" dt="2024-02-05T20:38:39.098" v="20667"/>
          <ac:spMkLst>
            <pc:docMk/>
            <pc:sldMk cId="3374649050" sldId="274"/>
            <ac:spMk id="55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0:38:06.975" v="20362"/>
          <ac:spMkLst>
            <pc:docMk/>
            <pc:sldMk cId="3374649050" sldId="274"/>
            <ac:spMk id="57" creationId="{26CA3C5C-45EA-91DF-DD6E-D4561EDE7618}"/>
          </ac:spMkLst>
        </pc:spChg>
        <pc:spChg chg="mod ord">
          <ac:chgData name="Joelle Brehm" userId="a518f54c-6985-42c0-8041-2bb16a414839" providerId="ADAL" clId="{D2DE92CD-AADB-43BF-8B53-266FBFF8B69D}" dt="2024-02-05T20:38:45.024" v="21050"/>
          <ac:spMkLst>
            <pc:docMk/>
            <pc:sldMk cId="3374649050" sldId="274"/>
            <ac:spMk id="58" creationId="{5BBF118A-F952-4AA1-8B74-92A00B5F6171}"/>
          </ac:spMkLst>
        </pc:spChg>
        <pc:spChg chg="add del mod modVis">
          <ac:chgData name="Joelle Brehm" userId="a518f54c-6985-42c0-8041-2bb16a414839" providerId="ADAL" clId="{D2DE92CD-AADB-43BF-8B53-266FBFF8B69D}" dt="2024-02-05T20:38:10.250" v="20530"/>
          <ac:spMkLst>
            <pc:docMk/>
            <pc:sldMk cId="3374649050" sldId="274"/>
            <ac:spMk id="61" creationId="{3A3AE8F6-57B9-D2EE-A890-424A09DBDEFB}"/>
          </ac:spMkLst>
        </pc:spChg>
        <pc:spChg chg="add del mod modVis">
          <ac:chgData name="Joelle Brehm" userId="a518f54c-6985-42c0-8041-2bb16a414839" providerId="ADAL" clId="{D2DE92CD-AADB-43BF-8B53-266FBFF8B69D}" dt="2024-02-05T20:38:39.143" v="20769"/>
          <ac:spMkLst>
            <pc:docMk/>
            <pc:sldMk cId="3374649050" sldId="274"/>
            <ac:spMk id="63" creationId="{FC5370A5-25C6-735B-9320-193485482819}"/>
          </ac:spMkLst>
        </pc:spChg>
        <pc:spChg chg="add del mod ord replST">
          <ac:chgData name="Joelle Brehm" userId="a518f54c-6985-42c0-8041-2bb16a414839" providerId="ADAL" clId="{D2DE92CD-AADB-43BF-8B53-266FBFF8B69D}" dt="2024-02-05T20:38:41.612" v="20845"/>
          <ac:spMkLst>
            <pc:docMk/>
            <pc:sldMk cId="3374649050" sldId="274"/>
            <ac:spMk id="64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0:38:41.652" v="20926"/>
          <ac:spMkLst>
            <pc:docMk/>
            <pc:sldMk cId="3374649050" sldId="274"/>
            <ac:spMk id="66" creationId="{39277660-D2CF-9AFE-55D2-FFECCB54F134}"/>
          </ac:spMkLst>
        </pc:spChg>
        <pc:spChg chg="add del mod modVis">
          <ac:chgData name="Joelle Brehm" userId="a518f54c-6985-42c0-8041-2bb16a414839" providerId="ADAL" clId="{D2DE92CD-AADB-43BF-8B53-266FBFF8B69D}" dt="2024-02-05T20:38:45.026" v="21056"/>
          <ac:spMkLst>
            <pc:docMk/>
            <pc:sldMk cId="3374649050" sldId="274"/>
            <ac:spMk id="68" creationId="{DCE2831A-D6DE-F074-F548-D1A22A26B9E9}"/>
          </ac:spMkLst>
        </pc:spChg>
        <pc:spChg chg="mod ord">
          <ac:chgData name="Joelle Brehm" userId="a518f54c-6985-42c0-8041-2bb16a414839" providerId="ADAL" clId="{D2DE92CD-AADB-43BF-8B53-266FBFF8B69D}" dt="2024-02-05T20:38:45.020" v="21031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0:38:45.020" v="21033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D2DE92CD-AADB-43BF-8B53-266FBFF8B69D}" dt="2024-02-05T20:38:06.843" v="20177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38:45.017" v="21018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0:38:45.021" v="21035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0:38:45.021" v="21037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0:38:45.022" v="21039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0:38:45.022" v="21041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0:38:45.023" v="21045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0:38:45.023" v="21046"/>
          <ac:spMkLst>
            <pc:docMk/>
            <pc:sldMk cId="3374649050" sldId="274"/>
            <ac:spMk id="136" creationId="{7CAA3B95-4C78-4122-BECA-B5FB0F3F3764}"/>
          </ac:spMkLst>
        </pc:spChg>
        <pc:spChg chg="del mod">
          <ac:chgData name="Joelle Brehm" userId="a518f54c-6985-42c0-8041-2bb16a414839" providerId="ADAL" clId="{D2DE92CD-AADB-43BF-8B53-266FBFF8B69D}" dt="2024-02-05T20:37:52.582" v="19329"/>
          <ac:spMkLst>
            <pc:docMk/>
            <pc:sldMk cId="3374649050" sldId="274"/>
            <ac:spMk id="157" creationId="{04F9902D-9DA4-4582-A398-B08CDE8E08EE}"/>
          </ac:spMkLst>
        </pc:spChg>
        <pc:spChg chg="del mod">
          <ac:chgData name="Joelle Brehm" userId="a518f54c-6985-42c0-8041-2bb16a414839" providerId="ADAL" clId="{D2DE92CD-AADB-43BF-8B53-266FBFF8B69D}" dt="2024-02-05T20:37:52.583" v="19330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0:38:45.039" v="21058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27:50.534" v="18951"/>
          <ac:graphicFrameMkLst>
            <pc:docMk/>
            <pc:sldMk cId="3374649050" sldId="274"/>
            <ac:graphicFrameMk id="8" creationId="{798A13BC-6FE2-D114-9301-56A0AD7389A5}"/>
          </ac:graphicFrameMkLst>
        </pc:graphicFrameChg>
        <pc:graphicFrameChg chg="del">
          <ac:chgData name="Joelle Brehm" userId="a518f54c-6985-42c0-8041-2bb16a414839" providerId="ADAL" clId="{D2DE92CD-AADB-43BF-8B53-266FBFF8B69D}" dt="2024-02-05T20:27:11.840" v="18813"/>
          <ac:graphicFrameMkLst>
            <pc:docMk/>
            <pc:sldMk cId="3374649050" sldId="274"/>
            <ac:graphicFrameMk id="10" creationId="{7D0ECA40-DCCC-C1A6-B51C-CE950D95026D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38:45.012" v="20993"/>
          <ac:graphicFrameMkLst>
            <pc:docMk/>
            <pc:sldMk cId="3374649050" sldId="274"/>
            <ac:graphicFrameMk id="34" creationId="{4FE54DB1-F032-C63F-3540-201040D0C089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37:49.068" v="19247"/>
          <ac:graphicFrameMkLst>
            <pc:docMk/>
            <pc:sldMk cId="3374649050" sldId="274"/>
            <ac:graphicFrameMk id="44" creationId="{9B0386BB-A259-265B-4572-7600179937CD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7:52.601" v="19338"/>
          <ac:graphicFrameMkLst>
            <pc:docMk/>
            <pc:sldMk cId="3374649050" sldId="274"/>
            <ac:graphicFrameMk id="47" creationId="{22974799-BE18-690C-8C22-6169C08A795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7:55.633" v="19429"/>
          <ac:graphicFrameMkLst>
            <pc:docMk/>
            <pc:sldMk cId="3374649050" sldId="274"/>
            <ac:graphicFrameMk id="48" creationId="{764D8E64-6EB6-A539-8A62-61A42745B270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38:45.022" v="21043"/>
          <ac:graphicFrameMkLst>
            <pc:docMk/>
            <pc:sldMk cId="3374649050" sldId="274"/>
            <ac:graphicFrameMk id="49" creationId="{85DBDC84-0ADA-A36E-BA8A-C0EAE4AFBF4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8:05.419" v="20090"/>
          <ac:graphicFrameMkLst>
            <pc:docMk/>
            <pc:sldMk cId="3374649050" sldId="274"/>
            <ac:graphicFrameMk id="53" creationId="{E4F07A6F-16A6-F7D4-B29A-9441986CCA8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8:06.933" v="20283"/>
          <ac:graphicFrameMkLst>
            <pc:docMk/>
            <pc:sldMk cId="3374649050" sldId="274"/>
            <ac:graphicFrameMk id="56" creationId="{883A8AEC-4E3A-A8ED-C759-6156F623C4CD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38:00.659" v="19847"/>
          <ac:graphicFrameMkLst>
            <pc:docMk/>
            <pc:sldMk cId="3374649050" sldId="274"/>
            <ac:graphicFrameMk id="59" creationId="{9F7CA66F-5D70-DC6F-DC1A-261BFFFA06C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8:10.183" v="20440"/>
          <ac:graphicFrameMkLst>
            <pc:docMk/>
            <pc:sldMk cId="3374649050" sldId="274"/>
            <ac:graphicFrameMk id="60" creationId="{1961959C-9AAC-7E05-8AA0-A417FFE586D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8:39.105" v="20686"/>
          <ac:graphicFrameMkLst>
            <pc:docMk/>
            <pc:sldMk cId="3374649050" sldId="274"/>
            <ac:graphicFrameMk id="62" creationId="{F744334B-1BB0-57D5-A4DA-9C2059E3FFE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8:41.614" v="20849"/>
          <ac:graphicFrameMkLst>
            <pc:docMk/>
            <pc:sldMk cId="3374649050" sldId="274"/>
            <ac:graphicFrameMk id="65" creationId="{0B39FC34-C97B-33BC-740C-DF107EC7968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38:44.990" v="20979"/>
          <ac:graphicFrameMkLst>
            <pc:docMk/>
            <pc:sldMk cId="3374649050" sldId="274"/>
            <ac:graphicFrameMk id="67" creationId="{DF1BCE7E-517E-E0FF-8BBC-D97AE7EBD3F7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0:38:45.017" v="21017"/>
          <ac:graphicFrameMkLst>
            <pc:docMk/>
            <pc:sldMk cId="3374649050" sldId="274"/>
            <ac:graphicFrameMk id="69" creationId="{C0075D3F-06EE-3AA3-2044-B27238829C27}"/>
          </ac:graphicFrameMkLst>
        </pc:graphicFrameChg>
        <pc:picChg chg="del mod ord">
          <ac:chgData name="Joelle Brehm" userId="a518f54c-6985-42c0-8041-2bb16a414839" providerId="ADAL" clId="{D2DE92CD-AADB-43BF-8B53-266FBFF8B69D}" dt="2024-02-05T20:37:38.004" v="19160" actId="478"/>
          <ac:picMkLst>
            <pc:docMk/>
            <pc:sldMk cId="3374649050" sldId="274"/>
            <ac:picMk id="31" creationId="{D41404F2-331C-909B-C82C-CC0B4BB14A4C}"/>
          </ac:picMkLst>
        </pc:picChg>
        <pc:picChg chg="add mod ord">
          <ac:chgData name="Joelle Brehm" userId="a518f54c-6985-42c0-8041-2bb16a414839" providerId="ADAL" clId="{D2DE92CD-AADB-43BF-8B53-266FBFF8B69D}" dt="2024-02-05T20:38:45.010" v="20987"/>
          <ac:picMkLst>
            <pc:docMk/>
            <pc:sldMk cId="3374649050" sldId="274"/>
            <ac:picMk id="37" creationId="{E5D92030-F6F0-173E-B8B8-DF1694EB1787}"/>
          </ac:picMkLst>
        </pc:picChg>
        <pc:picChg chg="mod ord">
          <ac:chgData name="Joelle Brehm" userId="a518f54c-6985-42c0-8041-2bb16a414839" providerId="ADAL" clId="{D2DE92CD-AADB-43BF-8B53-266FBFF8B69D}" dt="2024-02-05T20:38:45.024" v="21048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0:38:45.010" v="20991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19:51.100" v="22625"/>
        <pc:sldMkLst>
          <pc:docMk/>
          <pc:sldMk cId="592117244" sldId="275"/>
        </pc:sldMkLst>
        <pc:spChg chg="add del mod">
          <ac:chgData name="Joelle Brehm" userId="a518f54c-6985-42c0-8041-2bb16a414839" providerId="ADAL" clId="{D2DE92CD-AADB-43BF-8B53-266FBFF8B69D}" dt="2024-02-05T20:40:30.638" v="21059" actId="478"/>
          <ac:spMkLst>
            <pc:docMk/>
            <pc:sldMk cId="592117244" sldId="275"/>
            <ac:spMk id="2" creationId="{EA47746B-7C80-1F78-3457-584A952DC1E9}"/>
          </ac:spMkLst>
        </pc:spChg>
        <pc:spChg chg="mod ord">
          <ac:chgData name="Joelle Brehm" userId="a518f54c-6985-42c0-8041-2bb16a414839" providerId="ADAL" clId="{D2DE92CD-AADB-43BF-8B53-266FBFF8B69D}" dt="2024-02-05T21:19:51.068" v="22619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D2DE92CD-AADB-43BF-8B53-266FBFF8B69D}" dt="2024-02-05T20:40:48.003" v="21276"/>
          <ac:spMkLst>
            <pc:docMk/>
            <pc:sldMk cId="592117244" sldId="275"/>
            <ac:spMk id="5" creationId="{F965681E-7CBC-508D-C352-B9EF2E0862C8}"/>
          </ac:spMkLst>
        </pc:spChg>
        <pc:spChg chg="mod ord">
          <ac:chgData name="Joelle Brehm" userId="a518f54c-6985-42c0-8041-2bb16a414839" providerId="ADAL" clId="{D2DE92CD-AADB-43BF-8B53-266FBFF8B69D}" dt="2024-02-05T21:19:51.050" v="22554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19:51.052" v="22565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19:51.052" v="22561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19:51.052" v="22562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19:51.050" v="22559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19:51.050" v="22560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19:51.052" v="22563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19:51.052" v="22564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19:51.053" v="22566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19:51.053" v="22567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19:51.054" v="22568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19:51.054" v="22569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19:51.054" v="22570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19:51.056" v="22572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19:51.056" v="22573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19:51.057" v="22575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19:51.056" v="22574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19:51.057" v="22577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19:51.057" v="22578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19:51.057" v="22576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19:51.058" v="22580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19:51.060" v="22586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D2DE92CD-AADB-43BF-8B53-266FBFF8B69D}" dt="2024-02-05T21:19:51.060" v="22587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D2DE92CD-AADB-43BF-8B53-266FBFF8B69D}" dt="2024-02-05T21:19:51.060" v="22589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D2DE92CD-AADB-43BF-8B53-266FBFF8B69D}" dt="2024-02-05T21:19:51.060" v="22588"/>
          <ac:spMkLst>
            <pc:docMk/>
            <pc:sldMk cId="592117244" sldId="275"/>
            <ac:spMk id="35" creationId="{8A659545-7F46-0F9C-1180-4340FFF52971}"/>
          </ac:spMkLst>
        </pc:spChg>
        <pc:spChg chg="mod">
          <ac:chgData name="Joelle Brehm" userId="a518f54c-6985-42c0-8041-2bb16a414839" providerId="ADAL" clId="{D2DE92CD-AADB-43BF-8B53-266FBFF8B69D}" dt="2024-02-05T21:19:51.061" v="22591"/>
          <ac:spMkLst>
            <pc:docMk/>
            <pc:sldMk cId="592117244" sldId="275"/>
            <ac:spMk id="36" creationId="{C43BE2CA-3914-FB60-BCFB-2D4A26000593}"/>
          </ac:spMkLst>
        </pc:spChg>
        <pc:spChg chg="mod">
          <ac:chgData name="Joelle Brehm" userId="a518f54c-6985-42c0-8041-2bb16a414839" providerId="ADAL" clId="{D2DE92CD-AADB-43BF-8B53-266FBFF8B69D}" dt="2024-02-05T21:19:51.059" v="22585"/>
          <ac:spMkLst>
            <pc:docMk/>
            <pc:sldMk cId="592117244" sldId="275"/>
            <ac:spMk id="37" creationId="{90FA8FF8-BF43-F8ED-7D69-4D34F348E5E1}"/>
          </ac:spMkLst>
        </pc:spChg>
        <pc:spChg chg="add del mod modVis">
          <ac:chgData name="Joelle Brehm" userId="a518f54c-6985-42c0-8041-2bb16a414839" providerId="ADAL" clId="{D2DE92CD-AADB-43BF-8B53-266FBFF8B69D}" dt="2024-02-05T20:41:15.142" v="21575"/>
          <ac:spMkLst>
            <pc:docMk/>
            <pc:sldMk cId="592117244" sldId="275"/>
            <ac:spMk id="38" creationId="{E8EAD614-7C10-37FE-40CF-CFC7EBEC7D8D}"/>
          </ac:spMkLst>
        </pc:spChg>
        <pc:spChg chg="mod">
          <ac:chgData name="Joelle Brehm" userId="a518f54c-6985-42c0-8041-2bb16a414839" providerId="ADAL" clId="{D2DE92CD-AADB-43BF-8B53-266FBFF8B69D}" dt="2024-02-05T21:19:51.059" v="22584"/>
          <ac:spMkLst>
            <pc:docMk/>
            <pc:sldMk cId="592117244" sldId="275"/>
            <ac:spMk id="39" creationId="{1EFCB791-16E1-BC87-1C92-0DDD24DA7D5F}"/>
          </ac:spMkLst>
        </pc:spChg>
        <pc:spChg chg="mod">
          <ac:chgData name="Joelle Brehm" userId="a518f54c-6985-42c0-8041-2bb16a414839" providerId="ADAL" clId="{D2DE92CD-AADB-43BF-8B53-266FBFF8B69D}" dt="2024-02-05T21:19:51.061" v="22590"/>
          <ac:spMkLst>
            <pc:docMk/>
            <pc:sldMk cId="592117244" sldId="275"/>
            <ac:spMk id="40" creationId="{EA684AFB-C218-2E57-6C22-6AF81611FBE3}"/>
          </ac:spMkLst>
        </pc:spChg>
        <pc:spChg chg="mod">
          <ac:chgData name="Joelle Brehm" userId="a518f54c-6985-42c0-8041-2bb16a414839" providerId="ADAL" clId="{D2DE92CD-AADB-43BF-8B53-266FBFF8B69D}" dt="2024-02-05T21:19:51.061" v="22592"/>
          <ac:spMkLst>
            <pc:docMk/>
            <pc:sldMk cId="592117244" sldId="275"/>
            <ac:spMk id="42" creationId="{7AECD966-6D66-1191-E056-C35E4AC93D68}"/>
          </ac:spMkLst>
        </pc:spChg>
        <pc:spChg chg="mod">
          <ac:chgData name="Joelle Brehm" userId="a518f54c-6985-42c0-8041-2bb16a414839" providerId="ADAL" clId="{D2DE92CD-AADB-43BF-8B53-266FBFF8B69D}" dt="2024-02-05T21:19:51.061" v="22593"/>
          <ac:spMkLst>
            <pc:docMk/>
            <pc:sldMk cId="592117244" sldId="275"/>
            <ac:spMk id="44" creationId="{221444E3-A480-FC28-9EFB-C89326EEDBF7}"/>
          </ac:spMkLst>
        </pc:spChg>
        <pc:spChg chg="add mod replST">
          <ac:chgData name="Joelle Brehm" userId="a518f54c-6985-42c0-8041-2bb16a414839" providerId="ADAL" clId="{D2DE92CD-AADB-43BF-8B53-266FBFF8B69D}" dt="2024-02-05T21:19:51.062" v="22594"/>
          <ac:spMkLst>
            <pc:docMk/>
            <pc:sldMk cId="592117244" sldId="275"/>
            <ac:spMk id="45" creationId="{53113F2F-9D53-0198-9768-061422461E94}"/>
          </ac:spMkLst>
        </pc:spChg>
        <pc:spChg chg="add del mod modVis">
          <ac:chgData name="Joelle Brehm" userId="a518f54c-6985-42c0-8041-2bb16a414839" providerId="ADAL" clId="{D2DE92CD-AADB-43BF-8B53-266FBFF8B69D}" dt="2024-02-05T20:41:21.713" v="22007"/>
          <ac:spMkLst>
            <pc:docMk/>
            <pc:sldMk cId="592117244" sldId="275"/>
            <ac:spMk id="46" creationId="{3AAFF75E-E350-F838-50D6-09A46977D4DB}"/>
          </ac:spMkLst>
        </pc:spChg>
        <pc:spChg chg="add del mod ord replST">
          <ac:chgData name="Joelle Brehm" userId="a518f54c-6985-42c0-8041-2bb16a414839" providerId="ADAL" clId="{D2DE92CD-AADB-43BF-8B53-266FBFF8B69D}" dt="2024-02-05T21:19:47.396" v="22410"/>
          <ac:spMkLst>
            <pc:docMk/>
            <pc:sldMk cId="592117244" sldId="275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0:41:22.926" v="22177"/>
          <ac:spMkLst>
            <pc:docMk/>
            <pc:sldMk cId="592117244" sldId="275"/>
            <ac:spMk id="49" creationId="{09085FD3-0EDF-B2EA-CDB0-68BCD9D68208}"/>
          </ac:spMkLst>
        </pc:spChg>
        <pc:spChg chg="add del mod modVis">
          <ac:chgData name="Joelle Brehm" userId="a518f54c-6985-42c0-8041-2bb16a414839" providerId="ADAL" clId="{D2DE92CD-AADB-43BF-8B53-266FBFF8B69D}" dt="2024-02-05T20:41:25.044" v="22356"/>
          <ac:spMkLst>
            <pc:docMk/>
            <pc:sldMk cId="592117244" sldId="275"/>
            <ac:spMk id="51" creationId="{69385F38-AD86-E022-3A3F-E26CD2689E1E}"/>
          </ac:spMkLst>
        </pc:spChg>
        <pc:spChg chg="add del mod modVis">
          <ac:chgData name="Joelle Brehm" userId="a518f54c-6985-42c0-8041-2bb16a414839" providerId="ADAL" clId="{D2DE92CD-AADB-43BF-8B53-266FBFF8B69D}" dt="2024-02-05T21:19:47.446" v="22491"/>
          <ac:spMkLst>
            <pc:docMk/>
            <pc:sldMk cId="592117244" sldId="275"/>
            <ac:spMk id="53" creationId="{107786BD-45C2-7D30-D825-6322259B1AAD}"/>
          </ac:spMkLst>
        </pc:spChg>
        <pc:spChg chg="add del mod modVis">
          <ac:chgData name="Joelle Brehm" userId="a518f54c-6985-42c0-8041-2bb16a414839" providerId="ADAL" clId="{D2DE92CD-AADB-43BF-8B53-266FBFF8B69D}" dt="2024-02-05T21:19:51.069" v="22623"/>
          <ac:spMkLst>
            <pc:docMk/>
            <pc:sldMk cId="592117244" sldId="275"/>
            <ac:spMk id="55" creationId="{07C6CF61-75FE-5B69-A93A-E54EE3037981}"/>
          </ac:spMkLst>
        </pc:spChg>
        <pc:spChg chg="mod ord">
          <ac:chgData name="Joelle Brehm" userId="a518f54c-6985-42c0-8041-2bb16a414839" providerId="ADAL" clId="{D2DE92CD-AADB-43BF-8B53-266FBFF8B69D}" dt="2024-02-05T21:19:51.067" v="22617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D2DE92CD-AADB-43BF-8B53-266FBFF8B69D}" dt="2024-02-05T21:19:51.062" v="22596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19:51.063" v="22598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D2DE92CD-AADB-43BF-8B53-266FBFF8B69D}" dt="2024-02-05T20:41:24.908" v="22180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19:51.059" v="22583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1:19:51.063" v="22600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19:51.064" v="22602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19:51.064" v="22604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19:51.064" v="22606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19:51.065" v="22609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19:51.065" v="22610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19:51.066" v="22611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19:51.066" v="22612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19:51.066" v="22613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19:51.100" v="22625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0:40:47.928" v="21193"/>
          <ac:graphicFrameMkLst>
            <pc:docMk/>
            <pc:sldMk cId="592117244" sldId="275"/>
            <ac:graphicFrameMk id="8" creationId="{F6B142D5-5D06-844F-A6F7-99F2C021F5A9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19:51.050" v="22558"/>
          <ac:graphicFrameMkLst>
            <pc:docMk/>
            <pc:sldMk cId="592117244" sldId="275"/>
            <ac:graphicFrameMk id="9" creationId="{A8BCE557-494D-03E8-AE98-F696B470C63A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19:51.065" v="22608"/>
          <ac:graphicFrameMkLst>
            <pc:docMk/>
            <pc:sldMk cId="592117244" sldId="275"/>
            <ac:graphicFrameMk id="41" creationId="{5F9013B5-EC43-3FBC-6E52-241A379187E3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41:15.080" v="21496"/>
          <ac:graphicFrameMkLst>
            <pc:docMk/>
            <pc:sldMk cId="592117244" sldId="275"/>
            <ac:graphicFrameMk id="43" creationId="{9AA61A18-7C90-D73B-695A-348492FAE2A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41:22.849" v="22084"/>
          <ac:graphicFrameMkLst>
            <pc:docMk/>
            <pc:sldMk cId="592117244" sldId="275"/>
            <ac:graphicFrameMk id="48" creationId="{87816763-BE05-8D77-9B2F-7F72A8E5437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0:41:25" v="22275"/>
          <ac:graphicFrameMkLst>
            <pc:docMk/>
            <pc:sldMk cId="592117244" sldId="275"/>
            <ac:graphicFrameMk id="50" creationId="{4072A1CB-12C4-96A6-F0B2-9C4DC933EF5D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19:47.397" v="22412"/>
          <ac:graphicFrameMkLst>
            <pc:docMk/>
            <pc:sldMk cId="592117244" sldId="275"/>
            <ac:graphicFrameMk id="52" creationId="{7F414E78-BEE8-E6D3-7DD4-B44CFD31770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19:51.024" v="22544"/>
          <ac:graphicFrameMkLst>
            <pc:docMk/>
            <pc:sldMk cId="592117244" sldId="275"/>
            <ac:graphicFrameMk id="54" creationId="{ED600FF5-16A6-47D4-6181-AC14ABD2ACFA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19:51.058" v="22582"/>
          <ac:graphicFrameMkLst>
            <pc:docMk/>
            <pc:sldMk cId="592117244" sldId="275"/>
            <ac:graphicFrameMk id="56" creationId="{89574176-B69D-08C9-622C-8988DA74A6D3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0:41:21.652" v="21919"/>
          <ac:graphicFrameMkLst>
            <pc:docMk/>
            <pc:sldMk cId="592117244" sldId="275"/>
            <ac:graphicFrameMk id="61" creationId="{01A7EC37-4A0A-5412-F218-D4D06DF28334}"/>
          </ac:graphicFrameMkLst>
        </pc:graphicFrameChg>
        <pc:picChg chg="add mod ord">
          <ac:chgData name="Joelle Brehm" userId="a518f54c-6985-42c0-8041-2bb16a414839" providerId="ADAL" clId="{D2DE92CD-AADB-43BF-8B53-266FBFF8B69D}" dt="2024-02-05T21:19:51.049" v="22552"/>
          <ac:picMkLst>
            <pc:docMk/>
            <pc:sldMk cId="592117244" sldId="275"/>
            <ac:picMk id="10" creationId="{F4744F1E-E03D-3246-50BA-1ED9DCC7A7CE}"/>
          </ac:picMkLst>
        </pc:picChg>
        <pc:picChg chg="del mod ord">
          <ac:chgData name="Joelle Brehm" userId="a518f54c-6985-42c0-8041-2bb16a414839" providerId="ADAL" clId="{D2DE92CD-AADB-43BF-8B53-266FBFF8B69D}" dt="2024-02-05T20:41:07.545" v="21365" actId="478"/>
          <ac:picMkLst>
            <pc:docMk/>
            <pc:sldMk cId="592117244" sldId="275"/>
            <ac:picMk id="31" creationId="{61A09B33-02BD-23F3-A05F-9722F08A982E}"/>
          </ac:picMkLst>
        </pc:picChg>
        <pc:picChg chg="mod ord">
          <ac:chgData name="Joelle Brehm" userId="a518f54c-6985-42c0-8041-2bb16a414839" providerId="ADAL" clId="{D2DE92CD-AADB-43BF-8B53-266FBFF8B69D}" dt="2024-02-05T21:19:51.067" v="22615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19:51.050" v="22556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27:46.169" v="24503"/>
        <pc:sldMkLst>
          <pc:docMk/>
          <pc:sldMk cId="3358644479" sldId="276"/>
        </pc:sldMkLst>
        <pc:spChg chg="mod ord">
          <ac:chgData name="Joelle Brehm" userId="a518f54c-6985-42c0-8041-2bb16a414839" providerId="ADAL" clId="{D2DE92CD-AADB-43BF-8B53-266FBFF8B69D}" dt="2024-02-05T21:27:46.152" v="24497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D2DE92CD-AADB-43BF-8B53-266FBFF8B69D}" dt="2024-02-05T21:20:12.869" v="22626" actId="478"/>
          <ac:spMkLst>
            <pc:docMk/>
            <pc:sldMk cId="3358644479" sldId="276"/>
            <ac:spMk id="3" creationId="{92F1C9D4-551C-6337-F0E7-C7A7EF4E5590}"/>
          </ac:spMkLst>
        </pc:spChg>
        <pc:spChg chg="add del mod modVis">
          <ac:chgData name="Joelle Brehm" userId="a518f54c-6985-42c0-8041-2bb16a414839" providerId="ADAL" clId="{D2DE92CD-AADB-43BF-8B53-266FBFF8B69D}" dt="2024-02-05T21:20:21.221" v="22824"/>
          <ac:spMkLst>
            <pc:docMk/>
            <pc:sldMk cId="3358644479" sldId="276"/>
            <ac:spMk id="5" creationId="{CF1BD5CD-272F-6810-6014-E55551E22AD4}"/>
          </ac:spMkLst>
        </pc:spChg>
        <pc:spChg chg="mod ord">
          <ac:chgData name="Joelle Brehm" userId="a518f54c-6985-42c0-8041-2bb16a414839" providerId="ADAL" clId="{D2DE92CD-AADB-43BF-8B53-266FBFF8B69D}" dt="2024-02-05T21:27:46.123" v="24434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27:46.137" v="24465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D2DE92CD-AADB-43BF-8B53-266FBFF8B69D}" dt="2024-02-05T21:27:46.128" v="24445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27:46.126" v="24441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27:46.127" v="24442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27:46.126" v="24439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27:46.126" v="24440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27:46.127" v="24443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27:46.127" v="24444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27:46.128" v="24446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27:46.129" v="24447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27:46.129" v="24448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27:46.130" v="24449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27:46.130" v="24450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27:46.132" v="24452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27:46.132" v="24453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27:46.133" v="24455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27:46.133" v="24454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27:46.134" v="24457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27:46.134" v="24458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27:46.134" v="24456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27:46.135" v="24460"/>
          <ac:spMkLst>
            <pc:docMk/>
            <pc:sldMk cId="3358644479" sldId="276"/>
            <ac:spMk id="30" creationId="{121A2A89-FB4E-4B9A-840D-28523B0B457F}"/>
          </ac:spMkLst>
        </pc:spChg>
        <pc:spChg chg="del mod">
          <ac:chgData name="Joelle Brehm" userId="a518f54c-6985-42c0-8041-2bb16a414839" providerId="ADAL" clId="{D2DE92CD-AADB-43BF-8B53-266FBFF8B69D}" dt="2024-02-05T21:27:27.423" v="23729"/>
          <ac:spMkLst>
            <pc:docMk/>
            <pc:sldMk cId="3358644479" sldId="276"/>
            <ac:spMk id="32" creationId="{8D25BC14-41C5-8647-5CC0-BE12A57BA555}"/>
          </ac:spMkLst>
        </pc:spChg>
        <pc:spChg chg="add del mod modVis">
          <ac:chgData name="Joelle Brehm" userId="a518f54c-6985-42c0-8041-2bb16a414839" providerId="ADAL" clId="{D2DE92CD-AADB-43BF-8B53-266FBFF8B69D}" dt="2024-02-05T21:20:51.706" v="23121"/>
          <ac:spMkLst>
            <pc:docMk/>
            <pc:sldMk cId="3358644479" sldId="276"/>
            <ac:spMk id="34" creationId="{F8294852-62ED-2EC4-DD93-B069E6C6360F}"/>
          </ac:spMkLst>
        </pc:spChg>
        <pc:spChg chg="mod">
          <ac:chgData name="Joelle Brehm" userId="a518f54c-6985-42c0-8041-2bb16a414839" providerId="ADAL" clId="{D2DE92CD-AADB-43BF-8B53-266FBFF8B69D}" dt="2024-02-05T21:27:46.139" v="24471"/>
          <ac:spMkLst>
            <pc:docMk/>
            <pc:sldMk cId="3358644479" sldId="276"/>
            <ac:spMk id="36" creationId="{4467CB91-DB37-223E-6BCD-75143BB1B4BC}"/>
          </ac:spMkLst>
        </pc:spChg>
        <pc:spChg chg="mod">
          <ac:chgData name="Joelle Brehm" userId="a518f54c-6985-42c0-8041-2bb16a414839" providerId="ADAL" clId="{D2DE92CD-AADB-43BF-8B53-266FBFF8B69D}" dt="2024-02-05T21:27:46.137" v="24463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D2DE92CD-AADB-43BF-8B53-266FBFF8B69D}" dt="2024-02-05T21:27:46.150" v="24491"/>
          <ac:spMkLst>
            <pc:docMk/>
            <pc:sldMk cId="3358644479" sldId="276"/>
            <ac:spMk id="39" creationId="{4FEE52F1-F036-DD7D-A4F7-332F7492BB1A}"/>
          </ac:spMkLst>
        </pc:spChg>
        <pc:spChg chg="del mod">
          <ac:chgData name="Joelle Brehm" userId="a518f54c-6985-42c0-8041-2bb16a414839" providerId="ADAL" clId="{D2DE92CD-AADB-43BF-8B53-266FBFF8B69D}" dt="2024-02-05T21:20:53.474" v="23124"/>
          <ac:spMkLst>
            <pc:docMk/>
            <pc:sldMk cId="3358644479" sldId="276"/>
            <ac:spMk id="40" creationId="{BF422452-141B-CCA7-F304-DD7C41C4B026}"/>
          </ac:spMkLst>
        </pc:spChg>
        <pc:spChg chg="mod">
          <ac:chgData name="Joelle Brehm" userId="a518f54c-6985-42c0-8041-2bb16a414839" providerId="ADAL" clId="{D2DE92CD-AADB-43BF-8B53-266FBFF8B69D}" dt="2024-02-05T21:27:46.139" v="24468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D2DE92CD-AADB-43BF-8B53-266FBFF8B69D}" dt="2024-02-05T21:27:46.138" v="24466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D2DE92CD-AADB-43BF-8B53-266FBFF8B69D}" dt="2024-02-05T21:27:46.137" v="24464"/>
          <ac:spMkLst>
            <pc:docMk/>
            <pc:sldMk cId="3358644479" sldId="276"/>
            <ac:spMk id="44" creationId="{5C64EA04-B56C-CC91-D9A7-8AB0C80D5C79}"/>
          </ac:spMkLst>
        </pc:spChg>
        <pc:spChg chg="mod">
          <ac:chgData name="Joelle Brehm" userId="a518f54c-6985-42c0-8041-2bb16a414839" providerId="ADAL" clId="{D2DE92CD-AADB-43BF-8B53-266FBFF8B69D}" dt="2024-02-05T21:27:46.139" v="24469"/>
          <ac:spMkLst>
            <pc:docMk/>
            <pc:sldMk cId="3358644479" sldId="276"/>
            <ac:spMk id="45" creationId="{E2BF77D0-7FDB-BE38-6486-446042D2E6CA}"/>
          </ac:spMkLst>
        </pc:spChg>
        <pc:spChg chg="add mod replST">
          <ac:chgData name="Joelle Brehm" userId="a518f54c-6985-42c0-8041-2bb16a414839" providerId="ADAL" clId="{D2DE92CD-AADB-43BF-8B53-266FBFF8B69D}" dt="2024-02-05T21:27:46.141" v="24474"/>
          <ac:spMkLst>
            <pc:docMk/>
            <pc:sldMk cId="3358644479" sldId="276"/>
            <ac:spMk id="46" creationId="{60941C7A-4FE6-6D9F-9D91-5722837A43E7}"/>
          </ac:spMkLst>
        </pc:spChg>
        <pc:spChg chg="mod">
          <ac:chgData name="Joelle Brehm" userId="a518f54c-6985-42c0-8041-2bb16a414839" providerId="ADAL" clId="{D2DE92CD-AADB-43BF-8B53-266FBFF8B69D}" dt="2024-02-05T21:27:46.141" v="24473"/>
          <ac:spMkLst>
            <pc:docMk/>
            <pc:sldMk cId="3358644479" sldId="276"/>
            <ac:spMk id="48" creationId="{C2906F56-C60C-2BB1-3607-9FB82AD9A981}"/>
          </ac:spMkLst>
        </pc:spChg>
        <pc:spChg chg="mod">
          <ac:chgData name="Joelle Brehm" userId="a518f54c-6985-42c0-8041-2bb16a414839" providerId="ADAL" clId="{D2DE92CD-AADB-43BF-8B53-266FBFF8B69D}" dt="2024-02-05T21:27:46.138" v="24467"/>
          <ac:spMkLst>
            <pc:docMk/>
            <pc:sldMk cId="3358644479" sldId="276"/>
            <ac:spMk id="49" creationId="{D4F90E1C-EAB9-BF7D-5820-940E92571336}"/>
          </ac:spMkLst>
        </pc:spChg>
        <pc:spChg chg="mod">
          <ac:chgData name="Joelle Brehm" userId="a518f54c-6985-42c0-8041-2bb16a414839" providerId="ADAL" clId="{D2DE92CD-AADB-43BF-8B53-266FBFF8B69D}" dt="2024-02-05T21:27:46.139" v="24470"/>
          <ac:spMkLst>
            <pc:docMk/>
            <pc:sldMk cId="3358644479" sldId="276"/>
            <ac:spMk id="50" creationId="{EBF57C44-6BCA-2A9E-015B-FE2A2654B397}"/>
          </ac:spMkLst>
        </pc:spChg>
        <pc:spChg chg="add del mod modVis">
          <ac:chgData name="Joelle Brehm" userId="a518f54c-6985-42c0-8041-2bb16a414839" providerId="ADAL" clId="{D2DE92CD-AADB-43BF-8B53-266FBFF8B69D}" dt="2024-02-05T21:21:02.106" v="23726"/>
          <ac:spMkLst>
            <pc:docMk/>
            <pc:sldMk cId="3358644479" sldId="276"/>
            <ac:spMk id="51" creationId="{1EE715E0-41AD-8D0F-DE37-BDF5F04CD302}"/>
          </ac:spMkLst>
        </pc:spChg>
        <pc:spChg chg="add del mod ord replST">
          <ac:chgData name="Joelle Brehm" userId="a518f54c-6985-42c0-8041-2bb16a414839" providerId="ADAL" clId="{D2DE92CD-AADB-43BF-8B53-266FBFF8B69D}" dt="2024-02-05T21:27:27.516" v="23798"/>
          <ac:spMkLst>
            <pc:docMk/>
            <pc:sldMk cId="3358644479" sldId="276"/>
            <ac:spMk id="5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7:46.141" v="24472"/>
          <ac:spMkLst>
            <pc:docMk/>
            <pc:sldMk cId="3358644479" sldId="276"/>
            <ac:spMk id="53" creationId="{319F4068-5046-76B4-073D-72CEC16CD1EA}"/>
          </ac:spMkLst>
        </pc:spChg>
        <pc:spChg chg="add del mod modVis">
          <ac:chgData name="Joelle Brehm" userId="a518f54c-6985-42c0-8041-2bb16a414839" providerId="ADAL" clId="{D2DE92CD-AADB-43BF-8B53-266FBFF8B69D}" dt="2024-02-05T21:27:27.582" v="23903"/>
          <ac:spMkLst>
            <pc:docMk/>
            <pc:sldMk cId="3358644479" sldId="276"/>
            <ac:spMk id="55" creationId="{A8B2113C-94C6-3E53-3194-5B95BCC1B06D}"/>
          </ac:spMkLst>
        </pc:spChg>
        <pc:spChg chg="add del mod modVis">
          <ac:chgData name="Joelle Brehm" userId="a518f54c-6985-42c0-8041-2bb16a414839" providerId="ADAL" clId="{D2DE92CD-AADB-43BF-8B53-266FBFF8B69D}" dt="2024-02-05T21:27:34.334" v="24033"/>
          <ac:spMkLst>
            <pc:docMk/>
            <pc:sldMk cId="3358644479" sldId="276"/>
            <ac:spMk id="57" creationId="{A2E64929-83C1-46CE-B22A-16D07069A082}"/>
          </ac:spMkLst>
        </pc:spChg>
        <pc:spChg chg="mod ord">
          <ac:chgData name="Joelle Brehm" userId="a518f54c-6985-42c0-8041-2bb16a414839" providerId="ADAL" clId="{D2DE92CD-AADB-43BF-8B53-266FBFF8B69D}" dt="2024-02-05T21:27:46.150" v="24495"/>
          <ac:spMkLst>
            <pc:docMk/>
            <pc:sldMk cId="3358644479" sldId="276"/>
            <ac:spMk id="58" creationId="{0CB06D1E-8664-4C1B-9ACF-854D6C46B776}"/>
          </ac:spMkLst>
        </pc:spChg>
        <pc:spChg chg="add del mod modVis">
          <ac:chgData name="Joelle Brehm" userId="a518f54c-6985-42c0-8041-2bb16a414839" providerId="ADAL" clId="{D2DE92CD-AADB-43BF-8B53-266FBFF8B69D}" dt="2024-02-05T21:27:43.504" v="24239"/>
          <ac:spMkLst>
            <pc:docMk/>
            <pc:sldMk cId="3358644479" sldId="276"/>
            <ac:spMk id="60" creationId="{CADAF28A-9143-8ECA-E4EA-BA91E5DDB5C6}"/>
          </ac:spMkLst>
        </pc:spChg>
        <pc:spChg chg="add del mod replST">
          <ac:chgData name="Joelle Brehm" userId="a518f54c-6985-42c0-8041-2bb16a414839" providerId="ADAL" clId="{D2DE92CD-AADB-43BF-8B53-266FBFF8B69D}" dt="2024-02-05T21:27:44.953" v="24292"/>
          <ac:spMkLst>
            <pc:docMk/>
            <pc:sldMk cId="3358644479" sldId="276"/>
            <ac:spMk id="61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27:45.008" v="24371"/>
          <ac:spMkLst>
            <pc:docMk/>
            <pc:sldMk cId="3358644479" sldId="276"/>
            <ac:spMk id="64" creationId="{4D58BEDC-3C05-B350-0B38-40108B050EF8}"/>
          </ac:spMkLst>
        </pc:spChg>
        <pc:spChg chg="add del mod modVis">
          <ac:chgData name="Joelle Brehm" userId="a518f54c-6985-42c0-8041-2bb16a414839" providerId="ADAL" clId="{D2DE92CD-AADB-43BF-8B53-266FBFF8B69D}" dt="2024-02-05T21:27:46.153" v="24501"/>
          <ac:spMkLst>
            <pc:docMk/>
            <pc:sldMk cId="3358644479" sldId="276"/>
            <ac:spMk id="66" creationId="{CE20E55A-3242-345A-008E-8DC0CD1B6DD1}"/>
          </ac:spMkLst>
        </pc:spChg>
        <pc:spChg chg="mod ord">
          <ac:chgData name="Joelle Brehm" userId="a518f54c-6985-42c0-8041-2bb16a414839" providerId="ADAL" clId="{D2DE92CD-AADB-43BF-8B53-266FBFF8B69D}" dt="2024-02-05T21:27:46.142" v="24476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27:46.143" v="24478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27:46.144" v="24480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27:46.146" v="24482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27:46.147" v="24484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27:46.148" v="24486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27:46.149" v="24489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7:46.149" v="24490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D2DE92CD-AADB-43BF-8B53-266FBFF8B69D}" dt="2024-02-05T21:27:46.169" v="24503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1:20:21.110" v="22737"/>
          <ac:graphicFrameMkLst>
            <pc:docMk/>
            <pc:sldMk cId="3358644479" sldId="276"/>
            <ac:graphicFrameMk id="8" creationId="{089F6E9D-B147-D6B0-81C7-D9CE32B37228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7:46.125" v="24438"/>
          <ac:graphicFrameMkLst>
            <pc:docMk/>
            <pc:sldMk cId="3358644479" sldId="276"/>
            <ac:graphicFrameMk id="9" creationId="{2DE819D2-95C8-453A-290C-F65E2D907E6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0:53.492" v="23132"/>
          <ac:graphicFrameMkLst>
            <pc:docMk/>
            <pc:sldMk cId="3358644479" sldId="276"/>
            <ac:graphicFrameMk id="35" creationId="{2B245277-C214-70DE-B6F3-CFC954D5ED4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0:55.799" v="23223"/>
          <ac:graphicFrameMkLst>
            <pc:docMk/>
            <pc:sldMk cId="3358644479" sldId="276"/>
            <ac:graphicFrameMk id="37" creationId="{289B151E-5789-6528-AC14-E04E3E1BF2ED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7:46.148" v="24488"/>
          <ac:graphicFrameMkLst>
            <pc:docMk/>
            <pc:sldMk cId="3358644479" sldId="276"/>
            <ac:graphicFrameMk id="43" creationId="{5AD3A442-AEEF-4DAD-3623-63075562377D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20:51.637" v="23043"/>
          <ac:graphicFrameMkLst>
            <pc:docMk/>
            <pc:sldMk cId="3358644479" sldId="276"/>
            <ac:graphicFrameMk id="47" creationId="{56317322-7E8E-F17C-F233-83FF608309F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7:27.528" v="23826"/>
          <ac:graphicFrameMkLst>
            <pc:docMk/>
            <pc:sldMk cId="3358644479" sldId="276"/>
            <ac:graphicFrameMk id="54" creationId="{ECC56714-DB5F-DB04-CF92-285C026221D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7:34.284" v="23956"/>
          <ac:graphicFrameMkLst>
            <pc:docMk/>
            <pc:sldMk cId="3358644479" sldId="276"/>
            <ac:graphicFrameMk id="56" creationId="{BB1D40B4-4987-A140-473F-8D8F71566AC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7:43.448" v="24150"/>
          <ac:graphicFrameMkLst>
            <pc:docMk/>
            <pc:sldMk cId="3358644479" sldId="276"/>
            <ac:graphicFrameMk id="59" creationId="{BD4A2C0A-1129-A238-736F-7699CCA5AE4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7:44.961" v="24294"/>
          <ac:graphicFrameMkLst>
            <pc:docMk/>
            <pc:sldMk cId="3358644479" sldId="276"/>
            <ac:graphicFrameMk id="62" creationId="{24F51E26-133E-ED3A-0A85-9DF90A11A26B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21:02.053" v="23644"/>
          <ac:graphicFrameMkLst>
            <pc:docMk/>
            <pc:sldMk cId="3358644479" sldId="276"/>
            <ac:graphicFrameMk id="63" creationId="{54AF4ADB-BDBC-CC61-72C9-050BBA98E64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7:46.094" v="24424"/>
          <ac:graphicFrameMkLst>
            <pc:docMk/>
            <pc:sldMk cId="3358644479" sldId="276"/>
            <ac:graphicFrameMk id="65" creationId="{FCD54E87-FDEF-4572-EA61-4070A3C5513A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7:46.137" v="24462"/>
          <ac:graphicFrameMkLst>
            <pc:docMk/>
            <pc:sldMk cId="3358644479" sldId="276"/>
            <ac:graphicFrameMk id="67" creationId="{FF55AD27-5D5B-CF51-75A3-84C0828C0F58}"/>
          </ac:graphicFrameMkLst>
        </pc:graphicFrameChg>
        <pc:picChg chg="add mod ord">
          <ac:chgData name="Joelle Brehm" userId="a518f54c-6985-42c0-8041-2bb16a414839" providerId="ADAL" clId="{D2DE92CD-AADB-43BF-8B53-266FBFF8B69D}" dt="2024-02-05T21:27:46.122" v="24432"/>
          <ac:picMkLst>
            <pc:docMk/>
            <pc:sldMk cId="3358644479" sldId="276"/>
            <ac:picMk id="31" creationId="{7407DB8F-3723-40B1-07CB-307414594902}"/>
          </ac:picMkLst>
        </pc:picChg>
        <pc:picChg chg="del mod ord">
          <ac:chgData name="Joelle Brehm" userId="a518f54c-6985-42c0-8041-2bb16a414839" providerId="ADAL" clId="{D2DE92CD-AADB-43BF-8B53-266FBFF8B69D}" dt="2024-02-05T21:20:43.605" v="22945" actId="478"/>
          <ac:picMkLst>
            <pc:docMk/>
            <pc:sldMk cId="3358644479" sldId="276"/>
            <ac:picMk id="33" creationId="{6463457C-7F84-B13A-3CB8-7B04013594DE}"/>
          </ac:picMkLst>
        </pc:picChg>
        <pc:picChg chg="mod ord">
          <ac:chgData name="Joelle Brehm" userId="a518f54c-6985-42c0-8041-2bb16a414839" providerId="ADAL" clId="{D2DE92CD-AADB-43BF-8B53-266FBFF8B69D}" dt="2024-02-05T21:27:46.150" v="24493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27:46.124" v="24436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28:44.215" v="25995"/>
        <pc:sldMkLst>
          <pc:docMk/>
          <pc:sldMk cId="1336352168" sldId="277"/>
        </pc:sldMkLst>
        <pc:spChg chg="mod ord">
          <ac:chgData name="Joelle Brehm" userId="a518f54c-6985-42c0-8041-2bb16a414839" providerId="ADAL" clId="{D2DE92CD-AADB-43BF-8B53-266FBFF8B69D}" dt="2024-02-05T21:28:44.198" v="25989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D2DE92CD-AADB-43BF-8B53-266FBFF8B69D}" dt="2024-02-05T21:27:52.953" v="24504" actId="478"/>
          <ac:spMkLst>
            <pc:docMk/>
            <pc:sldMk cId="1336352168" sldId="277"/>
            <ac:spMk id="3" creationId="{C8846F47-34E0-2999-A8E9-AE88BA5721E9}"/>
          </ac:spMkLst>
        </pc:spChg>
        <pc:spChg chg="add del mod modVis">
          <ac:chgData name="Joelle Brehm" userId="a518f54c-6985-42c0-8041-2bb16a414839" providerId="ADAL" clId="{D2DE92CD-AADB-43BF-8B53-266FBFF8B69D}" dt="2024-02-05T21:28:01.643" v="24727"/>
          <ac:spMkLst>
            <pc:docMk/>
            <pc:sldMk cId="1336352168" sldId="277"/>
            <ac:spMk id="5" creationId="{EFCF533D-5A8C-C478-1BB6-52A33A128A81}"/>
          </ac:spMkLst>
        </pc:spChg>
        <pc:spChg chg="mod ord">
          <ac:chgData name="Joelle Brehm" userId="a518f54c-6985-42c0-8041-2bb16a414839" providerId="ADAL" clId="{D2DE92CD-AADB-43BF-8B53-266FBFF8B69D}" dt="2024-02-05T21:28:44.176" v="25924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28:44.176" v="25935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28:44.176" v="25931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28:44.176" v="25932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28:44.176" v="25929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28:44.176" v="25930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28:44.176" v="25933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28:44.176" v="25934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28:44.176" v="25936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28:44.176" v="25937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28:44.181" v="25938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28:44.181" v="25939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28:44.181" v="25940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28:44.182" v="25942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28:44.182" v="25943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28:44.183" v="25945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28:44.183" v="25944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28:44.183" v="25947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28:44.184" v="25948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28:44.183" v="25946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28:44.184" v="25950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28:44.187" v="25961"/>
          <ac:spMkLst>
            <pc:docMk/>
            <pc:sldMk cId="1336352168" sldId="277"/>
            <ac:spMk id="32" creationId="{74CF8B3F-36F6-9332-CFE2-CF317BED3193}"/>
          </ac:spMkLst>
        </pc:spChg>
        <pc:spChg chg="add del mod modVis">
          <ac:chgData name="Joelle Brehm" userId="a518f54c-6985-42c0-8041-2bb16a414839" providerId="ADAL" clId="{D2DE92CD-AADB-43BF-8B53-266FBFF8B69D}" dt="2024-02-05T21:28:29.321" v="25020"/>
          <ac:spMkLst>
            <pc:docMk/>
            <pc:sldMk cId="1336352168" sldId="277"/>
            <ac:spMk id="33" creationId="{FA83FA4E-DCE0-B931-54BB-B271B0EA4301}"/>
          </ac:spMkLst>
        </pc:spChg>
        <pc:spChg chg="add mod replST">
          <ac:chgData name="Joelle Brehm" userId="a518f54c-6985-42c0-8041-2bb16a414839" providerId="ADAL" clId="{D2DE92CD-AADB-43BF-8B53-266FBFF8B69D}" dt="2024-02-05T21:28:44.188" v="25964"/>
          <ac:spMkLst>
            <pc:docMk/>
            <pc:sldMk cId="1336352168" sldId="277"/>
            <ac:spMk id="36" creationId="{868EF4EC-6C6C-5D6C-CE37-AA48A78690B5}"/>
          </ac:spMkLst>
        </pc:spChg>
        <pc:spChg chg="del mod">
          <ac:chgData name="Joelle Brehm" userId="a518f54c-6985-42c0-8041-2bb16a414839" providerId="ADAL" clId="{D2DE92CD-AADB-43BF-8B53-266FBFF8B69D}" dt="2024-02-05T21:28:40.890" v="25671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D2DE92CD-AADB-43BF-8B53-266FBFF8B69D}" dt="2024-02-05T21:28:44.185" v="25953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D2DE92CD-AADB-43BF-8B53-266FBFF8B69D}" dt="2024-02-05T21:28:44.186" v="25955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D2DE92CD-AADB-43BF-8B53-266FBFF8B69D}" dt="2024-02-05T21:28:44.186" v="25956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D2DE92CD-AADB-43BF-8B53-266FBFF8B69D}" dt="2024-02-05T21:28:44.186" v="25958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D2DE92CD-AADB-43BF-8B53-266FBFF8B69D}" dt="2024-02-05T21:28:44.187" v="25959"/>
          <ac:spMkLst>
            <pc:docMk/>
            <pc:sldMk cId="1336352168" sldId="277"/>
            <ac:spMk id="42" creationId="{04656030-ED65-550D-E841-3EC7F85E35CF}"/>
          </ac:spMkLst>
        </pc:spChg>
        <pc:spChg chg="mod">
          <ac:chgData name="Joelle Brehm" userId="a518f54c-6985-42c0-8041-2bb16a414839" providerId="ADAL" clId="{D2DE92CD-AADB-43BF-8B53-266FBFF8B69D}" dt="2024-02-05T21:28:44.185" v="25954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D2DE92CD-AADB-43BF-8B53-266FBFF8B69D}" dt="2024-02-05T21:28:44.186" v="25957"/>
          <ac:spMkLst>
            <pc:docMk/>
            <pc:sldMk cId="1336352168" sldId="277"/>
            <ac:spMk id="44" creationId="{948C7430-EE17-A200-FEA6-849EEC95829A}"/>
          </ac:spMkLst>
        </pc:spChg>
        <pc:spChg chg="mod">
          <ac:chgData name="Joelle Brehm" userId="a518f54c-6985-42c0-8041-2bb16a414839" providerId="ADAL" clId="{D2DE92CD-AADB-43BF-8B53-266FBFF8B69D}" dt="2024-02-05T21:28:44.187" v="25962"/>
          <ac:spMkLst>
            <pc:docMk/>
            <pc:sldMk cId="1336352168" sldId="277"/>
            <ac:spMk id="45" creationId="{D04E5C9A-B84D-E68D-0174-8A803F9459C0}"/>
          </ac:spMkLst>
        </pc:spChg>
        <pc:spChg chg="mod">
          <ac:chgData name="Joelle Brehm" userId="a518f54c-6985-42c0-8041-2bb16a414839" providerId="ADAL" clId="{D2DE92CD-AADB-43BF-8B53-266FBFF8B69D}" dt="2024-02-05T21:28:44.187" v="25960"/>
          <ac:spMkLst>
            <pc:docMk/>
            <pc:sldMk cId="1336352168" sldId="277"/>
            <ac:spMk id="46" creationId="{F7A7DC41-8925-BEE0-D237-2FE7B5C8A67F}"/>
          </ac:spMkLst>
        </pc:spChg>
        <pc:spChg chg="mod">
          <ac:chgData name="Joelle Brehm" userId="a518f54c-6985-42c0-8041-2bb16a414839" providerId="ADAL" clId="{D2DE92CD-AADB-43BF-8B53-266FBFF8B69D}" dt="2024-02-05T21:28:44.188" v="25963"/>
          <ac:spMkLst>
            <pc:docMk/>
            <pc:sldMk cId="1336352168" sldId="277"/>
            <ac:spMk id="47" creationId="{AE18A661-20DA-E8A0-77A0-CA2C637605AF}"/>
          </ac:spMkLst>
        </pc:spChg>
        <pc:spChg chg="add del mod modVis">
          <ac:chgData name="Joelle Brehm" userId="a518f54c-6985-42c0-8041-2bb16a414839" providerId="ADAL" clId="{D2DE92CD-AADB-43BF-8B53-266FBFF8B69D}" dt="2024-02-05T21:28:34.676" v="25448"/>
          <ac:spMkLst>
            <pc:docMk/>
            <pc:sldMk cId="1336352168" sldId="277"/>
            <ac:spMk id="48" creationId="{9018EA2F-67EF-A4B9-AE7A-76BBBF6D2192}"/>
          </ac:spMkLst>
        </pc:spChg>
        <pc:spChg chg="add del mod ord replST">
          <ac:chgData name="Joelle Brehm" userId="a518f54c-6985-42c0-8041-2bb16a414839" providerId="ADAL" clId="{D2DE92CD-AADB-43BF-8B53-266FBFF8B69D}" dt="2024-02-05T21:28:41.016" v="25747"/>
          <ac:spMkLst>
            <pc:docMk/>
            <pc:sldMk cId="1336352168" sldId="277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28:38.159" v="25668"/>
          <ac:spMkLst>
            <pc:docMk/>
            <pc:sldMk cId="1336352168" sldId="277"/>
            <ac:spMk id="51" creationId="{F5F4AF47-9C1D-7ADB-1A4C-4290B4A6708D}"/>
          </ac:spMkLst>
        </pc:spChg>
        <pc:spChg chg="add del mod ord replST">
          <ac:chgData name="Joelle Brehm" userId="a518f54c-6985-42c0-8041-2bb16a414839" providerId="ADAL" clId="{D2DE92CD-AADB-43BF-8B53-266FBFF8B69D}" dt="2024-02-05T21:28:44.149" v="25912"/>
          <ac:spMkLst>
            <pc:docMk/>
            <pc:sldMk cId="1336352168" sldId="277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28:41.130" v="25856"/>
          <ac:spMkLst>
            <pc:docMk/>
            <pc:sldMk cId="1336352168" sldId="277"/>
            <ac:spMk id="54" creationId="{257227A7-E970-9316-A06B-D12F02C13185}"/>
          </ac:spMkLst>
        </pc:spChg>
        <pc:spChg chg="add del mod modVis">
          <ac:chgData name="Joelle Brehm" userId="a518f54c-6985-42c0-8041-2bb16a414839" providerId="ADAL" clId="{D2DE92CD-AADB-43BF-8B53-266FBFF8B69D}" dt="2024-02-05T21:28:44.199" v="25993"/>
          <ac:spMkLst>
            <pc:docMk/>
            <pc:sldMk cId="1336352168" sldId="277"/>
            <ac:spMk id="57" creationId="{2F7199F1-9FF8-B44C-EBC8-7DFCD93DE372}"/>
          </ac:spMkLst>
        </pc:spChg>
        <pc:spChg chg="mod ord">
          <ac:chgData name="Joelle Brehm" userId="a518f54c-6985-42c0-8041-2bb16a414839" providerId="ADAL" clId="{D2DE92CD-AADB-43BF-8B53-266FBFF8B69D}" dt="2024-02-05T21:28:44.197" v="25987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D2DE92CD-AADB-43BF-8B53-266FBFF8B69D}" dt="2024-02-05T21:28:44.188" v="25966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28:44.189" v="25968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28:44.189" v="25970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28:44.191" v="25972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28:44.191" v="25974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28:44.192" v="25976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28:44.193" v="25979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8:44.194" v="25980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8:44.194" v="25981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8:44.194" v="25982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28:44.194" v="25983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28:44.215" v="25995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8:44.176" v="25928"/>
          <ac:graphicFrameMkLst>
            <pc:docMk/>
            <pc:sldMk cId="1336352168" sldId="277"/>
            <ac:graphicFrameMk id="8" creationId="{CCABC33A-6B83-4A00-30B2-A5FC5B8D9FA9}"/>
          </ac:graphicFrameMkLst>
        </pc:graphicFrameChg>
        <pc:graphicFrameChg chg="del">
          <ac:chgData name="Joelle Brehm" userId="a518f54c-6985-42c0-8041-2bb16a414839" providerId="ADAL" clId="{D2DE92CD-AADB-43BF-8B53-266FBFF8B69D}" dt="2024-02-05T21:28:01.577" v="24646"/>
          <ac:graphicFrameMkLst>
            <pc:docMk/>
            <pc:sldMk cId="1336352168" sldId="277"/>
            <ac:graphicFrameMk id="9" creationId="{BF8FF693-46AB-280F-68F6-F46D46672F7C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8:44.193" v="25978"/>
          <ac:graphicFrameMkLst>
            <pc:docMk/>
            <pc:sldMk cId="1336352168" sldId="277"/>
            <ac:graphicFrameMk id="34" creationId="{E8F9D903-A8AD-C384-BC10-CE0273F388B7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28:29.195" v="24941"/>
          <ac:graphicFrameMkLst>
            <pc:docMk/>
            <pc:sldMk cId="1336352168" sldId="277"/>
            <ac:graphicFrameMk id="35" creationId="{A8D9B7D3-49D1-3BAD-0D51-C02BA838D8B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8:38.090" v="25573"/>
          <ac:graphicFrameMkLst>
            <pc:docMk/>
            <pc:sldMk cId="1336352168" sldId="277"/>
            <ac:graphicFrameMk id="50" creationId="{7E3EA4C8-986E-1060-44D4-E79D7611780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8:41.045" v="25775"/>
          <ac:graphicFrameMkLst>
            <pc:docMk/>
            <pc:sldMk cId="1336352168" sldId="277"/>
            <ac:graphicFrameMk id="53" creationId="{3256AB7C-6276-91F7-CB0D-EF1A59C9C15D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28:34.617" v="25360"/>
          <ac:graphicFrameMkLst>
            <pc:docMk/>
            <pc:sldMk cId="1336352168" sldId="277"/>
            <ac:graphicFrameMk id="55" creationId="{BEEFA010-C0A9-228F-4831-1DD94384E4C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8:44.150" v="25914"/>
          <ac:graphicFrameMkLst>
            <pc:docMk/>
            <pc:sldMk cId="1336352168" sldId="277"/>
            <ac:graphicFrameMk id="56" creationId="{E90B03FB-7BD6-8C2B-6A8C-C5D05C4EEAD0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8:44.185" v="25952"/>
          <ac:graphicFrameMkLst>
            <pc:docMk/>
            <pc:sldMk cId="1336352168" sldId="277"/>
            <ac:graphicFrameMk id="59" creationId="{01E09049-64D6-C729-50CA-CF4CA7DEEFCF}"/>
          </ac:graphicFrameMkLst>
        </pc:graphicFrameChg>
        <pc:picChg chg="del mod ord">
          <ac:chgData name="Joelle Brehm" userId="a518f54c-6985-42c0-8041-2bb16a414839" providerId="ADAL" clId="{D2DE92CD-AADB-43BF-8B53-266FBFF8B69D}" dt="2024-02-05T21:28:18.657" v="24810" actId="478"/>
          <ac:picMkLst>
            <pc:docMk/>
            <pc:sldMk cId="1336352168" sldId="277"/>
            <ac:picMk id="10" creationId="{AFEFD02F-5353-AA32-817C-B77565C4918E}"/>
          </ac:picMkLst>
        </pc:picChg>
        <pc:picChg chg="add mod ord">
          <ac:chgData name="Joelle Brehm" userId="a518f54c-6985-42c0-8041-2bb16a414839" providerId="ADAL" clId="{D2DE92CD-AADB-43BF-8B53-266FBFF8B69D}" dt="2024-02-05T21:28:44.175" v="25922"/>
          <ac:picMkLst>
            <pc:docMk/>
            <pc:sldMk cId="1336352168" sldId="277"/>
            <ac:picMk id="31" creationId="{9D1F2F7B-85F0-3CE9-DC96-6AD01395A8DB}"/>
          </ac:picMkLst>
        </pc:picChg>
        <pc:picChg chg="mod ord">
          <ac:chgData name="Joelle Brehm" userId="a518f54c-6985-42c0-8041-2bb16a414839" providerId="ADAL" clId="{D2DE92CD-AADB-43BF-8B53-266FBFF8B69D}" dt="2024-02-05T21:28:44.194" v="25985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28:44.176" v="25926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29:52.908" v="27373"/>
        <pc:sldMkLst>
          <pc:docMk/>
          <pc:sldMk cId="1379386497" sldId="278"/>
        </pc:sldMkLst>
        <pc:spChg chg="mod ord">
          <ac:chgData name="Joelle Brehm" userId="a518f54c-6985-42c0-8041-2bb16a414839" providerId="ADAL" clId="{D2DE92CD-AADB-43BF-8B53-266FBFF8B69D}" dt="2024-02-05T21:29:52.891" v="27367"/>
          <ac:spMkLst>
            <pc:docMk/>
            <pc:sldMk cId="1379386497" sldId="278"/>
            <ac:spMk id="2" creationId="{F45C2660-F634-4943-BD78-279946171050}"/>
          </ac:spMkLst>
        </pc:spChg>
        <pc:spChg chg="add del mod">
          <ac:chgData name="Joelle Brehm" userId="a518f54c-6985-42c0-8041-2bb16a414839" providerId="ADAL" clId="{D2DE92CD-AADB-43BF-8B53-266FBFF8B69D}" dt="2024-02-05T21:29:07.608" v="25996" actId="478"/>
          <ac:spMkLst>
            <pc:docMk/>
            <pc:sldMk cId="1379386497" sldId="278"/>
            <ac:spMk id="3" creationId="{8BED24E7-2CB1-4720-16F0-E3AC4B0F92F3}"/>
          </ac:spMkLst>
        </pc:spChg>
        <pc:spChg chg="add del mod modVis">
          <ac:chgData name="Joelle Brehm" userId="a518f54c-6985-42c0-8041-2bb16a414839" providerId="ADAL" clId="{D2DE92CD-AADB-43BF-8B53-266FBFF8B69D}" dt="2024-02-05T21:29:18.295" v="26217"/>
          <ac:spMkLst>
            <pc:docMk/>
            <pc:sldMk cId="1379386497" sldId="278"/>
            <ac:spMk id="5" creationId="{40E85A21-E4A5-5F23-C8A2-4A233DFDE884}"/>
          </ac:spMkLst>
        </pc:spChg>
        <pc:spChg chg="mod ord">
          <ac:chgData name="Joelle Brehm" userId="a518f54c-6985-42c0-8041-2bb16a414839" providerId="ADAL" clId="{D2DE92CD-AADB-43BF-8B53-266FBFF8B69D}" dt="2024-02-05T21:29:52.872" v="27302"/>
          <ac:spMkLst>
            <pc:docMk/>
            <pc:sldMk cId="1379386497" sldId="278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D2DE92CD-AADB-43BF-8B53-266FBFF8B69D}" dt="2024-02-05T21:29:39.903" v="26500"/>
          <ac:spMkLst>
            <pc:docMk/>
            <pc:sldMk cId="1379386497" sldId="278"/>
            <ac:spMk id="10" creationId="{2B14B32E-307D-8166-28C9-1FED7CE94DFB}"/>
          </ac:spMkLst>
        </pc:spChg>
        <pc:spChg chg="mod">
          <ac:chgData name="Joelle Brehm" userId="a518f54c-6985-42c0-8041-2bb16a414839" providerId="ADAL" clId="{D2DE92CD-AADB-43BF-8B53-266FBFF8B69D}" dt="2024-02-05T21:29:52.875" v="27313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29:52.874" v="27309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29:52.874" v="27310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29:52.874" v="27307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29:52.874" v="27308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29:52.875" v="27311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29:52.875" v="27312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29:52.875" v="27314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29:52.876" v="27315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29:52.876" v="27316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29:52.876" v="27317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29:52.877" v="27318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29:52.877" v="27320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29:52.878" v="27321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29:52.878" v="27323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29:52.878" v="27322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29:52.879" v="27325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29:52.879" v="27326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29:52.879" v="27324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29:52.880" v="27328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29:52.882" v="27331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D2DE92CD-AADB-43BF-8B53-266FBFF8B69D}" dt="2024-02-05T21:29:52.884" v="27339"/>
          <ac:spMkLst>
            <pc:docMk/>
            <pc:sldMk cId="1379386497" sldId="278"/>
            <ac:spMk id="33" creationId="{D9441170-0215-A7D1-2B94-1AA18159DA2E}"/>
          </ac:spMkLst>
        </pc:spChg>
        <pc:spChg chg="add mod replST">
          <ac:chgData name="Joelle Brehm" userId="a518f54c-6985-42c0-8041-2bb16a414839" providerId="ADAL" clId="{D2DE92CD-AADB-43BF-8B53-266FBFF8B69D}" dt="2024-02-05T21:29:52.885" v="27342"/>
          <ac:spMkLst>
            <pc:docMk/>
            <pc:sldMk cId="1379386497" sldId="278"/>
            <ac:spMk id="34" creationId="{EA2B09D6-B9E2-E57B-C9D8-F46E7FE20D58}"/>
          </ac:spMkLst>
        </pc:spChg>
        <pc:spChg chg="add del mod modVis">
          <ac:chgData name="Joelle Brehm" userId="a518f54c-6985-42c0-8041-2bb16a414839" providerId="ADAL" clId="{D2DE92CD-AADB-43BF-8B53-266FBFF8B69D}" dt="2024-02-05T21:29:45.176" v="26858"/>
          <ac:spMkLst>
            <pc:docMk/>
            <pc:sldMk cId="1379386497" sldId="278"/>
            <ac:spMk id="36" creationId="{40D0E4B0-A009-149C-A7BB-1E676EF1BA62}"/>
          </ac:spMkLst>
        </pc:spChg>
        <pc:spChg chg="del mod">
          <ac:chgData name="Joelle Brehm" userId="a518f54c-6985-42c0-8041-2bb16a414839" providerId="ADAL" clId="{D2DE92CD-AADB-43BF-8B53-266FBFF8B69D}" dt="2024-02-05T21:29:49.283" v="27071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D2DE92CD-AADB-43BF-8B53-266FBFF8B69D}" dt="2024-02-05T21:29:52.889" v="27359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D2DE92CD-AADB-43BF-8B53-266FBFF8B69D}" dt="2024-02-05T21:29:52.890" v="27361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D2DE92CD-AADB-43BF-8B53-266FBFF8B69D}" dt="2024-02-05T21:29:52.884" v="27337"/>
          <ac:spMkLst>
            <pc:docMk/>
            <pc:sldMk cId="1379386497" sldId="278"/>
            <ac:spMk id="41" creationId="{2CE2D9E3-933C-589B-9FDF-AD85A36D3F72}"/>
          </ac:spMkLst>
        </pc:spChg>
        <pc:spChg chg="mod">
          <ac:chgData name="Joelle Brehm" userId="a518f54c-6985-42c0-8041-2bb16a414839" providerId="ADAL" clId="{D2DE92CD-AADB-43BF-8B53-266FBFF8B69D}" dt="2024-02-05T21:29:52.884" v="27340"/>
          <ac:spMkLst>
            <pc:docMk/>
            <pc:sldMk cId="1379386497" sldId="278"/>
            <ac:spMk id="42" creationId="{0660EA24-A2FF-39AF-6D53-5A6B463F1F4A}"/>
          </ac:spMkLst>
        </pc:spChg>
        <pc:spChg chg="mod">
          <ac:chgData name="Joelle Brehm" userId="a518f54c-6985-42c0-8041-2bb16a414839" providerId="ADAL" clId="{D2DE92CD-AADB-43BF-8B53-266FBFF8B69D}" dt="2024-02-05T21:29:52.883" v="27335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D2DE92CD-AADB-43BF-8B53-266FBFF8B69D}" dt="2024-02-05T21:29:52.882" v="27333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D2DE92CD-AADB-43BF-8B53-266FBFF8B69D}" dt="2024-02-05T21:29:52.884" v="27338"/>
          <ac:spMkLst>
            <pc:docMk/>
            <pc:sldMk cId="1379386497" sldId="278"/>
            <ac:spMk id="45" creationId="{905B75A0-9675-8F59-A2F9-EC525ACC9D40}"/>
          </ac:spMkLst>
        </pc:spChg>
        <pc:spChg chg="mod">
          <ac:chgData name="Joelle Brehm" userId="a518f54c-6985-42c0-8041-2bb16a414839" providerId="ADAL" clId="{D2DE92CD-AADB-43BF-8B53-266FBFF8B69D}" dt="2024-02-05T21:29:52.882" v="27332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D2DE92CD-AADB-43BF-8B53-266FBFF8B69D}" dt="2024-02-05T21:29:52.883" v="27336"/>
          <ac:spMkLst>
            <pc:docMk/>
            <pc:sldMk cId="1379386497" sldId="278"/>
            <ac:spMk id="47" creationId="{6057FFE7-9F54-EBDD-8215-FE17C631267E}"/>
          </ac:spMkLst>
        </pc:spChg>
        <pc:spChg chg="add del mod modVis">
          <ac:chgData name="Joelle Brehm" userId="a518f54c-6985-42c0-8041-2bb16a414839" providerId="ADAL" clId="{D2DE92CD-AADB-43BF-8B53-266FBFF8B69D}" dt="2024-02-05T21:29:47.718" v="27068"/>
          <ac:spMkLst>
            <pc:docMk/>
            <pc:sldMk cId="1379386497" sldId="278"/>
            <ac:spMk id="49" creationId="{821DA9FB-FC26-60F6-1F3F-3915CEBAE09B}"/>
          </ac:spMkLst>
        </pc:spChg>
        <pc:spChg chg="add del mod ord replST">
          <ac:chgData name="Joelle Brehm" userId="a518f54c-6985-42c0-8041-2bb16a414839" providerId="ADAL" clId="{D2DE92CD-AADB-43BF-8B53-266FBFF8B69D}" dt="2024-02-05T21:29:49.376" v="27162"/>
          <ac:spMkLst>
            <pc:docMk/>
            <pc:sldMk cId="1379386497" sldId="278"/>
            <ac:spMk id="51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9:52.885" v="27341"/>
          <ac:spMkLst>
            <pc:docMk/>
            <pc:sldMk cId="1379386497" sldId="278"/>
            <ac:spMk id="52" creationId="{5F99AA82-A56C-0B31-0714-9B89A2D90005}"/>
          </ac:spMkLst>
        </pc:spChg>
        <pc:spChg chg="add del mod modVis">
          <ac:chgData name="Joelle Brehm" userId="a518f54c-6985-42c0-8041-2bb16a414839" providerId="ADAL" clId="{D2DE92CD-AADB-43BF-8B53-266FBFF8B69D}" dt="2024-02-05T21:29:49.439" v="27243"/>
          <ac:spMkLst>
            <pc:docMk/>
            <pc:sldMk cId="1379386497" sldId="278"/>
            <ac:spMk id="54" creationId="{84997E1D-4F86-7CF1-5A76-B3EE71881D97}"/>
          </ac:spMkLst>
        </pc:spChg>
        <pc:spChg chg="add del mod modVis">
          <ac:chgData name="Joelle Brehm" userId="a518f54c-6985-42c0-8041-2bb16a414839" providerId="ADAL" clId="{D2DE92CD-AADB-43BF-8B53-266FBFF8B69D}" dt="2024-02-05T21:29:52.893" v="27371"/>
          <ac:spMkLst>
            <pc:docMk/>
            <pc:sldMk cId="1379386497" sldId="278"/>
            <ac:spMk id="56" creationId="{64922FA5-F17B-C4D0-EA0C-37B9DFC00ACC}"/>
          </ac:spMkLst>
        </pc:spChg>
        <pc:spChg chg="mod ord">
          <ac:chgData name="Joelle Brehm" userId="a518f54c-6985-42c0-8041-2bb16a414839" providerId="ADAL" clId="{D2DE92CD-AADB-43BF-8B53-266FBFF8B69D}" dt="2024-02-05T21:29:52.891" v="27365"/>
          <ac:spMkLst>
            <pc:docMk/>
            <pc:sldMk cId="1379386497" sldId="278"/>
            <ac:spMk id="58" creationId="{78B81F80-FD88-43AD-B1EA-9D49D321CFA2}"/>
          </ac:spMkLst>
        </pc:spChg>
        <pc:spChg chg="mod">
          <ac:chgData name="Joelle Brehm" userId="a518f54c-6985-42c0-8041-2bb16a414839" providerId="ADAL" clId="{D2DE92CD-AADB-43BF-8B53-266FBFF8B69D}" dt="2024-02-05T21:29:52.883" v="27334"/>
          <ac:spMkLst>
            <pc:docMk/>
            <pc:sldMk cId="1379386497" sldId="278"/>
            <ac:spMk id="60" creationId="{2B15A064-F539-2DBC-4751-EC9AD27E414F}"/>
          </ac:spMkLst>
        </pc:spChg>
        <pc:spChg chg="mod ord">
          <ac:chgData name="Joelle Brehm" userId="a518f54c-6985-42c0-8041-2bb16a414839" providerId="ADAL" clId="{D2DE92CD-AADB-43BF-8B53-266FBFF8B69D}" dt="2024-02-05T21:29:52.885" v="27344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29:52.886" v="27346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29:52.886" v="27348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29:52.887" v="27350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29:52.887" v="27352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29:52.888" v="27354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29:52.889" v="27357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9:52.889" v="27358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29:52.889" v="27360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D2DE92CD-AADB-43BF-8B53-266FBFF8B69D}" dt="2024-02-05T21:29:52.908" v="27373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9:52.873" v="27306"/>
          <ac:graphicFrameMkLst>
            <pc:docMk/>
            <pc:sldMk cId="1379386497" sldId="278"/>
            <ac:graphicFrameMk id="8" creationId="{53948825-A540-C8F3-F95E-8F657CEB328A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9:52.888" v="27356"/>
          <ac:graphicFrameMkLst>
            <pc:docMk/>
            <pc:sldMk cId="1379386497" sldId="278"/>
            <ac:graphicFrameMk id="31" creationId="{BD7E31A6-CF8C-02C9-DA86-E5334BB9342C}"/>
          </ac:graphicFrameMkLst>
        </pc:graphicFrameChg>
        <pc:graphicFrameChg chg="del">
          <ac:chgData name="Joelle Brehm" userId="a518f54c-6985-42c0-8041-2bb16a414839" providerId="ADAL" clId="{D2DE92CD-AADB-43BF-8B53-266FBFF8B69D}" dt="2024-02-05T21:29:18.222" v="26132"/>
          <ac:graphicFrameMkLst>
            <pc:docMk/>
            <pc:sldMk cId="1379386497" sldId="278"/>
            <ac:graphicFrameMk id="35" creationId="{FC432924-5C45-EF3D-6C29-5D181AA3BDDD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9:47.637" v="26977"/>
          <ac:graphicFrameMkLst>
            <pc:docMk/>
            <pc:sldMk cId="1379386497" sldId="278"/>
            <ac:graphicFrameMk id="40" creationId="{EABB9448-13E8-C48C-6986-C252B0273C0D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29:39.819" v="26421"/>
          <ac:graphicFrameMkLst>
            <pc:docMk/>
            <pc:sldMk cId="1379386497" sldId="278"/>
            <ac:graphicFrameMk id="50" creationId="{C3910534-788F-1064-FF99-A3A2BF9B9E6C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9:49.377" v="27164"/>
          <ac:graphicFrameMkLst>
            <pc:docMk/>
            <pc:sldMk cId="1379386497" sldId="278"/>
            <ac:graphicFrameMk id="53" creationId="{FB9D4303-F808-936E-55EC-5D18837B78F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29:52.849" v="27292"/>
          <ac:graphicFrameMkLst>
            <pc:docMk/>
            <pc:sldMk cId="1379386497" sldId="278"/>
            <ac:graphicFrameMk id="55" creationId="{490A01B3-8630-D948-1CCD-96136188911B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29:52.881" v="27330"/>
          <ac:graphicFrameMkLst>
            <pc:docMk/>
            <pc:sldMk cId="1379386497" sldId="278"/>
            <ac:graphicFrameMk id="57" creationId="{CF40A79B-91B8-28E9-CB15-41BB6EE601F0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29:45.108" v="26774"/>
          <ac:graphicFrameMkLst>
            <pc:docMk/>
            <pc:sldMk cId="1379386497" sldId="278"/>
            <ac:graphicFrameMk id="64" creationId="{E614F9F4-CDE6-6BE9-A987-CB019FAA678B}"/>
          </ac:graphicFrameMkLst>
        </pc:graphicFrameChg>
        <pc:picChg chg="add mod ord">
          <ac:chgData name="Joelle Brehm" userId="a518f54c-6985-42c0-8041-2bb16a414839" providerId="ADAL" clId="{D2DE92CD-AADB-43BF-8B53-266FBFF8B69D}" dt="2024-02-05T21:29:52.872" v="27300"/>
          <ac:picMkLst>
            <pc:docMk/>
            <pc:sldMk cId="1379386497" sldId="278"/>
            <ac:picMk id="9" creationId="{0E27C40A-850A-9A59-F15E-C97A6AA75F7E}"/>
          </ac:picMkLst>
        </pc:picChg>
        <pc:picChg chg="del mod ord">
          <ac:chgData name="Joelle Brehm" userId="a518f54c-6985-42c0-8041-2bb16a414839" providerId="ADAL" clId="{D2DE92CD-AADB-43BF-8B53-266FBFF8B69D}" dt="2024-02-05T21:29:32.934" v="26304" actId="478"/>
          <ac:picMkLst>
            <pc:docMk/>
            <pc:sldMk cId="1379386497" sldId="278"/>
            <ac:picMk id="48" creationId="{22121B5A-FE1C-4BC1-6DD4-02D635B2102A}"/>
          </ac:picMkLst>
        </pc:picChg>
        <pc:picChg chg="mod ord">
          <ac:chgData name="Joelle Brehm" userId="a518f54c-6985-42c0-8041-2bb16a414839" providerId="ADAL" clId="{D2DE92CD-AADB-43BF-8B53-266FBFF8B69D}" dt="2024-02-05T21:29:52.890" v="27363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29:52.873" v="27304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30:48.846" v="28825"/>
        <pc:sldMkLst>
          <pc:docMk/>
          <pc:sldMk cId="1917659360" sldId="279"/>
        </pc:sldMkLst>
        <pc:spChg chg="add del mod">
          <ac:chgData name="Joelle Brehm" userId="a518f54c-6985-42c0-8041-2bb16a414839" providerId="ADAL" clId="{D2DE92CD-AADB-43BF-8B53-266FBFF8B69D}" dt="2024-02-05T21:30:01.993" v="27374" actId="478"/>
          <ac:spMkLst>
            <pc:docMk/>
            <pc:sldMk cId="1917659360" sldId="279"/>
            <ac:spMk id="2" creationId="{A6A03F15-016D-D317-5870-39915B2DE043}"/>
          </ac:spMkLst>
        </pc:spChg>
        <pc:spChg chg="mod ord">
          <ac:chgData name="Joelle Brehm" userId="a518f54c-6985-42c0-8041-2bb16a414839" providerId="ADAL" clId="{D2DE92CD-AADB-43BF-8B53-266FBFF8B69D}" dt="2024-02-05T21:30:48.830" v="28819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D2DE92CD-AADB-43BF-8B53-266FBFF8B69D}" dt="2024-02-05T21:30:14.434" v="27589"/>
          <ac:spMkLst>
            <pc:docMk/>
            <pc:sldMk cId="1917659360" sldId="279"/>
            <ac:spMk id="5" creationId="{735B0993-23F5-5DEA-BA5B-F0C0E8B19EA2}"/>
          </ac:spMkLst>
        </pc:spChg>
        <pc:spChg chg="mod ord">
          <ac:chgData name="Joelle Brehm" userId="a518f54c-6985-42c0-8041-2bb16a414839" providerId="ADAL" clId="{D2DE92CD-AADB-43BF-8B53-266FBFF8B69D}" dt="2024-02-05T21:30:48.809" v="28754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30:48.817" v="28783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D2DE92CD-AADB-43BF-8B53-266FBFF8B69D}" dt="2024-02-05T21:30:48.813" v="28765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30:48.811" v="28761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30:48.812" v="28762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30:48.811" v="28759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30:48.811" v="28760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30:48.812" v="28763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30:48.812" v="28764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30:48.813" v="28766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30:48.813" v="28767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30:48.813" v="28768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30:48.813" v="28769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30:48.814" v="28770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30:48.814" v="28772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30:48.815" v="28773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30:48.815" v="28775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30:48.815" v="28774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30:48.816" v="28777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30:48.816" v="28778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30:48.816" v="28776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30:48.817" v="28780"/>
          <ac:spMkLst>
            <pc:docMk/>
            <pc:sldMk cId="1917659360" sldId="279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D2DE92CD-AADB-43BF-8B53-266FBFF8B69D}" dt="2024-02-05T21:30:36.448" v="27885"/>
          <ac:spMkLst>
            <pc:docMk/>
            <pc:sldMk cId="1917659360" sldId="279"/>
            <ac:spMk id="31" creationId="{786248AB-83A2-E634-1AD8-06044F98798C}"/>
          </ac:spMkLst>
        </pc:spChg>
        <pc:spChg chg="mod">
          <ac:chgData name="Joelle Brehm" userId="a518f54c-6985-42c0-8041-2bb16a414839" providerId="ADAL" clId="{D2DE92CD-AADB-43BF-8B53-266FBFF8B69D}" dt="2024-02-05T21:30:48.820" v="28791"/>
          <ac:spMkLst>
            <pc:docMk/>
            <pc:sldMk cId="1917659360" sldId="279"/>
            <ac:spMk id="33" creationId="{5E0420EB-DE56-49B0-A849-5880286E1551}"/>
          </ac:spMkLst>
        </pc:spChg>
        <pc:spChg chg="add mod replST">
          <ac:chgData name="Joelle Brehm" userId="a518f54c-6985-42c0-8041-2bb16a414839" providerId="ADAL" clId="{D2DE92CD-AADB-43BF-8B53-266FBFF8B69D}" dt="2024-02-05T21:30:48.821" v="28794"/>
          <ac:spMkLst>
            <pc:docMk/>
            <pc:sldMk cId="1917659360" sldId="279"/>
            <ac:spMk id="37" creationId="{96F8B877-95CC-EC95-D7ED-C1509F06C966}"/>
          </ac:spMkLst>
        </pc:spChg>
        <pc:spChg chg="mod">
          <ac:chgData name="Joelle Brehm" userId="a518f54c-6985-42c0-8041-2bb16a414839" providerId="ADAL" clId="{D2DE92CD-AADB-43BF-8B53-266FBFF8B69D}" dt="2024-02-05T21:30:48.818" v="28785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D2DE92CD-AADB-43BF-8B53-266FBFF8B69D}" dt="2024-02-05T21:30:48.820" v="28792"/>
          <ac:spMkLst>
            <pc:docMk/>
            <pc:sldMk cId="1917659360" sldId="279"/>
            <ac:spMk id="39" creationId="{D6233669-6C61-F88A-CA74-14C4A4F6BEAC}"/>
          </ac:spMkLst>
        </pc:spChg>
        <pc:spChg chg="mod">
          <ac:chgData name="Joelle Brehm" userId="a518f54c-6985-42c0-8041-2bb16a414839" providerId="ADAL" clId="{D2DE92CD-AADB-43BF-8B53-266FBFF8B69D}" dt="2024-02-05T21:30:48.818" v="28784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D2DE92CD-AADB-43BF-8B53-266FBFF8B69D}" dt="2024-02-05T21:30:48.819" v="28790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D2DE92CD-AADB-43BF-8B53-266FBFF8B69D}" dt="2024-02-05T21:30:48.819" v="28788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D2DE92CD-AADB-43BF-8B53-266FBFF8B69D}" dt="2024-02-05T21:30:48.819" v="28789"/>
          <ac:spMkLst>
            <pc:docMk/>
            <pc:sldMk cId="1917659360" sldId="279"/>
            <ac:spMk id="43" creationId="{BBDFBA71-A567-2AC1-EC82-8D2F9B910F5F}"/>
          </ac:spMkLst>
        </pc:spChg>
        <pc:spChg chg="del mod">
          <ac:chgData name="Joelle Brehm" userId="a518f54c-6985-42c0-8041-2bb16a414839" providerId="ADAL" clId="{D2DE92CD-AADB-43BF-8B53-266FBFF8B69D}" dt="2024-02-05T21:30:48.701" v="28648"/>
          <ac:spMkLst>
            <pc:docMk/>
            <pc:sldMk cId="1917659360" sldId="279"/>
            <ac:spMk id="44" creationId="{6D0C749E-E8C8-88F8-DDE8-851FCBBEB3E2}"/>
          </ac:spMkLst>
        </pc:spChg>
        <pc:spChg chg="add del mod modVis">
          <ac:chgData name="Joelle Brehm" userId="a518f54c-6985-42c0-8041-2bb16a414839" providerId="ADAL" clId="{D2DE92CD-AADB-43BF-8B53-266FBFF8B69D}" dt="2024-02-05T21:30:45.476" v="28476"/>
          <ac:spMkLst>
            <pc:docMk/>
            <pc:sldMk cId="1917659360" sldId="279"/>
            <ac:spMk id="45" creationId="{EAF945A3-26E7-00AC-F80A-3D042A3AD11D}"/>
          </ac:spMkLst>
        </pc:spChg>
        <pc:spChg chg="mod">
          <ac:chgData name="Joelle Brehm" userId="a518f54c-6985-42c0-8041-2bb16a414839" providerId="ADAL" clId="{D2DE92CD-AADB-43BF-8B53-266FBFF8B69D}" dt="2024-02-05T21:30:48.818" v="28786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D2DE92CD-AADB-43BF-8B53-266FBFF8B69D}" dt="2024-02-05T21:30:48.818" v="28787"/>
          <ac:spMkLst>
            <pc:docMk/>
            <pc:sldMk cId="1917659360" sldId="279"/>
            <ac:spMk id="47" creationId="{698A62C7-0861-3196-719C-E48F5560BE43}"/>
          </ac:spMkLst>
        </pc:spChg>
        <pc:spChg chg="mod">
          <ac:chgData name="Joelle Brehm" userId="a518f54c-6985-42c0-8041-2bb16a414839" providerId="ADAL" clId="{D2DE92CD-AADB-43BF-8B53-266FBFF8B69D}" dt="2024-02-05T21:30:48.821" v="28793"/>
          <ac:spMkLst>
            <pc:docMk/>
            <pc:sldMk cId="1917659360" sldId="279"/>
            <ac:spMk id="51" creationId="{11756A47-3371-3050-1674-DA5C63D5DA78}"/>
          </ac:spMkLst>
        </pc:spChg>
        <pc:spChg chg="add del mod modVis">
          <ac:chgData name="Joelle Brehm" userId="a518f54c-6985-42c0-8041-2bb16a414839" providerId="ADAL" clId="{D2DE92CD-AADB-43BF-8B53-266FBFF8B69D}" dt="2024-02-05T21:30:46.945" v="28645"/>
          <ac:spMkLst>
            <pc:docMk/>
            <pc:sldMk cId="1917659360" sldId="279"/>
            <ac:spMk id="52" creationId="{3EBB5103-2A5D-60A7-09DA-194AD0D0A377}"/>
          </ac:spMkLst>
        </pc:spChg>
        <pc:spChg chg="add del mod modVis">
          <ac:chgData name="Joelle Brehm" userId="a518f54c-6985-42c0-8041-2bb16a414839" providerId="ADAL" clId="{D2DE92CD-AADB-43BF-8B53-266FBFF8B69D}" dt="2024-02-05T21:30:48.831" v="28823"/>
          <ac:spMkLst>
            <pc:docMk/>
            <pc:sldMk cId="1917659360" sldId="279"/>
            <ac:spMk id="54" creationId="{0F3B1308-B4B2-A9D2-B2E3-F2972732AC45}"/>
          </ac:spMkLst>
        </pc:spChg>
        <pc:spChg chg="mod ord">
          <ac:chgData name="Joelle Brehm" userId="a518f54c-6985-42c0-8041-2bb16a414839" providerId="ADAL" clId="{D2DE92CD-AADB-43BF-8B53-266FBFF8B69D}" dt="2024-02-05T21:30:48.830" v="28817"/>
          <ac:spMkLst>
            <pc:docMk/>
            <pc:sldMk cId="1917659360" sldId="279"/>
            <ac:spMk id="58" creationId="{C2B29D16-5A5D-43B3-B972-0B57287E081A}"/>
          </ac:spMkLst>
        </pc:spChg>
        <pc:spChg chg="mod ord">
          <ac:chgData name="Joelle Brehm" userId="a518f54c-6985-42c0-8041-2bb16a414839" providerId="ADAL" clId="{D2DE92CD-AADB-43BF-8B53-266FBFF8B69D}" dt="2024-02-05T21:30:48.822" v="28796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30:48.823" v="28798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30:48.824" v="28800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30:48.825" v="28802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30:48.826" v="28804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30:48.826" v="28806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30:48.827" v="28809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30:48.827" v="28810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30:48.828" v="28811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30:48.828" v="28812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30:48.828" v="28813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30:48.846" v="28825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30:48.810" v="28758"/>
          <ac:graphicFrameMkLst>
            <pc:docMk/>
            <pc:sldMk cId="1917659360" sldId="279"/>
            <ac:graphicFrameMk id="8" creationId="{F914EA3C-6324-85D8-60F6-9FF51101586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30:39.016" v="27907"/>
          <ac:graphicFrameMkLst>
            <pc:docMk/>
            <pc:sldMk cId="1917659360" sldId="279"/>
            <ac:graphicFrameMk id="32" creationId="{370425A7-954D-66D7-63D6-8606D39E7975}"/>
          </ac:graphicFrameMkLst>
        </pc:graphicFrameChg>
        <pc:graphicFrameChg chg="del">
          <ac:chgData name="Joelle Brehm" userId="a518f54c-6985-42c0-8041-2bb16a414839" providerId="ADAL" clId="{D2DE92CD-AADB-43BF-8B53-266FBFF8B69D}" dt="2024-02-05T21:30:14.362" v="27508"/>
          <ac:graphicFrameMkLst>
            <pc:docMk/>
            <pc:sldMk cId="1917659360" sldId="279"/>
            <ac:graphicFrameMk id="34" creationId="{9562C001-A8FE-ED17-2023-C24371FC7B5D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30:40.419" v="28006"/>
          <ac:graphicFrameMkLst>
            <pc:docMk/>
            <pc:sldMk cId="1917659360" sldId="279"/>
            <ac:graphicFrameMk id="35" creationId="{CFCDFCAE-4E2D-6B52-CEA6-33D52B7473A9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30:48.827" v="28808"/>
          <ac:graphicFrameMkLst>
            <pc:docMk/>
            <pc:sldMk cId="1917659360" sldId="279"/>
            <ac:graphicFrameMk id="36" creationId="{5516A54D-4551-99C6-E566-88D48B0B30F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30:46.881" v="28554"/>
          <ac:graphicFrameMkLst>
            <pc:docMk/>
            <pc:sldMk cId="1917659360" sldId="279"/>
            <ac:graphicFrameMk id="48" creationId="{E978C583-9A7A-CB9C-8153-860371AC0E2E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30:36.397" v="27806"/>
          <ac:graphicFrameMkLst>
            <pc:docMk/>
            <pc:sldMk cId="1917659360" sldId="279"/>
            <ac:graphicFrameMk id="49" creationId="{A844FD00-D79C-5F12-41F0-72EDA36B409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30:48.780" v="28744"/>
          <ac:graphicFrameMkLst>
            <pc:docMk/>
            <pc:sldMk cId="1917659360" sldId="279"/>
            <ac:graphicFrameMk id="53" creationId="{D72B9025-EBE0-6323-97B0-94ED00C058EF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30:48.817" v="28782"/>
          <ac:graphicFrameMkLst>
            <pc:docMk/>
            <pc:sldMk cId="1917659360" sldId="279"/>
            <ac:graphicFrameMk id="55" creationId="{1BF9EA72-8552-E13E-1414-4A031E33467B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30:45.421" v="28390"/>
          <ac:graphicFrameMkLst>
            <pc:docMk/>
            <pc:sldMk cId="1917659360" sldId="279"/>
            <ac:graphicFrameMk id="57" creationId="{8400E400-46E6-0F52-CA96-91DEF4640BDD}"/>
          </ac:graphicFrameMkLst>
        </pc:graphicFrameChg>
        <pc:picChg chg="add mod ord">
          <ac:chgData name="Joelle Brehm" userId="a518f54c-6985-42c0-8041-2bb16a414839" providerId="ADAL" clId="{D2DE92CD-AADB-43BF-8B53-266FBFF8B69D}" dt="2024-02-05T21:30:48.809" v="28752"/>
          <ac:picMkLst>
            <pc:docMk/>
            <pc:sldMk cId="1917659360" sldId="279"/>
            <ac:picMk id="9" creationId="{59DABA29-E7EC-B91D-9B7B-1B9D64F9E72A}"/>
          </ac:picMkLst>
        </pc:picChg>
        <pc:picChg chg="del mod ord">
          <ac:chgData name="Joelle Brehm" userId="a518f54c-6985-42c0-8041-2bb16a414839" providerId="ADAL" clId="{D2DE92CD-AADB-43BF-8B53-266FBFF8B69D}" dt="2024-02-05T21:30:28.168" v="27691" actId="478"/>
          <ac:picMkLst>
            <pc:docMk/>
            <pc:sldMk cId="1917659360" sldId="279"/>
            <ac:picMk id="50" creationId="{8D2924E1-04CC-BBF4-5391-33B791219A52}"/>
          </ac:picMkLst>
        </pc:picChg>
        <pc:picChg chg="mod ord">
          <ac:chgData name="Joelle Brehm" userId="a518f54c-6985-42c0-8041-2bb16a414839" providerId="ADAL" clId="{D2DE92CD-AADB-43BF-8B53-266FBFF8B69D}" dt="2024-02-05T21:30:48.829" v="28815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30:48.810" v="28756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42:36.198" v="32888"/>
        <pc:sldMkLst>
          <pc:docMk/>
          <pc:sldMk cId="168389892" sldId="281"/>
        </pc:sldMkLst>
        <pc:spChg chg="mod ord">
          <ac:chgData name="Joelle Brehm" userId="a518f54c-6985-42c0-8041-2bb16a414839" providerId="ADAL" clId="{D2DE92CD-AADB-43BF-8B53-266FBFF8B69D}" dt="2024-02-05T21:42:36.182" v="32882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D2DE92CD-AADB-43BF-8B53-266FBFF8B69D}" dt="2024-02-05T21:42:01.280" v="31505" actId="478"/>
          <ac:spMkLst>
            <pc:docMk/>
            <pc:sldMk cId="168389892" sldId="281"/>
            <ac:spMk id="3" creationId="{8A2895EF-4C6F-41E3-EA72-5C24785F554B}"/>
          </ac:spMkLst>
        </pc:spChg>
        <pc:spChg chg="add del mod modVis">
          <ac:chgData name="Joelle Brehm" userId="a518f54c-6985-42c0-8041-2bb16a414839" providerId="ADAL" clId="{D2DE92CD-AADB-43BF-8B53-266FBFF8B69D}" dt="2024-02-05T21:42:04.596" v="31754"/>
          <ac:spMkLst>
            <pc:docMk/>
            <pc:sldMk cId="168389892" sldId="281"/>
            <ac:spMk id="5" creationId="{79C6FD6D-5A2C-64FD-5978-0F6C4320E128}"/>
          </ac:spMkLst>
        </pc:spChg>
        <pc:spChg chg="mod ord">
          <ac:chgData name="Joelle Brehm" userId="a518f54c-6985-42c0-8041-2bb16a414839" providerId="ADAL" clId="{D2DE92CD-AADB-43BF-8B53-266FBFF8B69D}" dt="2024-02-05T21:42:36.144" v="32794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42:36.160" v="32846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D2DE92CD-AADB-43BF-8B53-266FBFF8B69D}" dt="2024-02-05T21:42:36.160" v="32835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D2DE92CD-AADB-43BF-8B53-266FBFF8B69D}" dt="2024-02-05T21:42:36.144" v="32805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42:36.144" v="32801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42:36.144" v="32802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42:36.144" v="32799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42:36.144" v="32800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42:36.144" v="32803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42:36.144" v="32804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42:36.144" v="32806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42:36.144" v="32807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42:36.144" v="32808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42:36.144" v="32809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42:36.144" v="32810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42:36.144" v="32812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42:36.144" v="32815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42:36.144" v="32817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42:36.144" v="32816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42:36.160" v="32820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42:36.160" v="32821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42:36.160" v="32819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42:36.160" v="32823"/>
          <ac:spMkLst>
            <pc:docMk/>
            <pc:sldMk cId="168389892" sldId="281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42:36.171" v="32850"/>
          <ac:spMkLst>
            <pc:docMk/>
            <pc:sldMk cId="168389892" sldId="281"/>
            <ac:spMk id="34" creationId="{0E8E46D7-D2A7-7EA2-D456-4F5AC1475AED}"/>
          </ac:spMkLst>
        </pc:spChg>
        <pc:spChg chg="add del mod modVis">
          <ac:chgData name="Joelle Brehm" userId="a518f54c-6985-42c0-8041-2bb16a414839" providerId="ADAL" clId="{D2DE92CD-AADB-43BF-8B53-266FBFF8B69D}" dt="2024-02-05T21:42:24.999" v="32055"/>
          <ac:spMkLst>
            <pc:docMk/>
            <pc:sldMk cId="168389892" sldId="281"/>
            <ac:spMk id="35" creationId="{2A990F91-68C2-1B4F-8CBB-FDD4515B0B0F}"/>
          </ac:spMkLst>
        </pc:spChg>
        <pc:spChg chg="mod ord">
          <ac:chgData name="Joelle Brehm" userId="a518f54c-6985-42c0-8041-2bb16a414839" providerId="ADAL" clId="{D2DE92CD-AADB-43BF-8B53-266FBFF8B69D}" dt="2024-02-05T21:42:36.144" v="32814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D2DE92CD-AADB-43BF-8B53-266FBFF8B69D}" dt="2024-02-05T21:42:36.160" v="32834"/>
          <ac:spMkLst>
            <pc:docMk/>
            <pc:sldMk cId="168389892" sldId="281"/>
            <ac:spMk id="39" creationId="{2B503E1C-4F05-1772-4CC4-AD21528F44F1}"/>
          </ac:spMkLst>
        </pc:spChg>
        <pc:spChg chg="add mod replST">
          <ac:chgData name="Joelle Brehm" userId="a518f54c-6985-42c0-8041-2bb16a414839" providerId="ADAL" clId="{D2DE92CD-AADB-43BF-8B53-266FBFF8B69D}" dt="2024-02-05T21:42:36.171" v="32855"/>
          <ac:spMkLst>
            <pc:docMk/>
            <pc:sldMk cId="168389892" sldId="281"/>
            <ac:spMk id="40" creationId="{7541989C-2D24-7D6C-C2DA-7AF85BAB9B44}"/>
          </ac:spMkLst>
        </pc:spChg>
        <pc:spChg chg="add del mod modVis">
          <ac:chgData name="Joelle Brehm" userId="a518f54c-6985-42c0-8041-2bb16a414839" providerId="ADAL" clId="{D2DE92CD-AADB-43BF-8B53-266FBFF8B69D}" dt="2024-02-05T21:42:30.902" v="32418"/>
          <ac:spMkLst>
            <pc:docMk/>
            <pc:sldMk cId="168389892" sldId="281"/>
            <ac:spMk id="41" creationId="{ED567443-E1A8-DA50-5934-E754A0CEA28D}"/>
          </ac:spMkLst>
        </pc:spChg>
        <pc:spChg chg="mod">
          <ac:chgData name="Joelle Brehm" userId="a518f54c-6985-42c0-8041-2bb16a414839" providerId="ADAL" clId="{D2DE92CD-AADB-43BF-8B53-266FBFF8B69D}" dt="2024-02-05T21:42:36.171" v="32854"/>
          <ac:spMkLst>
            <pc:docMk/>
            <pc:sldMk cId="168389892" sldId="281"/>
            <ac:spMk id="42" creationId="{B52EB065-62EB-A990-E2D9-9703B327E3FC}"/>
          </ac:spMkLst>
        </pc:spChg>
        <pc:spChg chg="del mod">
          <ac:chgData name="Joelle Brehm" userId="a518f54c-6985-42c0-8041-2bb16a414839" providerId="ADAL" clId="{D2DE92CD-AADB-43BF-8B53-266FBFF8B69D}" dt="2024-02-05T21:42:35.987" v="32640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D2DE92CD-AADB-43BF-8B53-266FBFF8B69D}" dt="2024-02-05T21:42:36.160" v="32827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71" v="32852"/>
          <ac:spMkLst>
            <pc:docMk/>
            <pc:sldMk cId="168389892" sldId="281"/>
            <ac:spMk id="45" creationId="{B489755F-21EB-39D7-16FB-197494E2C1A4}"/>
          </ac:spMkLst>
        </pc:spChg>
        <pc:spChg chg="mod">
          <ac:chgData name="Joelle Brehm" userId="a518f54c-6985-42c0-8041-2bb16a414839" providerId="ADAL" clId="{D2DE92CD-AADB-43BF-8B53-266FBFF8B69D}" dt="2024-02-05T21:42:36.160" v="32849"/>
          <ac:spMkLst>
            <pc:docMk/>
            <pc:sldMk cId="168389892" sldId="281"/>
            <ac:spMk id="46" creationId="{D7E2D47E-9249-E731-F2B0-9D4421FC27B7}"/>
          </ac:spMkLst>
        </pc:spChg>
        <pc:spChg chg="mod">
          <ac:chgData name="Joelle Brehm" userId="a518f54c-6985-42c0-8041-2bb16a414839" providerId="ADAL" clId="{D2DE92CD-AADB-43BF-8B53-266FBFF8B69D}" dt="2024-02-05T21:42:36.171" v="32851"/>
          <ac:spMkLst>
            <pc:docMk/>
            <pc:sldMk cId="168389892" sldId="281"/>
            <ac:spMk id="47" creationId="{C9F7A368-91BD-AFB9-D004-F672E6C15DDD}"/>
          </ac:spMkLst>
        </pc:spChg>
        <pc:spChg chg="del mod">
          <ac:chgData name="Joelle Brehm" userId="a518f54c-6985-42c0-8041-2bb16a414839" providerId="ADAL" clId="{D2DE92CD-AADB-43BF-8B53-266FBFF8B69D}" dt="2024-02-05T21:42:35.987" v="32639"/>
          <ac:spMkLst>
            <pc:docMk/>
            <pc:sldMk cId="168389892" sldId="281"/>
            <ac:spMk id="48" creationId="{D7C724F5-3AF0-C1C4-489C-1D5CE45F0FB0}"/>
          </ac:spMkLst>
        </pc:spChg>
        <pc:spChg chg="mod ord">
          <ac:chgData name="Joelle Brehm" userId="a518f54c-6985-42c0-8041-2bb16a414839" providerId="ADAL" clId="{D2DE92CD-AADB-43BF-8B53-266FBFF8B69D}" dt="2024-02-05T21:42:36.160" v="32845"/>
          <ac:spMkLst>
            <pc:docMk/>
            <pc:sldMk cId="168389892" sldId="281"/>
            <ac:spMk id="49" creationId="{C06AD811-F54D-296F-21A9-ACC2CBDA832A}"/>
          </ac:spMkLst>
        </pc:spChg>
        <pc:spChg chg="mod">
          <ac:chgData name="Joelle Brehm" userId="a518f54c-6985-42c0-8041-2bb16a414839" providerId="ADAL" clId="{D2DE92CD-AADB-43BF-8B53-266FBFF8B69D}" dt="2024-02-05T21:42:36.171" v="32853"/>
          <ac:spMkLst>
            <pc:docMk/>
            <pc:sldMk cId="168389892" sldId="281"/>
            <ac:spMk id="50" creationId="{05A0C844-F372-941D-CC72-DA0AD120D666}"/>
          </ac:spMkLst>
        </pc:spChg>
        <pc:spChg chg="mod">
          <ac:chgData name="Joelle Brehm" userId="a518f54c-6985-42c0-8041-2bb16a414839" providerId="ADAL" clId="{D2DE92CD-AADB-43BF-8B53-266FBFF8B69D}" dt="2024-02-05T21:42:36.160" v="32842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D2DE92CD-AADB-43BF-8B53-266FBFF8B69D}" dt="2024-02-05T21:42:36.160" v="32841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D2DE92CD-AADB-43BF-8B53-266FBFF8B69D}" dt="2024-02-05T21:42:36.160" v="32840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D2DE92CD-AADB-43BF-8B53-266FBFF8B69D}" dt="2024-02-05T21:42:36.160" v="32837"/>
          <ac:spMkLst>
            <pc:docMk/>
            <pc:sldMk cId="168389892" sldId="281"/>
            <ac:spMk id="54" creationId="{622603CE-58AD-807F-F76A-AA9426112C20}"/>
          </ac:spMkLst>
        </pc:spChg>
        <pc:spChg chg="mod">
          <ac:chgData name="Joelle Brehm" userId="a518f54c-6985-42c0-8041-2bb16a414839" providerId="ADAL" clId="{D2DE92CD-AADB-43BF-8B53-266FBFF8B69D}" dt="2024-02-05T21:42:36.160" v="32836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D2DE92CD-AADB-43BF-8B53-266FBFF8B69D}" dt="2024-02-05T21:42:36.160" v="32839"/>
          <ac:spMkLst>
            <pc:docMk/>
            <pc:sldMk cId="168389892" sldId="281"/>
            <ac:spMk id="57" creationId="{C5C40907-46F2-01D7-4DFC-21E722FD6F82}"/>
          </ac:spMkLst>
        </pc:spChg>
        <pc:spChg chg="add mod replST">
          <ac:chgData name="Joelle Brehm" userId="a518f54c-6985-42c0-8041-2bb16a414839" providerId="ADAL" clId="{D2DE92CD-AADB-43BF-8B53-266FBFF8B69D}" dt="2024-02-05T21:42:36.171" v="32856"/>
          <ac:spMkLst>
            <pc:docMk/>
            <pc:sldMk cId="168389892" sldId="281"/>
            <ac:spMk id="58" creationId="{0FB3C4FB-481D-A94A-711B-D751B148E790}"/>
          </ac:spMkLst>
        </pc:spChg>
        <pc:spChg chg="mod">
          <ac:chgData name="Joelle Brehm" userId="a518f54c-6985-42c0-8041-2bb16a414839" providerId="ADAL" clId="{D2DE92CD-AADB-43BF-8B53-266FBFF8B69D}" dt="2024-02-05T21:42:36.171" v="32857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D2DE92CD-AADB-43BF-8B53-266FBFF8B69D}" dt="2024-02-05T21:42:36.160" v="32838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D2DE92CD-AADB-43BF-8B53-266FBFF8B69D}" dt="2024-02-05T21:42:36.160" v="32848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D2DE92CD-AADB-43BF-8B53-266FBFF8B69D}" dt="2024-02-05T21:42:36.160" v="32844"/>
          <ac:spMkLst>
            <pc:docMk/>
            <pc:sldMk cId="168389892" sldId="281"/>
            <ac:spMk id="62" creationId="{DE7D5BF8-193E-8278-7BAE-2D4FE573EB09}"/>
          </ac:spMkLst>
        </pc:spChg>
        <pc:spChg chg="mod">
          <ac:chgData name="Joelle Brehm" userId="a518f54c-6985-42c0-8041-2bb16a414839" providerId="ADAL" clId="{D2DE92CD-AADB-43BF-8B53-266FBFF8B69D}" dt="2024-02-05T21:42:36.160" v="32847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D2DE92CD-AADB-43BF-8B53-266FBFF8B69D}" dt="2024-02-05T21:42:33.856" v="32636"/>
          <ac:spMkLst>
            <pc:docMk/>
            <pc:sldMk cId="168389892" sldId="281"/>
            <ac:spMk id="64" creationId="{D8700707-6084-91C3-BAD6-1D89569CED9A}"/>
          </ac:spMkLst>
        </pc:spChg>
        <pc:spChg chg="add del mod modVis">
          <ac:chgData name="Joelle Brehm" userId="a518f54c-6985-42c0-8041-2bb16a414839" providerId="ADAL" clId="{D2DE92CD-AADB-43BF-8B53-266FBFF8B69D}" dt="2024-02-05T21:42:36.182" v="32886"/>
          <ac:spMkLst>
            <pc:docMk/>
            <pc:sldMk cId="168389892" sldId="281"/>
            <ac:spMk id="66" creationId="{66DD0D30-661D-38E5-7382-E63EFD281CAF}"/>
          </ac:spMkLst>
        </pc:spChg>
        <pc:spChg chg="mod">
          <ac:chgData name="Joelle Brehm" userId="a518f54c-6985-42c0-8041-2bb16a414839" providerId="ADAL" clId="{D2DE92CD-AADB-43BF-8B53-266FBFF8B69D}" dt="2024-02-05T21:42:36.160" v="32843"/>
          <ac:spMkLst>
            <pc:docMk/>
            <pc:sldMk cId="168389892" sldId="281"/>
            <ac:spMk id="67" creationId="{7E34EA90-F698-215B-99E3-B598F96FF491}"/>
          </ac:spMkLst>
        </pc:spChg>
        <pc:spChg chg="mod">
          <ac:chgData name="Joelle Brehm" userId="a518f54c-6985-42c0-8041-2bb16a414839" providerId="ADAL" clId="{D2DE92CD-AADB-43BF-8B53-266FBFF8B69D}" dt="2024-02-05T21:42:36.160" v="32833"/>
          <ac:spMkLst>
            <pc:docMk/>
            <pc:sldMk cId="168389892" sldId="281"/>
            <ac:spMk id="7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60" v="32826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44" v="32818"/>
          <ac:spMkLst>
            <pc:docMk/>
            <pc:sldMk cId="168389892" sldId="281"/>
            <ac:spMk id="74" creationId="{1E5392BC-349C-45B4-8F81-52F83DA74F43}"/>
          </ac:spMkLst>
        </pc:spChg>
        <pc:spChg chg="mod">
          <ac:chgData name="Joelle Brehm" userId="a518f54c-6985-42c0-8041-2bb16a414839" providerId="ADAL" clId="{D2DE92CD-AADB-43BF-8B53-266FBFF8B69D}" dt="2024-02-05T21:42:36.160" v="32828"/>
          <ac:spMkLst>
            <pc:docMk/>
            <pc:sldMk cId="168389892" sldId="281"/>
            <ac:spMk id="7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60" v="32829"/>
          <ac:spMkLst>
            <pc:docMk/>
            <pc:sldMk cId="168389892" sldId="281"/>
            <ac:spMk id="7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60" v="32830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1:42:36.171" v="32859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42:36.171" v="32861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D2DE92CD-AADB-43BF-8B53-266FBFF8B69D}" dt="2024-02-05T21:42:36.160" v="32831"/>
          <ac:spMkLst>
            <pc:docMk/>
            <pc:sldMk cId="168389892" sldId="281"/>
            <ac:spMk id="80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60" v="32832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1:42:36.171" v="32863"/>
          <ac:spMkLst>
            <pc:docMk/>
            <pc:sldMk cId="168389892" sldId="281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42:36.171" v="32865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42:36.171" v="32867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42:36.171" v="32869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42:36.171" v="32872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71" v="32873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71" v="32874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2:36.171" v="32875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42:36.171" v="32876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42:36.198" v="32888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1:42:04.547" v="31646"/>
          <ac:graphicFrameMkLst>
            <pc:docMk/>
            <pc:sldMk cId="168389892" sldId="281"/>
            <ac:graphicFrameMk id="8" creationId="{3F1FA88D-0A7B-8105-BA21-45FF9D15BF72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2:36.144" v="32798"/>
          <ac:graphicFrameMkLst>
            <pc:docMk/>
            <pc:sldMk cId="168389892" sldId="281"/>
            <ac:graphicFrameMk id="32" creationId="{28D11547-2DAB-E4F4-C0FC-D2FCE3E1AF68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2:24.932" v="31953"/>
          <ac:graphicFrameMkLst>
            <pc:docMk/>
            <pc:sldMk cId="168389892" sldId="281"/>
            <ac:graphicFrameMk id="36" creationId="{B79F62E7-8805-1DED-70F1-00CADA7CCB93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2:36.171" v="32871"/>
          <ac:graphicFrameMkLst>
            <pc:docMk/>
            <pc:sldMk cId="168389892" sldId="281"/>
            <ac:graphicFrameMk id="38" creationId="{74F8675A-6F6D-9B34-0E9D-99BC9930BC4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2:33.808" v="32531"/>
          <ac:graphicFrameMkLst>
            <pc:docMk/>
            <pc:sldMk cId="168389892" sldId="281"/>
            <ac:graphicFrameMk id="55" creationId="{B0B733B4-EB60-DF83-A1AC-D8F6D4C5827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2:36.113" v="32784"/>
          <ac:graphicFrameMkLst>
            <pc:docMk/>
            <pc:sldMk cId="168389892" sldId="281"/>
            <ac:graphicFrameMk id="65" creationId="{B82B772F-22C5-7FF0-D90C-E88BAE4D4379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2:36.160" v="32825"/>
          <ac:graphicFrameMkLst>
            <pc:docMk/>
            <pc:sldMk cId="168389892" sldId="281"/>
            <ac:graphicFrameMk id="68" creationId="{8720B5B4-D931-FA98-3503-7DB700403CF7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2:30.860" v="32314"/>
          <ac:graphicFrameMkLst>
            <pc:docMk/>
            <pc:sldMk cId="168389892" sldId="281"/>
            <ac:graphicFrameMk id="71" creationId="{FE32CDFE-675C-681F-F51F-B76D93086D78}"/>
          </ac:graphicFrameMkLst>
        </pc:graphicFrameChg>
        <pc:picChg chg="del mod ord">
          <ac:chgData name="Joelle Brehm" userId="a518f54c-6985-42c0-8041-2bb16a414839" providerId="ADAL" clId="{D2DE92CD-AADB-43BF-8B53-266FBFF8B69D}" dt="2024-02-05T21:42:18.027" v="31863" actId="478"/>
          <ac:picMkLst>
            <pc:docMk/>
            <pc:sldMk cId="168389892" sldId="281"/>
            <ac:picMk id="31" creationId="{AA48CE42-CA3B-8850-BE90-3BEA364C3B14}"/>
          </ac:picMkLst>
        </pc:picChg>
        <pc:picChg chg="add mod ord">
          <ac:chgData name="Joelle Brehm" userId="a518f54c-6985-42c0-8041-2bb16a414839" providerId="ADAL" clId="{D2DE92CD-AADB-43BF-8B53-266FBFF8B69D}" dt="2024-02-05T21:42:36.144" v="32792"/>
          <ac:picMkLst>
            <pc:docMk/>
            <pc:sldMk cId="168389892" sldId="281"/>
            <ac:picMk id="33" creationId="{BD0F2C68-7218-39CD-3E0F-B8721E473296}"/>
          </ac:picMkLst>
        </pc:picChg>
        <pc:picChg chg="mod ord">
          <ac:chgData name="Joelle Brehm" userId="a518f54c-6985-42c0-8041-2bb16a414839" providerId="ADAL" clId="{D2DE92CD-AADB-43BF-8B53-266FBFF8B69D}" dt="2024-02-05T21:42:36.171" v="32880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D2DE92CD-AADB-43BF-8B53-266FBFF8B69D}" dt="2024-02-05T21:42:36.171" v="32878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42:36.144" v="32796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48:20.252" v="34879"/>
        <pc:sldMkLst>
          <pc:docMk/>
          <pc:sldMk cId="3564961532" sldId="282"/>
        </pc:sldMkLst>
        <pc:spChg chg="mod ord">
          <ac:chgData name="Joelle Brehm" userId="a518f54c-6985-42c0-8041-2bb16a414839" providerId="ADAL" clId="{D2DE92CD-AADB-43BF-8B53-266FBFF8B69D}" dt="2024-02-05T21:48:20.236" v="34873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D2DE92CD-AADB-43BF-8B53-266FBFF8B69D}" dt="2024-02-05T21:42:48.897" v="32889" actId="478"/>
          <ac:spMkLst>
            <pc:docMk/>
            <pc:sldMk cId="3564961532" sldId="282"/>
            <ac:spMk id="3" creationId="{6F3B5C63-BA99-1996-EBE9-7BB7C93B4573}"/>
          </ac:spMkLst>
        </pc:spChg>
        <pc:spChg chg="add del mod modVis">
          <ac:chgData name="Joelle Brehm" userId="a518f54c-6985-42c0-8041-2bb16a414839" providerId="ADAL" clId="{D2DE92CD-AADB-43BF-8B53-266FBFF8B69D}" dt="2024-02-05T21:42:52.248" v="33133"/>
          <ac:spMkLst>
            <pc:docMk/>
            <pc:sldMk cId="3564961532" sldId="282"/>
            <ac:spMk id="5" creationId="{3DE8903B-3926-C5AA-3B0B-938DC271CCC6}"/>
          </ac:spMkLst>
        </pc:spChg>
        <pc:spChg chg="mod ord">
          <ac:chgData name="Joelle Brehm" userId="a518f54c-6985-42c0-8041-2bb16a414839" providerId="ADAL" clId="{D2DE92CD-AADB-43BF-8B53-266FBFF8B69D}" dt="2024-02-05T21:48:20.214" v="34786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48:20.214" v="3482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D2DE92CD-AADB-43BF-8B53-266FBFF8B69D}" dt="2024-02-05T21:48:20.214" v="34797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48:20.214" v="34793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48:20.214" v="34794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48:20.214" v="34791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48:20.214" v="34792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48:20.214" v="34795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48:20.214" v="34796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48:20.214" v="34798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48:20.214" v="34799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48:20.214" v="34800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48:20.214" v="34801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48:20.214" v="34802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48:20.214" v="34804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48:20.214" v="34807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48:20.214" v="34809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48:20.214" v="34808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48:20.214" v="34812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48:20.214" v="34813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48:20.214" v="34811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48:20.214" v="34815"/>
          <ac:spMkLst>
            <pc:docMk/>
            <pc:sldMk cId="3564961532" sldId="282"/>
            <ac:spMk id="30" creationId="{121A2A89-FB4E-4B9A-840D-28523B0B457F}"/>
          </ac:spMkLst>
        </pc:spChg>
        <pc:spChg chg="mod ord">
          <ac:chgData name="Joelle Brehm" userId="a518f54c-6985-42c0-8041-2bb16a414839" providerId="ADAL" clId="{D2DE92CD-AADB-43BF-8B53-266FBFF8B69D}" dt="2024-02-05T21:48:20.214" v="34825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D2DE92CD-AADB-43BF-8B53-266FBFF8B69D}" dt="2024-02-05T21:48:20.233" v="34842"/>
          <ac:spMkLst>
            <pc:docMk/>
            <pc:sldMk cId="3564961532" sldId="282"/>
            <ac:spMk id="34" creationId="{5449B49A-6F6A-898A-2D6E-3B98A8E86022}"/>
          </ac:spMkLst>
        </pc:spChg>
        <pc:spChg chg="mod">
          <ac:chgData name="Joelle Brehm" userId="a518f54c-6985-42c0-8041-2bb16a414839" providerId="ADAL" clId="{D2DE92CD-AADB-43BF-8B53-266FBFF8B69D}" dt="2024-02-05T21:48:20.234" v="34846"/>
          <ac:spMkLst>
            <pc:docMk/>
            <pc:sldMk cId="3564961532" sldId="282"/>
            <ac:spMk id="35" creationId="{1817EC5B-9379-1D20-DF3E-54BFCC2A61DC}"/>
          </ac:spMkLst>
        </pc:spChg>
        <pc:spChg chg="add del mod modVis">
          <ac:chgData name="Joelle Brehm" userId="a518f54c-6985-42c0-8041-2bb16a414839" providerId="ADAL" clId="{D2DE92CD-AADB-43BF-8B53-266FBFF8B69D}" dt="2024-02-05T21:47:48.931" v="33442"/>
          <ac:spMkLst>
            <pc:docMk/>
            <pc:sldMk cId="3564961532" sldId="282"/>
            <ac:spMk id="36" creationId="{B82AE818-DCA3-93BA-D25C-59884796F895}"/>
          </ac:spMkLst>
        </pc:spChg>
        <pc:spChg chg="mod ord">
          <ac:chgData name="Joelle Brehm" userId="a518f54c-6985-42c0-8041-2bb16a414839" providerId="ADAL" clId="{D2DE92CD-AADB-43BF-8B53-266FBFF8B69D}" dt="2024-02-05T21:48:20.214" v="34806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D2DE92CD-AADB-43BF-8B53-266FBFF8B69D}" dt="2024-02-05T21:48:20.233" v="34844"/>
          <ac:spMkLst>
            <pc:docMk/>
            <pc:sldMk cId="3564961532" sldId="282"/>
            <ac:spMk id="38" creationId="{CC249A73-3953-259C-3458-D4FAFD8A9D0B}"/>
          </ac:spMkLst>
        </pc:spChg>
        <pc:spChg chg="mod">
          <ac:chgData name="Joelle Brehm" userId="a518f54c-6985-42c0-8041-2bb16a414839" providerId="ADAL" clId="{D2DE92CD-AADB-43BF-8B53-266FBFF8B69D}" dt="2024-02-05T21:48:20.233" v="34843"/>
          <ac:spMkLst>
            <pc:docMk/>
            <pc:sldMk cId="3564961532" sldId="282"/>
            <ac:spMk id="39" creationId="{CEC7EE6E-A856-A6AD-4F8A-2BEBB154E0B8}"/>
          </ac:spMkLst>
        </pc:spChg>
        <pc:spChg chg="mod ord">
          <ac:chgData name="Joelle Brehm" userId="a518f54c-6985-42c0-8041-2bb16a414839" providerId="ADAL" clId="{D2DE92CD-AADB-43BF-8B53-266FBFF8B69D}" dt="2024-02-05T21:48:20.234" v="34845"/>
          <ac:spMkLst>
            <pc:docMk/>
            <pc:sldMk cId="3564961532" sldId="282"/>
            <ac:spMk id="40" creationId="{8BE1E6AE-AB78-C64F-A6DE-9570C6DA172C}"/>
          </ac:spMkLst>
        </pc:spChg>
        <pc:spChg chg="add mod replST">
          <ac:chgData name="Joelle Brehm" userId="a518f54c-6985-42c0-8041-2bb16a414839" providerId="ADAL" clId="{D2DE92CD-AADB-43BF-8B53-266FBFF8B69D}" dt="2024-02-05T21:48:20.234" v="34847"/>
          <ac:spMkLst>
            <pc:docMk/>
            <pc:sldMk cId="3564961532" sldId="282"/>
            <ac:spMk id="42" creationId="{2E0459C3-4123-A318-EFC4-EB93D8840E71}"/>
          </ac:spMkLst>
        </pc:spChg>
        <pc:spChg chg="add mod replST">
          <ac:chgData name="Joelle Brehm" userId="a518f54c-6985-42c0-8041-2bb16a414839" providerId="ADAL" clId="{D2DE92CD-AADB-43BF-8B53-266FBFF8B69D}" dt="2024-02-05T21:48:20.234" v="34848"/>
          <ac:spMkLst>
            <pc:docMk/>
            <pc:sldMk cId="3564961532" sldId="282"/>
            <ac:spMk id="43" creationId="{56265422-1A09-1EDC-EA11-A10E73964C50}"/>
          </ac:spMkLst>
        </pc:spChg>
        <pc:spChg chg="del mod">
          <ac:chgData name="Joelle Brehm" userId="a518f54c-6985-42c0-8041-2bb16a414839" providerId="ADAL" clId="{D2DE92CD-AADB-43BF-8B53-266FBFF8B69D}" dt="2024-02-05T21:47:58.455" v="34049"/>
          <ac:spMkLst>
            <pc:docMk/>
            <pc:sldMk cId="3564961532" sldId="282"/>
            <ac:spMk id="44" creationId="{1F6C7A4E-3741-C604-E97F-BC7B1D2FF004}"/>
          </ac:spMkLst>
        </pc:spChg>
        <pc:spChg chg="del mod">
          <ac:chgData name="Joelle Brehm" userId="a518f54c-6985-42c0-8041-2bb16a414839" providerId="ADAL" clId="{D2DE92CD-AADB-43BF-8B53-266FBFF8B69D}" dt="2024-02-05T21:47:58.455" v="34048"/>
          <ac:spMkLst>
            <pc:docMk/>
            <pc:sldMk cId="3564961532" sldId="282"/>
            <ac:spMk id="45" creationId="{13402A60-D873-7DF2-943A-0976851061CD}"/>
          </ac:spMkLst>
        </pc:spChg>
        <pc:spChg chg="add del mod modVis">
          <ac:chgData name="Joelle Brehm" userId="a518f54c-6985-42c0-8041-2bb16a414839" providerId="ADAL" clId="{D2DE92CD-AADB-43BF-8B53-266FBFF8B69D}" dt="2024-02-05T21:47:55.281" v="33837"/>
          <ac:spMkLst>
            <pc:docMk/>
            <pc:sldMk cId="3564961532" sldId="282"/>
            <ac:spMk id="46" creationId="{CD1A0EEA-5BC9-F63A-6C30-98CEFA06C277}"/>
          </ac:spMkLst>
        </pc:spChg>
        <pc:spChg chg="mod">
          <ac:chgData name="Joelle Brehm" userId="a518f54c-6985-42c0-8041-2bb16a414839" providerId="ADAL" clId="{D2DE92CD-AADB-43BF-8B53-266FBFF8B69D}" dt="2024-02-05T21:48:20.233" v="34841"/>
          <ac:spMkLst>
            <pc:docMk/>
            <pc:sldMk cId="3564961532" sldId="282"/>
            <ac:spMk id="47" creationId="{38F805B2-3D74-F0ED-4C65-55D891954B72}"/>
          </ac:spMkLst>
        </pc:spChg>
        <pc:spChg chg="mod">
          <ac:chgData name="Joelle Brehm" userId="a518f54c-6985-42c0-8041-2bb16a414839" providerId="ADAL" clId="{D2DE92CD-AADB-43BF-8B53-266FBFF8B69D}" dt="2024-02-05T21:48:20.230" v="34834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D2DE92CD-AADB-43BF-8B53-266FBFF8B69D}" dt="2024-02-05T21:48:20.230" v="34833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D2DE92CD-AADB-43BF-8B53-266FBFF8B69D}" dt="2024-02-05T21:48:20.214" v="34828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D2DE92CD-AADB-43BF-8B53-266FBFF8B69D}" dt="2024-02-05T21:48:20.232" v="34838"/>
          <ac:spMkLst>
            <pc:docMk/>
            <pc:sldMk cId="3564961532" sldId="282"/>
            <ac:spMk id="51" creationId="{7D7C884D-D57C-725C-5AC2-3935B0668B1E}"/>
          </ac:spMkLst>
        </pc:spChg>
        <pc:spChg chg="mod">
          <ac:chgData name="Joelle Brehm" userId="a518f54c-6985-42c0-8041-2bb16a414839" providerId="ADAL" clId="{D2DE92CD-AADB-43BF-8B53-266FBFF8B69D}" dt="2024-02-05T21:48:20.214" v="34827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D2DE92CD-AADB-43BF-8B53-266FBFF8B69D}" dt="2024-02-05T21:48:20.214" v="34830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D2DE92CD-AADB-43BF-8B53-266FBFF8B69D}" dt="2024-02-05T21:48:20.232" v="34840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D2DE92CD-AADB-43BF-8B53-266FBFF8B69D}" dt="2024-02-05T21:48:20.231" v="34836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D2DE92CD-AADB-43BF-8B53-266FBFF8B69D}" dt="2024-02-05T21:48:20.214" v="34829"/>
          <ac:spMkLst>
            <pc:docMk/>
            <pc:sldMk cId="3564961532" sldId="282"/>
            <ac:spMk id="56" creationId="{524D0E2B-EC88-5451-10B4-9BAED81D2D7E}"/>
          </ac:spMkLst>
        </pc:spChg>
        <pc:spChg chg="mod">
          <ac:chgData name="Joelle Brehm" userId="a518f54c-6985-42c0-8041-2bb16a414839" providerId="ADAL" clId="{D2DE92CD-AADB-43BF-8B53-266FBFF8B69D}" dt="2024-02-05T21:48:20.231" v="34837"/>
          <ac:spMkLst>
            <pc:docMk/>
            <pc:sldMk cId="3564961532" sldId="282"/>
            <ac:spMk id="57" creationId="{6C3836C5-4B8F-D1FF-D868-DEBFC10CBCF3}"/>
          </ac:spMkLst>
        </pc:spChg>
        <pc:spChg chg="mod">
          <ac:chgData name="Joelle Brehm" userId="a518f54c-6985-42c0-8041-2bb16a414839" providerId="ADAL" clId="{D2DE92CD-AADB-43BF-8B53-266FBFF8B69D}" dt="2024-02-05T21:48:20.232" v="34839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D2DE92CD-AADB-43BF-8B53-266FBFF8B69D}" dt="2024-02-05T21:48:20.231" v="34835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D2DE92CD-AADB-43BF-8B53-266FBFF8B69D}" dt="2024-02-05T21:47:56.646" v="34045"/>
          <ac:spMkLst>
            <pc:docMk/>
            <pc:sldMk cId="3564961532" sldId="282"/>
            <ac:spMk id="61" creationId="{CE8E391E-FCBB-1897-0E8C-D3D7F8005345}"/>
          </ac:spMkLst>
        </pc:spChg>
        <pc:spChg chg="mod">
          <ac:chgData name="Joelle Brehm" userId="a518f54c-6985-42c0-8041-2bb16a414839" providerId="ADAL" clId="{D2DE92CD-AADB-43BF-8B53-266FBFF8B69D}" dt="2024-02-05T21:48:20.214" v="34832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D2DE92CD-AADB-43BF-8B53-266FBFF8B69D}" dt="2024-02-05T21:47:58.641" v="34297"/>
          <ac:spMkLst>
            <pc:docMk/>
            <pc:sldMk cId="3564961532" sldId="282"/>
            <ac:spMk id="64" creationId="{0850FF28-BEB6-8A70-B26A-D153190D0C5C}"/>
          </ac:spMkLst>
        </pc:spChg>
        <pc:spChg chg="mod">
          <ac:chgData name="Joelle Brehm" userId="a518f54c-6985-42c0-8041-2bb16a414839" providerId="ADAL" clId="{D2DE92CD-AADB-43BF-8B53-266FBFF8B69D}" dt="2024-02-05T21:48:20.214" v="34831"/>
          <ac:spMkLst>
            <pc:docMk/>
            <pc:sldMk cId="3564961532" sldId="282"/>
            <ac:spMk id="66" creationId="{C4A33F4F-7FD9-EA78-EDDC-D0E322FB3032}"/>
          </ac:spMkLst>
        </pc:spChg>
        <pc:spChg chg="add del mod modVis">
          <ac:chgData name="Joelle Brehm" userId="a518f54c-6985-42c0-8041-2bb16a414839" providerId="ADAL" clId="{D2DE92CD-AADB-43BF-8B53-266FBFF8B69D}" dt="2024-02-05T21:48:01.303" v="34491"/>
          <ac:spMkLst>
            <pc:docMk/>
            <pc:sldMk cId="3564961532" sldId="282"/>
            <ac:spMk id="67" creationId="{D768342B-4AF7-491A-913A-7845236CE230}"/>
          </ac:spMkLst>
        </pc:spChg>
        <pc:spChg chg="add del mod modVis">
          <ac:chgData name="Joelle Brehm" userId="a518f54c-6985-42c0-8041-2bb16a414839" providerId="ADAL" clId="{D2DE92CD-AADB-43BF-8B53-266FBFF8B69D}" dt="2024-02-05T21:48:05.156" v="34682"/>
          <ac:spMkLst>
            <pc:docMk/>
            <pc:sldMk cId="3564961532" sldId="282"/>
            <ac:spMk id="69" creationId="{3AC528E9-9B75-175C-8BC4-36D0B819ABFE}"/>
          </ac:spMkLst>
        </pc:spChg>
        <pc:spChg chg="add del mod modVis">
          <ac:chgData name="Joelle Brehm" userId="a518f54c-6985-42c0-8041-2bb16a414839" providerId="ADAL" clId="{D2DE92CD-AADB-43BF-8B53-266FBFF8B69D}" dt="2024-02-05T21:48:20.236" v="34877"/>
          <ac:spMkLst>
            <pc:docMk/>
            <pc:sldMk cId="3564961532" sldId="282"/>
            <ac:spMk id="71" creationId="{39D521C2-0151-FEC9-2375-B8FD234A188C}"/>
          </ac:spMkLst>
        </pc:spChg>
        <pc:spChg chg="mod">
          <ac:chgData name="Joelle Brehm" userId="a518f54c-6985-42c0-8041-2bb16a414839" providerId="ADAL" clId="{D2DE92CD-AADB-43BF-8B53-266FBFF8B69D}" dt="2024-02-05T21:48:20.214" v="34810"/>
          <ac:spMkLst>
            <pc:docMk/>
            <pc:sldMk cId="3564961532" sldId="282"/>
            <ac:spMk id="74" creationId="{1E5392BC-349C-45B4-8F81-52F83DA74F43}"/>
          </ac:spMkLst>
        </pc:spChg>
        <pc:spChg chg="mod">
          <ac:chgData name="Joelle Brehm" userId="a518f54c-6985-42c0-8041-2bb16a414839" providerId="ADAL" clId="{D2DE92CD-AADB-43BF-8B53-266FBFF8B69D}" dt="2024-02-05T21:48:20.214" v="34818"/>
          <ac:spMkLst>
            <pc:docMk/>
            <pc:sldMk cId="3564961532" sldId="282"/>
            <ac:spMk id="7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8:20.214" v="34819"/>
          <ac:spMkLst>
            <pc:docMk/>
            <pc:sldMk cId="3564961532" sldId="282"/>
            <ac:spMk id="77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1:48:20.236" v="34850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48:20.236" v="34852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48:20.236" v="34871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D2DE92CD-AADB-43BF-8B53-266FBFF8B69D}" dt="2024-02-05T21:48:20.214" v="34823"/>
          <ac:spMkLst>
            <pc:docMk/>
            <pc:sldMk cId="3564961532" sldId="282"/>
            <ac:spMk id="97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1:48:20.236" v="34854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D2DE92CD-AADB-43BF-8B53-266FBFF8B69D}" dt="2024-02-05T21:48:20.214" v="34821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1:48:20.236" v="34856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48:20.236" v="34858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48:20.236" v="34860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48:20.214" v="34820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8:20.214" v="34822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8:20.214" v="34824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8:20.236" v="34863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8:20.236" v="34864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8:20.236" v="34865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8:20.236" v="34866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48:20.236" v="34867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48:20.252" v="34879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8:20.214" v="34790"/>
          <ac:graphicFrameMkLst>
            <pc:docMk/>
            <pc:sldMk cId="3564961532" sldId="282"/>
            <ac:graphicFrameMk id="8" creationId="{8C5BE696-1508-DE80-A672-6DB9BC7CD7F2}"/>
          </ac:graphicFrameMkLst>
        </pc:graphicFrameChg>
        <pc:graphicFrameChg chg="del">
          <ac:chgData name="Joelle Brehm" userId="a518f54c-6985-42c0-8041-2bb16a414839" providerId="ADAL" clId="{D2DE92CD-AADB-43BF-8B53-266FBFF8B69D}" dt="2024-02-05T21:42:52.186" v="33026"/>
          <ac:graphicFrameMkLst>
            <pc:docMk/>
            <pc:sldMk cId="3564961532" sldId="282"/>
            <ac:graphicFrameMk id="9" creationId="{01FC0747-47A9-FBFA-30E1-591D6CAC4312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8:20.236" v="34862"/>
          <ac:graphicFrameMkLst>
            <pc:docMk/>
            <pc:sldMk cId="3564961532" sldId="282"/>
            <ac:graphicFrameMk id="41" creationId="{6EA819F1-1817-01B7-1DB7-7AF7326D7F4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7:56.582" v="33942"/>
          <ac:graphicFrameMkLst>
            <pc:docMk/>
            <pc:sldMk cId="3564961532" sldId="282"/>
            <ac:graphicFrameMk id="60" creationId="{71D88E52-3686-D682-B393-C33E338C2A1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7:58.583" v="34195"/>
          <ac:graphicFrameMkLst>
            <pc:docMk/>
            <pc:sldMk cId="3564961532" sldId="282"/>
            <ac:graphicFrameMk id="63" creationId="{817500E4-128E-C578-0356-D759ECE420FC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8:01.253" v="34390"/>
          <ac:graphicFrameMkLst>
            <pc:docMk/>
            <pc:sldMk cId="3564961532" sldId="282"/>
            <ac:graphicFrameMk id="65" creationId="{2ADF345C-714F-F33D-87AF-20992BC33EEC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8:05.124" v="34580"/>
          <ac:graphicFrameMkLst>
            <pc:docMk/>
            <pc:sldMk cId="3564961532" sldId="282"/>
            <ac:graphicFrameMk id="68" creationId="{231AC4CA-D993-2E78-1DDE-6CF03D95DAB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8:20.183" v="34776"/>
          <ac:graphicFrameMkLst>
            <pc:docMk/>
            <pc:sldMk cId="3564961532" sldId="282"/>
            <ac:graphicFrameMk id="70" creationId="{F23A8953-9C70-1AD9-5F2F-1039829690D5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8:20.214" v="34817"/>
          <ac:graphicFrameMkLst>
            <pc:docMk/>
            <pc:sldMk cId="3564961532" sldId="282"/>
            <ac:graphicFrameMk id="72" creationId="{349E02FE-2C62-2E5B-CF7E-948ADB1B105A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7:55.233" v="33734"/>
          <ac:graphicFrameMkLst>
            <pc:docMk/>
            <pc:sldMk cId="3564961532" sldId="282"/>
            <ac:graphicFrameMk id="73" creationId="{607F71F1-219D-2ABF-1D4F-926A10A388E5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7:48.894" v="33341"/>
          <ac:graphicFrameMkLst>
            <pc:docMk/>
            <pc:sldMk cId="3564961532" sldId="282"/>
            <ac:graphicFrameMk id="80" creationId="{F53E4046-B1DF-0F2E-54B9-85487AFEE141}"/>
          </ac:graphicFrameMkLst>
        </pc:graphicFrameChg>
        <pc:picChg chg="add mod ord">
          <ac:chgData name="Joelle Brehm" userId="a518f54c-6985-42c0-8041-2bb16a414839" providerId="ADAL" clId="{D2DE92CD-AADB-43BF-8B53-266FBFF8B69D}" dt="2024-02-05T21:48:20.214" v="34784"/>
          <ac:picMkLst>
            <pc:docMk/>
            <pc:sldMk cId="3564961532" sldId="282"/>
            <ac:picMk id="31" creationId="{923D59E3-1DB3-EDEE-4194-9053041E42B8}"/>
          </ac:picMkLst>
        </pc:picChg>
        <pc:picChg chg="del mod ord">
          <ac:chgData name="Joelle Brehm" userId="a518f54c-6985-42c0-8041-2bb16a414839" providerId="ADAL" clId="{D2DE92CD-AADB-43BF-8B53-266FBFF8B69D}" dt="2024-02-05T21:44:40.044" v="33252" actId="478"/>
          <ac:picMkLst>
            <pc:docMk/>
            <pc:sldMk cId="3564961532" sldId="282"/>
            <ac:picMk id="32" creationId="{D8B38AC1-5C9A-926E-F3B3-FC04A27480E6}"/>
          </ac:picMkLst>
        </pc:picChg>
        <pc:picChg chg="mod ord">
          <ac:chgData name="Joelle Brehm" userId="a518f54c-6985-42c0-8041-2bb16a414839" providerId="ADAL" clId="{D2DE92CD-AADB-43BF-8B53-266FBFF8B69D}" dt="2024-02-05T21:48:20.236" v="34869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48:20.214" v="34788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49:04.403" v="36275"/>
        <pc:sldMkLst>
          <pc:docMk/>
          <pc:sldMk cId="2958919186" sldId="284"/>
        </pc:sldMkLst>
        <pc:spChg chg="mod ord">
          <ac:chgData name="Joelle Brehm" userId="a518f54c-6985-42c0-8041-2bb16a414839" providerId="ADAL" clId="{D2DE92CD-AADB-43BF-8B53-266FBFF8B69D}" dt="2024-02-05T21:49:04.370" v="36269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D2DE92CD-AADB-43BF-8B53-266FBFF8B69D}" dt="2024-02-05T21:48:35.286" v="34880" actId="478"/>
          <ac:spMkLst>
            <pc:docMk/>
            <pc:sldMk cId="2958919186" sldId="284"/>
            <ac:spMk id="3" creationId="{CDDF4753-4CFC-ABEB-7557-3087B5BA1C9F}"/>
          </ac:spMkLst>
        </pc:spChg>
        <pc:spChg chg="add del mod modVis">
          <ac:chgData name="Joelle Brehm" userId="a518f54c-6985-42c0-8041-2bb16a414839" providerId="ADAL" clId="{D2DE92CD-AADB-43BF-8B53-266FBFF8B69D}" dt="2024-02-05T21:48:38.070" v="35117"/>
          <ac:spMkLst>
            <pc:docMk/>
            <pc:sldMk cId="2958919186" sldId="284"/>
            <ac:spMk id="5" creationId="{E91946DC-2BF7-BDC6-EAAC-2137BF7109D4}"/>
          </ac:spMkLst>
        </pc:spChg>
        <pc:spChg chg="mod ord">
          <ac:chgData name="Joelle Brehm" userId="a518f54c-6985-42c0-8041-2bb16a414839" providerId="ADAL" clId="{D2DE92CD-AADB-43BF-8B53-266FBFF8B69D}" dt="2024-02-05T21:49:04.347" v="36183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49:04.363" v="36238"/>
          <ac:spMkLst>
            <pc:docMk/>
            <pc:sldMk cId="2958919186" sldId="284"/>
            <ac:spMk id="10" creationId="{9719655D-B1E7-347B-4560-8C174CD823A0}"/>
          </ac:spMkLst>
        </pc:spChg>
        <pc:spChg chg="mod">
          <ac:chgData name="Joelle Brehm" userId="a518f54c-6985-42c0-8041-2bb16a414839" providerId="ADAL" clId="{D2DE92CD-AADB-43BF-8B53-266FBFF8B69D}" dt="2024-02-05T21:49:04.347" v="36194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49:04.347" v="36190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49:04.347" v="36191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49:04.347" v="36188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49:04.347" v="36189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49:04.347" v="36192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49:04.347" v="36193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49:04.347" v="36195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49:04.347" v="36196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49:04.347" v="36197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49:04.347" v="36198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49:04.347" v="36199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49:04.347" v="36201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49:04.347" v="36204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49:04.347" v="36206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49:04.347" v="36205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49:04.347" v="36209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49:04.347" v="36210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49:04.347" v="36208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49:04.347" v="36212"/>
          <ac:spMkLst>
            <pc:docMk/>
            <pc:sldMk cId="2958919186" sldId="284"/>
            <ac:spMk id="30" creationId="{121A2A89-FB4E-4B9A-840D-28523B0B457F}"/>
          </ac:spMkLst>
        </pc:spChg>
        <pc:spChg chg="del mod">
          <ac:chgData name="Joelle Brehm" userId="a518f54c-6985-42c0-8041-2bb16a414839" providerId="ADAL" clId="{D2DE92CD-AADB-43BF-8B53-266FBFF8B69D}" dt="2024-02-05T21:49:04.192" v="36036"/>
          <ac:spMkLst>
            <pc:docMk/>
            <pc:sldMk cId="2958919186" sldId="284"/>
            <ac:spMk id="31" creationId="{125088B1-BC05-E61C-E778-A5953B0A5CC9}"/>
          </ac:spMkLst>
        </pc:spChg>
        <pc:spChg chg="mod">
          <ac:chgData name="Joelle Brehm" userId="a518f54c-6985-42c0-8041-2bb16a414839" providerId="ADAL" clId="{D2DE92CD-AADB-43BF-8B53-266FBFF8B69D}" dt="2024-02-05T21:49:04.363" v="36237"/>
          <ac:spMkLst>
            <pc:docMk/>
            <pc:sldMk cId="2958919186" sldId="284"/>
            <ac:spMk id="32" creationId="{A7F15473-C481-F557-18F4-5334C151E8F4}"/>
          </ac:spMkLst>
        </pc:spChg>
        <pc:spChg chg="del mod">
          <ac:chgData name="Joelle Brehm" userId="a518f54c-6985-42c0-8041-2bb16a414839" providerId="ADAL" clId="{D2DE92CD-AADB-43BF-8B53-266FBFF8B69D}" dt="2024-02-05T21:49:04.192" v="36035"/>
          <ac:spMkLst>
            <pc:docMk/>
            <pc:sldMk cId="2958919186" sldId="284"/>
            <ac:spMk id="33" creationId="{4B94C134-301E-FFE0-B344-351A0F3A058C}"/>
          </ac:spMkLst>
        </pc:spChg>
        <pc:spChg chg="add del mod modVis">
          <ac:chgData name="Joelle Brehm" userId="a518f54c-6985-42c0-8041-2bb16a414839" providerId="ADAL" clId="{D2DE92CD-AADB-43BF-8B53-266FBFF8B69D}" dt="2024-02-05T21:48:55.600" v="35449"/>
          <ac:spMkLst>
            <pc:docMk/>
            <pc:sldMk cId="2958919186" sldId="284"/>
            <ac:spMk id="36" creationId="{4D7AE011-23ED-24D1-0720-909A7E2FC292}"/>
          </ac:spMkLst>
        </pc:spChg>
        <pc:spChg chg="mod ord">
          <ac:chgData name="Joelle Brehm" userId="a518f54c-6985-42c0-8041-2bb16a414839" providerId="ADAL" clId="{D2DE92CD-AADB-43BF-8B53-266FBFF8B69D}" dt="2024-02-05T21:49:04.347" v="36203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D2DE92CD-AADB-43BF-8B53-266FBFF8B69D}" dt="2024-02-05T21:49:04.363" v="36222"/>
          <ac:spMkLst>
            <pc:docMk/>
            <pc:sldMk cId="2958919186" sldId="284"/>
            <ac:spMk id="40" creationId="{65B69A5C-0F9E-A4F4-3815-34C5AD49C7B7}"/>
          </ac:spMkLst>
        </pc:spChg>
        <pc:spChg chg="mod">
          <ac:chgData name="Joelle Brehm" userId="a518f54c-6985-42c0-8041-2bb16a414839" providerId="ADAL" clId="{D2DE92CD-AADB-43BF-8B53-266FBFF8B69D}" dt="2024-02-05T21:49:04.363" v="36221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D2DE92CD-AADB-43BF-8B53-266FBFF8B69D}" dt="2024-02-05T21:49:04.363" v="36234"/>
          <ac:spMkLst>
            <pc:docMk/>
            <pc:sldMk cId="2958919186" sldId="284"/>
            <ac:spMk id="42" creationId="{907D7408-F4BF-634D-C4A3-6AB144A133E9}"/>
          </ac:spMkLst>
        </pc:spChg>
        <pc:spChg chg="mod">
          <ac:chgData name="Joelle Brehm" userId="a518f54c-6985-42c0-8041-2bb16a414839" providerId="ADAL" clId="{D2DE92CD-AADB-43BF-8B53-266FBFF8B69D}" dt="2024-02-05T21:49:04.370" v="36242"/>
          <ac:spMkLst>
            <pc:docMk/>
            <pc:sldMk cId="2958919186" sldId="284"/>
            <ac:spMk id="43" creationId="{AE3E702C-DACE-F774-74FA-59D2669929E7}"/>
          </ac:spMkLst>
        </pc:spChg>
        <pc:spChg chg="mod">
          <ac:chgData name="Joelle Brehm" userId="a518f54c-6985-42c0-8041-2bb16a414839" providerId="ADAL" clId="{D2DE92CD-AADB-43BF-8B53-266FBFF8B69D}" dt="2024-02-05T21:49:04.363" v="36233"/>
          <ac:spMkLst>
            <pc:docMk/>
            <pc:sldMk cId="2958919186" sldId="284"/>
            <ac:spMk id="44" creationId="{77917790-2F42-F887-E684-5C13E341F164}"/>
          </ac:spMkLst>
        </pc:spChg>
        <pc:spChg chg="add mod replST">
          <ac:chgData name="Joelle Brehm" userId="a518f54c-6985-42c0-8041-2bb16a414839" providerId="ADAL" clId="{D2DE92CD-AADB-43BF-8B53-266FBFF8B69D}" dt="2024-02-05T21:49:04.370" v="36243"/>
          <ac:spMkLst>
            <pc:docMk/>
            <pc:sldMk cId="2958919186" sldId="284"/>
            <ac:spMk id="45" creationId="{69B55197-3E95-C76B-28EA-C92C39CE202B}"/>
          </ac:spMkLst>
        </pc:spChg>
        <pc:spChg chg="add mod replST">
          <ac:chgData name="Joelle Brehm" userId="a518f54c-6985-42c0-8041-2bb16a414839" providerId="ADAL" clId="{D2DE92CD-AADB-43BF-8B53-266FBFF8B69D}" dt="2024-02-05T21:49:04.370" v="36244"/>
          <ac:spMkLst>
            <pc:docMk/>
            <pc:sldMk cId="2958919186" sldId="284"/>
            <ac:spMk id="46" creationId="{11FBAC96-1BE5-4DA8-D741-A6923EFB5B15}"/>
          </ac:spMkLst>
        </pc:spChg>
        <pc:spChg chg="mod">
          <ac:chgData name="Joelle Brehm" userId="a518f54c-6985-42c0-8041-2bb16a414839" providerId="ADAL" clId="{D2DE92CD-AADB-43BF-8B53-266FBFF8B69D}" dt="2024-02-05T21:49:04.363" v="36229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D2DE92CD-AADB-43BF-8B53-266FBFF8B69D}" dt="2024-02-05T21:49:04.363" v="36236"/>
          <ac:spMkLst>
            <pc:docMk/>
            <pc:sldMk cId="2958919186" sldId="284"/>
            <ac:spMk id="48" creationId="{5D20D0D7-37CC-29AE-8F09-41EE1C3042D6}"/>
          </ac:spMkLst>
        </pc:spChg>
        <pc:spChg chg="mod">
          <ac:chgData name="Joelle Brehm" userId="a518f54c-6985-42c0-8041-2bb16a414839" providerId="ADAL" clId="{D2DE92CD-AADB-43BF-8B53-266FBFF8B69D}" dt="2024-02-05T21:49:04.370" v="36240"/>
          <ac:spMkLst>
            <pc:docMk/>
            <pc:sldMk cId="2958919186" sldId="284"/>
            <ac:spMk id="49" creationId="{CB11A0CB-368B-A60B-EDC1-4AB20B197FE5}"/>
          </ac:spMkLst>
        </pc:spChg>
        <pc:spChg chg="mod">
          <ac:chgData name="Joelle Brehm" userId="a518f54c-6985-42c0-8041-2bb16a414839" providerId="ADAL" clId="{D2DE92CD-AADB-43BF-8B53-266FBFF8B69D}" dt="2024-02-05T21:49:04.363" v="36239"/>
          <ac:spMkLst>
            <pc:docMk/>
            <pc:sldMk cId="2958919186" sldId="284"/>
            <ac:spMk id="50" creationId="{2C405B0B-A40D-DA13-F823-C48F9BB223C3}"/>
          </ac:spMkLst>
        </pc:spChg>
        <pc:spChg chg="mod">
          <ac:chgData name="Joelle Brehm" userId="a518f54c-6985-42c0-8041-2bb16a414839" providerId="ADAL" clId="{D2DE92CD-AADB-43BF-8B53-266FBFF8B69D}" dt="2024-02-05T21:49:04.363" v="36235"/>
          <ac:spMkLst>
            <pc:docMk/>
            <pc:sldMk cId="2958919186" sldId="284"/>
            <ac:spMk id="51" creationId="{5919439C-F2E5-38EE-454C-6197DCE4A0B6}"/>
          </ac:spMkLst>
        </pc:spChg>
        <pc:spChg chg="mod">
          <ac:chgData name="Joelle Brehm" userId="a518f54c-6985-42c0-8041-2bb16a414839" providerId="ADAL" clId="{D2DE92CD-AADB-43BF-8B53-266FBFF8B69D}" dt="2024-02-05T21:49:04.363" v="36224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D2DE92CD-AADB-43BF-8B53-266FBFF8B69D}" dt="2024-02-05T21:49:04.363" v="36223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D2DE92CD-AADB-43BF-8B53-266FBFF8B69D}" dt="2024-02-05T21:49:04.363" v="36232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D2DE92CD-AADB-43BF-8B53-266FBFF8B69D}" dt="2024-02-05T21:49:04.363" v="36231"/>
          <ac:spMkLst>
            <pc:docMk/>
            <pc:sldMk cId="2958919186" sldId="284"/>
            <ac:spMk id="55" creationId="{2BAA32C5-1C92-8614-2678-B94A36FCDC54}"/>
          </ac:spMkLst>
        </pc:spChg>
        <pc:spChg chg="mod">
          <ac:chgData name="Joelle Brehm" userId="a518f54c-6985-42c0-8041-2bb16a414839" providerId="ADAL" clId="{D2DE92CD-AADB-43BF-8B53-266FBFF8B69D}" dt="2024-02-05T21:49:04.370" v="36241"/>
          <ac:spMkLst>
            <pc:docMk/>
            <pc:sldMk cId="2958919186" sldId="284"/>
            <ac:spMk id="56" creationId="{FDC4214A-9C7D-E50B-B2D6-A8DDC8950E22}"/>
          </ac:spMkLst>
        </pc:spChg>
        <pc:spChg chg="add del mod modVis">
          <ac:chgData name="Joelle Brehm" userId="a518f54c-6985-42c0-8041-2bb16a414839" providerId="ADAL" clId="{D2DE92CD-AADB-43BF-8B53-266FBFF8B69D}" dt="2024-02-05T21:49:00.855" v="35832"/>
          <ac:spMkLst>
            <pc:docMk/>
            <pc:sldMk cId="2958919186" sldId="284"/>
            <ac:spMk id="57" creationId="{ADA9549B-215B-3C58-A488-73E68618CD8C}"/>
          </ac:spMkLst>
        </pc:spChg>
        <pc:spChg chg="mod">
          <ac:chgData name="Joelle Brehm" userId="a518f54c-6985-42c0-8041-2bb16a414839" providerId="ADAL" clId="{D2DE92CD-AADB-43BF-8B53-266FBFF8B69D}" dt="2024-02-05T21:49:04.363" v="36228"/>
          <ac:spMkLst>
            <pc:docMk/>
            <pc:sldMk cId="2958919186" sldId="284"/>
            <ac:spMk id="58" creationId="{1FE8095F-70AA-80E7-5AB4-793D17F07A13}"/>
          </ac:spMkLst>
        </pc:spChg>
        <pc:spChg chg="mod">
          <ac:chgData name="Joelle Brehm" userId="a518f54c-6985-42c0-8041-2bb16a414839" providerId="ADAL" clId="{D2DE92CD-AADB-43BF-8B53-266FBFF8B69D}" dt="2024-02-05T21:49:04.363" v="36226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D2DE92CD-AADB-43BF-8B53-266FBFF8B69D}" dt="2024-02-05T21:49:04.363" v="36225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D2DE92CD-AADB-43BF-8B53-266FBFF8B69D}" dt="2024-02-05T21:49:02.076" v="36032"/>
          <ac:spMkLst>
            <pc:docMk/>
            <pc:sldMk cId="2958919186" sldId="284"/>
            <ac:spMk id="62" creationId="{1DF01924-6DF5-829B-AF65-6E4914E18263}"/>
          </ac:spMkLst>
        </pc:spChg>
        <pc:spChg chg="mod">
          <ac:chgData name="Joelle Brehm" userId="a518f54c-6985-42c0-8041-2bb16a414839" providerId="ADAL" clId="{D2DE92CD-AADB-43BF-8B53-266FBFF8B69D}" dt="2024-02-05T21:49:04.363" v="36227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D2DE92CD-AADB-43BF-8B53-266FBFF8B69D}" dt="2024-02-05T21:49:04.370" v="36273"/>
          <ac:spMkLst>
            <pc:docMk/>
            <pc:sldMk cId="2958919186" sldId="284"/>
            <ac:spMk id="65" creationId="{3177B8A5-ABDE-093A-0AB4-4553B52E0744}"/>
          </ac:spMkLst>
        </pc:spChg>
        <pc:spChg chg="mod">
          <ac:chgData name="Joelle Brehm" userId="a518f54c-6985-42c0-8041-2bb16a414839" providerId="ADAL" clId="{D2DE92CD-AADB-43BF-8B53-266FBFF8B69D}" dt="2024-02-05T21:49:04.363" v="36216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9:04.363" v="36217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9:04.363" v="36219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9:04.363" v="36220"/>
          <ac:spMkLst>
            <pc:docMk/>
            <pc:sldMk cId="2958919186" sldId="284"/>
            <ac:spMk id="71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9:04.347" v="36207"/>
          <ac:spMkLst>
            <pc:docMk/>
            <pc:sldMk cId="2958919186" sldId="284"/>
            <ac:spMk id="74" creationId="{1E5392BC-349C-45B4-8F81-52F83DA74F43}"/>
          </ac:spMkLst>
        </pc:spChg>
        <pc:spChg chg="mod">
          <ac:chgData name="Joelle Brehm" userId="a518f54c-6985-42c0-8041-2bb16a414839" providerId="ADAL" clId="{D2DE92CD-AADB-43BF-8B53-266FBFF8B69D}" dt="2024-02-05T21:49:04.363" v="36230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D2DE92CD-AADB-43BF-8B53-266FBFF8B69D}" dt="2024-02-05T21:49:04.370" v="36246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49:04.370" v="36248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D2DE92CD-AADB-43BF-8B53-266FBFF8B69D}" dt="2024-02-05T21:49:04.347" v="36215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21:49:04.370" v="36267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D2DE92CD-AADB-43BF-8B53-266FBFF8B69D}" dt="2024-02-05T21:49:04.370" v="36250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49:04.370" v="36252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49:04.370" v="36254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49:04.370" v="36256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49:04.370" v="36259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9:04.370" v="36260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9:04.370" v="36261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49:04.370" v="36262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49:04.370" v="36263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D2DE92CD-AADB-43BF-8B53-266FBFF8B69D}" dt="2024-02-05T21:49:04.363" v="36218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D2DE92CD-AADB-43BF-8B53-266FBFF8B69D}" dt="2024-02-05T21:49:04.403" v="36275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1:48:38.011" v="35013"/>
          <ac:graphicFrameMkLst>
            <pc:docMk/>
            <pc:sldMk cId="2958919186" sldId="284"/>
            <ac:graphicFrameMk id="8" creationId="{9C7F73C9-A56A-573C-7AAD-B2D7FFEFFDD7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9:04.347" v="36187"/>
          <ac:graphicFrameMkLst>
            <pc:docMk/>
            <pc:sldMk cId="2958919186" sldId="284"/>
            <ac:graphicFrameMk id="34" creationId="{D4510FEA-D6AC-7219-E96C-12C0459D8661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8:55.564" v="35349"/>
          <ac:graphicFrameMkLst>
            <pc:docMk/>
            <pc:sldMk cId="2958919186" sldId="284"/>
            <ac:graphicFrameMk id="38" creationId="{C1C3972B-E41B-BEAE-73FD-75E86FEDE767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9:04.370" v="36258"/>
          <ac:graphicFrameMkLst>
            <pc:docMk/>
            <pc:sldMk cId="2958919186" sldId="284"/>
            <ac:graphicFrameMk id="39" creationId="{563BFDCC-AB6C-CCC1-04CD-12E1AB63D26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9:02.010" v="35930"/>
          <ac:graphicFrameMkLst>
            <pc:docMk/>
            <pc:sldMk cId="2958919186" sldId="284"/>
            <ac:graphicFrameMk id="59" creationId="{387D469C-B2CB-3B3E-88DC-809CA7E5129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9:04.318" v="36173"/>
          <ac:graphicFrameMkLst>
            <pc:docMk/>
            <pc:sldMk cId="2958919186" sldId="284"/>
            <ac:graphicFrameMk id="63" creationId="{12B5D4EB-0D5C-B28C-15BF-3D5F617216E2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9:00.807" v="35730"/>
          <ac:graphicFrameMkLst>
            <pc:docMk/>
            <pc:sldMk cId="2958919186" sldId="284"/>
            <ac:graphicFrameMk id="66" creationId="{F86C2217-3A35-A7A8-1434-5E17C57D60BA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49:04.347" v="36214"/>
          <ac:graphicFrameMkLst>
            <pc:docMk/>
            <pc:sldMk cId="2958919186" sldId="284"/>
            <ac:graphicFrameMk id="67" creationId="{1DFBA6A8-7F90-D693-BEED-126F5B3B52BD}"/>
          </ac:graphicFrameMkLst>
        </pc:graphicFrameChg>
        <pc:picChg chg="del mod ord">
          <ac:chgData name="Joelle Brehm" userId="a518f54c-6985-42c0-8041-2bb16a414839" providerId="ADAL" clId="{D2DE92CD-AADB-43BF-8B53-266FBFF8B69D}" dt="2024-02-05T21:48:48.736" v="35222" actId="478"/>
          <ac:picMkLst>
            <pc:docMk/>
            <pc:sldMk cId="2958919186" sldId="284"/>
            <ac:picMk id="9" creationId="{7FF4120C-6D7D-A2F8-49E9-34A31A34A245}"/>
          </ac:picMkLst>
        </pc:picChg>
        <pc:picChg chg="add mod ord">
          <ac:chgData name="Joelle Brehm" userId="a518f54c-6985-42c0-8041-2bb16a414839" providerId="ADAL" clId="{D2DE92CD-AADB-43BF-8B53-266FBFF8B69D}" dt="2024-02-05T21:49:04.347" v="36181"/>
          <ac:picMkLst>
            <pc:docMk/>
            <pc:sldMk cId="2958919186" sldId="284"/>
            <ac:picMk id="35" creationId="{3AEE04AD-8BE5-BE1A-3F3A-FD83F5846402}"/>
          </ac:picMkLst>
        </pc:picChg>
        <pc:picChg chg="mod ord">
          <ac:chgData name="Joelle Brehm" userId="a518f54c-6985-42c0-8041-2bb16a414839" providerId="ADAL" clId="{D2DE92CD-AADB-43BF-8B53-266FBFF8B69D}" dt="2024-02-05T21:49:04.370" v="36265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49:04.347" v="36185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50:07.030" v="38527"/>
        <pc:sldMkLst>
          <pc:docMk/>
          <pc:sldMk cId="3959601197" sldId="285"/>
        </pc:sldMkLst>
        <pc:spChg chg="mod ord">
          <ac:chgData name="Joelle Brehm" userId="a518f54c-6985-42c0-8041-2bb16a414839" providerId="ADAL" clId="{D2DE92CD-AADB-43BF-8B53-266FBFF8B69D}" dt="2024-02-05T21:50:07.009" v="38521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D2DE92CD-AADB-43BF-8B53-266FBFF8B69D}" dt="2024-02-05T21:49:14.414" v="36276" actId="478"/>
          <ac:spMkLst>
            <pc:docMk/>
            <pc:sldMk cId="3959601197" sldId="285"/>
            <ac:spMk id="3" creationId="{8D26B1EB-0188-2898-F1EC-70B03849B3F6}"/>
          </ac:spMkLst>
        </pc:spChg>
        <pc:spChg chg="add del mod modVis">
          <ac:chgData name="Joelle Brehm" userId="a518f54c-6985-42c0-8041-2bb16a414839" providerId="ADAL" clId="{D2DE92CD-AADB-43BF-8B53-266FBFF8B69D}" dt="2024-02-05T21:49:18.670" v="36497"/>
          <ac:spMkLst>
            <pc:docMk/>
            <pc:sldMk cId="3959601197" sldId="285"/>
            <ac:spMk id="5" creationId="{96765F11-5AD4-101D-3591-8E2E66574865}"/>
          </ac:spMkLst>
        </pc:spChg>
        <pc:spChg chg="mod ord">
          <ac:chgData name="Joelle Brehm" userId="a518f54c-6985-42c0-8041-2bb16a414839" providerId="ADAL" clId="{D2DE92CD-AADB-43BF-8B53-266FBFF8B69D}" dt="2024-02-05T21:50:06.993" v="38453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50:06.993" v="38464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50:06.993" v="38460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50:06.993" v="38461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50:06.993" v="38458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50:06.993" v="38459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50:06.993" v="38462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50:06.993" v="38463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50:06.993" v="38465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50:06.993" v="38466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50:06.993" v="38467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50:06.993" v="38468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50:07.009" v="38469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50:07.009" v="38471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50:07.009" v="38474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50:07.009" v="38476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50:07.009" v="38475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50:07.009" v="38479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50:07.009" v="38480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50:07.009" v="38478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50:07.009" v="38482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50:07.009" v="38485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D2DE92CD-AADB-43BF-8B53-266FBFF8B69D}" dt="2024-02-05T21:50:07.009" v="38493"/>
          <ac:spMkLst>
            <pc:docMk/>
            <pc:sldMk cId="3959601197" sldId="285"/>
            <ac:spMk id="33" creationId="{5E6D8718-1100-5B0D-03C4-984A1480256E}"/>
          </ac:spMkLst>
        </pc:spChg>
        <pc:spChg chg="add del mod modVis">
          <ac:chgData name="Joelle Brehm" userId="a518f54c-6985-42c0-8041-2bb16a414839" providerId="ADAL" clId="{D2DE92CD-AADB-43BF-8B53-266FBFF8B69D}" dt="2024-02-05T21:49:41.117" v="36784"/>
          <ac:spMkLst>
            <pc:docMk/>
            <pc:sldMk cId="3959601197" sldId="285"/>
            <ac:spMk id="34" creationId="{7CCA84B7-F766-B0AB-A836-D757E04D18A1}"/>
          </ac:spMkLst>
        </pc:spChg>
        <pc:spChg chg="del mod">
          <ac:chgData name="Joelle Brehm" userId="a518f54c-6985-42c0-8041-2bb16a414839" providerId="ADAL" clId="{D2DE92CD-AADB-43BF-8B53-266FBFF8B69D}" dt="2024-02-05T21:49:49.776" v="37357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D2DE92CD-AADB-43BF-8B53-266FBFF8B69D}" dt="2024-02-05T21:50:07.009" v="38473"/>
          <ac:spMkLst>
            <pc:docMk/>
            <pc:sldMk cId="3959601197" sldId="285"/>
            <ac:spMk id="37" creationId="{6E6D97FF-E2E0-42EA-A83A-C3DF9F3514AE}"/>
          </ac:spMkLst>
        </pc:spChg>
        <pc:spChg chg="mod">
          <ac:chgData name="Joelle Brehm" userId="a518f54c-6985-42c0-8041-2bb16a414839" providerId="ADAL" clId="{D2DE92CD-AADB-43BF-8B53-266FBFF8B69D}" dt="2024-02-05T21:50:07.009" v="38492"/>
          <ac:spMkLst>
            <pc:docMk/>
            <pc:sldMk cId="3959601197" sldId="285"/>
            <ac:spMk id="38" creationId="{2FB404D9-C000-431B-6310-4B69B0746585}"/>
          </ac:spMkLst>
        </pc:spChg>
        <pc:spChg chg="mod">
          <ac:chgData name="Joelle Brehm" userId="a518f54c-6985-42c0-8041-2bb16a414839" providerId="ADAL" clId="{D2DE92CD-AADB-43BF-8B53-266FBFF8B69D}" dt="2024-02-05T21:50:07.009" v="38489"/>
          <ac:spMkLst>
            <pc:docMk/>
            <pc:sldMk cId="3959601197" sldId="285"/>
            <ac:spMk id="39" creationId="{49E3BF94-A3A3-6D9E-A640-936C4D588482}"/>
          </ac:spMkLst>
        </pc:spChg>
        <pc:spChg chg="mod">
          <ac:chgData name="Joelle Brehm" userId="a518f54c-6985-42c0-8041-2bb16a414839" providerId="ADAL" clId="{D2DE92CD-AADB-43BF-8B53-266FBFF8B69D}" dt="2024-02-05T21:50:07.009" v="38490"/>
          <ac:spMkLst>
            <pc:docMk/>
            <pc:sldMk cId="3959601197" sldId="285"/>
            <ac:spMk id="40" creationId="{EA599A54-45AC-0837-D7C5-3771AA871AAD}"/>
          </ac:spMkLst>
        </pc:spChg>
        <pc:spChg chg="mod">
          <ac:chgData name="Joelle Brehm" userId="a518f54c-6985-42c0-8041-2bb16a414839" providerId="ADAL" clId="{D2DE92CD-AADB-43BF-8B53-266FBFF8B69D}" dt="2024-02-05T21:50:07.009" v="38491"/>
          <ac:spMkLst>
            <pc:docMk/>
            <pc:sldMk cId="3959601197" sldId="285"/>
            <ac:spMk id="41" creationId="{EEDF60F4-83FD-2158-5CFE-740630E662A0}"/>
          </ac:spMkLst>
        </pc:spChg>
        <pc:spChg chg="mod">
          <ac:chgData name="Joelle Brehm" userId="a518f54c-6985-42c0-8041-2bb16a414839" providerId="ADAL" clId="{D2DE92CD-AADB-43BF-8B53-266FBFF8B69D}" dt="2024-02-05T21:50:07.009" v="38487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D2DE92CD-AADB-43BF-8B53-266FBFF8B69D}" dt="2024-02-05T21:50:07.009" v="38486"/>
          <ac:spMkLst>
            <pc:docMk/>
            <pc:sldMk cId="3959601197" sldId="285"/>
            <ac:spMk id="43" creationId="{7A0654C5-E72A-A91E-A2D8-90D96122F7D7}"/>
          </ac:spMkLst>
        </pc:spChg>
        <pc:spChg chg="add mod replST">
          <ac:chgData name="Joelle Brehm" userId="a518f54c-6985-42c0-8041-2bb16a414839" providerId="ADAL" clId="{D2DE92CD-AADB-43BF-8B53-266FBFF8B69D}" dt="2024-02-05T21:50:07.009" v="38496"/>
          <ac:spMkLst>
            <pc:docMk/>
            <pc:sldMk cId="3959601197" sldId="285"/>
            <ac:spMk id="44" creationId="{08D2944B-2820-1365-ABAF-E434AEED3E90}"/>
          </ac:spMkLst>
        </pc:spChg>
        <pc:spChg chg="mod">
          <ac:chgData name="Joelle Brehm" userId="a518f54c-6985-42c0-8041-2bb16a414839" providerId="ADAL" clId="{D2DE92CD-AADB-43BF-8B53-266FBFF8B69D}" dt="2024-02-05T21:50:07.009" v="38494"/>
          <ac:spMkLst>
            <pc:docMk/>
            <pc:sldMk cId="3959601197" sldId="285"/>
            <ac:spMk id="46" creationId="{529E40B7-0A04-6402-DEF9-2538E4023CED}"/>
          </ac:spMkLst>
        </pc:spChg>
        <pc:spChg chg="mod">
          <ac:chgData name="Joelle Brehm" userId="a518f54c-6985-42c0-8041-2bb16a414839" providerId="ADAL" clId="{D2DE92CD-AADB-43BF-8B53-266FBFF8B69D}" dt="2024-02-05T21:50:07.009" v="38488"/>
          <ac:spMkLst>
            <pc:docMk/>
            <pc:sldMk cId="3959601197" sldId="285"/>
            <ac:spMk id="47" creationId="{E68B1E78-8D9D-3E69-597C-1E05491CF1D5}"/>
          </ac:spMkLst>
        </pc:spChg>
        <pc:spChg chg="mod">
          <ac:chgData name="Joelle Brehm" userId="a518f54c-6985-42c0-8041-2bb16a414839" providerId="ADAL" clId="{D2DE92CD-AADB-43BF-8B53-266FBFF8B69D}" dt="2024-02-05T21:50:07.009" v="38495"/>
          <ac:spMkLst>
            <pc:docMk/>
            <pc:sldMk cId="3959601197" sldId="285"/>
            <ac:spMk id="48" creationId="{18ADE8BA-F709-3681-1C70-126B3A4F130F}"/>
          </ac:spMkLst>
        </pc:spChg>
        <pc:spChg chg="add del mod modVis">
          <ac:chgData name="Joelle Brehm" userId="a518f54c-6985-42c0-8041-2bb16a414839" providerId="ADAL" clId="{D2DE92CD-AADB-43BF-8B53-266FBFF8B69D}" dt="2024-02-05T21:49:46.633" v="37181"/>
          <ac:spMkLst>
            <pc:docMk/>
            <pc:sldMk cId="3959601197" sldId="285"/>
            <ac:spMk id="49" creationId="{78520B8B-8E13-33EC-7748-34F24700D1F8}"/>
          </ac:spMkLst>
        </pc:spChg>
        <pc:spChg chg="add del mod modVis">
          <ac:chgData name="Joelle Brehm" userId="a518f54c-6985-42c0-8041-2bb16a414839" providerId="ADAL" clId="{D2DE92CD-AADB-43BF-8B53-266FBFF8B69D}" dt="2024-02-05T21:49:48.166" v="37354"/>
          <ac:spMkLst>
            <pc:docMk/>
            <pc:sldMk cId="3959601197" sldId="285"/>
            <ac:spMk id="51" creationId="{8827CB45-5545-2897-226D-B7822B7E9910}"/>
          </ac:spMkLst>
        </pc:spChg>
        <pc:spChg chg="add del mod modVis">
          <ac:chgData name="Joelle Brehm" userId="a518f54c-6985-42c0-8041-2bb16a414839" providerId="ADAL" clId="{D2DE92CD-AADB-43BF-8B53-266FBFF8B69D}" dt="2024-02-05T21:49:49.890" v="37536"/>
          <ac:spMkLst>
            <pc:docMk/>
            <pc:sldMk cId="3959601197" sldId="285"/>
            <ac:spMk id="53" creationId="{A3AB1D0E-2252-E5C1-4E3F-0EE8B2DDF0C7}"/>
          </ac:spMkLst>
        </pc:spChg>
        <pc:spChg chg="add del mod modVis">
          <ac:chgData name="Joelle Brehm" userId="a518f54c-6985-42c0-8041-2bb16a414839" providerId="ADAL" clId="{D2DE92CD-AADB-43BF-8B53-266FBFF8B69D}" dt="2024-02-05T21:49:53.618" v="37751"/>
          <ac:spMkLst>
            <pc:docMk/>
            <pc:sldMk cId="3959601197" sldId="285"/>
            <ac:spMk id="55" creationId="{028268EB-7F83-A233-8B88-7640FD7817F9}"/>
          </ac:spMkLst>
        </pc:spChg>
        <pc:spChg chg="add del mod replST">
          <ac:chgData name="Joelle Brehm" userId="a518f54c-6985-42c0-8041-2bb16a414839" providerId="ADAL" clId="{D2DE92CD-AADB-43BF-8B53-266FBFF8B69D}" dt="2024-02-05T21:49:54.468" v="37807"/>
          <ac:spMkLst>
            <pc:docMk/>
            <pc:sldMk cId="3959601197" sldId="285"/>
            <ac:spMk id="56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49:54.514" v="37891"/>
          <ac:spMkLst>
            <pc:docMk/>
            <pc:sldMk cId="3959601197" sldId="285"/>
            <ac:spMk id="59" creationId="{95A4BED8-0982-5C14-5481-9A133CFB642C}"/>
          </ac:spMkLst>
        </pc:spChg>
        <pc:spChg chg="add del mod modVis">
          <ac:chgData name="Joelle Brehm" userId="a518f54c-6985-42c0-8041-2bb16a414839" providerId="ADAL" clId="{D2DE92CD-AADB-43BF-8B53-266FBFF8B69D}" dt="2024-02-05T21:50:01.716" v="38109"/>
          <ac:spMkLst>
            <pc:docMk/>
            <pc:sldMk cId="3959601197" sldId="285"/>
            <ac:spMk id="61" creationId="{E6D67CCA-F736-1AC9-00E8-2E060B1E76D0}"/>
          </ac:spMkLst>
        </pc:spChg>
        <pc:spChg chg="add del mod replST">
          <ac:chgData name="Joelle Brehm" userId="a518f54c-6985-42c0-8041-2bb16a414839" providerId="ADAL" clId="{D2DE92CD-AADB-43BF-8B53-266FBFF8B69D}" dt="2024-02-05T21:50:02.717" v="38165"/>
          <ac:spMkLst>
            <pc:docMk/>
            <pc:sldMk cId="3959601197" sldId="285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0:02.766" v="38249"/>
          <ac:spMkLst>
            <pc:docMk/>
            <pc:sldMk cId="3959601197" sldId="285"/>
            <ac:spMk id="64" creationId="{C81F0D83-FD91-EBAC-7CF8-EC28B74A7A07}"/>
          </ac:spMkLst>
        </pc:spChg>
        <pc:spChg chg="add del mod modVis">
          <ac:chgData name="Joelle Brehm" userId="a518f54c-6985-42c0-8041-2bb16a414839" providerId="ADAL" clId="{D2DE92CD-AADB-43BF-8B53-266FBFF8B69D}" dt="2024-02-05T21:50:04.319" v="38387"/>
          <ac:spMkLst>
            <pc:docMk/>
            <pc:sldMk cId="3959601197" sldId="285"/>
            <ac:spMk id="66" creationId="{9C6A6C61-07D7-601D-C4F5-2947788B163B}"/>
          </ac:spMkLst>
        </pc:spChg>
        <pc:spChg chg="add del mod modVis">
          <ac:chgData name="Joelle Brehm" userId="a518f54c-6985-42c0-8041-2bb16a414839" providerId="ADAL" clId="{D2DE92CD-AADB-43BF-8B53-266FBFF8B69D}" dt="2024-02-05T21:50:07.009" v="38525"/>
          <ac:spMkLst>
            <pc:docMk/>
            <pc:sldMk cId="3959601197" sldId="285"/>
            <ac:spMk id="68" creationId="{8536CA06-383D-149C-A4BF-84F42BF0EB45}"/>
          </ac:spMkLst>
        </pc:spChg>
        <pc:spChg chg="mod">
          <ac:chgData name="Joelle Brehm" userId="a518f54c-6985-42c0-8041-2bb16a414839" providerId="ADAL" clId="{D2DE92CD-AADB-43BF-8B53-266FBFF8B69D}" dt="2024-02-05T21:50:07.009" v="38477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D2DE92CD-AADB-43BF-8B53-266FBFF8B69D}" dt="2024-02-05T21:50:07.009" v="38498"/>
          <ac:spMkLst>
            <pc:docMk/>
            <pc:sldMk cId="3959601197" sldId="285"/>
            <ac:spMk id="78" creationId="{4C71B650-5C52-48B0-85D7-82C22FA4B22B}"/>
          </ac:spMkLst>
        </pc:spChg>
        <pc:spChg chg="add del mod ord">
          <ac:chgData name="Joelle Brehm" userId="a518f54c-6985-42c0-8041-2bb16a414839" providerId="ADAL" clId="{D2DE92CD-AADB-43BF-8B53-266FBFF8B69D}" dt="2024-02-05T21:50:07.009" v="38500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50:07.009" v="38519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D2DE92CD-AADB-43BF-8B53-266FBFF8B69D}" dt="2024-02-05T21:50:07.009" v="38502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50:07.009" v="38504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50:07.009" v="38506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50:07.009" v="38508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50:07.009" v="38511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0:07.009" v="38512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0:07.009" v="38513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0:07.009" v="38514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50:07.009" v="38515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50:07.030" v="38527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1:49:18.606" v="36411"/>
          <ac:graphicFrameMkLst>
            <pc:docMk/>
            <pc:sldMk cId="3959601197" sldId="285"/>
            <ac:graphicFrameMk id="8" creationId="{756E82D0-0EB1-DD35-71D3-85F1B57577D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0:06.993" v="38457"/>
          <ac:graphicFrameMkLst>
            <pc:docMk/>
            <pc:sldMk cId="3959601197" sldId="285"/>
            <ac:graphicFrameMk id="9" creationId="{6D672CB7-863B-19FA-EEEE-D757EC135109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0:07.009" v="38510"/>
          <ac:graphicFrameMkLst>
            <pc:docMk/>
            <pc:sldMk cId="3959601197" sldId="285"/>
            <ac:graphicFrameMk id="36" creationId="{7A861186-6F7B-BD11-B607-3795FB253742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9:41.054" v="36702"/>
          <ac:graphicFrameMkLst>
            <pc:docMk/>
            <pc:sldMk cId="3959601197" sldId="285"/>
            <ac:graphicFrameMk id="45" creationId="{B9590508-5157-5FD4-CEE4-133C8635C19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9:48.119" v="37260"/>
          <ac:graphicFrameMkLst>
            <pc:docMk/>
            <pc:sldMk cId="3959601197" sldId="285"/>
            <ac:graphicFrameMk id="50" creationId="{C4277983-ECD5-192C-6313-1BAC74C48CBD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9:49.838" v="37454"/>
          <ac:graphicFrameMkLst>
            <pc:docMk/>
            <pc:sldMk cId="3959601197" sldId="285"/>
            <ac:graphicFrameMk id="52" creationId="{BFB3AC80-4EC3-BE94-3FBB-7971C5AC2C1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9:53.558" v="37657"/>
          <ac:graphicFrameMkLst>
            <pc:docMk/>
            <pc:sldMk cId="3959601197" sldId="285"/>
            <ac:graphicFrameMk id="54" creationId="{E9444514-CFE4-B366-B474-6131147DF0C5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49:46.581" v="37087"/>
          <ac:graphicFrameMkLst>
            <pc:docMk/>
            <pc:sldMk cId="3959601197" sldId="285"/>
            <ac:graphicFrameMk id="57" creationId="{265B4827-7F5B-B79A-07CB-6658DE9DA5D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49:54.468" v="37809"/>
          <ac:graphicFrameMkLst>
            <pc:docMk/>
            <pc:sldMk cId="3959601197" sldId="285"/>
            <ac:graphicFrameMk id="58" creationId="{E1AD2CC5-122A-27A9-8CCF-EA30F5B0D9D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0:01.666" v="38015"/>
          <ac:graphicFrameMkLst>
            <pc:docMk/>
            <pc:sldMk cId="3959601197" sldId="285"/>
            <ac:graphicFrameMk id="60" creationId="{862BF860-997E-5358-BE64-74B20EF5E25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0:02.717" v="38167"/>
          <ac:graphicFrameMkLst>
            <pc:docMk/>
            <pc:sldMk cId="3959601197" sldId="285"/>
            <ac:graphicFrameMk id="63" creationId="{030CDC07-C074-9538-5FA6-A43FA734B8D3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0:04.282" v="38305"/>
          <ac:graphicFrameMkLst>
            <pc:docMk/>
            <pc:sldMk cId="3959601197" sldId="285"/>
            <ac:graphicFrameMk id="65" creationId="{2CA8AF5E-EE0F-D1B1-074E-73F88FB2B48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0:06.978" v="38443"/>
          <ac:graphicFrameMkLst>
            <pc:docMk/>
            <pc:sldMk cId="3959601197" sldId="285"/>
            <ac:graphicFrameMk id="67" creationId="{7C26EF67-349F-4A4E-ECD1-8A86ACCFB75C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0:07.009" v="38484"/>
          <ac:graphicFrameMkLst>
            <pc:docMk/>
            <pc:sldMk cId="3959601197" sldId="285"/>
            <ac:graphicFrameMk id="69" creationId="{56A8A47E-E19F-6E8A-58D0-F786D7BE4681}"/>
          </ac:graphicFrameMkLst>
        </pc:graphicFrameChg>
        <pc:picChg chg="del mod ord">
          <ac:chgData name="Joelle Brehm" userId="a518f54c-6985-42c0-8041-2bb16a414839" providerId="ADAL" clId="{D2DE92CD-AADB-43BF-8B53-266FBFF8B69D}" dt="2024-02-05T21:49:30.547" v="36584" actId="478"/>
          <ac:picMkLst>
            <pc:docMk/>
            <pc:sldMk cId="3959601197" sldId="285"/>
            <ac:picMk id="10" creationId="{1BCF24BB-8700-8E79-8689-571C63CDDC42}"/>
          </ac:picMkLst>
        </pc:picChg>
        <pc:picChg chg="add mod ord">
          <ac:chgData name="Joelle Brehm" userId="a518f54c-6985-42c0-8041-2bb16a414839" providerId="ADAL" clId="{D2DE92CD-AADB-43BF-8B53-266FBFF8B69D}" dt="2024-02-05T21:50:06.993" v="38451"/>
          <ac:picMkLst>
            <pc:docMk/>
            <pc:sldMk cId="3959601197" sldId="285"/>
            <ac:picMk id="31" creationId="{0DB17CF9-8AF8-9BFB-276D-A99D30B21504}"/>
          </ac:picMkLst>
        </pc:picChg>
        <pc:picChg chg="mod ord">
          <ac:chgData name="Joelle Brehm" userId="a518f54c-6985-42c0-8041-2bb16a414839" providerId="ADAL" clId="{D2DE92CD-AADB-43BF-8B53-266FBFF8B69D}" dt="2024-02-05T21:50:07.009" v="38517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50:06.993" v="38455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51:09.034" v="40595"/>
        <pc:sldMkLst>
          <pc:docMk/>
          <pc:sldMk cId="3093897313" sldId="286"/>
        </pc:sldMkLst>
        <pc:spChg chg="mod ord">
          <ac:chgData name="Joelle Brehm" userId="a518f54c-6985-42c0-8041-2bb16a414839" providerId="ADAL" clId="{D2DE92CD-AADB-43BF-8B53-266FBFF8B69D}" dt="2024-02-05T21:51:09.013" v="40589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D2DE92CD-AADB-43BF-8B53-266FBFF8B69D}" dt="2024-02-05T21:50:20.826" v="38529" actId="478"/>
          <ac:spMkLst>
            <pc:docMk/>
            <pc:sldMk cId="3093897313" sldId="286"/>
            <ac:spMk id="3" creationId="{BA5F83B0-9D84-C58A-F9D5-5D4848BA12FF}"/>
          </ac:spMkLst>
        </pc:spChg>
        <pc:spChg chg="add del mod modVis">
          <ac:chgData name="Joelle Brehm" userId="a518f54c-6985-42c0-8041-2bb16a414839" providerId="ADAL" clId="{D2DE92CD-AADB-43BF-8B53-266FBFF8B69D}" dt="2024-02-05T21:50:25.202" v="38750"/>
          <ac:spMkLst>
            <pc:docMk/>
            <pc:sldMk cId="3093897313" sldId="286"/>
            <ac:spMk id="5" creationId="{AC65F320-B9AC-78B4-E62D-3A93F80BC042}"/>
          </ac:spMkLst>
        </pc:spChg>
        <pc:spChg chg="mod ord">
          <ac:chgData name="Joelle Brehm" userId="a518f54c-6985-42c0-8041-2bb16a414839" providerId="ADAL" clId="{D2DE92CD-AADB-43BF-8B53-266FBFF8B69D}" dt="2024-02-05T21:51:08.997" v="40521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51:09.013" v="40553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D2DE92CD-AADB-43BF-8B53-266FBFF8B69D}" dt="2024-02-05T21:51:08.997" v="40532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51:08.997" v="40528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51:08.997" v="40529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51:08.997" v="40526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51:08.997" v="40527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51:08.997" v="40530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51:08.997" v="40531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51:08.997" v="40533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51:08.997" v="40534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51:08.997" v="40535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51:08.997" v="40536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51:08.997" v="40537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51:08.997" v="40539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51:08.997" v="40542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51:08.997" v="40544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51:08.997" v="40543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51:09.013" v="40547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51:09.013" v="40548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51:08.997" v="40546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51:09.013" v="40550"/>
          <ac:spMkLst>
            <pc:docMk/>
            <pc:sldMk cId="3093897313" sldId="286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51:09.013" v="40561"/>
          <ac:spMkLst>
            <pc:docMk/>
            <pc:sldMk cId="3093897313" sldId="286"/>
            <ac:spMk id="32" creationId="{C8E615F0-CA56-2254-DC6C-F9BA32C5557A}"/>
          </ac:spMkLst>
        </pc:spChg>
        <pc:spChg chg="add del mod modVis">
          <ac:chgData name="Joelle Brehm" userId="a518f54c-6985-42c0-8041-2bb16a414839" providerId="ADAL" clId="{D2DE92CD-AADB-43BF-8B53-266FBFF8B69D}" dt="2024-02-05T21:50:43.720" v="39046"/>
          <ac:spMkLst>
            <pc:docMk/>
            <pc:sldMk cId="3093897313" sldId="286"/>
            <ac:spMk id="34" creationId="{63E2DE37-6AAB-E1E7-EA94-E25A2FAA7E88}"/>
          </ac:spMkLst>
        </pc:spChg>
        <pc:spChg chg="del mod">
          <ac:chgData name="Joelle Brehm" userId="a518f54c-6985-42c0-8041-2bb16a414839" providerId="ADAL" clId="{D2DE92CD-AADB-43BF-8B53-266FBFF8B69D}" dt="2024-02-05T21:51:00.048" v="39718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D2DE92CD-AADB-43BF-8B53-266FBFF8B69D}" dt="2024-02-05T21:51:08.997" v="40541"/>
          <ac:spMkLst>
            <pc:docMk/>
            <pc:sldMk cId="3093897313" sldId="286"/>
            <ac:spMk id="37" creationId="{6E6D97FF-E2E0-42EA-A83A-C3DF9F3514AE}"/>
          </ac:spMkLst>
        </pc:spChg>
        <pc:spChg chg="mod">
          <ac:chgData name="Joelle Brehm" userId="a518f54c-6985-42c0-8041-2bb16a414839" providerId="ADAL" clId="{D2DE92CD-AADB-43BF-8B53-266FBFF8B69D}" dt="2024-02-05T21:51:09.013" v="40557"/>
          <ac:spMkLst>
            <pc:docMk/>
            <pc:sldMk cId="3093897313" sldId="286"/>
            <ac:spMk id="39" creationId="{148BD74F-B08A-D055-2827-72B7638D08C5}"/>
          </ac:spMkLst>
        </pc:spChg>
        <pc:spChg chg="mod">
          <ac:chgData name="Joelle Brehm" userId="a518f54c-6985-42c0-8041-2bb16a414839" providerId="ADAL" clId="{D2DE92CD-AADB-43BF-8B53-266FBFF8B69D}" dt="2024-02-05T21:51:09.013" v="40563"/>
          <ac:spMkLst>
            <pc:docMk/>
            <pc:sldMk cId="3093897313" sldId="286"/>
            <ac:spMk id="40" creationId="{57F8A0F8-B220-B63E-9091-BA787817D62B}"/>
          </ac:spMkLst>
        </pc:spChg>
        <pc:spChg chg="mod">
          <ac:chgData name="Joelle Brehm" userId="a518f54c-6985-42c0-8041-2bb16a414839" providerId="ADAL" clId="{D2DE92CD-AADB-43BF-8B53-266FBFF8B69D}" dt="2024-02-05T21:51:09.013" v="40558"/>
          <ac:spMkLst>
            <pc:docMk/>
            <pc:sldMk cId="3093897313" sldId="286"/>
            <ac:spMk id="41" creationId="{FA3F9D1B-56DF-7D88-3CCF-9C83CF37CE74}"/>
          </ac:spMkLst>
        </pc:spChg>
        <pc:spChg chg="mod">
          <ac:chgData name="Joelle Brehm" userId="a518f54c-6985-42c0-8041-2bb16a414839" providerId="ADAL" clId="{D2DE92CD-AADB-43BF-8B53-266FBFF8B69D}" dt="2024-02-05T21:51:09.013" v="40554"/>
          <ac:spMkLst>
            <pc:docMk/>
            <pc:sldMk cId="3093897313" sldId="286"/>
            <ac:spMk id="42" creationId="{D859979A-C7CC-20E7-C4CA-F18D382485A8}"/>
          </ac:spMkLst>
        </pc:spChg>
        <pc:spChg chg="mod">
          <ac:chgData name="Joelle Brehm" userId="a518f54c-6985-42c0-8041-2bb16a414839" providerId="ADAL" clId="{D2DE92CD-AADB-43BF-8B53-266FBFF8B69D}" dt="2024-02-05T21:51:09.013" v="40559"/>
          <ac:spMkLst>
            <pc:docMk/>
            <pc:sldMk cId="3093897313" sldId="286"/>
            <ac:spMk id="43" creationId="{4123BF06-FBEE-9624-4928-4F1CA3AC4FBB}"/>
          </ac:spMkLst>
        </pc:spChg>
        <pc:spChg chg="mod">
          <ac:chgData name="Joelle Brehm" userId="a518f54c-6985-42c0-8041-2bb16a414839" providerId="ADAL" clId="{D2DE92CD-AADB-43BF-8B53-266FBFF8B69D}" dt="2024-02-05T21:51:09.013" v="40555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D2DE92CD-AADB-43BF-8B53-266FBFF8B69D}" dt="2024-02-05T21:51:09.013" v="40556"/>
          <ac:spMkLst>
            <pc:docMk/>
            <pc:sldMk cId="3093897313" sldId="286"/>
            <ac:spMk id="45" creationId="{0F9CEF9A-7834-B39E-CB12-DD7EDCF963B1}"/>
          </ac:spMkLst>
        </pc:spChg>
        <pc:spChg chg="mod">
          <ac:chgData name="Joelle Brehm" userId="a518f54c-6985-42c0-8041-2bb16a414839" providerId="ADAL" clId="{D2DE92CD-AADB-43BF-8B53-266FBFF8B69D}" dt="2024-02-05T21:51:09.013" v="40562"/>
          <ac:spMkLst>
            <pc:docMk/>
            <pc:sldMk cId="3093897313" sldId="286"/>
            <ac:spMk id="46" creationId="{EF399F64-CC33-2C7F-0BB7-8B8FA3A1318D}"/>
          </ac:spMkLst>
        </pc:spChg>
        <pc:spChg chg="add del mod modVis">
          <ac:chgData name="Joelle Brehm" userId="a518f54c-6985-42c0-8041-2bb16a414839" providerId="ADAL" clId="{D2DE92CD-AADB-43BF-8B53-266FBFF8B69D}" dt="2024-02-05T21:50:50.181" v="39174"/>
          <ac:spMkLst>
            <pc:docMk/>
            <pc:sldMk cId="3093897313" sldId="286"/>
            <ac:spMk id="47" creationId="{FDC06B09-DE0E-B352-B2FF-F3D58EB67A22}"/>
          </ac:spMkLst>
        </pc:spChg>
        <pc:spChg chg="mod">
          <ac:chgData name="Joelle Brehm" userId="a518f54c-6985-42c0-8041-2bb16a414839" providerId="ADAL" clId="{D2DE92CD-AADB-43BF-8B53-266FBFF8B69D}" dt="2024-02-05T21:51:09.013" v="40560"/>
          <ac:spMkLst>
            <pc:docMk/>
            <pc:sldMk cId="3093897313" sldId="286"/>
            <ac:spMk id="49" creationId="{E1413394-7EF3-221F-2D8D-F13494FCD19F}"/>
          </ac:spMkLst>
        </pc:spChg>
        <pc:spChg chg="add mod replST">
          <ac:chgData name="Joelle Brehm" userId="a518f54c-6985-42c0-8041-2bb16a414839" providerId="ADAL" clId="{D2DE92CD-AADB-43BF-8B53-266FBFF8B69D}" dt="2024-02-05T21:51:09.013" v="40564"/>
          <ac:spMkLst>
            <pc:docMk/>
            <pc:sldMk cId="3093897313" sldId="286"/>
            <ac:spMk id="50" creationId="{66BDFC55-80B9-C67A-B308-75D5D9781DD8}"/>
          </ac:spMkLst>
        </pc:spChg>
        <pc:spChg chg="add del mod modVis">
          <ac:chgData name="Joelle Brehm" userId="a518f54c-6985-42c0-8041-2bb16a414839" providerId="ADAL" clId="{D2DE92CD-AADB-43BF-8B53-266FBFF8B69D}" dt="2024-02-05T21:50:56.871" v="39544"/>
          <ac:spMkLst>
            <pc:docMk/>
            <pc:sldMk cId="3093897313" sldId="286"/>
            <ac:spMk id="51" creationId="{6AD5F13E-5BCE-AD9D-8BF4-BFD86901F5B2}"/>
          </ac:spMkLst>
        </pc:spChg>
        <pc:spChg chg="add del mod modVis">
          <ac:chgData name="Joelle Brehm" userId="a518f54c-6985-42c0-8041-2bb16a414839" providerId="ADAL" clId="{D2DE92CD-AADB-43BF-8B53-266FBFF8B69D}" dt="2024-02-05T21:50:58.336" v="39715"/>
          <ac:spMkLst>
            <pc:docMk/>
            <pc:sldMk cId="3093897313" sldId="286"/>
            <ac:spMk id="53" creationId="{FD63C131-0AC6-D10A-D611-B34E2CBF3998}"/>
          </ac:spMkLst>
        </pc:spChg>
        <pc:spChg chg="add del mod modVis">
          <ac:chgData name="Joelle Brehm" userId="a518f54c-6985-42c0-8041-2bb16a414839" providerId="ADAL" clId="{D2DE92CD-AADB-43BF-8B53-266FBFF8B69D}" dt="2024-02-05T21:51:00.268" v="39974"/>
          <ac:spMkLst>
            <pc:docMk/>
            <pc:sldMk cId="3093897313" sldId="286"/>
            <ac:spMk id="55" creationId="{3BD0AC35-E654-E2AD-526E-56E457D4FA2F}"/>
          </ac:spMkLst>
        </pc:spChg>
        <pc:spChg chg="add del mod ord replST">
          <ac:chgData name="Joelle Brehm" userId="a518f54c-6985-42c0-8041-2bb16a414839" providerId="ADAL" clId="{D2DE92CD-AADB-43BF-8B53-266FBFF8B69D}" dt="2024-02-05T21:51:03.416" v="40027"/>
          <ac:spMkLst>
            <pc:docMk/>
            <pc:sldMk cId="3093897313" sldId="286"/>
            <ac:spMk id="57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1:03.470" v="40111"/>
          <ac:spMkLst>
            <pc:docMk/>
            <pc:sldMk cId="3093897313" sldId="286"/>
            <ac:spMk id="59" creationId="{2285B0AE-7B5B-CC9E-CD4E-21E79557F91C}"/>
          </ac:spMkLst>
        </pc:spChg>
        <pc:spChg chg="add del mod modVis">
          <ac:chgData name="Joelle Brehm" userId="a518f54c-6985-42c0-8041-2bb16a414839" providerId="ADAL" clId="{D2DE92CD-AADB-43BF-8B53-266FBFF8B69D}" dt="2024-02-05T21:51:04.369" v="40323"/>
          <ac:spMkLst>
            <pc:docMk/>
            <pc:sldMk cId="3093897313" sldId="286"/>
            <ac:spMk id="61" creationId="{FDF0ED4C-3562-8E4D-295A-7169DA2257C8}"/>
          </ac:spMkLst>
        </pc:spChg>
        <pc:spChg chg="add del mod replST">
          <ac:chgData name="Joelle Brehm" userId="a518f54c-6985-42c0-8041-2bb16a414839" providerId="ADAL" clId="{D2DE92CD-AADB-43BF-8B53-266FBFF8B69D}" dt="2024-02-05T21:51:05.544" v="40375"/>
          <ac:spMkLst>
            <pc:docMk/>
            <pc:sldMk cId="3093897313" sldId="286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1:05.591" v="40459"/>
          <ac:spMkLst>
            <pc:docMk/>
            <pc:sldMk cId="3093897313" sldId="286"/>
            <ac:spMk id="64" creationId="{D0CBE829-56AB-7430-FB56-D9783863B88A}"/>
          </ac:spMkLst>
        </pc:spChg>
        <pc:spChg chg="add del mod modVis">
          <ac:chgData name="Joelle Brehm" userId="a518f54c-6985-42c0-8041-2bb16a414839" providerId="ADAL" clId="{D2DE92CD-AADB-43BF-8B53-266FBFF8B69D}" dt="2024-02-05T21:51:09.013" v="40593"/>
          <ac:spMkLst>
            <pc:docMk/>
            <pc:sldMk cId="3093897313" sldId="286"/>
            <ac:spMk id="66" creationId="{43F0F951-65E8-7604-9525-0D8A50F3A096}"/>
          </ac:spMkLst>
        </pc:spChg>
        <pc:spChg chg="mod">
          <ac:chgData name="Joelle Brehm" userId="a518f54c-6985-42c0-8041-2bb16a414839" providerId="ADAL" clId="{D2DE92CD-AADB-43BF-8B53-266FBFF8B69D}" dt="2024-02-05T21:51:08.997" v="40545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D2DE92CD-AADB-43BF-8B53-266FBFF8B69D}" dt="2024-02-05T21:51:09.013" v="40566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51:09.013" v="40568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51:09.013" v="40587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D2DE92CD-AADB-43BF-8B53-266FBFF8B69D}" dt="2024-02-05T21:51:09.013" v="40570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51:09.013" v="40572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51:09.013" v="40574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51:09.013" v="40576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51:09.013" v="40579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1:09.013" v="40580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1:09.013" v="40581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1:09.013" v="40582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51:09.013" v="40583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51:09.034" v="40595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1:50:25.138" v="38664"/>
          <ac:graphicFrameMkLst>
            <pc:docMk/>
            <pc:sldMk cId="3093897313" sldId="286"/>
            <ac:graphicFrameMk id="8" creationId="{DE2113BB-0C9B-E4B6-5EA6-5AE8EB2D1C68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1:08.997" v="40525"/>
          <ac:graphicFrameMkLst>
            <pc:docMk/>
            <pc:sldMk cId="3093897313" sldId="286"/>
            <ac:graphicFrameMk id="31" creationId="{A54E6D33-D5D4-E344-19AB-0E5E6977162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0:50.121" v="39092"/>
          <ac:graphicFrameMkLst>
            <pc:docMk/>
            <pc:sldMk cId="3093897313" sldId="286"/>
            <ac:graphicFrameMk id="35" creationId="{6CDB4583-E828-D03A-2B08-D56959D699F3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0:43.668" v="38964"/>
          <ac:graphicFrameMkLst>
            <pc:docMk/>
            <pc:sldMk cId="3093897313" sldId="286"/>
            <ac:graphicFrameMk id="38" creationId="{D76F909D-F996-1BA2-4C1B-3807AEFAC772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1:09.013" v="40578"/>
          <ac:graphicFrameMkLst>
            <pc:docMk/>
            <pc:sldMk cId="3093897313" sldId="286"/>
            <ac:graphicFrameMk id="48" creationId="{649425DE-218A-2EDE-1912-0E926E069CE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0:58.288" v="39619"/>
          <ac:graphicFrameMkLst>
            <pc:docMk/>
            <pc:sldMk cId="3093897313" sldId="286"/>
            <ac:graphicFrameMk id="52" creationId="{B92DFB81-FF13-CC5E-1B1E-1F80B011889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1:00.192" v="39877"/>
          <ac:graphicFrameMkLst>
            <pc:docMk/>
            <pc:sldMk cId="3093897313" sldId="286"/>
            <ac:graphicFrameMk id="54" creationId="{5DD9727B-2AF9-9D35-5A08-35ADC5EA1995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0:56.801" v="39453"/>
          <ac:graphicFrameMkLst>
            <pc:docMk/>
            <pc:sldMk cId="3093897313" sldId="286"/>
            <ac:graphicFrameMk id="56" creationId="{16762D32-C4C1-9D32-1A57-ED07126E904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1:03.416" v="40029"/>
          <ac:graphicFrameMkLst>
            <pc:docMk/>
            <pc:sldMk cId="3093897313" sldId="286"/>
            <ac:graphicFrameMk id="58" creationId="{BDB30280-2841-6156-A3FB-7AFE842783E7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1:04.320" v="40227"/>
          <ac:graphicFrameMkLst>
            <pc:docMk/>
            <pc:sldMk cId="3093897313" sldId="286"/>
            <ac:graphicFrameMk id="60" creationId="{2FDA2638-C1F1-4F66-40F0-42B352A68035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1:05.544" v="40377"/>
          <ac:graphicFrameMkLst>
            <pc:docMk/>
            <pc:sldMk cId="3093897313" sldId="286"/>
            <ac:graphicFrameMk id="63" creationId="{5F26DCE9-0BEA-3202-B7AA-A53EDD4145D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1:08.982" v="40511"/>
          <ac:graphicFrameMkLst>
            <pc:docMk/>
            <pc:sldMk cId="3093897313" sldId="286"/>
            <ac:graphicFrameMk id="65" creationId="{2CFA68FA-CBBE-8BA9-B8C9-85E2E21EE9F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1:09.013" v="40552"/>
          <ac:graphicFrameMkLst>
            <pc:docMk/>
            <pc:sldMk cId="3093897313" sldId="286"/>
            <ac:graphicFrameMk id="67" creationId="{A55E5CC2-9417-1FDF-C4CC-BD3C9AEDA393}"/>
          </ac:graphicFrameMkLst>
        </pc:graphicFrameChg>
        <pc:picChg chg="del mod ord">
          <ac:chgData name="Joelle Brehm" userId="a518f54c-6985-42c0-8041-2bb16a414839" providerId="ADAL" clId="{D2DE92CD-AADB-43BF-8B53-266FBFF8B69D}" dt="2024-02-05T21:50:35.417" v="38837" actId="478"/>
          <ac:picMkLst>
            <pc:docMk/>
            <pc:sldMk cId="3093897313" sldId="286"/>
            <ac:picMk id="9" creationId="{770A1972-E897-C998-8EEF-03CAF7F68E1D}"/>
          </ac:picMkLst>
        </pc:picChg>
        <pc:picChg chg="add mod ord">
          <ac:chgData name="Joelle Brehm" userId="a518f54c-6985-42c0-8041-2bb16a414839" providerId="ADAL" clId="{D2DE92CD-AADB-43BF-8B53-266FBFF8B69D}" dt="2024-02-05T21:51:08.997" v="40519"/>
          <ac:picMkLst>
            <pc:docMk/>
            <pc:sldMk cId="3093897313" sldId="286"/>
            <ac:picMk id="33" creationId="{0ABDE3E4-FCFF-5C81-8064-7A955580EFF8}"/>
          </ac:picMkLst>
        </pc:picChg>
        <pc:picChg chg="mod ord">
          <ac:chgData name="Joelle Brehm" userId="a518f54c-6985-42c0-8041-2bb16a414839" providerId="ADAL" clId="{D2DE92CD-AADB-43BF-8B53-266FBFF8B69D}" dt="2024-02-05T21:51:09.013" v="40585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51:08.997" v="40523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52:16.099" v="42713"/>
        <pc:sldMkLst>
          <pc:docMk/>
          <pc:sldMk cId="1459118046" sldId="288"/>
        </pc:sldMkLst>
        <pc:spChg chg="mod ord">
          <ac:chgData name="Joelle Brehm" userId="a518f54c-6985-42c0-8041-2bb16a414839" providerId="ADAL" clId="{D2DE92CD-AADB-43BF-8B53-266FBFF8B69D}" dt="2024-02-05T21:52:16.068" v="42677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D2DE92CD-AADB-43BF-8B53-266FBFF8B69D}" dt="2024-02-05T21:51:13.756" v="40596" actId="478"/>
          <ac:spMkLst>
            <pc:docMk/>
            <pc:sldMk cId="1459118046" sldId="288"/>
            <ac:spMk id="3" creationId="{AB863F75-FAD1-F521-31A6-2CDC552EEDE3}"/>
          </ac:spMkLst>
        </pc:spChg>
        <pc:spChg chg="add del mod modVis">
          <ac:chgData name="Joelle Brehm" userId="a518f54c-6985-42c0-8041-2bb16a414839" providerId="ADAL" clId="{D2DE92CD-AADB-43BF-8B53-266FBFF8B69D}" dt="2024-02-05T21:51:23.149" v="40815"/>
          <ac:spMkLst>
            <pc:docMk/>
            <pc:sldMk cId="1459118046" sldId="288"/>
            <ac:spMk id="5" creationId="{3AD3BAC3-B123-E39D-063C-0CB50BFCEDC7}"/>
          </ac:spMkLst>
        </pc:spChg>
        <pc:spChg chg="mod ord">
          <ac:chgData name="Joelle Brehm" userId="a518f54c-6985-42c0-8041-2bb16a414839" providerId="ADAL" clId="{D2DE92CD-AADB-43BF-8B53-266FBFF8B69D}" dt="2024-02-05T21:52:16.068" v="42639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52:16.068" v="42655"/>
          <ac:spMkLst>
            <pc:docMk/>
            <pc:sldMk cId="1459118046" sldId="288"/>
            <ac:spMk id="10" creationId="{F330FDA5-01AA-960D-FADC-74B8E7D526E8}"/>
          </ac:spMkLst>
        </pc:spChg>
        <pc:spChg chg="add del mod modVis">
          <ac:chgData name="Joelle Brehm" userId="a518f54c-6985-42c0-8041-2bb16a414839" providerId="ADAL" clId="{D2DE92CD-AADB-43BF-8B53-266FBFF8B69D}" dt="2024-02-05T21:51:48.306" v="41126"/>
          <ac:spMkLst>
            <pc:docMk/>
            <pc:sldMk cId="1459118046" sldId="288"/>
            <ac:spMk id="13" creationId="{1298BAA4-93AD-17CB-02BB-85989B248AFA}"/>
          </ac:spMkLst>
        </pc:spChg>
        <pc:spChg chg="mod">
          <ac:chgData name="Joelle Brehm" userId="a518f54c-6985-42c0-8041-2bb16a414839" providerId="ADAL" clId="{D2DE92CD-AADB-43BF-8B53-266FBFF8B69D}" dt="2024-02-05T21:52:16.068" v="42656"/>
          <ac:spMkLst>
            <pc:docMk/>
            <pc:sldMk cId="1459118046" sldId="288"/>
            <ac:spMk id="15" creationId="{D494E85D-4F3D-3204-35FB-2E48C65A19C6}"/>
          </ac:spMkLst>
        </pc:spChg>
        <pc:spChg chg="mod">
          <ac:chgData name="Joelle Brehm" userId="a518f54c-6985-42c0-8041-2bb16a414839" providerId="ADAL" clId="{D2DE92CD-AADB-43BF-8B53-266FBFF8B69D}" dt="2024-02-05T21:52:16.068" v="42648"/>
          <ac:spMkLst>
            <pc:docMk/>
            <pc:sldMk cId="1459118046" sldId="288"/>
            <ac:spMk id="16" creationId="{E786FDCD-6056-755C-3E9C-F6856B555A83}"/>
          </ac:spMkLst>
        </pc:spChg>
        <pc:spChg chg="add mod replST">
          <ac:chgData name="Joelle Brehm" userId="a518f54c-6985-42c0-8041-2bb16a414839" providerId="ADAL" clId="{D2DE92CD-AADB-43BF-8B53-266FBFF8B69D}" dt="2024-02-05T21:52:16.068" v="42659"/>
          <ac:spMkLst>
            <pc:docMk/>
            <pc:sldMk cId="1459118046" sldId="288"/>
            <ac:spMk id="17" creationId="{94023B31-D9C1-DAA3-4E90-5B42F38D372E}"/>
          </ac:spMkLst>
        </pc:spChg>
        <pc:spChg chg="mod">
          <ac:chgData name="Joelle Brehm" userId="a518f54c-6985-42c0-8041-2bb16a414839" providerId="ADAL" clId="{D2DE92CD-AADB-43BF-8B53-266FBFF8B69D}" dt="2024-02-05T21:52:16.068" v="42653"/>
          <ac:spMkLst>
            <pc:docMk/>
            <pc:sldMk cId="1459118046" sldId="288"/>
            <ac:spMk id="18" creationId="{626AA8C5-BA76-80F7-9C08-4738249D8EC3}"/>
          </ac:spMkLst>
        </pc:spChg>
        <pc:spChg chg="del mod">
          <ac:chgData name="Joelle Brehm" userId="a518f54c-6985-42c0-8041-2bb16a414839" providerId="ADAL" clId="{D2DE92CD-AADB-43BF-8B53-266FBFF8B69D}" dt="2024-02-05T21:51:57.915" v="41690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D2DE92CD-AADB-43BF-8B53-266FBFF8B69D}" dt="2024-02-05T21:52:16.068" v="42654"/>
          <ac:spMkLst>
            <pc:docMk/>
            <pc:sldMk cId="1459118046" sldId="288"/>
            <ac:spMk id="20" creationId="{1E04F6C7-C5CE-0639-E6EE-4EA6F2501082}"/>
          </ac:spMkLst>
        </pc:spChg>
        <pc:spChg chg="mod">
          <ac:chgData name="Joelle Brehm" userId="a518f54c-6985-42c0-8041-2bb16a414839" providerId="ADAL" clId="{D2DE92CD-AADB-43BF-8B53-266FBFF8B69D}" dt="2024-02-05T21:52:16.068" v="42649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D2DE92CD-AADB-43BF-8B53-266FBFF8B69D}" dt="2024-02-05T21:52:16.068" v="42652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D2DE92CD-AADB-43BF-8B53-266FBFF8B69D}" dt="2024-02-05T21:52:16.068" v="42643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52:16.068" v="42650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D2DE92CD-AADB-43BF-8B53-266FBFF8B69D}" dt="2024-02-05T21:51:54.892" v="41514"/>
          <ac:spMkLst>
            <pc:docMk/>
            <pc:sldMk cId="1459118046" sldId="288"/>
            <ac:spMk id="25" creationId="{8612C00B-48D0-6B5C-B1A5-397C46B4B828}"/>
          </ac:spMkLst>
        </pc:spChg>
        <pc:spChg chg="mod">
          <ac:chgData name="Joelle Brehm" userId="a518f54c-6985-42c0-8041-2bb16a414839" providerId="ADAL" clId="{D2DE92CD-AADB-43BF-8B53-266FBFF8B69D}" dt="2024-02-05T21:52:16.068" v="42657"/>
          <ac:spMkLst>
            <pc:docMk/>
            <pc:sldMk cId="1459118046" sldId="288"/>
            <ac:spMk id="26" creationId="{F420E5CB-3D9D-458C-56DF-AF2792018047}"/>
          </ac:spMkLst>
        </pc:spChg>
        <pc:spChg chg="mod">
          <ac:chgData name="Joelle Brehm" userId="a518f54c-6985-42c0-8041-2bb16a414839" providerId="ADAL" clId="{D2DE92CD-AADB-43BF-8B53-266FBFF8B69D}" dt="2024-02-05T21:52:16.068" v="42658"/>
          <ac:spMkLst>
            <pc:docMk/>
            <pc:sldMk cId="1459118046" sldId="288"/>
            <ac:spMk id="29" creationId="{540439B0-A678-8AD6-C88E-52118F5A08A3}"/>
          </ac:spMkLst>
        </pc:spChg>
        <pc:spChg chg="mod ord">
          <ac:chgData name="Joelle Brehm" userId="a518f54c-6985-42c0-8041-2bb16a414839" providerId="ADAL" clId="{D2DE92CD-AADB-43BF-8B53-266FBFF8B69D}" dt="2024-02-05T21:52:16.068" v="42645"/>
          <ac:spMkLst>
            <pc:docMk/>
            <pc:sldMk cId="1459118046" sldId="28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D2DE92CD-AADB-43BF-8B53-266FBFF8B69D}" dt="2024-02-05T21:51:56.087" v="41687"/>
          <ac:spMkLst>
            <pc:docMk/>
            <pc:sldMk cId="1459118046" sldId="288"/>
            <ac:spMk id="31" creationId="{A72DC7C2-9620-FF34-E7CB-4C8753FF991A}"/>
          </ac:spMkLst>
        </pc:spChg>
        <pc:spChg chg="mod">
          <ac:chgData name="Joelle Brehm" userId="a518f54c-6985-42c0-8041-2bb16a414839" providerId="ADAL" clId="{D2DE92CD-AADB-43BF-8B53-266FBFF8B69D}" dt="2024-02-05T21:52:16.068" v="42651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D2DE92CD-AADB-43BF-8B53-266FBFF8B69D}" dt="2024-02-05T21:51:58.074" v="41869"/>
          <ac:spMkLst>
            <pc:docMk/>
            <pc:sldMk cId="1459118046" sldId="288"/>
            <ac:spMk id="34" creationId="{D0DD40EE-191F-48DA-A414-7EDFEC9DB67C}"/>
          </ac:spMkLst>
        </pc:spChg>
        <pc:spChg chg="mod">
          <ac:chgData name="Joelle Brehm" userId="a518f54c-6985-42c0-8041-2bb16a414839" providerId="ADAL" clId="{D2DE92CD-AADB-43BF-8B53-266FBFF8B69D}" dt="2024-02-05T21:52:16.084" v="42707"/>
          <ac:spMkLst>
            <pc:docMk/>
            <pc:sldMk cId="1459118046" sldId="288"/>
            <ac:spMk id="35" creationId="{6B934B86-5715-3E83-5B96-BD8EBE06A322}"/>
          </ac:spMkLst>
        </pc:spChg>
        <pc:spChg chg="add del mod modVis">
          <ac:chgData name="Joelle Brehm" userId="a518f54c-6985-42c0-8041-2bb16a414839" providerId="ADAL" clId="{D2DE92CD-AADB-43BF-8B53-266FBFF8B69D}" dt="2024-02-05T21:52:00.486" v="42084"/>
          <ac:spMkLst>
            <pc:docMk/>
            <pc:sldMk cId="1459118046" sldId="288"/>
            <ac:spMk id="37" creationId="{8803F2EC-14FC-623A-6B91-1D06818E9584}"/>
          </ac:spMkLst>
        </pc:spChg>
        <pc:spChg chg="add del mod replST">
          <ac:chgData name="Joelle Brehm" userId="a518f54c-6985-42c0-8041-2bb16a414839" providerId="ADAL" clId="{D2DE92CD-AADB-43BF-8B53-266FBFF8B69D}" dt="2024-02-05T21:52:01.788" v="42140"/>
          <ac:spMkLst>
            <pc:docMk/>
            <pc:sldMk cId="1459118046" sldId="288"/>
            <ac:spMk id="38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2:01.841" v="42224"/>
          <ac:spMkLst>
            <pc:docMk/>
            <pc:sldMk cId="1459118046" sldId="288"/>
            <ac:spMk id="41" creationId="{D6B3F9B6-0AAE-6459-A6DD-B442B527C40E}"/>
          </ac:spMkLst>
        </pc:spChg>
        <pc:spChg chg="add del mod modVis">
          <ac:chgData name="Joelle Brehm" userId="a518f54c-6985-42c0-8041-2bb16a414839" providerId="ADAL" clId="{D2DE92CD-AADB-43BF-8B53-266FBFF8B69D}" dt="2024-02-05T21:52:02.743" v="42442"/>
          <ac:spMkLst>
            <pc:docMk/>
            <pc:sldMk cId="1459118046" sldId="288"/>
            <ac:spMk id="43" creationId="{3F8B925E-B7C3-C7A3-977E-2E846A097068}"/>
          </ac:spMkLst>
        </pc:spChg>
        <pc:spChg chg="add del mod ord replST">
          <ac:chgData name="Joelle Brehm" userId="a518f54c-6985-42c0-8041-2bb16a414839" providerId="ADAL" clId="{D2DE92CD-AADB-43BF-8B53-266FBFF8B69D}" dt="2024-02-05T21:52:05.986" v="42499"/>
          <ac:spMkLst>
            <pc:docMk/>
            <pc:sldMk cId="1459118046" sldId="288"/>
            <ac:spMk id="44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2:06.038" v="42583"/>
          <ac:spMkLst>
            <pc:docMk/>
            <pc:sldMk cId="1459118046" sldId="288"/>
            <ac:spMk id="46" creationId="{DFA2FB61-1501-FC45-387F-3FD2CD7BA23A}"/>
          </ac:spMkLst>
        </pc:spChg>
        <pc:spChg chg="add del mod modVis">
          <ac:chgData name="Joelle Brehm" userId="a518f54c-6985-42c0-8041-2bb16a414839" providerId="ADAL" clId="{D2DE92CD-AADB-43BF-8B53-266FBFF8B69D}" dt="2024-02-05T21:52:16.084" v="42711"/>
          <ac:spMkLst>
            <pc:docMk/>
            <pc:sldMk cId="1459118046" sldId="288"/>
            <ac:spMk id="48" creationId="{9E6E633D-EA25-35BE-CDB9-3E1538BA29E4}"/>
          </ac:spMkLst>
        </pc:spChg>
        <pc:spChg chg="mod ord">
          <ac:chgData name="Joelle Brehm" userId="a518f54c-6985-42c0-8041-2bb16a414839" providerId="ADAL" clId="{D2DE92CD-AADB-43BF-8B53-266FBFF8B69D}" dt="2024-02-05T21:52:16.068" v="42661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52:16.068" v="42663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D2DE92CD-AADB-43BF-8B53-266FBFF8B69D}" dt="2024-02-05T21:52:16.068" v="42691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D2DE92CD-AADB-43BF-8B53-266FBFF8B69D}" dt="2024-02-05T21:52:16.068" v="42680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D2DE92CD-AADB-43BF-8B53-266FBFF8B69D}" dt="2024-02-05T21:52:16.068" v="42675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D2DE92CD-AADB-43BF-8B53-266FBFF8B69D}" dt="2024-02-05T21:52:16.068" v="42686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D2DE92CD-AADB-43BF-8B53-266FBFF8B69D}" dt="2024-02-05T21:52:16.068" v="42681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D2DE92CD-AADB-43BF-8B53-266FBFF8B69D}" dt="2024-02-05T21:52:16.068" v="42685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D2DE92CD-AADB-43BF-8B53-266FBFF8B69D}" dt="2024-02-05T21:52:16.068" v="42665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D2DE92CD-AADB-43BF-8B53-266FBFF8B69D}" dt="2024-02-05T21:52:16.068" v="42682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D2DE92CD-AADB-43BF-8B53-266FBFF8B69D}" dt="2024-02-05T21:52:16.068" v="42683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D2DE92CD-AADB-43BF-8B53-266FBFF8B69D}" dt="2024-02-05T21:52:16.068" v="42687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D2DE92CD-AADB-43BF-8B53-266FBFF8B69D}" dt="2024-02-05T21:52:16.068" v="42684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D2DE92CD-AADB-43BF-8B53-266FBFF8B69D}" dt="2024-02-05T21:52:16.068" v="42688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D2DE92CD-AADB-43BF-8B53-266FBFF8B69D}" dt="2024-02-05T21:52:16.068" v="42689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D2DE92CD-AADB-43BF-8B53-266FBFF8B69D}" dt="2024-02-05T21:52:16.068" v="42690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D2DE92CD-AADB-43BF-8B53-266FBFF8B69D}" dt="2024-02-05T21:52:16.068" v="42667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52:16.068" v="42669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52:16.068" v="42671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52:16.068" v="42696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D2DE92CD-AADB-43BF-8B53-266FBFF8B69D}" dt="2024-02-05T21:52:16.068" v="42695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D2DE92CD-AADB-43BF-8B53-266FBFF8B69D}" dt="2024-02-05T21:52:16.068" v="42694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D2DE92CD-AADB-43BF-8B53-266FBFF8B69D}" dt="2024-02-05T21:52:16.068" v="42693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D2DE92CD-AADB-43BF-8B53-266FBFF8B69D}" dt="2024-02-05T21:52:16.068" v="42700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D2DE92CD-AADB-43BF-8B53-266FBFF8B69D}" dt="2024-02-05T21:52:16.068" v="42698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D2DE92CD-AADB-43BF-8B53-266FBFF8B69D}" dt="2024-02-05T21:52:16.068" v="42697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D2DE92CD-AADB-43BF-8B53-266FBFF8B69D}" dt="2024-02-05T21:52:16.068" v="42699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D2DE92CD-AADB-43BF-8B53-266FBFF8B69D}" dt="2024-02-05T21:52:16.084" v="42705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D2DE92CD-AADB-43BF-8B53-266FBFF8B69D}" dt="2024-02-05T21:52:16.084" v="42704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D2DE92CD-AADB-43BF-8B53-266FBFF8B69D}" dt="2024-02-05T21:52:16.068" v="42703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D2DE92CD-AADB-43BF-8B53-266FBFF8B69D}" dt="2024-02-05T21:52:16.084" v="42706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D2DE92CD-AADB-43BF-8B53-266FBFF8B69D}" dt="2024-02-05T21:52:16.099" v="42713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2:16.068" v="42679"/>
          <ac:graphicFrameMkLst>
            <pc:docMk/>
            <pc:sldMk cId="1459118046" sldId="288"/>
            <ac:graphicFrameMk id="8" creationId="{E8D830B4-A012-5612-22BD-2A137093FDDE}"/>
          </ac:graphicFrameMkLst>
        </pc:graphicFrameChg>
        <pc:graphicFrameChg chg="del">
          <ac:chgData name="Joelle Brehm" userId="a518f54c-6985-42c0-8041-2bb16a414839" providerId="ADAL" clId="{D2DE92CD-AADB-43BF-8B53-266FBFF8B69D}" dt="2024-02-05T21:51:23.090" v="40731"/>
          <ac:graphicFrameMkLst>
            <pc:docMk/>
            <pc:sldMk cId="1459118046" sldId="288"/>
            <ac:graphicFrameMk id="11" creationId="{3B546974-513A-4B07-6C0F-F1078E23B68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2:16.031" v="42629"/>
          <ac:graphicFrameMkLst>
            <pc:docMk/>
            <pc:sldMk cId="1459118046" sldId="288"/>
            <ac:graphicFrameMk id="14" creationId="{672F4F0A-2F58-A9C4-2A68-4A53EBE4A1C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1:56.010" v="41593"/>
          <ac:graphicFrameMkLst>
            <pc:docMk/>
            <pc:sldMk cId="1459118046" sldId="288"/>
            <ac:graphicFrameMk id="27" creationId="{23605472-8908-AB67-EE2D-F42AA3F23D12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1:48.246" v="41044"/>
          <ac:graphicFrameMkLst>
            <pc:docMk/>
            <pc:sldMk cId="1459118046" sldId="288"/>
            <ac:graphicFrameMk id="28" creationId="{11AA0EDB-0F10-286A-B7BB-66A02D56812B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1:58.006" v="41787"/>
          <ac:graphicFrameMkLst>
            <pc:docMk/>
            <pc:sldMk cId="1459118046" sldId="288"/>
            <ac:graphicFrameMk id="33" creationId="{896A11ED-5AC2-B6C5-361C-95F15F560B1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2:00.439" v="41990"/>
          <ac:graphicFrameMkLst>
            <pc:docMk/>
            <pc:sldMk cId="1459118046" sldId="288"/>
            <ac:graphicFrameMk id="36" creationId="{F55264CC-0BD7-9603-0306-8C2219DB40F6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1:54.813" v="41425"/>
          <ac:graphicFrameMkLst>
            <pc:docMk/>
            <pc:sldMk cId="1459118046" sldId="288"/>
            <ac:graphicFrameMk id="39" creationId="{CEED2DF2-729A-9629-0175-9D7D5418832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2:01.788" v="42142"/>
          <ac:graphicFrameMkLst>
            <pc:docMk/>
            <pc:sldMk cId="1459118046" sldId="288"/>
            <ac:graphicFrameMk id="40" creationId="{8DC9565F-E936-A594-6371-9E069E185CCC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2:02.706" v="42347"/>
          <ac:graphicFrameMkLst>
            <pc:docMk/>
            <pc:sldMk cId="1459118046" sldId="288"/>
            <ac:graphicFrameMk id="42" creationId="{41527691-128A-DB19-7D98-C6ACE699D534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2:05.986" v="42501"/>
          <ac:graphicFrameMkLst>
            <pc:docMk/>
            <pc:sldMk cId="1459118046" sldId="288"/>
            <ac:graphicFrameMk id="45" creationId="{E272EBC6-5FDB-B16F-1434-37BF6661864A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2:16.068" v="42647"/>
          <ac:graphicFrameMkLst>
            <pc:docMk/>
            <pc:sldMk cId="1459118046" sldId="288"/>
            <ac:graphicFrameMk id="47" creationId="{A6B6CF40-1586-EB22-0D4C-FADFBEE4800D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2:16.068" v="42702"/>
          <ac:graphicFrameMkLst>
            <pc:docMk/>
            <pc:sldMk cId="1459118046" sldId="288"/>
            <ac:graphicFrameMk id="49" creationId="{6CD39900-B096-002C-DDF2-678C063CA3B2}"/>
          </ac:graphicFrameMkLst>
        </pc:graphicFrameChg>
        <pc:picChg chg="add mod ord">
          <ac:chgData name="Joelle Brehm" userId="a518f54c-6985-42c0-8041-2bb16a414839" providerId="ADAL" clId="{D2DE92CD-AADB-43BF-8B53-266FBFF8B69D}" dt="2024-02-05T21:52:16.052" v="42637"/>
          <ac:picMkLst>
            <pc:docMk/>
            <pc:sldMk cId="1459118046" sldId="288"/>
            <ac:picMk id="9" creationId="{F903B9E9-BC80-AABB-EBF9-59BC774E82C8}"/>
          </ac:picMkLst>
        </pc:picChg>
        <pc:picChg chg="del mod ord">
          <ac:chgData name="Joelle Brehm" userId="a518f54c-6985-42c0-8041-2bb16a414839" providerId="ADAL" clId="{D2DE92CD-AADB-43BF-8B53-266FBFF8B69D}" dt="2024-02-05T21:51:34.898" v="40902" actId="478"/>
          <ac:picMkLst>
            <pc:docMk/>
            <pc:sldMk cId="1459118046" sldId="288"/>
            <ac:picMk id="12" creationId="{E8F68E91-E49D-94D9-E6D8-492A7F028DA0}"/>
          </ac:picMkLst>
        </pc:picChg>
        <pc:picChg chg="mod ord">
          <ac:chgData name="Joelle Brehm" userId="a518f54c-6985-42c0-8041-2bb16a414839" providerId="ADAL" clId="{D2DE92CD-AADB-43BF-8B53-266FBFF8B69D}" dt="2024-02-05T21:52:16.068" v="42673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52:16.068" v="42641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53:11.320" v="44908"/>
        <pc:sldMkLst>
          <pc:docMk/>
          <pc:sldMk cId="10849840" sldId="290"/>
        </pc:sldMkLst>
        <pc:spChg chg="add del mod">
          <ac:chgData name="Joelle Brehm" userId="a518f54c-6985-42c0-8041-2bb16a414839" providerId="ADAL" clId="{D2DE92CD-AADB-43BF-8B53-266FBFF8B69D}" dt="2024-02-05T21:52:28.120" v="42714" actId="478"/>
          <ac:spMkLst>
            <pc:docMk/>
            <pc:sldMk cId="10849840" sldId="290"/>
            <ac:spMk id="2" creationId="{435DE940-B3ED-B9A8-6957-FB578A7A06F5}"/>
          </ac:spMkLst>
        </pc:spChg>
        <pc:spChg chg="mod ord">
          <ac:chgData name="Joelle Brehm" userId="a518f54c-6985-42c0-8041-2bb16a414839" providerId="ADAL" clId="{D2DE92CD-AADB-43BF-8B53-266FBFF8B69D}" dt="2024-02-05T21:53:11.300" v="44902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D2DE92CD-AADB-43BF-8B53-266FBFF8B69D}" dt="2024-02-05T21:53:11.300" v="44869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D2DE92CD-AADB-43BF-8B53-266FBFF8B69D}" dt="2024-02-05T21:53:11.284" v="44834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D2DE92CD-AADB-43BF-8B53-266FBFF8B69D}" dt="2024-02-05T21:52:31.094" v="42937"/>
          <ac:spMkLst>
            <pc:docMk/>
            <pc:sldMk cId="10849840" sldId="290"/>
            <ac:spMk id="8" creationId="{C914AF6E-7970-DEDD-8571-262669C35B9C}"/>
          </ac:spMkLst>
        </pc:spChg>
        <pc:spChg chg="mod">
          <ac:chgData name="Joelle Brehm" userId="a518f54c-6985-42c0-8041-2bb16a414839" providerId="ADAL" clId="{D2DE92CD-AADB-43BF-8B53-266FBFF8B69D}" dt="2024-02-05T21:53:11.284" v="44845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53:11.284" v="44841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53:11.284" v="44842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53:11.284" v="44839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53:11.284" v="44840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53:11.284" v="44843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53:11.284" v="44844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53:11.284" v="44846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53:11.284" v="44847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53:11.284" v="44848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53:11.284" v="44849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53:11.300" v="44850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53:11.300" v="44852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53:11.300" v="44855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53:11.300" v="44857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53:11.300" v="44856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53:11.300" v="44860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53:11.300" v="44861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53:11.300" v="44859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53:11.300" v="44863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53:11.300" v="44874"/>
          <ac:spMkLst>
            <pc:docMk/>
            <pc:sldMk cId="10849840" sldId="290"/>
            <ac:spMk id="32" creationId="{6EC9F26A-A939-514C-7EDB-F425DFFD4036}"/>
          </ac:spMkLst>
        </pc:spChg>
        <pc:spChg chg="mod">
          <ac:chgData name="Joelle Brehm" userId="a518f54c-6985-42c0-8041-2bb16a414839" providerId="ADAL" clId="{D2DE92CD-AADB-43BF-8B53-266FBFF8B69D}" dt="2024-02-05T21:53:11.300" v="44870"/>
          <ac:spMkLst>
            <pc:docMk/>
            <pc:sldMk cId="10849840" sldId="290"/>
            <ac:spMk id="33" creationId="{A55B1EF4-73C4-D584-0203-A74707EA08E2}"/>
          </ac:spMkLst>
        </pc:spChg>
        <pc:spChg chg="add del mod modVis">
          <ac:chgData name="Joelle Brehm" userId="a518f54c-6985-42c0-8041-2bb16a414839" providerId="ADAL" clId="{D2DE92CD-AADB-43BF-8B53-266FBFF8B69D}" dt="2024-02-05T21:52:49.538" v="43236"/>
          <ac:spMkLst>
            <pc:docMk/>
            <pc:sldMk cId="10849840" sldId="290"/>
            <ac:spMk id="35" creationId="{456DB872-5EB0-2099-4B53-3A12E7A325F5}"/>
          </ac:spMkLst>
        </pc:spChg>
        <pc:spChg chg="mod ord">
          <ac:chgData name="Joelle Brehm" userId="a518f54c-6985-42c0-8041-2bb16a414839" providerId="ADAL" clId="{D2DE92CD-AADB-43BF-8B53-266FBFF8B69D}" dt="2024-02-05T21:53:11.300" v="44854"/>
          <ac:spMkLst>
            <pc:docMk/>
            <pc:sldMk cId="10849840" sldId="290"/>
            <ac:spMk id="37" creationId="{6E6D97FF-E2E0-42EA-A83A-C3DF9F3514AE}"/>
          </ac:spMkLst>
        </pc:spChg>
        <pc:spChg chg="del mod">
          <ac:chgData name="Joelle Brehm" userId="a518f54c-6985-42c0-8041-2bb16a414839" providerId="ADAL" clId="{D2DE92CD-AADB-43BF-8B53-266FBFF8B69D}" dt="2024-02-05T21:52:57.246" v="43765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D2DE92CD-AADB-43BF-8B53-266FBFF8B69D}" dt="2024-02-05T21:53:11.300" v="44866"/>
          <ac:spMkLst>
            <pc:docMk/>
            <pc:sldMk cId="10849840" sldId="290"/>
            <ac:spMk id="39" creationId="{810C784D-B902-D4A3-E0DE-5483A97F9C49}"/>
          </ac:spMkLst>
        </pc:spChg>
        <pc:spChg chg="add mod replST">
          <ac:chgData name="Joelle Brehm" userId="a518f54c-6985-42c0-8041-2bb16a414839" providerId="ADAL" clId="{D2DE92CD-AADB-43BF-8B53-266FBFF8B69D}" dt="2024-02-05T21:53:11.300" v="44877"/>
          <ac:spMkLst>
            <pc:docMk/>
            <pc:sldMk cId="10849840" sldId="290"/>
            <ac:spMk id="40" creationId="{A1E94C84-A04D-D474-C19C-53F6E4D29899}"/>
          </ac:spMkLst>
        </pc:spChg>
        <pc:spChg chg="add del mod modVis">
          <ac:chgData name="Joelle Brehm" userId="a518f54c-6985-42c0-8041-2bb16a414839" providerId="ADAL" clId="{D2DE92CD-AADB-43BF-8B53-266FBFF8B69D}" dt="2024-02-05T21:52:54.671" v="43593"/>
          <ac:spMkLst>
            <pc:docMk/>
            <pc:sldMk cId="10849840" sldId="290"/>
            <ac:spMk id="41" creationId="{026C3C64-F462-B53F-B85D-352573E85532}"/>
          </ac:spMkLst>
        </pc:spChg>
        <pc:spChg chg="mod">
          <ac:chgData name="Joelle Brehm" userId="a518f54c-6985-42c0-8041-2bb16a414839" providerId="ADAL" clId="{D2DE92CD-AADB-43BF-8B53-266FBFF8B69D}" dt="2024-02-05T21:53:11.300" v="44871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D2DE92CD-AADB-43BF-8B53-266FBFF8B69D}" dt="2024-02-05T21:53:11.300" v="44872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D2DE92CD-AADB-43BF-8B53-266FBFF8B69D}" dt="2024-02-05T21:53:11.300" v="44867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D2DE92CD-AADB-43BF-8B53-266FBFF8B69D}" dt="2024-02-05T21:53:11.300" v="44875"/>
          <ac:spMkLst>
            <pc:docMk/>
            <pc:sldMk cId="10849840" sldId="290"/>
            <ac:spMk id="45" creationId="{552BD52A-8984-63D8-5FA9-87FE57296EC3}"/>
          </ac:spMkLst>
        </pc:spChg>
        <pc:spChg chg="mod">
          <ac:chgData name="Joelle Brehm" userId="a518f54c-6985-42c0-8041-2bb16a414839" providerId="ADAL" clId="{D2DE92CD-AADB-43BF-8B53-266FBFF8B69D}" dt="2024-02-05T21:53:11.300" v="44868"/>
          <ac:spMkLst>
            <pc:docMk/>
            <pc:sldMk cId="10849840" sldId="290"/>
            <ac:spMk id="46" creationId="{3E1C433A-5376-E641-B9A1-4367058A9B7F}"/>
          </ac:spMkLst>
        </pc:spChg>
        <pc:spChg chg="mod">
          <ac:chgData name="Joelle Brehm" userId="a518f54c-6985-42c0-8041-2bb16a414839" providerId="ADAL" clId="{D2DE92CD-AADB-43BF-8B53-266FBFF8B69D}" dt="2024-02-05T21:53:11.300" v="44873"/>
          <ac:spMkLst>
            <pc:docMk/>
            <pc:sldMk cId="10849840" sldId="290"/>
            <ac:spMk id="47" creationId="{0E162DBF-E60F-A83B-56A5-E40D4E5B4D77}"/>
          </ac:spMkLst>
        </pc:spChg>
        <pc:spChg chg="add del mod modVis">
          <ac:chgData name="Joelle Brehm" userId="a518f54c-6985-42c0-8041-2bb16a414839" providerId="ADAL" clId="{D2DE92CD-AADB-43BF-8B53-266FBFF8B69D}" dt="2024-02-05T21:52:55.662" v="43762"/>
          <ac:spMkLst>
            <pc:docMk/>
            <pc:sldMk cId="10849840" sldId="290"/>
            <ac:spMk id="49" creationId="{97A7494B-FEC3-7F38-7B7C-18EA85A76D62}"/>
          </ac:spMkLst>
        </pc:spChg>
        <pc:spChg chg="mod">
          <ac:chgData name="Joelle Brehm" userId="a518f54c-6985-42c0-8041-2bb16a414839" providerId="ADAL" clId="{D2DE92CD-AADB-43BF-8B53-266FBFF8B69D}" dt="2024-02-05T21:53:11.300" v="44876"/>
          <ac:spMkLst>
            <pc:docMk/>
            <pc:sldMk cId="10849840" sldId="290"/>
            <ac:spMk id="52" creationId="{DC96C436-B81F-F984-27FA-D181BC415FF2}"/>
          </ac:spMkLst>
        </pc:spChg>
        <pc:spChg chg="add del mod modVis">
          <ac:chgData name="Joelle Brehm" userId="a518f54c-6985-42c0-8041-2bb16a414839" providerId="ADAL" clId="{D2DE92CD-AADB-43BF-8B53-266FBFF8B69D}" dt="2024-02-05T21:52:57.506" v="43940"/>
          <ac:spMkLst>
            <pc:docMk/>
            <pc:sldMk cId="10849840" sldId="290"/>
            <ac:spMk id="53" creationId="{37ABB1BD-5A0E-B890-51FB-0B0BA4452386}"/>
          </ac:spMkLst>
        </pc:spChg>
        <pc:spChg chg="add del mod modVis">
          <ac:chgData name="Joelle Brehm" userId="a518f54c-6985-42c0-8041-2bb16a414839" providerId="ADAL" clId="{D2DE92CD-AADB-43BF-8B53-266FBFF8B69D}" dt="2024-02-05T21:53:01.224" v="44151"/>
          <ac:spMkLst>
            <pc:docMk/>
            <pc:sldMk cId="10849840" sldId="290"/>
            <ac:spMk id="55" creationId="{FE265459-E229-F013-2A98-F5868E688B04}"/>
          </ac:spMkLst>
        </pc:spChg>
        <pc:spChg chg="add del mod replST">
          <ac:chgData name="Joelle Brehm" userId="a518f54c-6985-42c0-8041-2bb16a414839" providerId="ADAL" clId="{D2DE92CD-AADB-43BF-8B53-266FBFF8B69D}" dt="2024-02-05T21:53:02.475" v="44203"/>
          <ac:spMkLst>
            <pc:docMk/>
            <pc:sldMk cId="10849840" sldId="290"/>
            <ac:spMk id="56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3:02.521" v="44287"/>
          <ac:spMkLst>
            <pc:docMk/>
            <pc:sldMk cId="10849840" sldId="290"/>
            <ac:spMk id="58" creationId="{B0C97574-FDCA-32E8-56FA-BDCF6195BB2C}"/>
          </ac:spMkLst>
        </pc:spChg>
        <pc:spChg chg="mod ord">
          <ac:chgData name="Joelle Brehm" userId="a518f54c-6985-42c0-8041-2bb16a414839" providerId="ADAL" clId="{D2DE92CD-AADB-43BF-8B53-266FBFF8B69D}" dt="2024-02-05T21:53:11.300" v="44900"/>
          <ac:spMkLst>
            <pc:docMk/>
            <pc:sldMk cId="10849840" sldId="290"/>
            <ac:spMk id="60" creationId="{AB5689A7-20F6-4DF1-88AE-FB8557333BFB}"/>
          </ac:spMkLst>
        </pc:spChg>
        <pc:spChg chg="add del mod modVis">
          <ac:chgData name="Joelle Brehm" userId="a518f54c-6985-42c0-8041-2bb16a414839" providerId="ADAL" clId="{D2DE92CD-AADB-43BF-8B53-266FBFF8B69D}" dt="2024-02-05T21:53:03.234" v="44501"/>
          <ac:spMkLst>
            <pc:docMk/>
            <pc:sldMk cId="10849840" sldId="290"/>
            <ac:spMk id="61" creationId="{EEEAC4FB-2E6B-B616-C8EA-49DA900B1684}"/>
          </ac:spMkLst>
        </pc:spChg>
        <pc:spChg chg="add del mod ord replST">
          <ac:chgData name="Joelle Brehm" userId="a518f54c-6985-42c0-8041-2bb16a414839" providerId="ADAL" clId="{D2DE92CD-AADB-43BF-8B53-266FBFF8B69D}" dt="2024-02-05T21:53:06.005" v="44554"/>
          <ac:spMkLst>
            <pc:docMk/>
            <pc:sldMk cId="10849840" sldId="290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3:06.046" v="44638"/>
          <ac:spMkLst>
            <pc:docMk/>
            <pc:sldMk cId="10849840" sldId="290"/>
            <ac:spMk id="65" creationId="{55177901-D0BB-7F67-5989-C19C381A39C6}"/>
          </ac:spMkLst>
        </pc:spChg>
        <pc:spChg chg="add del mod modVis">
          <ac:chgData name="Joelle Brehm" userId="a518f54c-6985-42c0-8041-2bb16a414839" providerId="ADAL" clId="{D2DE92CD-AADB-43BF-8B53-266FBFF8B69D}" dt="2024-02-05T21:53:09.384" v="44772"/>
          <ac:spMkLst>
            <pc:docMk/>
            <pc:sldMk cId="10849840" sldId="290"/>
            <ac:spMk id="67" creationId="{BA36A32D-05F8-2FE4-150D-93B9C2EE3A14}"/>
          </ac:spMkLst>
        </pc:spChg>
        <pc:spChg chg="add del mod modVis">
          <ac:chgData name="Joelle Brehm" userId="a518f54c-6985-42c0-8041-2bb16a414839" providerId="ADAL" clId="{D2DE92CD-AADB-43BF-8B53-266FBFF8B69D}" dt="2024-02-05T21:53:11.300" v="44906"/>
          <ac:spMkLst>
            <pc:docMk/>
            <pc:sldMk cId="10849840" sldId="290"/>
            <ac:spMk id="69" creationId="{085572CC-8E57-297C-8255-A94AA22A28F9}"/>
          </ac:spMkLst>
        </pc:spChg>
        <pc:spChg chg="mod">
          <ac:chgData name="Joelle Brehm" userId="a518f54c-6985-42c0-8041-2bb16a414839" providerId="ADAL" clId="{D2DE92CD-AADB-43BF-8B53-266FBFF8B69D}" dt="2024-02-05T21:53:11.300" v="44858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D2DE92CD-AADB-43BF-8B53-266FBFF8B69D}" dt="2024-02-05T21:53:11.300" v="44879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53:11.300" v="44881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53:11.300" v="44883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53:11.300" v="44885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53:11.300" v="44887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53:11.300" v="44889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53:11.300" v="44892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3:11.300" v="44893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3:11.300" v="44894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3:11.300" v="44895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53:11.300" v="44896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53:11.320" v="44908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D2DE92CD-AADB-43BF-8B53-266FBFF8B69D}" dt="2024-02-05T21:52:31.019" v="42849"/>
          <ac:graphicFrameMkLst>
            <pc:docMk/>
            <pc:sldMk cId="10849840" sldId="290"/>
            <ac:graphicFrameMk id="9" creationId="{DCDF2E19-4D6B-ED3A-9947-80BBB62BFA1B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3:11.284" v="44838"/>
          <ac:graphicFrameMkLst>
            <pc:docMk/>
            <pc:sldMk cId="10849840" sldId="290"/>
            <ac:graphicFrameMk id="31" creationId="{F97447D6-DA76-C532-DD63-4CF6CD651226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3:11.300" v="44891"/>
          <ac:graphicFrameMkLst>
            <pc:docMk/>
            <pc:sldMk cId="10849840" sldId="290"/>
            <ac:graphicFrameMk id="36" creationId="{56133EAF-EDF2-FE3A-356B-F82D74DBC62E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2:55.528" v="43668"/>
          <ac:graphicFrameMkLst>
            <pc:docMk/>
            <pc:sldMk cId="10849840" sldId="290"/>
            <ac:graphicFrameMk id="48" creationId="{BED27D7A-D181-B8FF-B32C-5D8E5328B29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2:57.390" v="43858"/>
          <ac:graphicFrameMkLst>
            <pc:docMk/>
            <pc:sldMk cId="10849840" sldId="290"/>
            <ac:graphicFrameMk id="50" creationId="{B3F2091A-0CD3-6AA5-4720-8434277D4A1D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2:49.444" v="43154"/>
          <ac:graphicFrameMkLst>
            <pc:docMk/>
            <pc:sldMk cId="10849840" sldId="290"/>
            <ac:graphicFrameMk id="51" creationId="{46065D39-907B-1B5B-0FF3-0D15FE509B2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01.163" v="44057"/>
          <ac:graphicFrameMkLst>
            <pc:docMk/>
            <pc:sldMk cId="10849840" sldId="290"/>
            <ac:graphicFrameMk id="54" creationId="{492F53FD-19E5-956D-84A4-0E84803E185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02.479" v="44205"/>
          <ac:graphicFrameMkLst>
            <pc:docMk/>
            <pc:sldMk cId="10849840" sldId="290"/>
            <ac:graphicFrameMk id="57" creationId="{60B5D62C-B467-98FC-84FA-3D86E3454A7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03.187" v="44406"/>
          <ac:graphicFrameMkLst>
            <pc:docMk/>
            <pc:sldMk cId="10849840" sldId="290"/>
            <ac:graphicFrameMk id="59" creationId="{639E4FFE-2611-96C2-7313-B6F3C4987012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2:54.557" v="43506"/>
          <ac:graphicFrameMkLst>
            <pc:docMk/>
            <pc:sldMk cId="10849840" sldId="290"/>
            <ac:graphicFrameMk id="63" creationId="{190A6B87-A592-F29B-11F6-D7B7B9807A51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06.005" v="44556"/>
          <ac:graphicFrameMkLst>
            <pc:docMk/>
            <pc:sldMk cId="10849840" sldId="290"/>
            <ac:graphicFrameMk id="64" creationId="{86887B2B-B844-6638-51BC-EC64CB1C53D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09.324" v="44690"/>
          <ac:graphicFrameMkLst>
            <pc:docMk/>
            <pc:sldMk cId="10849840" sldId="290"/>
            <ac:graphicFrameMk id="66" creationId="{BFC52FC7-F47B-8DC4-A874-70FD63CACAE2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11.252" v="44824"/>
          <ac:graphicFrameMkLst>
            <pc:docMk/>
            <pc:sldMk cId="10849840" sldId="290"/>
            <ac:graphicFrameMk id="68" creationId="{45AE4A9C-D2C9-EB14-C4EF-25540DE56BB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3:11.300" v="44865"/>
          <ac:graphicFrameMkLst>
            <pc:docMk/>
            <pc:sldMk cId="10849840" sldId="290"/>
            <ac:graphicFrameMk id="70" creationId="{E250B75F-95DD-E2E9-0DB1-7957A651A6BE}"/>
          </ac:graphicFrameMkLst>
        </pc:graphicFrameChg>
        <pc:picChg chg="del mod ord">
          <ac:chgData name="Joelle Brehm" userId="a518f54c-6985-42c0-8041-2bb16a414839" providerId="ADAL" clId="{D2DE92CD-AADB-43BF-8B53-266FBFF8B69D}" dt="2024-02-05T21:52:41.990" v="43024" actId="478"/>
          <ac:picMkLst>
            <pc:docMk/>
            <pc:sldMk cId="10849840" sldId="290"/>
            <ac:picMk id="10" creationId="{54FF7523-9E11-5B83-82AE-C2C78BFDE45E}"/>
          </ac:picMkLst>
        </pc:picChg>
        <pc:picChg chg="add mod ord">
          <ac:chgData name="Joelle Brehm" userId="a518f54c-6985-42c0-8041-2bb16a414839" providerId="ADAL" clId="{D2DE92CD-AADB-43BF-8B53-266FBFF8B69D}" dt="2024-02-05T21:53:11.284" v="44832"/>
          <ac:picMkLst>
            <pc:docMk/>
            <pc:sldMk cId="10849840" sldId="290"/>
            <ac:picMk id="34" creationId="{A4AA80EF-A0E2-DFE9-97AC-F2FCA242157E}"/>
          </ac:picMkLst>
        </pc:picChg>
        <pc:picChg chg="mod ord">
          <ac:chgData name="Joelle Brehm" userId="a518f54c-6985-42c0-8041-2bb16a414839" providerId="ADAL" clId="{D2DE92CD-AADB-43BF-8B53-266FBFF8B69D}" dt="2024-02-05T21:53:11.300" v="44898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53:11.284" v="44836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54:50.168" v="47554"/>
        <pc:sldMkLst>
          <pc:docMk/>
          <pc:sldMk cId="996393659" sldId="291"/>
        </pc:sldMkLst>
        <pc:spChg chg="mod ord">
          <ac:chgData name="Joelle Brehm" userId="a518f54c-6985-42c0-8041-2bb16a414839" providerId="ADAL" clId="{D2DE92CD-AADB-43BF-8B53-266FBFF8B69D}" dt="2024-02-05T21:54:50.149" v="47548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D2DE92CD-AADB-43BF-8B53-266FBFF8B69D}" dt="2024-02-05T21:54:09.438" v="46343" actId="478"/>
          <ac:spMkLst>
            <pc:docMk/>
            <pc:sldMk cId="996393659" sldId="291"/>
            <ac:spMk id="3" creationId="{72238F78-711B-3E80-A057-DBE202FC55D6}"/>
          </ac:spMkLst>
        </pc:spChg>
        <pc:spChg chg="add del mod modVis">
          <ac:chgData name="Joelle Brehm" userId="a518f54c-6985-42c0-8041-2bb16a414839" providerId="ADAL" clId="{D2DE92CD-AADB-43BF-8B53-266FBFF8B69D}" dt="2024-02-05T21:54:11.987" v="46562"/>
          <ac:spMkLst>
            <pc:docMk/>
            <pc:sldMk cId="996393659" sldId="291"/>
            <ac:spMk id="5" creationId="{30BEDD47-5533-23D9-FB75-7C5D16D3BA42}"/>
          </ac:spMkLst>
        </pc:spChg>
        <pc:spChg chg="mod ord">
          <ac:chgData name="Joelle Brehm" userId="a518f54c-6985-42c0-8041-2bb16a414839" providerId="ADAL" clId="{D2DE92CD-AADB-43BF-8B53-266FBFF8B69D}" dt="2024-02-05T21:54:50.111" v="47480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54:50.131" v="47491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54:50.127" v="47487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54:50.127" v="47488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54:50.127" v="47485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54:50.127" v="47486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54:50.129" v="47489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54:50.130" v="47490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54:50.131" v="47492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54:50.131" v="47493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54:50.133" v="47494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54:50.133" v="47495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54:50.133" v="47496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54:50.133" v="47498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54:50.133" v="47501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54:50.133" v="47503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54:50.133" v="47502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54:50.133" v="47506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54:50.133" v="47507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54:50.133" v="47505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54:50.133" v="47509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D2DE92CD-AADB-43BF-8B53-266FBFF8B69D}" dt="2024-02-05T21:54:50.133" v="47520"/>
          <ac:spMkLst>
            <pc:docMk/>
            <pc:sldMk cId="996393659" sldId="291"/>
            <ac:spMk id="32" creationId="{27A91E20-CA24-9C21-342D-ABA565F5471B}"/>
          </ac:spMkLst>
        </pc:spChg>
        <pc:spChg chg="add mod replST">
          <ac:chgData name="Joelle Brehm" userId="a518f54c-6985-42c0-8041-2bb16a414839" providerId="ADAL" clId="{D2DE92CD-AADB-43BF-8B53-266FBFF8B69D}" dt="2024-02-05T21:54:50.133" v="47523"/>
          <ac:spMkLst>
            <pc:docMk/>
            <pc:sldMk cId="996393659" sldId="291"/>
            <ac:spMk id="33" creationId="{CB5C8FD5-055D-6A27-CF2F-C337C198975F}"/>
          </ac:spMkLst>
        </pc:spChg>
        <pc:spChg chg="add del mod modVis">
          <ac:chgData name="Joelle Brehm" userId="a518f54c-6985-42c0-8041-2bb16a414839" providerId="ADAL" clId="{D2DE92CD-AADB-43BF-8B53-266FBFF8B69D}" dt="2024-02-05T21:54:35.274" v="47021"/>
          <ac:spMkLst>
            <pc:docMk/>
            <pc:sldMk cId="996393659" sldId="291"/>
            <ac:spMk id="34" creationId="{BA2AE6A4-B5CE-066C-2B13-321A937816C5}"/>
          </ac:spMkLst>
        </pc:spChg>
        <pc:spChg chg="mod ord">
          <ac:chgData name="Joelle Brehm" userId="a518f54c-6985-42c0-8041-2bb16a414839" providerId="ADAL" clId="{D2DE92CD-AADB-43BF-8B53-266FBFF8B69D}" dt="2024-02-05T21:54:50.133" v="47500"/>
          <ac:spMkLst>
            <pc:docMk/>
            <pc:sldMk cId="996393659" sldId="291"/>
            <ac:spMk id="37" creationId="{6E6D97FF-E2E0-42EA-A83A-C3DF9F3514AE}"/>
          </ac:spMkLst>
        </pc:spChg>
        <pc:spChg chg="del mod">
          <ac:chgData name="Joelle Brehm" userId="a518f54c-6985-42c0-8041-2bb16a414839" providerId="ADAL" clId="{D2DE92CD-AADB-43BF-8B53-266FBFF8B69D}" dt="2024-02-05T21:54:39.825" v="47193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D2DE92CD-AADB-43BF-8B53-266FBFF8B69D}" dt="2024-02-05T21:54:50.133" v="47512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D2DE92CD-AADB-43BF-8B53-266FBFF8B69D}" dt="2024-02-05T21:54:50.133" v="47515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D2DE92CD-AADB-43BF-8B53-266FBFF8B69D}" dt="2024-02-05T21:54:50.133" v="47516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D2DE92CD-AADB-43BF-8B53-266FBFF8B69D}" dt="2024-02-05T21:54:50.133" v="47513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D2DE92CD-AADB-43BF-8B53-266FBFF8B69D}" dt="2024-02-05T21:54:50.133" v="47517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D2DE92CD-AADB-43BF-8B53-266FBFF8B69D}" dt="2024-02-05T21:54:50.133" v="47514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D2DE92CD-AADB-43BF-8B53-266FBFF8B69D}" dt="2024-02-05T21:54:50.133" v="47518"/>
          <ac:spMkLst>
            <pc:docMk/>
            <pc:sldMk cId="996393659" sldId="291"/>
            <ac:spMk id="45" creationId="{7A6869B6-C6F2-DDAD-D4B2-6D5DE21E6DC6}"/>
          </ac:spMkLst>
        </pc:spChg>
        <pc:spChg chg="mod">
          <ac:chgData name="Joelle Brehm" userId="a518f54c-6985-42c0-8041-2bb16a414839" providerId="ADAL" clId="{D2DE92CD-AADB-43BF-8B53-266FBFF8B69D}" dt="2024-02-05T21:54:50.133" v="47522"/>
          <ac:spMkLst>
            <pc:docMk/>
            <pc:sldMk cId="996393659" sldId="291"/>
            <ac:spMk id="46" creationId="{70F395A2-745A-564E-6009-C9A72EA00DA6}"/>
          </ac:spMkLst>
        </pc:spChg>
        <pc:spChg chg="mod">
          <ac:chgData name="Joelle Brehm" userId="a518f54c-6985-42c0-8041-2bb16a414839" providerId="ADAL" clId="{D2DE92CD-AADB-43BF-8B53-266FBFF8B69D}" dt="2024-02-05T21:54:50.133" v="47519"/>
          <ac:spMkLst>
            <pc:docMk/>
            <pc:sldMk cId="996393659" sldId="291"/>
            <ac:spMk id="47" creationId="{954547EF-AD33-B12C-24C3-BC43A057FE8B}"/>
          </ac:spMkLst>
        </pc:spChg>
        <pc:spChg chg="add del mod modVis">
          <ac:chgData name="Joelle Brehm" userId="a518f54c-6985-42c0-8041-2bb16a414839" providerId="ADAL" clId="{D2DE92CD-AADB-43BF-8B53-266FBFF8B69D}" dt="2024-02-05T21:54:37.942" v="47190"/>
          <ac:spMkLst>
            <pc:docMk/>
            <pc:sldMk cId="996393659" sldId="291"/>
            <ac:spMk id="48" creationId="{5EFBF9B7-1D0C-96D9-6420-CB5D0755E7C2}"/>
          </ac:spMkLst>
        </pc:spChg>
        <pc:spChg chg="add del mod modVis">
          <ac:chgData name="Joelle Brehm" userId="a518f54c-6985-42c0-8041-2bb16a414839" providerId="ADAL" clId="{D2DE92CD-AADB-43BF-8B53-266FBFF8B69D}" dt="2024-02-05T21:54:40.080" v="47366"/>
          <ac:spMkLst>
            <pc:docMk/>
            <pc:sldMk cId="996393659" sldId="291"/>
            <ac:spMk id="50" creationId="{D1580B68-C491-5DAF-1C6E-325551F2DFCB}"/>
          </ac:spMkLst>
        </pc:spChg>
        <pc:spChg chg="add del mod modVis">
          <ac:chgData name="Joelle Brehm" userId="a518f54c-6985-42c0-8041-2bb16a414839" providerId="ADAL" clId="{D2DE92CD-AADB-43BF-8B53-266FBFF8B69D}" dt="2024-02-05T21:54:50.152" v="47552"/>
          <ac:spMkLst>
            <pc:docMk/>
            <pc:sldMk cId="996393659" sldId="291"/>
            <ac:spMk id="52" creationId="{D5FE5D0F-F9B6-2243-0F47-37316A1AC542}"/>
          </ac:spMkLst>
        </pc:spChg>
        <pc:spChg chg="mod">
          <ac:chgData name="Joelle Brehm" userId="a518f54c-6985-42c0-8041-2bb16a414839" providerId="ADAL" clId="{D2DE92CD-AADB-43BF-8B53-266FBFF8B69D}" dt="2024-02-05T21:54:50.133" v="47521"/>
          <ac:spMkLst>
            <pc:docMk/>
            <pc:sldMk cId="996393659" sldId="291"/>
            <ac:spMk id="53" creationId="{BBEFF6A7-9912-F6A1-9F12-1B2BB6B5B810}"/>
          </ac:spMkLst>
        </pc:spChg>
        <pc:spChg chg="mod">
          <ac:chgData name="Joelle Brehm" userId="a518f54c-6985-42c0-8041-2bb16a414839" providerId="ADAL" clId="{D2DE92CD-AADB-43BF-8B53-266FBFF8B69D}" dt="2024-02-05T21:54:50.133" v="47504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D2DE92CD-AADB-43BF-8B53-266FBFF8B69D}" dt="2024-02-05T21:54:50.133" v="47525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54:50.133" v="47527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54:50.149" v="47546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D2DE92CD-AADB-43BF-8B53-266FBFF8B69D}" dt="2024-02-05T21:54:50.133" v="47529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54:50.133" v="47531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54:50.133" v="47533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54:50.133" v="47535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54:50.133" v="47538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4:50.133" v="47539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4:50.133" v="47540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4:50.133" v="47541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54:50.133" v="47542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54:50.168" v="47554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4:50.111" v="47484"/>
          <ac:graphicFrameMkLst>
            <pc:docMk/>
            <pc:sldMk cId="996393659" sldId="291"/>
            <ac:graphicFrameMk id="8" creationId="{36C70261-7D84-2FFB-8789-D6791F8565CC}"/>
          </ac:graphicFrameMkLst>
        </pc:graphicFrameChg>
        <pc:graphicFrameChg chg="del">
          <ac:chgData name="Joelle Brehm" userId="a518f54c-6985-42c0-8041-2bb16a414839" providerId="ADAL" clId="{D2DE92CD-AADB-43BF-8B53-266FBFF8B69D}" dt="2024-02-05T21:54:11.919" v="46478"/>
          <ac:graphicFrameMkLst>
            <pc:docMk/>
            <pc:sldMk cId="996393659" sldId="291"/>
            <ac:graphicFrameMk id="9" creationId="{53B3C5A5-DD72-BADB-8779-CA2061C69C9E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4:50.080" v="47470"/>
          <ac:graphicFrameMkLst>
            <pc:docMk/>
            <pc:sldMk cId="996393659" sldId="291"/>
            <ac:graphicFrameMk id="35" creationId="{3CAF7FD0-DA2E-6572-9E42-D7C5D8C062A3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4:37.863" v="47094"/>
          <ac:graphicFrameMkLst>
            <pc:docMk/>
            <pc:sldMk cId="996393659" sldId="291"/>
            <ac:graphicFrameMk id="36" creationId="{6082C79C-481A-49C7-C29D-865DA2EA6AC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4:39.976" v="47284"/>
          <ac:graphicFrameMkLst>
            <pc:docMk/>
            <pc:sldMk cId="996393659" sldId="291"/>
            <ac:graphicFrameMk id="49" creationId="{845EB7C7-8E1D-22B3-DE18-1782B3771465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4:50.133" v="47511"/>
          <ac:graphicFrameMkLst>
            <pc:docMk/>
            <pc:sldMk cId="996393659" sldId="291"/>
            <ac:graphicFrameMk id="51" creationId="{E568C45B-3B78-A7B3-EBA4-E2C0A1D3A51E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4:50.133" v="47537"/>
          <ac:graphicFrameMkLst>
            <pc:docMk/>
            <pc:sldMk cId="996393659" sldId="291"/>
            <ac:graphicFrameMk id="54" creationId="{5CD17B8F-FBD4-6142-1F81-D8F6ABB696B4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4:35.209" v="46925"/>
          <ac:graphicFrameMkLst>
            <pc:docMk/>
            <pc:sldMk cId="996393659" sldId="291"/>
            <ac:graphicFrameMk id="57" creationId="{59B099B7-E597-DBB8-C283-2C5E6D4311F9}"/>
          </ac:graphicFrameMkLst>
        </pc:graphicFrameChg>
        <pc:picChg chg="del mod ord">
          <ac:chgData name="Joelle Brehm" userId="a518f54c-6985-42c0-8041-2bb16a414839" providerId="ADAL" clId="{D2DE92CD-AADB-43BF-8B53-266FBFF8B69D}" dt="2024-02-05T21:54:28.683" v="46650" actId="478"/>
          <ac:picMkLst>
            <pc:docMk/>
            <pc:sldMk cId="996393659" sldId="291"/>
            <ac:picMk id="10" creationId="{C4E274B8-0002-3ADB-65D6-BC8B9B70C4A8}"/>
          </ac:picMkLst>
        </pc:picChg>
        <pc:picChg chg="add mod ord">
          <ac:chgData name="Joelle Brehm" userId="a518f54c-6985-42c0-8041-2bb16a414839" providerId="ADAL" clId="{D2DE92CD-AADB-43BF-8B53-266FBFF8B69D}" dt="2024-02-05T21:54:50.111" v="47478"/>
          <ac:picMkLst>
            <pc:docMk/>
            <pc:sldMk cId="996393659" sldId="291"/>
            <ac:picMk id="31" creationId="{DB6D7E8F-3508-51B7-CD1C-84C2BDA302D3}"/>
          </ac:picMkLst>
        </pc:picChg>
        <pc:picChg chg="mod ord">
          <ac:chgData name="Joelle Brehm" userId="a518f54c-6985-42c0-8041-2bb16a414839" providerId="ADAL" clId="{D2DE92CD-AADB-43BF-8B53-266FBFF8B69D}" dt="2024-02-05T21:54:50.148" v="47544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54:50.111" v="47482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21:54:00.546" v="46342"/>
        <pc:sldMkLst>
          <pc:docMk/>
          <pc:sldMk cId="3635637425" sldId="292"/>
        </pc:sldMkLst>
        <pc:spChg chg="mod ord">
          <ac:chgData name="Joelle Brehm" userId="a518f54c-6985-42c0-8041-2bb16a414839" providerId="ADAL" clId="{D2DE92CD-AADB-43BF-8B53-266FBFF8B69D}" dt="2024-02-05T21:54:00.530" v="46336"/>
          <ac:spMkLst>
            <pc:docMk/>
            <pc:sldMk cId="3635637425" sldId="292"/>
            <ac:spMk id="2" creationId="{9445A78E-5217-4459-B540-57B5B2359A2E}"/>
          </ac:spMkLst>
        </pc:spChg>
        <pc:spChg chg="add del mod">
          <ac:chgData name="Joelle Brehm" userId="a518f54c-6985-42c0-8041-2bb16a414839" providerId="ADAL" clId="{D2DE92CD-AADB-43BF-8B53-266FBFF8B69D}" dt="2024-02-05T21:53:17.397" v="44909" actId="478"/>
          <ac:spMkLst>
            <pc:docMk/>
            <pc:sldMk cId="3635637425" sldId="292"/>
            <ac:spMk id="3" creationId="{EFA41C40-97ED-39CC-502B-9943B0E04D79}"/>
          </ac:spMkLst>
        </pc:spChg>
        <pc:spChg chg="add del mod modVis">
          <ac:chgData name="Joelle Brehm" userId="a518f54c-6985-42c0-8041-2bb16a414839" providerId="ADAL" clId="{D2DE92CD-AADB-43BF-8B53-266FBFF8B69D}" dt="2024-02-05T21:53:25.941" v="45132"/>
          <ac:spMkLst>
            <pc:docMk/>
            <pc:sldMk cId="3635637425" sldId="292"/>
            <ac:spMk id="5" creationId="{D2E9D5CE-F01F-207E-B0C2-4EC205916C7D}"/>
          </ac:spMkLst>
        </pc:spChg>
        <pc:spChg chg="mod ord">
          <ac:chgData name="Joelle Brehm" userId="a518f54c-6985-42c0-8041-2bb16a414839" providerId="ADAL" clId="{D2DE92CD-AADB-43BF-8B53-266FBFF8B69D}" dt="2024-02-05T21:54:00.514" v="46268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D2DE92CD-AADB-43BF-8B53-266FBFF8B69D}" dt="2024-02-05T21:54:00.514" v="46279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D2DE92CD-AADB-43BF-8B53-266FBFF8B69D}" dt="2024-02-05T21:54:00.514" v="46275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D2DE92CD-AADB-43BF-8B53-266FBFF8B69D}" dt="2024-02-05T21:54:00.514" v="46276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D2DE92CD-AADB-43BF-8B53-266FBFF8B69D}" dt="2024-02-05T21:54:00.514" v="46273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D2DE92CD-AADB-43BF-8B53-266FBFF8B69D}" dt="2024-02-05T21:54:00.514" v="46274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D2DE92CD-AADB-43BF-8B53-266FBFF8B69D}" dt="2024-02-05T21:54:00.514" v="46277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D2DE92CD-AADB-43BF-8B53-266FBFF8B69D}" dt="2024-02-05T21:54:00.514" v="46278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D2DE92CD-AADB-43BF-8B53-266FBFF8B69D}" dt="2024-02-05T21:54:00.514" v="46280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D2DE92CD-AADB-43BF-8B53-266FBFF8B69D}" dt="2024-02-05T21:54:00.514" v="46281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D2DE92CD-AADB-43BF-8B53-266FBFF8B69D}" dt="2024-02-05T21:54:00.514" v="46282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D2DE92CD-AADB-43BF-8B53-266FBFF8B69D}" dt="2024-02-05T21:54:00.514" v="46283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D2DE92CD-AADB-43BF-8B53-266FBFF8B69D}" dt="2024-02-05T21:54:00.514" v="46284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D2DE92CD-AADB-43BF-8B53-266FBFF8B69D}" dt="2024-02-05T21:54:00.514" v="46286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D2DE92CD-AADB-43BF-8B53-266FBFF8B69D}" dt="2024-02-05T21:54:00.514" v="46289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D2DE92CD-AADB-43BF-8B53-266FBFF8B69D}" dt="2024-02-05T21:54:00.514" v="46291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D2DE92CD-AADB-43BF-8B53-266FBFF8B69D}" dt="2024-02-05T21:54:00.514" v="46290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D2DE92CD-AADB-43BF-8B53-266FBFF8B69D}" dt="2024-02-05T21:54:00.514" v="46294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D2DE92CD-AADB-43BF-8B53-266FBFF8B69D}" dt="2024-02-05T21:54:00.514" v="46295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D2DE92CD-AADB-43BF-8B53-266FBFF8B69D}" dt="2024-02-05T21:54:00.514" v="46293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D2DE92CD-AADB-43BF-8B53-266FBFF8B69D}" dt="2024-02-05T21:54:00.514" v="46297"/>
          <ac:spMkLst>
            <pc:docMk/>
            <pc:sldMk cId="3635637425" sldId="292"/>
            <ac:spMk id="30" creationId="{121A2A89-FB4E-4B9A-840D-28523B0B457F}"/>
          </ac:spMkLst>
        </pc:spChg>
        <pc:spChg chg="del mod">
          <ac:chgData name="Joelle Brehm" userId="a518f54c-6985-42c0-8041-2bb16a414839" providerId="ADAL" clId="{D2DE92CD-AADB-43BF-8B53-266FBFF8B69D}" dt="2024-02-05T21:53:49.989" v="45771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D2DE92CD-AADB-43BF-8B53-266FBFF8B69D}" dt="2024-02-05T21:54:00.530" v="46308"/>
          <ac:spMkLst>
            <pc:docMk/>
            <pc:sldMk cId="3635637425" sldId="292"/>
            <ac:spMk id="33" creationId="{FC0BC779-DB08-9C64-2173-284503839894}"/>
          </ac:spMkLst>
        </pc:spChg>
        <pc:spChg chg="add mod replST">
          <ac:chgData name="Joelle Brehm" userId="a518f54c-6985-42c0-8041-2bb16a414839" providerId="ADAL" clId="{D2DE92CD-AADB-43BF-8B53-266FBFF8B69D}" dt="2024-02-05T21:54:00.530" v="46311"/>
          <ac:spMkLst>
            <pc:docMk/>
            <pc:sldMk cId="3635637425" sldId="292"/>
            <ac:spMk id="34" creationId="{1A89A7DF-5840-E927-8D60-C325BD6C6D3A}"/>
          </ac:spMkLst>
        </pc:spChg>
        <pc:spChg chg="add del mod modVis">
          <ac:chgData name="Joelle Brehm" userId="a518f54c-6985-42c0-8041-2bb16a414839" providerId="ADAL" clId="{D2DE92CD-AADB-43BF-8B53-266FBFF8B69D}" dt="2024-02-05T21:53:47.167" v="45597"/>
          <ac:spMkLst>
            <pc:docMk/>
            <pc:sldMk cId="3635637425" sldId="292"/>
            <ac:spMk id="35" creationId="{3CBA77CD-6733-3752-7728-C7B629E4A5ED}"/>
          </ac:spMkLst>
        </pc:spChg>
        <pc:spChg chg="mod">
          <ac:chgData name="Joelle Brehm" userId="a518f54c-6985-42c0-8041-2bb16a414839" providerId="ADAL" clId="{D2DE92CD-AADB-43BF-8B53-266FBFF8B69D}" dt="2024-02-05T21:54:00.530" v="46300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D2DE92CD-AADB-43BF-8B53-266FBFF8B69D}" dt="2024-02-05T21:54:00.514" v="46288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D2DE92CD-AADB-43BF-8B53-266FBFF8B69D}" dt="2024-02-05T21:54:00.530" v="46303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D2DE92CD-AADB-43BF-8B53-266FBFF8B69D}" dt="2024-02-05T21:54:00.530" v="46304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D2DE92CD-AADB-43BF-8B53-266FBFF8B69D}" dt="2024-02-05T21:54:00.530" v="46305"/>
          <ac:spMkLst>
            <pc:docMk/>
            <pc:sldMk cId="3635637425" sldId="292"/>
            <ac:spMk id="41" creationId="{CAD662BE-DA77-C496-2C1F-D8B2218DD0E5}"/>
          </ac:spMkLst>
        </pc:spChg>
        <pc:spChg chg="add del mod modVis">
          <ac:chgData name="Joelle Brehm" userId="a518f54c-6985-42c0-8041-2bb16a414839" providerId="ADAL" clId="{D2DE92CD-AADB-43BF-8B53-266FBFF8B69D}" dt="2024-02-05T21:53:48.259" v="45768"/>
          <ac:spMkLst>
            <pc:docMk/>
            <pc:sldMk cId="3635637425" sldId="292"/>
            <ac:spMk id="42" creationId="{7E33AC80-6D63-2312-1254-D7AEA593B7E0}"/>
          </ac:spMkLst>
        </pc:spChg>
        <pc:spChg chg="mod">
          <ac:chgData name="Joelle Brehm" userId="a518f54c-6985-42c0-8041-2bb16a414839" providerId="ADAL" clId="{D2DE92CD-AADB-43BF-8B53-266FBFF8B69D}" dt="2024-02-05T21:54:00.530" v="46306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D2DE92CD-AADB-43BF-8B53-266FBFF8B69D}" dt="2024-02-05T21:54:00.530" v="46301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D2DE92CD-AADB-43BF-8B53-266FBFF8B69D}" dt="2024-02-05T21:54:00.530" v="46309"/>
          <ac:spMkLst>
            <pc:docMk/>
            <pc:sldMk cId="3635637425" sldId="292"/>
            <ac:spMk id="45" creationId="{A417CFF4-2744-C952-9C9F-69606D981D63}"/>
          </ac:spMkLst>
        </pc:spChg>
        <pc:spChg chg="mod">
          <ac:chgData name="Joelle Brehm" userId="a518f54c-6985-42c0-8041-2bb16a414839" providerId="ADAL" clId="{D2DE92CD-AADB-43BF-8B53-266FBFF8B69D}" dt="2024-02-05T21:54:00.530" v="46302"/>
          <ac:spMkLst>
            <pc:docMk/>
            <pc:sldMk cId="3635637425" sldId="292"/>
            <ac:spMk id="46" creationId="{38D3D6F2-A854-D543-7C6D-CB3894DB11AC}"/>
          </ac:spMkLst>
        </pc:spChg>
        <pc:spChg chg="mod">
          <ac:chgData name="Joelle Brehm" userId="a518f54c-6985-42c0-8041-2bb16a414839" providerId="ADAL" clId="{D2DE92CD-AADB-43BF-8B53-266FBFF8B69D}" dt="2024-02-05T21:54:00.530" v="46310"/>
          <ac:spMkLst>
            <pc:docMk/>
            <pc:sldMk cId="3635637425" sldId="292"/>
            <ac:spMk id="47" creationId="{23D31415-4B44-8B3E-05F2-6373D86735DA}"/>
          </ac:spMkLst>
        </pc:spChg>
        <pc:spChg chg="mod">
          <ac:chgData name="Joelle Brehm" userId="a518f54c-6985-42c0-8041-2bb16a414839" providerId="ADAL" clId="{D2DE92CD-AADB-43BF-8B53-266FBFF8B69D}" dt="2024-02-05T21:54:00.530" v="46307"/>
          <ac:spMkLst>
            <pc:docMk/>
            <pc:sldMk cId="3635637425" sldId="292"/>
            <ac:spMk id="49" creationId="{C2AC46DF-8DB5-4BF7-F270-6657C4B8CE44}"/>
          </ac:spMkLst>
        </pc:spChg>
        <pc:spChg chg="add del mod modVis">
          <ac:chgData name="Joelle Brehm" userId="a518f54c-6985-42c0-8041-2bb16a414839" providerId="ADAL" clId="{D2DE92CD-AADB-43BF-8B53-266FBFF8B69D}" dt="2024-02-05T21:53:50.313" v="46029"/>
          <ac:spMkLst>
            <pc:docMk/>
            <pc:sldMk cId="3635637425" sldId="292"/>
            <ac:spMk id="50" creationId="{BF330B5A-2939-9158-597B-8D66F6BB5BCC}"/>
          </ac:spMkLst>
        </pc:spChg>
        <pc:spChg chg="add del mod ord replST">
          <ac:chgData name="Joelle Brehm" userId="a518f54c-6985-42c0-8041-2bb16a414839" providerId="ADAL" clId="{D2DE92CD-AADB-43BF-8B53-266FBFF8B69D}" dt="2024-02-05T21:53:53.379" v="46082"/>
          <ac:spMkLst>
            <pc:docMk/>
            <pc:sldMk cId="3635637425" sldId="292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21:53:53.411" v="46166"/>
          <ac:spMkLst>
            <pc:docMk/>
            <pc:sldMk cId="3635637425" sldId="292"/>
            <ac:spMk id="53" creationId="{A10780C1-9E87-13D1-661C-8AF1C7438FCE}"/>
          </ac:spMkLst>
        </pc:spChg>
        <pc:spChg chg="add del mod modVis">
          <ac:chgData name="Joelle Brehm" userId="a518f54c-6985-42c0-8041-2bb16a414839" providerId="ADAL" clId="{D2DE92CD-AADB-43BF-8B53-266FBFF8B69D}" dt="2024-02-05T21:54:00.530" v="46340"/>
          <ac:spMkLst>
            <pc:docMk/>
            <pc:sldMk cId="3635637425" sldId="292"/>
            <ac:spMk id="55" creationId="{6E5143EA-F1A9-C45E-AFAC-5838905236DF}"/>
          </ac:spMkLst>
        </pc:spChg>
        <pc:spChg chg="mod ord">
          <ac:chgData name="Joelle Brehm" userId="a518f54c-6985-42c0-8041-2bb16a414839" providerId="ADAL" clId="{D2DE92CD-AADB-43BF-8B53-266FBFF8B69D}" dt="2024-02-05T21:54:00.530" v="46334"/>
          <ac:spMkLst>
            <pc:docMk/>
            <pc:sldMk cId="3635637425" sldId="292"/>
            <ac:spMk id="60" creationId="{8AFF754E-1785-41DB-892C-A30765DCA565}"/>
          </ac:spMkLst>
        </pc:spChg>
        <pc:spChg chg="mod">
          <ac:chgData name="Joelle Brehm" userId="a518f54c-6985-42c0-8041-2bb16a414839" providerId="ADAL" clId="{D2DE92CD-AADB-43BF-8B53-266FBFF8B69D}" dt="2024-02-05T21:54:00.514" v="46292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D2DE92CD-AADB-43BF-8B53-266FBFF8B69D}" dt="2024-02-05T21:54:00.530" v="46313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D2DE92CD-AADB-43BF-8B53-266FBFF8B69D}" dt="2024-02-05T21:54:00.530" v="46315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D2DE92CD-AADB-43BF-8B53-266FBFF8B69D}" dt="2024-02-05T21:54:00.530" v="46317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D2DE92CD-AADB-43BF-8B53-266FBFF8B69D}" dt="2024-02-05T21:54:00.530" v="46319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D2DE92CD-AADB-43BF-8B53-266FBFF8B69D}" dt="2024-02-05T21:54:00.530" v="46321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D2DE92CD-AADB-43BF-8B53-266FBFF8B69D}" dt="2024-02-05T21:54:00.530" v="46323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D2DE92CD-AADB-43BF-8B53-266FBFF8B69D}" dt="2024-02-05T21:54:00.530" v="46326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4:00.530" v="46327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4:00.530" v="46328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21:54:00.530" v="46329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D2DE92CD-AADB-43BF-8B53-266FBFF8B69D}" dt="2024-02-05T21:54:00.530" v="46330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D2DE92CD-AADB-43BF-8B53-266FBFF8B69D}" dt="2024-02-05T21:54:00.546" v="46342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4:00.514" v="46272"/>
          <ac:graphicFrameMkLst>
            <pc:docMk/>
            <pc:sldMk cId="3635637425" sldId="292"/>
            <ac:graphicFrameMk id="8" creationId="{5EE11531-2176-DDE1-D20E-395C4003864D}"/>
          </ac:graphicFrameMkLst>
        </pc:graphicFrameChg>
        <pc:graphicFrameChg chg="del">
          <ac:chgData name="Joelle Brehm" userId="a518f54c-6985-42c0-8041-2bb16a414839" providerId="ADAL" clId="{D2DE92CD-AADB-43BF-8B53-266FBFF8B69D}" dt="2024-02-05T21:53:25.873" v="45046"/>
          <ac:graphicFrameMkLst>
            <pc:docMk/>
            <pc:sldMk cId="3635637425" sldId="292"/>
            <ac:graphicFrameMk id="9" creationId="{09FF855A-CEA7-CB53-C2CE-855433E9F11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48.179" v="45672"/>
          <ac:graphicFrameMkLst>
            <pc:docMk/>
            <pc:sldMk cId="3635637425" sldId="292"/>
            <ac:graphicFrameMk id="38" creationId="{0851A02C-5324-A716-47AC-9B8551F65C3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50.206" v="45932"/>
          <ac:graphicFrameMkLst>
            <pc:docMk/>
            <pc:sldMk cId="3635637425" sldId="292"/>
            <ac:graphicFrameMk id="48" creationId="{BF4836DF-C3C0-6FF4-737F-8294B1A9B849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21:53:53.379" v="46084"/>
          <ac:graphicFrameMkLst>
            <pc:docMk/>
            <pc:sldMk cId="3635637425" sldId="292"/>
            <ac:graphicFrameMk id="52" creationId="{BA84F81D-2F6E-C16A-D295-E7858BC78303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4:00.530" v="46299"/>
          <ac:graphicFrameMkLst>
            <pc:docMk/>
            <pc:sldMk cId="3635637425" sldId="292"/>
            <ac:graphicFrameMk id="54" creationId="{3A25B099-C7EB-4DA3-521E-29534E3C2309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3:47.109" v="45501"/>
          <ac:graphicFrameMkLst>
            <pc:docMk/>
            <pc:sldMk cId="3635637425" sldId="292"/>
            <ac:graphicFrameMk id="56" creationId="{A83B11A1-0E42-D9F7-24D6-245C28A1D3F6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21:54:00.530" v="46325"/>
          <ac:graphicFrameMkLst>
            <pc:docMk/>
            <pc:sldMk cId="3635637425" sldId="292"/>
            <ac:graphicFrameMk id="57" creationId="{5DE050C9-8338-97C0-09FE-8F7A33E9BEA8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21:54:00.477" v="46258"/>
          <ac:graphicFrameMkLst>
            <pc:docMk/>
            <pc:sldMk cId="3635637425" sldId="292"/>
            <ac:graphicFrameMk id="59" creationId="{CE10A5DD-E367-DE1C-DE09-9EDC9353A4B7}"/>
          </ac:graphicFrameMkLst>
        </pc:graphicFrameChg>
        <pc:picChg chg="add mod ord">
          <ac:chgData name="Joelle Brehm" userId="a518f54c-6985-42c0-8041-2bb16a414839" providerId="ADAL" clId="{D2DE92CD-AADB-43BF-8B53-266FBFF8B69D}" dt="2024-02-05T21:54:00.514" v="46266"/>
          <ac:picMkLst>
            <pc:docMk/>
            <pc:sldMk cId="3635637425" sldId="292"/>
            <ac:picMk id="10" creationId="{208FEDC4-4977-CA08-8645-C52C643A8B6C}"/>
          </ac:picMkLst>
        </pc:picChg>
        <pc:picChg chg="del mod ord">
          <ac:chgData name="Joelle Brehm" userId="a518f54c-6985-42c0-8041-2bb16a414839" providerId="ADAL" clId="{D2DE92CD-AADB-43BF-8B53-266FBFF8B69D}" dt="2024-02-05T21:53:41.695" v="45219" actId="478"/>
          <ac:picMkLst>
            <pc:docMk/>
            <pc:sldMk cId="3635637425" sldId="292"/>
            <ac:picMk id="31" creationId="{F9E16010-0685-C158-57D1-A993591459EC}"/>
          </ac:picMkLst>
        </pc:picChg>
        <pc:picChg chg="mod ord">
          <ac:chgData name="Joelle Brehm" userId="a518f54c-6985-42c0-8041-2bb16a414839" providerId="ADAL" clId="{D2DE92CD-AADB-43BF-8B53-266FBFF8B69D}" dt="2024-02-05T21:54:00.530" v="46332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D2DE92CD-AADB-43BF-8B53-266FBFF8B69D}" dt="2024-02-05T21:54:00.514" v="46270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16:35:45.922" v="725" actId="478"/>
        <pc:sldMkLst>
          <pc:docMk/>
          <pc:sldMk cId="4143996880" sldId="293"/>
        </pc:sldMkLst>
        <pc:spChg chg="mod ord">
          <ac:chgData name="Joelle Brehm" userId="a518f54c-6985-42c0-8041-2bb16a414839" providerId="ADAL" clId="{D2DE92CD-AADB-43BF-8B53-266FBFF8B69D}" dt="2024-02-05T16:35:44.281" v="718"/>
          <ac:spMkLst>
            <pc:docMk/>
            <pc:sldMk cId="4143996880" sldId="293"/>
            <ac:spMk id="2" creationId="{01E014B2-1FBF-48C6-9093-6CFE20AFFCCE}"/>
          </ac:spMkLst>
        </pc:spChg>
        <pc:spChg chg="add del mod">
          <ac:chgData name="Joelle Brehm" userId="a518f54c-6985-42c0-8041-2bb16a414839" providerId="ADAL" clId="{D2DE92CD-AADB-43BF-8B53-266FBFF8B69D}" dt="2024-02-05T16:34:54.732" v="388" actId="478"/>
          <ac:spMkLst>
            <pc:docMk/>
            <pc:sldMk cId="4143996880" sldId="293"/>
            <ac:spMk id="3" creationId="{FEFB4934-4E01-1AE2-2C51-DCC2929AAA42}"/>
          </ac:spMkLst>
        </pc:spChg>
        <pc:spChg chg="mod ord">
          <ac:chgData name="Joelle Brehm" userId="a518f54c-6985-42c0-8041-2bb16a414839" providerId="ADAL" clId="{D2DE92CD-AADB-43BF-8B53-266FBFF8B69D}" dt="2024-02-05T16:35:44.274" v="693"/>
          <ac:spMkLst>
            <pc:docMk/>
            <pc:sldMk cId="4143996880" sldId="293"/>
            <ac:spMk id="5" creationId="{7B827F87-784E-46DA-B4AC-26C5F16C015D}"/>
          </ac:spMkLst>
        </pc:spChg>
        <pc:spChg chg="mod">
          <ac:chgData name="Joelle Brehm" userId="a518f54c-6985-42c0-8041-2bb16a414839" providerId="ADAL" clId="{D2DE92CD-AADB-43BF-8B53-266FBFF8B69D}" dt="2024-02-05T16:35:44.277" v="702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D2DE92CD-AADB-43BF-8B53-266FBFF8B69D}" dt="2024-02-05T16:35:44.276" v="698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D2DE92CD-AADB-43BF-8B53-266FBFF8B69D}" dt="2024-02-05T16:35:44.275" v="696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D2DE92CD-AADB-43BF-8B53-266FBFF8B69D}" dt="2024-02-05T16:35:44.275" v="697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D2DE92CD-AADB-43BF-8B53-266FBFF8B69D}" dt="2024-02-05T16:35:44.276" v="699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D2DE92CD-AADB-43BF-8B53-266FBFF8B69D}" dt="2024-02-05T16:35:44.277" v="705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D2DE92CD-AADB-43BF-8B53-266FBFF8B69D}" dt="2024-02-05T16:35:44.276" v="700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D2DE92CD-AADB-43BF-8B53-266FBFF8B69D}" dt="2024-02-05T16:35:44.277" v="703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D2DE92CD-AADB-43BF-8B53-266FBFF8B69D}" dt="2024-02-05T16:35:44.276" v="701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D2DE92CD-AADB-43BF-8B53-266FBFF8B69D}" dt="2024-02-05T16:35:44.277" v="704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D2DE92CD-AADB-43BF-8B53-266FBFF8B69D}" dt="2024-02-05T16:35:44.278" v="706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D2DE92CD-AADB-43BF-8B53-266FBFF8B69D}" dt="2024-02-05T16:35:44.278" v="707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D2DE92CD-AADB-43BF-8B53-266FBFF8B69D}" dt="2024-02-05T16:35:44.279" v="709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D2DE92CD-AADB-43BF-8B53-266FBFF8B69D}" dt="2024-02-05T16:35:44.279" v="711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D2DE92CD-AADB-43BF-8B53-266FBFF8B69D}" dt="2024-02-05T16:35:25.574" v="681"/>
          <ac:spMkLst>
            <pc:docMk/>
            <pc:sldMk cId="4143996880" sldId="293"/>
            <ac:spMk id="23" creationId="{04E01FBE-744B-1E9D-6914-91EDA606D682}"/>
          </ac:spMkLst>
        </pc:spChg>
        <pc:spChg chg="mod ord">
          <ac:chgData name="Joelle Brehm" userId="a518f54c-6985-42c0-8041-2bb16a414839" providerId="ADAL" clId="{D2DE92CD-AADB-43BF-8B53-266FBFF8B69D}" dt="2024-02-05T16:35:44.281" v="720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D2DE92CD-AADB-43BF-8B53-266FBFF8B69D}" dt="2024-02-05T16:35:44.280" v="713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D2DE92CD-AADB-43BF-8B53-266FBFF8B69D}" dt="2024-02-05T16:35:44.280" v="715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D2DE92CD-AADB-43BF-8B53-266FBFF8B69D}" dt="2024-02-05T16:35:44.289" v="724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add mod">
          <ac:chgData name="Joelle Brehm" userId="a518f54c-6985-42c0-8041-2bb16a414839" providerId="ADAL" clId="{D2DE92CD-AADB-43BF-8B53-266FBFF8B69D}" dt="2024-02-05T16:34:56.360" v="389"/>
          <ac:graphicFrameMkLst>
            <pc:docMk/>
            <pc:sldMk cId="4143996880" sldId="293"/>
            <ac:graphicFrameMk id="6" creationId="{A67D4C05-4E96-47F3-FB6C-57B80488C999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6:35:44.275" v="695"/>
          <ac:graphicFrameMkLst>
            <pc:docMk/>
            <pc:sldMk cId="4143996880" sldId="293"/>
            <ac:graphicFrameMk id="24" creationId="{2568609E-C6C4-71E7-937B-EB10961907CF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6:35:25.540" v="638"/>
          <ac:graphicFrameMkLst>
            <pc:docMk/>
            <pc:sldMk cId="4143996880" sldId="293"/>
            <ac:graphicFrameMk id="25" creationId="{F6D62BC9-187E-44B7-887B-FFFF628CC3A1}"/>
          </ac:graphicFrameMkLst>
        </pc:graphicFrameChg>
        <pc:picChg chg="add mod ord">
          <ac:chgData name="Joelle Brehm" userId="a518f54c-6985-42c0-8041-2bb16a414839" providerId="ADAL" clId="{D2DE92CD-AADB-43BF-8B53-266FBFF8B69D}" dt="2024-02-05T16:35:44.273" v="689"/>
          <ac:picMkLst>
            <pc:docMk/>
            <pc:sldMk cId="4143996880" sldId="293"/>
            <ac:picMk id="7" creationId="{E1D6E832-E1A4-A492-4510-682088359FAB}"/>
          </ac:picMkLst>
        </pc:picChg>
        <pc:picChg chg="del mod ord">
          <ac:chgData name="Joelle Brehm" userId="a518f54c-6985-42c0-8041-2bb16a414839" providerId="ADAL" clId="{D2DE92CD-AADB-43BF-8B53-266FBFF8B69D}" dt="2024-02-05T16:35:06.970" v="431" actId="478"/>
          <ac:picMkLst>
            <pc:docMk/>
            <pc:sldMk cId="4143996880" sldId="293"/>
            <ac:picMk id="22" creationId="{3B40CB0E-CA28-3FE5-2A43-BCED0722C6AB}"/>
          </ac:picMkLst>
        </pc:picChg>
        <pc:picChg chg="del mod ord">
          <ac:chgData name="Joelle Brehm" userId="a518f54c-6985-42c0-8041-2bb16a414839" providerId="ADAL" clId="{D2DE92CD-AADB-43BF-8B53-266FBFF8B69D}" dt="2024-02-05T16:35:45.922" v="725" actId="478"/>
          <ac:picMkLst>
            <pc:docMk/>
            <pc:sldMk cId="4143996880" sldId="293"/>
            <ac:picMk id="26" creationId="{817AD887-3252-7151-F495-0E826EEA49A9}"/>
          </ac:picMkLst>
        </pc:picChg>
        <pc:picChg chg="add mod ord">
          <ac:chgData name="Joelle Brehm" userId="a518f54c-6985-42c0-8041-2bb16a414839" providerId="ADAL" clId="{D2DE92CD-AADB-43BF-8B53-266FBFF8B69D}" dt="2024-02-05T16:35:44.272" v="687"/>
          <ac:picMkLst>
            <pc:docMk/>
            <pc:sldMk cId="4143996880" sldId="293"/>
            <ac:picMk id="27" creationId="{757B9A0A-1172-2A42-6B54-7278863A51D7}"/>
          </ac:picMkLst>
        </pc:picChg>
        <pc:picChg chg="mod">
          <ac:chgData name="Joelle Brehm" userId="a518f54c-6985-42c0-8041-2bb16a414839" providerId="ADAL" clId="{D2DE92CD-AADB-43BF-8B53-266FBFF8B69D}" dt="2024-02-05T16:35:44.281" v="716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D2DE92CD-AADB-43BF-8B53-266FBFF8B69D}" dt="2024-02-05T18:55:35.593" v="4316"/>
        <pc:sldMkLst>
          <pc:docMk/>
          <pc:sldMk cId="77660323" sldId="295"/>
        </pc:sldMkLst>
        <pc:spChg chg="add del mod">
          <ac:chgData name="Joelle Brehm" userId="a518f54c-6985-42c0-8041-2bb16a414839" providerId="ADAL" clId="{D2DE92CD-AADB-43BF-8B53-266FBFF8B69D}" dt="2024-02-05T18:52:53.559" v="726" actId="478"/>
          <ac:spMkLst>
            <pc:docMk/>
            <pc:sldMk cId="77660323" sldId="295"/>
            <ac:spMk id="2" creationId="{F71FBB56-AD12-D454-C4F8-9E3FB40E0418}"/>
          </ac:spMkLst>
        </pc:spChg>
        <pc:spChg chg="mod ord">
          <ac:chgData name="Joelle Brehm" userId="a518f54c-6985-42c0-8041-2bb16a414839" providerId="ADAL" clId="{D2DE92CD-AADB-43BF-8B53-266FBFF8B69D}" dt="2024-02-05T18:55:35.531" v="4205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D2DE92CD-AADB-43BF-8B53-266FBFF8B69D}" dt="2024-02-05T18:55:35.538" v="4227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D2DE92CD-AADB-43BF-8B53-266FBFF8B69D}" dt="2024-02-05T18:55:35.538" v="4228"/>
          <ac:spMkLst>
            <pc:docMk/>
            <pc:sldMk cId="77660323" sldId="295"/>
            <ac:spMk id="7" creationId="{AC248985-01B4-CD8C-E025-DF4D35603919}"/>
          </ac:spMkLst>
        </pc:spChg>
        <pc:spChg chg="mod">
          <ac:chgData name="Joelle Brehm" userId="a518f54c-6985-42c0-8041-2bb16a414839" providerId="ADAL" clId="{D2DE92CD-AADB-43BF-8B53-266FBFF8B69D}" dt="2024-02-05T18:55:35.540" v="4232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D2DE92CD-AADB-43BF-8B53-266FBFF8B69D}" dt="2024-02-05T18:55:35.539" v="4231"/>
          <ac:spMkLst>
            <pc:docMk/>
            <pc:sldMk cId="77660323" sldId="295"/>
            <ac:spMk id="9" creationId="{5B920F75-31B6-8B4B-7E2C-665E8C04F047}"/>
          </ac:spMkLst>
        </pc:spChg>
        <pc:spChg chg="mod">
          <ac:chgData name="Joelle Brehm" userId="a518f54c-6985-42c0-8041-2bb16a414839" providerId="ADAL" clId="{D2DE92CD-AADB-43BF-8B53-266FBFF8B69D}" dt="2024-02-05T18:55:35.540" v="4233"/>
          <ac:spMkLst>
            <pc:docMk/>
            <pc:sldMk cId="77660323" sldId="295"/>
            <ac:spMk id="10" creationId="{99AAF5F5-7487-DDF7-D317-1B4F799ACEB6}"/>
          </ac:spMkLst>
        </pc:spChg>
        <pc:spChg chg="mod">
          <ac:chgData name="Joelle Brehm" userId="a518f54c-6985-42c0-8041-2bb16a414839" providerId="ADAL" clId="{D2DE92CD-AADB-43BF-8B53-266FBFF8B69D}" dt="2024-02-05T18:55:35.539" v="4230"/>
          <ac:spMkLst>
            <pc:docMk/>
            <pc:sldMk cId="77660323" sldId="295"/>
            <ac:spMk id="11" creationId="{4D142ECA-E2D8-9285-6C24-1D82A2038821}"/>
          </ac:spMkLst>
        </pc:spChg>
        <pc:spChg chg="mod">
          <ac:chgData name="Joelle Brehm" userId="a518f54c-6985-42c0-8041-2bb16a414839" providerId="ADAL" clId="{D2DE92CD-AADB-43BF-8B53-266FBFF8B69D}" dt="2024-02-05T18:55:35.540" v="4234"/>
          <ac:spMkLst>
            <pc:docMk/>
            <pc:sldMk cId="77660323" sldId="295"/>
            <ac:spMk id="12" creationId="{9794817C-34B2-68B8-0BC6-DDDED5C00595}"/>
          </ac:spMkLst>
        </pc:spChg>
        <pc:spChg chg="mod">
          <ac:chgData name="Joelle Brehm" userId="a518f54c-6985-42c0-8041-2bb16a414839" providerId="ADAL" clId="{D2DE92CD-AADB-43BF-8B53-266FBFF8B69D}" dt="2024-02-05T18:55:35.541" v="4235"/>
          <ac:spMkLst>
            <pc:docMk/>
            <pc:sldMk cId="77660323" sldId="295"/>
            <ac:spMk id="13" creationId="{806F2968-42A3-483A-337A-D0AE86BE93FB}"/>
          </ac:spMkLst>
        </pc:spChg>
        <pc:spChg chg="add mod replST">
          <ac:chgData name="Joelle Brehm" userId="a518f54c-6985-42c0-8041-2bb16a414839" providerId="ADAL" clId="{D2DE92CD-AADB-43BF-8B53-266FBFF8B69D}" dt="2024-02-05T18:55:35.541" v="4236"/>
          <ac:spMkLst>
            <pc:docMk/>
            <pc:sldMk cId="77660323" sldId="295"/>
            <ac:spMk id="14" creationId="{0C8E4B72-72C6-60A2-4BA2-FBC70AE3CCF2}"/>
          </ac:spMkLst>
        </pc:spChg>
        <pc:spChg chg="mod">
          <ac:chgData name="Joelle Brehm" userId="a518f54c-6985-42c0-8041-2bb16a414839" providerId="ADAL" clId="{D2DE92CD-AADB-43BF-8B53-266FBFF8B69D}" dt="2024-02-05T18:55:35.551" v="4265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D2DE92CD-AADB-43BF-8B53-266FBFF8B69D}" dt="2024-02-05T18:55:35.552" v="4266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D2DE92CD-AADB-43BF-8B53-266FBFF8B69D}" dt="2024-02-05T18:55:35.539" v="4229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D2DE92CD-AADB-43BF-8B53-266FBFF8B69D}" dt="2024-02-05T18:53:13.480" v="1105"/>
          <ac:spMkLst>
            <pc:docMk/>
            <pc:sldMk cId="77660323" sldId="295"/>
            <ac:spMk id="18" creationId="{0C2DAF2D-D49C-F147-C004-A7A5D87CB31C}"/>
          </ac:spMkLst>
        </pc:spChg>
        <pc:spChg chg="add del mod modVis">
          <ac:chgData name="Joelle Brehm" userId="a518f54c-6985-42c0-8041-2bb16a414839" providerId="ADAL" clId="{D2DE92CD-AADB-43BF-8B53-266FBFF8B69D}" dt="2024-02-05T18:53:14.867" v="1368"/>
          <ac:spMkLst>
            <pc:docMk/>
            <pc:sldMk cId="77660323" sldId="295"/>
            <ac:spMk id="20" creationId="{AD7E733A-E6CE-75A0-EA27-861704DC19AF}"/>
          </ac:spMkLst>
        </pc:spChg>
        <pc:spChg chg="add del mod modVis">
          <ac:chgData name="Joelle Brehm" userId="a518f54c-6985-42c0-8041-2bb16a414839" providerId="ADAL" clId="{D2DE92CD-AADB-43BF-8B53-266FBFF8B69D}" dt="2024-02-05T18:53:17.478" v="1635"/>
          <ac:spMkLst>
            <pc:docMk/>
            <pc:sldMk cId="77660323" sldId="295"/>
            <ac:spMk id="22" creationId="{EE397C30-1D4D-7980-CCE9-28006969DC26}"/>
          </ac:spMkLst>
        </pc:spChg>
        <pc:spChg chg="mod">
          <ac:chgData name="Joelle Brehm" userId="a518f54c-6985-42c0-8041-2bb16a414839" providerId="ADAL" clId="{D2DE92CD-AADB-43BF-8B53-266FBFF8B69D}" dt="2024-02-05T18:55:35.535" v="4220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63" v="4294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D2DE92CD-AADB-43BF-8B53-266FBFF8B69D}" dt="2024-02-05T18:55:35.552" v="4267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D2DE92CD-AADB-43BF-8B53-266FBFF8B69D}" dt="2024-02-05T18:55:35.535" v="4222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36" v="4224"/>
          <ac:spMkLst>
            <pc:docMk/>
            <pc:sldMk cId="77660323" sldId="295"/>
            <ac:spMk id="28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53" v="4270"/>
          <ac:spMkLst>
            <pc:docMk/>
            <pc:sldMk cId="77660323" sldId="295"/>
            <ac:spMk id="29" creationId="{C91EE372-B381-84BD-F7CD-1CD5DBB058DB}"/>
          </ac:spMkLst>
        </pc:spChg>
        <pc:spChg chg="mod">
          <ac:chgData name="Joelle Brehm" userId="a518f54c-6985-42c0-8041-2bb16a414839" providerId="ADAL" clId="{D2DE92CD-AADB-43BF-8B53-266FBFF8B69D}" dt="2024-02-05T18:55:35.552" v="4268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D2DE92CD-AADB-43BF-8B53-266FBFF8B69D}" dt="2024-02-05T18:55:35.547" v="4253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53" v="4269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D2DE92CD-AADB-43BF-8B53-266FBFF8B69D}" dt="2024-02-05T18:55:35.548" v="4254"/>
          <ac:spMkLst>
            <pc:docMk/>
            <pc:sldMk cId="77660323" sldId="295"/>
            <ac:spMk id="33" creationId="{7CAA3B95-4C78-4122-BECA-B5FB0F3F3764}"/>
          </ac:spMkLst>
        </pc:spChg>
        <pc:spChg chg="add mod replST">
          <ac:chgData name="Joelle Brehm" userId="a518f54c-6985-42c0-8041-2bb16a414839" providerId="ADAL" clId="{D2DE92CD-AADB-43BF-8B53-266FBFF8B69D}" dt="2024-02-05T18:55:35.555" v="4274"/>
          <ac:spMkLst>
            <pc:docMk/>
            <pc:sldMk cId="77660323" sldId="295"/>
            <ac:spMk id="35" creationId="{87059D8F-0431-2794-789F-F4FE79555058}"/>
          </ac:spMkLst>
        </pc:spChg>
        <pc:spChg chg="add del mod modVis">
          <ac:chgData name="Joelle Brehm" userId="a518f54c-6985-42c0-8041-2bb16a414839" providerId="ADAL" clId="{D2DE92CD-AADB-43BF-8B53-266FBFF8B69D}" dt="2024-02-05T18:55:01.894" v="2219"/>
          <ac:spMkLst>
            <pc:docMk/>
            <pc:sldMk cId="77660323" sldId="295"/>
            <ac:spMk id="36" creationId="{E841EF57-EDA5-7FA2-6EB3-8B73217D7F81}"/>
          </ac:spMkLst>
        </pc:spChg>
        <pc:spChg chg="mod">
          <ac:chgData name="Joelle Brehm" userId="a518f54c-6985-42c0-8041-2bb16a414839" providerId="ADAL" clId="{D2DE92CD-AADB-43BF-8B53-266FBFF8B69D}" dt="2024-02-05T18:55:35.554" v="4272"/>
          <ac:spMkLst>
            <pc:docMk/>
            <pc:sldMk cId="77660323" sldId="295"/>
            <ac:spMk id="38" creationId="{47920EAE-D678-78D4-5D32-C1B72A6668A0}"/>
          </ac:spMkLst>
        </pc:spChg>
        <pc:spChg chg="mod">
          <ac:chgData name="Joelle Brehm" userId="a518f54c-6985-42c0-8041-2bb16a414839" providerId="ADAL" clId="{D2DE92CD-AADB-43BF-8B53-266FBFF8B69D}" dt="2024-02-05T18:55:35.534" v="4218"/>
          <ac:spMkLst>
            <pc:docMk/>
            <pc:sldMk cId="77660323" sldId="295"/>
            <ac:spMk id="39" creationId="{7CAA3B95-4C78-4122-BECA-B5FB0F3F3764}"/>
          </ac:spMkLst>
        </pc:spChg>
        <pc:spChg chg="add del mod modVis">
          <ac:chgData name="Joelle Brehm" userId="a518f54c-6985-42c0-8041-2bb16a414839" providerId="ADAL" clId="{D2DE92CD-AADB-43BF-8B53-266FBFF8B69D}" dt="2024-02-05T18:55:07.797" v="2427"/>
          <ac:spMkLst>
            <pc:docMk/>
            <pc:sldMk cId="77660323" sldId="295"/>
            <ac:spMk id="40" creationId="{DACC92B3-16B4-F435-D76A-5136CA9E25F9}"/>
          </ac:spMkLst>
        </pc:spChg>
        <pc:spChg chg="mod">
          <ac:chgData name="Joelle Brehm" userId="a518f54c-6985-42c0-8041-2bb16a414839" providerId="ADAL" clId="{D2DE92CD-AADB-43BF-8B53-266FBFF8B69D}" dt="2024-02-05T18:55:35.548" v="4255"/>
          <ac:spMkLst>
            <pc:docMk/>
            <pc:sldMk cId="77660323" sldId="295"/>
            <ac:spMk id="42" creationId="{A32B7D8C-DAE5-D336-7D31-9ECFB1F6E20C}"/>
          </ac:spMkLst>
        </pc:spChg>
        <pc:spChg chg="mod">
          <ac:chgData name="Joelle Brehm" userId="a518f54c-6985-42c0-8041-2bb16a414839" providerId="ADAL" clId="{D2DE92CD-AADB-43BF-8B53-266FBFF8B69D}" dt="2024-02-05T18:55:35.564" v="4297"/>
          <ac:spMkLst>
            <pc:docMk/>
            <pc:sldMk cId="77660323" sldId="295"/>
            <ac:spMk id="43" creationId="{CB71E880-BE37-7B61-FE93-B2CADB32B81F}"/>
          </ac:spMkLst>
        </pc:spChg>
        <pc:spChg chg="mod">
          <ac:chgData name="Joelle Brehm" userId="a518f54c-6985-42c0-8041-2bb16a414839" providerId="ADAL" clId="{D2DE92CD-AADB-43BF-8B53-266FBFF8B69D}" dt="2024-02-05T18:55:35.554" v="4271"/>
          <ac:spMkLst>
            <pc:docMk/>
            <pc:sldMk cId="77660323" sldId="295"/>
            <ac:spMk id="44" creationId="{DAA4D810-B73F-CB1C-C983-F6E311360F17}"/>
          </ac:spMkLst>
        </pc:spChg>
        <pc:spChg chg="mod">
          <ac:chgData name="Joelle Brehm" userId="a518f54c-6985-42c0-8041-2bb16a414839" providerId="ADAL" clId="{D2DE92CD-AADB-43BF-8B53-266FBFF8B69D}" dt="2024-02-05T18:55:35.563" v="4295"/>
          <ac:spMkLst>
            <pc:docMk/>
            <pc:sldMk cId="77660323" sldId="295"/>
            <ac:spMk id="45" creationId="{7B959589-9B04-0960-03A9-FE10F7C63094}"/>
          </ac:spMkLst>
        </pc:spChg>
        <pc:spChg chg="mod">
          <ac:chgData name="Joelle Brehm" userId="a518f54c-6985-42c0-8041-2bb16a414839" providerId="ADAL" clId="{D2DE92CD-AADB-43BF-8B53-266FBFF8B69D}" dt="2024-02-05T18:55:35.554" v="4273"/>
          <ac:spMkLst>
            <pc:docMk/>
            <pc:sldMk cId="77660323" sldId="295"/>
            <ac:spMk id="46" creationId="{52EC1778-506C-D704-B036-314B2BE12802}"/>
          </ac:spMkLst>
        </pc:spChg>
        <pc:spChg chg="mod">
          <ac:chgData name="Joelle Brehm" userId="a518f54c-6985-42c0-8041-2bb16a414839" providerId="ADAL" clId="{D2DE92CD-AADB-43BF-8B53-266FBFF8B69D}" dt="2024-02-05T18:55:35.562" v="4293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D2DE92CD-AADB-43BF-8B53-266FBFF8B69D}" dt="2024-02-05T18:55:35.564" v="4296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D2DE92CD-AADB-43BF-8B53-266FBFF8B69D}" dt="2024-02-05T18:55:12.065" v="2637"/>
          <ac:spMkLst>
            <pc:docMk/>
            <pc:sldMk cId="77660323" sldId="295"/>
            <ac:spMk id="51" creationId="{DB205BFD-D99B-FB0D-2F03-7EE57B33DC44}"/>
          </ac:spMkLst>
        </pc:spChg>
        <pc:spChg chg="mod">
          <ac:chgData name="Joelle Brehm" userId="a518f54c-6985-42c0-8041-2bb16a414839" providerId="ADAL" clId="{D2DE92CD-AADB-43BF-8B53-266FBFF8B69D}" dt="2024-02-05T18:55:35.564" v="4298"/>
          <ac:spMkLst>
            <pc:docMk/>
            <pc:sldMk cId="77660323" sldId="295"/>
            <ac:spMk id="53" creationId="{5EB6D661-779B-2B02-EA15-90F2D9CEB9D2}"/>
          </ac:spMkLst>
        </pc:spChg>
        <pc:spChg chg="add del mod modVis">
          <ac:chgData name="Joelle Brehm" userId="a518f54c-6985-42c0-8041-2bb16a414839" providerId="ADAL" clId="{D2DE92CD-AADB-43BF-8B53-266FBFF8B69D}" dt="2024-02-05T18:55:18.132" v="2952"/>
          <ac:spMkLst>
            <pc:docMk/>
            <pc:sldMk cId="77660323" sldId="295"/>
            <ac:spMk id="55" creationId="{4F4AA55A-4B41-B527-D659-349C6529C798}"/>
          </ac:spMkLst>
        </pc:spChg>
        <pc:spChg chg="add del mod ord replST">
          <ac:chgData name="Joelle Brehm" userId="a518f54c-6985-42c0-8041-2bb16a414839" providerId="ADAL" clId="{D2DE92CD-AADB-43BF-8B53-266FBFF8B69D}" dt="2024-02-05T18:55:21.751" v="3010"/>
          <ac:spMkLst>
            <pc:docMk/>
            <pc:sldMk cId="77660323" sldId="295"/>
            <ac:spMk id="5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65" v="4300"/>
          <ac:spMkLst>
            <pc:docMk/>
            <pc:sldMk cId="77660323" sldId="295"/>
            <ac:spMk id="58" creationId="{C3E93442-7ED4-DBAD-677D-97CD63B5E9C5}"/>
          </ac:spMkLst>
        </pc:spChg>
        <pc:spChg chg="add del mod modVis">
          <ac:chgData name="Joelle Brehm" userId="a518f54c-6985-42c0-8041-2bb16a414839" providerId="ADAL" clId="{D2DE92CD-AADB-43BF-8B53-266FBFF8B69D}" dt="2024-02-05T18:55:21.828" v="3131"/>
          <ac:spMkLst>
            <pc:docMk/>
            <pc:sldMk cId="77660323" sldId="295"/>
            <ac:spMk id="59" creationId="{C4958015-AEC3-30FA-38C6-44A341C35A88}"/>
          </ac:spMkLst>
        </pc:spChg>
        <pc:spChg chg="add mod replST">
          <ac:chgData name="Joelle Brehm" userId="a518f54c-6985-42c0-8041-2bb16a414839" providerId="ADAL" clId="{D2DE92CD-AADB-43BF-8B53-266FBFF8B69D}" dt="2024-02-05T18:55:35.566" v="4302"/>
          <ac:spMkLst>
            <pc:docMk/>
            <pc:sldMk cId="77660323" sldId="295"/>
            <ac:spMk id="61" creationId="{2490F22C-9184-A493-0368-DF1074F98757}"/>
          </ac:spMkLst>
        </pc:spChg>
        <pc:spChg chg="add del mod modVis">
          <ac:chgData name="Joelle Brehm" userId="a518f54c-6985-42c0-8041-2bb16a414839" providerId="ADAL" clId="{D2DE92CD-AADB-43BF-8B53-266FBFF8B69D}" dt="2024-02-05T18:55:27.540" v="3595"/>
          <ac:spMkLst>
            <pc:docMk/>
            <pc:sldMk cId="77660323" sldId="295"/>
            <ac:spMk id="62" creationId="{B8960362-D10A-982E-108F-43A92A10869B}"/>
          </ac:spMkLst>
        </pc:spChg>
        <pc:spChg chg="del mod">
          <ac:chgData name="Joelle Brehm" userId="a518f54c-6985-42c0-8041-2bb16a414839" providerId="ADAL" clId="{D2DE92CD-AADB-43BF-8B53-266FBFF8B69D}" dt="2024-02-05T18:55:30.666" v="3846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61" v="4291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62" v="4292"/>
          <ac:spMkLst>
            <pc:docMk/>
            <pc:sldMk cId="77660323" sldId="295"/>
            <ac:spMk id="87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8:55:35.533" v="4211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D2DE92CD-AADB-43BF-8B53-266FBFF8B69D}" dt="2024-02-05T18:55:35.533" v="4213"/>
          <ac:spMkLst>
            <pc:docMk/>
            <pc:sldMk cId="77660323" sldId="295"/>
            <ac:spMk id="97" creationId="{64B2B8D7-E8A8-4757-99A4-69F1EAA48321}"/>
          </ac:spMkLst>
        </pc:spChg>
        <pc:spChg chg="mod ord">
          <ac:chgData name="Joelle Brehm" userId="a518f54c-6985-42c0-8041-2bb16a414839" providerId="ADAL" clId="{D2DE92CD-AADB-43BF-8B53-266FBFF8B69D}" dt="2024-02-05T18:55:35.532" v="4207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D2DE92CD-AADB-43BF-8B53-266FBFF8B69D}" dt="2024-02-05T18:55:35.535" v="4219"/>
          <ac:spMkLst>
            <pc:docMk/>
            <pc:sldMk cId="77660323" sldId="295"/>
            <ac:spMk id="113" creationId="{7CAA3B95-4C78-4122-BECA-B5FB0F3F3764}"/>
          </ac:spMkLst>
        </pc:spChg>
        <pc:spChg chg="del mod">
          <ac:chgData name="Joelle Brehm" userId="a518f54c-6985-42c0-8041-2bb16a414839" providerId="ADAL" clId="{D2DE92CD-AADB-43BF-8B53-266FBFF8B69D}" dt="2024-02-05T18:53:17.106" v="1371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36" v="4225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38" v="4226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35" v="4221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36" v="4223"/>
          <ac:spMkLst>
            <pc:docMk/>
            <pc:sldMk cId="77660323" sldId="295"/>
            <ac:spMk id="136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8:55:35.534" v="4215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D2DE92CD-AADB-43BF-8B53-266FBFF8B69D}" dt="2024-02-05T18:55:35.549" v="4258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D2DE92CD-AADB-43BF-8B53-266FBFF8B69D}" dt="2024-02-05T18:55:35.558" v="4281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D2DE92CD-AADB-43BF-8B53-266FBFF8B69D}" dt="2024-02-05T18:55:35.558" v="4282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D2DE92CD-AADB-43BF-8B53-266FBFF8B69D}" dt="2024-02-05T18:55:35.568" v="4309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D2DE92CD-AADB-43BF-8B53-266FBFF8B69D}" dt="2024-02-05T18:55:35.568" v="4310"/>
          <ac:spMkLst>
            <pc:docMk/>
            <pc:sldMk cId="77660323" sldId="295"/>
            <ac:spMk id="402" creationId="{54A50511-8137-91F0-6AA8-1D657EEE3E68}"/>
          </ac:spMkLst>
        </pc:spChg>
        <pc:spChg chg="add del mod modVis">
          <ac:chgData name="Joelle Brehm" userId="a518f54c-6985-42c0-8041-2bb16a414839" providerId="ADAL" clId="{D2DE92CD-AADB-43BF-8B53-266FBFF8B69D}" dt="2024-02-05T18:55:29.154" v="3841"/>
          <ac:spMkLst>
            <pc:docMk/>
            <pc:sldMk cId="77660323" sldId="295"/>
            <ac:spMk id="448" creationId="{43F8BB78-24D8-EF77-E66E-59E5BA689566}"/>
          </ac:spMkLst>
        </pc:spChg>
        <pc:spChg chg="mod">
          <ac:chgData name="Joelle Brehm" userId="a518f54c-6985-42c0-8041-2bb16a414839" providerId="ADAL" clId="{D2DE92CD-AADB-43BF-8B53-266FBFF8B69D}" dt="2024-02-05T18:55:35.565" v="4301"/>
          <ac:spMkLst>
            <pc:docMk/>
            <pc:sldMk cId="77660323" sldId="295"/>
            <ac:spMk id="450" creationId="{44B69F35-8022-43B2-D33E-C796293293C0}"/>
          </ac:spMkLst>
        </pc:spChg>
        <pc:spChg chg="add del mod modVis">
          <ac:chgData name="Joelle Brehm" userId="a518f54c-6985-42c0-8041-2bb16a414839" providerId="ADAL" clId="{D2DE92CD-AADB-43BF-8B53-266FBFF8B69D}" dt="2024-02-05T18:55:30.972" v="4102"/>
          <ac:spMkLst>
            <pc:docMk/>
            <pc:sldMk cId="77660323" sldId="295"/>
            <ac:spMk id="453" creationId="{5BFEC6AE-D59C-37BC-0323-A767978E8CB1}"/>
          </ac:spMkLst>
        </pc:spChg>
        <pc:spChg chg="add del mod modVis">
          <ac:chgData name="Joelle Brehm" userId="a518f54c-6985-42c0-8041-2bb16a414839" providerId="ADAL" clId="{D2DE92CD-AADB-43BF-8B53-266FBFF8B69D}" dt="2024-02-05T18:55:35.570" v="4314"/>
          <ac:spMkLst>
            <pc:docMk/>
            <pc:sldMk cId="77660323" sldId="295"/>
            <ac:spMk id="456" creationId="{33A787F3-FD64-3115-7883-5B839BD7A108}"/>
          </ac:spMkLst>
        </pc:spChg>
        <pc:spChg chg="mod">
          <ac:chgData name="Joelle Brehm" userId="a518f54c-6985-42c0-8041-2bb16a414839" providerId="ADAL" clId="{D2DE92CD-AADB-43BF-8B53-266FBFF8B69D}" dt="2024-02-05T18:55:35.565" v="4299"/>
          <ac:spMkLst>
            <pc:docMk/>
            <pc:sldMk cId="77660323" sldId="295"/>
            <ac:spMk id="458" creationId="{C5443A0C-8372-D652-291B-09D997CCB0D0}"/>
          </ac:spMkLst>
        </pc:spChg>
        <pc:spChg chg="mod ord">
          <ac:chgData name="Joelle Brehm" userId="a518f54c-6985-42c0-8041-2bb16a414839" providerId="ADAL" clId="{D2DE92CD-AADB-43BF-8B53-266FBFF8B69D}" dt="2024-02-05T18:55:35.546" v="4248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D2DE92CD-AADB-43BF-8B53-266FBFF8B69D}" dt="2024-02-05T18:55:35.545" v="4246"/>
          <ac:spMkLst>
            <pc:docMk/>
            <pc:sldMk cId="77660323" sldId="295"/>
            <ac:spMk id="485" creationId="{0E817BE1-E587-06E4-D9FC-07EC7C45C787}"/>
          </ac:spMkLst>
        </pc:spChg>
        <pc:spChg chg="mod ord">
          <ac:chgData name="Joelle Brehm" userId="a518f54c-6985-42c0-8041-2bb16a414839" providerId="ADAL" clId="{D2DE92CD-AADB-43BF-8B53-266FBFF8B69D}" dt="2024-02-05T18:55:35.546" v="4250"/>
          <ac:spMkLst>
            <pc:docMk/>
            <pc:sldMk cId="77660323" sldId="295"/>
            <ac:spMk id="490" creationId="{9C81118A-E471-58E2-D54E-14C43A3A7D15}"/>
          </ac:spMkLst>
        </pc:spChg>
        <pc:spChg chg="del mod">
          <ac:chgData name="Joelle Brehm" userId="a518f54c-6985-42c0-8041-2bb16a414839" providerId="ADAL" clId="{D2DE92CD-AADB-43BF-8B53-266FBFF8B69D}" dt="2024-02-05T18:55:17.789" v="2642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49" v="4256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D2DE92CD-AADB-43BF-8B53-266FBFF8B69D}" dt="2024-02-05T18:55:35.551" v="4263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D2DE92CD-AADB-43BF-8B53-266FBFF8B69D}" dt="2024-02-05T18:55:35.551" v="4264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8:55:35.547" v="4252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D2DE92CD-AADB-43BF-8B53-266FBFF8B69D}" dt="2024-02-05T18:55:35.557" v="4280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D2DE92CD-AADB-43BF-8B53-266FBFF8B69D}" dt="2024-02-05T18:55:35.568" v="4308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D2DE92CD-AADB-43BF-8B53-266FBFF8B69D}" dt="2024-02-05T18:55:35.593" v="4316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3:14.741" v="1190"/>
          <ac:graphicFrameMkLst>
            <pc:docMk/>
            <pc:sldMk cId="77660323" sldId="295"/>
            <ac:graphicFrameMk id="19" creationId="{CB125341-3F6B-DD9D-6325-7F8B7183F978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3:17.228" v="1458"/>
          <ac:graphicFrameMkLst>
            <pc:docMk/>
            <pc:sldMk cId="77660323" sldId="295"/>
            <ac:graphicFrameMk id="21" creationId="{4EDB55B4-0AB5-A6BD-EDAC-1594714F0C52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8:55:35.534" v="4217"/>
          <ac:graphicFrameMkLst>
            <pc:docMk/>
            <pc:sldMk cId="77660323" sldId="295"/>
            <ac:graphicFrameMk id="23" creationId="{B92ABE06-322B-C0E1-D263-01CDEFEF650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5:07.693" v="2277"/>
          <ac:graphicFrameMkLst>
            <pc:docMk/>
            <pc:sldMk cId="77660323" sldId="295"/>
            <ac:graphicFrameMk id="37" creationId="{07ED2C57-1AE9-5F01-6DDC-CEF9327521A8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5:11.915" v="2487"/>
          <ac:graphicFrameMkLst>
            <pc:docMk/>
            <pc:sldMk cId="77660323" sldId="295"/>
            <ac:graphicFrameMk id="47" creationId="{76D22EB7-F006-DC8F-E57E-0E379F295FA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5:18.013" v="2791"/>
          <ac:graphicFrameMkLst>
            <pc:docMk/>
            <pc:sldMk cId="77660323" sldId="295"/>
            <ac:graphicFrameMk id="52" creationId="{8DBF768B-9479-D9EA-9B2C-E706902C0870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5:21.753" v="3012"/>
          <ac:graphicFrameMkLst>
            <pc:docMk/>
            <pc:sldMk cId="77660323" sldId="295"/>
            <ac:graphicFrameMk id="57" creationId="{E4548604-A65D-682D-A3F9-9733AC36A08C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8:55:35.550" v="4260"/>
          <ac:graphicFrameMkLst>
            <pc:docMk/>
            <pc:sldMk cId="77660323" sldId="295"/>
            <ac:graphicFrameMk id="60" creationId="{B1A493EE-11C0-4AA6-0F79-1DD670F7EC0F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5:28.855" v="3679"/>
          <ac:graphicFrameMkLst>
            <pc:docMk/>
            <pc:sldMk cId="77660323" sldId="295"/>
            <ac:graphicFrameMk id="63" creationId="{3A33E2A7-8950-3A9D-FD7D-72C549825A64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8:55:01.728" v="2061"/>
          <ac:graphicFrameMkLst>
            <pc:docMk/>
            <pc:sldMk cId="77660323" sldId="295"/>
            <ac:graphicFrameMk id="449" creationId="{308B6A54-D224-8819-AD87-2E41FB975D1A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5:30.841" v="3955"/>
          <ac:graphicFrameMkLst>
            <pc:docMk/>
            <pc:sldMk cId="77660323" sldId="295"/>
            <ac:graphicFrameMk id="452" creationId="{9640E201-B7DF-D2DC-3203-9BEFD0CC9C4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8:55:35.466" v="4167"/>
          <ac:graphicFrameMkLst>
            <pc:docMk/>
            <pc:sldMk cId="77660323" sldId="295"/>
            <ac:graphicFrameMk id="455" creationId="{4F6FBF08-4359-E336-0363-B1AC16B3F430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8:55:35.559" v="4284"/>
          <ac:graphicFrameMkLst>
            <pc:docMk/>
            <pc:sldMk cId="77660323" sldId="295"/>
            <ac:graphicFrameMk id="457" creationId="{537CC445-C5C3-D2E6-8617-34B16900DB1A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8:55:27.257" v="3437"/>
          <ac:graphicFrameMkLst>
            <pc:docMk/>
            <pc:sldMk cId="77660323" sldId="295"/>
            <ac:graphicFrameMk id="465" creationId="{FA3CF842-F0E1-5D20-0D0D-9F67B7E9226C}"/>
          </ac:graphicFrameMkLst>
        </pc:graphicFrameChg>
        <pc:graphicFrameChg chg="del">
          <ac:chgData name="Joelle Brehm" userId="a518f54c-6985-42c0-8041-2bb16a414839" providerId="ADAL" clId="{D2DE92CD-AADB-43BF-8B53-266FBFF8B69D}" dt="2024-02-05T18:53:13.327" v="927"/>
          <ac:graphicFrameMkLst>
            <pc:docMk/>
            <pc:sldMk cId="77660323" sldId="295"/>
            <ac:graphicFrameMk id="491" creationId="{446B0A07-9D84-C89D-AFA5-4FF316B99BDF}"/>
          </ac:graphicFrameMkLst>
        </pc:graphicFrameChg>
        <pc:picChg chg="mod ord">
          <ac:chgData name="Joelle Brehm" userId="a518f54c-6985-42c0-8041-2bb16a414839" providerId="ADAL" clId="{D2DE92CD-AADB-43BF-8B53-266FBFF8B69D}" dt="2024-02-05T18:55:35.532" v="4209"/>
          <ac:picMkLst>
            <pc:docMk/>
            <pc:sldMk cId="77660323" sldId="295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D2DE92CD-AADB-43BF-8B53-266FBFF8B69D}" dt="2024-02-05T18:55:35.530" v="4203"/>
          <ac:picMkLst>
            <pc:docMk/>
            <pc:sldMk cId="77660323" sldId="295"/>
            <ac:picMk id="34" creationId="{2290F422-1C4B-11A8-26B3-DA22379B70A2}"/>
          </ac:picMkLst>
        </pc:picChg>
        <pc:picChg chg="del mod ord">
          <ac:chgData name="Joelle Brehm" userId="a518f54c-6985-42c0-8041-2bb16a414839" providerId="ADAL" clId="{D2DE92CD-AADB-43BF-8B53-266FBFF8B69D}" dt="2024-02-05T18:54:35.684" v="1765" actId="478"/>
          <ac:picMkLst>
            <pc:docMk/>
            <pc:sldMk cId="77660323" sldId="295"/>
            <ac:picMk id="41" creationId="{B73F9B77-B938-1DFA-3085-0ECFB742FB10}"/>
          </ac:picMkLst>
        </pc:picChg>
        <pc:cxnChg chg="mod ord">
          <ac:chgData name="Joelle Brehm" userId="a518f54c-6985-42c0-8041-2bb16a414839" providerId="ADAL" clId="{D2DE92CD-AADB-43BF-8B53-266FBFF8B69D}" dt="2024-02-05T18:55:35.550" v="4262"/>
          <ac:cxnSpMkLst>
            <pc:docMk/>
            <pc:sldMk cId="77660323" sldId="295"/>
            <ac:cxnSpMk id="49" creationId="{A1B8BCA2-A4F6-C735-D36D-75C40207794D}"/>
          </ac:cxnSpMkLst>
        </pc:cxnChg>
        <pc:cxnChg chg="del mod ord">
          <ac:chgData name="Joelle Brehm" userId="a518f54c-6985-42c0-8041-2bb16a414839" providerId="ADAL" clId="{D2DE92CD-AADB-43BF-8B53-266FBFF8B69D}" dt="2024-02-05T18:55:17.788" v="2641"/>
          <ac:cxnSpMkLst>
            <pc:docMk/>
            <pc:sldMk cId="77660323" sldId="295"/>
            <ac:cxnSpMk id="54" creationId="{B97D3FFE-0321-522C-9B78-052236054EF0}"/>
          </ac:cxnSpMkLst>
        </pc:cxnChg>
        <pc:cxnChg chg="mod ord">
          <ac:chgData name="Joelle Brehm" userId="a518f54c-6985-42c0-8041-2bb16a414839" providerId="ADAL" clId="{D2DE92CD-AADB-43BF-8B53-266FBFF8B69D}" dt="2024-02-05T18:55:35.542" v="4238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D2DE92CD-AADB-43BF-8B53-266FBFF8B69D}" dt="2024-02-05T18:55:35.543" v="4240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D2DE92CD-AADB-43BF-8B53-266FBFF8B69D}" dt="2024-02-05T18:55:35.544" v="4242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D2DE92CD-AADB-43BF-8B53-266FBFF8B69D}" dt="2024-02-05T18:55:35.556" v="4276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D2DE92CD-AADB-43BF-8B53-266FBFF8B69D}" dt="2024-02-05T18:55:35.557" v="4278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D2DE92CD-AADB-43BF-8B53-266FBFF8B69D}" dt="2024-02-05T18:55:35.566" v="4304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D2DE92CD-AADB-43BF-8B53-266FBFF8B69D}" dt="2024-02-05T18:55:35.567" v="4306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D2DE92CD-AADB-43BF-8B53-266FBFF8B69D}" dt="2024-02-05T18:55:35.560" v="4288"/>
          <ac:cxnSpMkLst>
            <pc:docMk/>
            <pc:sldMk cId="77660323" sldId="295"/>
            <ac:cxnSpMk id="451" creationId="{7A172D71-A9C3-9431-7EB5-BE9F63E67BCD}"/>
          </ac:cxnSpMkLst>
        </pc:cxnChg>
        <pc:cxnChg chg="add mod ord replST">
          <ac:chgData name="Joelle Brehm" userId="a518f54c-6985-42c0-8041-2bb16a414839" providerId="ADAL" clId="{D2DE92CD-AADB-43BF-8B53-266FBFF8B69D}" dt="2024-02-05T18:55:35.561" v="4290"/>
          <ac:cxnSpMkLst>
            <pc:docMk/>
            <pc:sldMk cId="77660323" sldId="295"/>
            <ac:cxnSpMk id="454" creationId="{43CAA34A-D62C-EDD3-8AC4-2799C476E1BB}"/>
          </ac:cxnSpMkLst>
        </pc:cxnChg>
        <pc:cxnChg chg="del mod ord">
          <ac:chgData name="Joelle Brehm" userId="a518f54c-6985-42c0-8041-2bb16a414839" providerId="ADAL" clId="{D2DE92CD-AADB-43BF-8B53-266FBFF8B69D}" dt="2024-02-05T18:55:30.664" v="3845"/>
          <ac:cxnSpMkLst>
            <pc:docMk/>
            <pc:sldMk cId="77660323" sldId="295"/>
            <ac:cxnSpMk id="460" creationId="{E41F7D0A-4DCD-1DBE-52FF-BEB5D8E08212}"/>
          </ac:cxnSpMkLst>
        </pc:cxnChg>
        <pc:cxnChg chg="mod ord">
          <ac:chgData name="Joelle Brehm" userId="a518f54c-6985-42c0-8041-2bb16a414839" providerId="ADAL" clId="{D2DE92CD-AADB-43BF-8B53-266FBFF8B69D}" dt="2024-02-05T18:55:35.559" v="4286"/>
          <ac:cxnSpMkLst>
            <pc:docMk/>
            <pc:sldMk cId="77660323" sldId="295"/>
            <ac:cxnSpMk id="461" creationId="{A9880E77-89B4-FAF6-9F4F-4692C63B345B}"/>
          </ac:cxnSpMkLst>
        </pc:cxnChg>
        <pc:cxnChg chg="mod ord">
          <ac:chgData name="Joelle Brehm" userId="a518f54c-6985-42c0-8041-2bb16a414839" providerId="ADAL" clId="{D2DE92CD-AADB-43BF-8B53-266FBFF8B69D}" dt="2024-02-05T18:55:35.544" v="4244"/>
          <ac:cxnSpMkLst>
            <pc:docMk/>
            <pc:sldMk cId="77660323" sldId="295"/>
            <ac:cxnSpMk id="499" creationId="{03F78B4F-B1A0-4DEB-C1BE-2365D8B94D05}"/>
          </ac:cxnSpMkLst>
        </pc:cxnChg>
      </pc:sldChg>
      <pc:sldChg chg="addSp delSp modSp mod">
        <pc:chgData name="Joelle Brehm" userId="a518f54c-6985-42c0-8041-2bb16a414839" providerId="ADAL" clId="{D2DE92CD-AADB-43BF-8B53-266FBFF8B69D}" dt="2024-02-05T19:17:30.536" v="7696" actId="313"/>
        <pc:sldMkLst>
          <pc:docMk/>
          <pc:sldMk cId="3184321266" sldId="296"/>
        </pc:sldMkLst>
        <pc:spChg chg="add del mod ord">
          <ac:chgData name="Joelle Brehm" userId="a518f54c-6985-42c0-8041-2bb16a414839" providerId="ADAL" clId="{D2DE92CD-AADB-43BF-8B53-266FBFF8B69D}" dt="2024-02-05T19:11:26.048" v="7679" actId="478"/>
          <ac:spMkLst>
            <pc:docMk/>
            <pc:sldMk cId="3184321266" sldId="296"/>
            <ac:spMk id="2" creationId="{7505563C-4022-0EF4-F81C-BCF03DB34181}"/>
          </ac:spMkLst>
        </pc:spChg>
        <pc:spChg chg="mod ord">
          <ac:chgData name="Joelle Brehm" userId="a518f54c-6985-42c0-8041-2bb16a414839" providerId="ADAL" clId="{D2DE92CD-AADB-43BF-8B53-266FBFF8B69D}" dt="2024-02-05T19:10:26.021" v="7657"/>
          <ac:spMkLst>
            <pc:docMk/>
            <pc:sldMk cId="3184321266" sldId="296"/>
            <ac:spMk id="3" creationId="{86D6AA5F-2727-5417-09CB-42026894EFF8}"/>
          </ac:spMkLst>
        </pc:spChg>
        <pc:spChg chg="mod ord">
          <ac:chgData name="Joelle Brehm" userId="a518f54c-6985-42c0-8041-2bb16a414839" providerId="ADAL" clId="{D2DE92CD-AADB-43BF-8B53-266FBFF8B69D}" dt="2024-02-05T19:10:26.017" v="7650"/>
          <ac:spMkLst>
            <pc:docMk/>
            <pc:sldMk cId="3184321266" sldId="296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D2DE92CD-AADB-43BF-8B53-266FBFF8B69D}" dt="2024-02-05T19:10:11.184" v="7547"/>
          <ac:spMkLst>
            <pc:docMk/>
            <pc:sldMk cId="3184321266" sldId="296"/>
            <ac:spMk id="6" creationId="{62F4BA05-25A3-F8F5-D094-8C1F44D352B7}"/>
          </ac:spMkLst>
        </pc:spChg>
        <pc:spChg chg="mod ord">
          <ac:chgData name="Joelle Brehm" userId="a518f54c-6985-42c0-8041-2bb16a414839" providerId="ADAL" clId="{D2DE92CD-AADB-43BF-8B53-266FBFF8B69D}" dt="2024-02-05T19:10:26.022" v="7659"/>
          <ac:spMkLst>
            <pc:docMk/>
            <pc:sldMk cId="3184321266" sldId="296"/>
            <ac:spMk id="8" creationId="{C75CB710-EFB8-7D57-0F83-AB63CD63F5E0}"/>
          </ac:spMkLst>
        </pc:spChg>
        <pc:spChg chg="add del mod modVis">
          <ac:chgData name="Joelle Brehm" userId="a518f54c-6985-42c0-8041-2bb16a414839" providerId="ADAL" clId="{D2DE92CD-AADB-43BF-8B53-266FBFF8B69D}" dt="2024-02-05T19:10:14.829" v="7616"/>
          <ac:spMkLst>
            <pc:docMk/>
            <pc:sldMk cId="3184321266" sldId="296"/>
            <ac:spMk id="9" creationId="{47817883-2525-3FFC-A05C-D9511290F52E}"/>
          </ac:spMkLst>
        </pc:spChg>
        <pc:spChg chg="mod">
          <ac:chgData name="Joelle Brehm" userId="a518f54c-6985-42c0-8041-2bb16a414839" providerId="ADAL" clId="{D2DE92CD-AADB-43BF-8B53-266FBFF8B69D}" dt="2024-02-05T19:10:26.024" v="7663"/>
          <ac:spMkLst>
            <pc:docMk/>
            <pc:sldMk cId="3184321266" sldId="296"/>
            <ac:spMk id="10" creationId="{ACBE2952-1408-2663-AB1D-8F843E822072}"/>
          </ac:spMkLst>
        </pc:spChg>
        <pc:spChg chg="add del mod modVis">
          <ac:chgData name="Joelle Brehm" userId="a518f54c-6985-42c0-8041-2bb16a414839" providerId="ADAL" clId="{D2DE92CD-AADB-43BF-8B53-266FBFF8B69D}" dt="2024-02-05T19:10:26.029" v="7675"/>
          <ac:spMkLst>
            <pc:docMk/>
            <pc:sldMk cId="3184321266" sldId="296"/>
            <ac:spMk id="13" creationId="{7E588AEF-EFB2-F03D-5F9D-297EB17ED221}"/>
          </ac:spMkLst>
        </pc:spChg>
        <pc:spChg chg="mod">
          <ac:chgData name="Joelle Brehm" userId="a518f54c-6985-42c0-8041-2bb16a414839" providerId="ADAL" clId="{D2DE92CD-AADB-43BF-8B53-266FBFF8B69D}" dt="2024-02-05T19:10:26.024" v="7662"/>
          <ac:spMkLst>
            <pc:docMk/>
            <pc:sldMk cId="3184321266" sldId="296"/>
            <ac:spMk id="14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9:10:26.018" v="7652"/>
          <ac:spMkLst>
            <pc:docMk/>
            <pc:sldMk cId="3184321266" sldId="296"/>
            <ac:spMk id="96" creationId="{13AC7CFA-23AF-445A-96F6-EA0D2FF657A3}"/>
          </ac:spMkLst>
        </pc:spChg>
        <pc:spChg chg="mod">
          <ac:chgData name="Joelle Brehm" userId="a518f54c-6985-42c0-8041-2bb16a414839" providerId="ADAL" clId="{D2DE92CD-AADB-43BF-8B53-266FBFF8B69D}" dt="2024-02-05T19:10:26.025" v="7667"/>
          <ac:spMkLst>
            <pc:docMk/>
            <pc:sldMk cId="3184321266" sldId="296"/>
            <ac:spMk id="190" creationId="{7CAA3B95-4C78-4122-BECA-B5FB0F3F3764}"/>
          </ac:spMkLst>
        </pc:spChg>
        <pc:spChg chg="mod ord">
          <ac:chgData name="Joelle Brehm" userId="a518f54c-6985-42c0-8041-2bb16a414839" providerId="ADAL" clId="{D2DE92CD-AADB-43BF-8B53-266FBFF8B69D}" dt="2024-02-05T19:10:26.019" v="7654"/>
          <ac:spMkLst>
            <pc:docMk/>
            <pc:sldMk cId="3184321266" sldId="296"/>
            <ac:spMk id="210" creationId="{2DBE4665-8B4A-4508-AC03-BDBC6AA30475}"/>
          </ac:spMkLst>
        </pc:spChg>
        <pc:spChg chg="mod">
          <ac:chgData name="Joelle Brehm" userId="a518f54c-6985-42c0-8041-2bb16a414839" providerId="ADAL" clId="{D2DE92CD-AADB-43BF-8B53-266FBFF8B69D}" dt="2024-02-05T19:10:26.025" v="7666"/>
          <ac:spMkLst>
            <pc:docMk/>
            <pc:sldMk cId="3184321266" sldId="296"/>
            <ac:spMk id="1062" creationId="{AAB4FE2D-13B1-774A-33CC-02765FFAA2DA}"/>
          </ac:spMkLst>
        </pc:spChg>
        <pc:spChg chg="mod ord">
          <ac:chgData name="Joelle Brehm" userId="a518f54c-6985-42c0-8041-2bb16a414839" providerId="ADAL" clId="{D2DE92CD-AADB-43BF-8B53-266FBFF8B69D}" dt="2024-02-05T19:17:30.536" v="7696" actId="313"/>
          <ac:spMkLst>
            <pc:docMk/>
            <pc:sldMk cId="3184321266" sldId="296"/>
            <ac:spMk id="1065" creationId="{D8CB5779-D0CF-D5F7-B11D-0A8746941D75}"/>
          </ac:spMkLst>
        </pc:spChg>
        <pc:graphicFrameChg chg="mod">
          <ac:chgData name="Joelle Brehm" userId="a518f54c-6985-42c0-8041-2bb16a414839" providerId="ADAL" clId="{D2DE92CD-AADB-43BF-8B53-266FBFF8B69D}" dt="2024-02-05T19:10:26.039" v="7677"/>
          <ac:graphicFrameMkLst>
            <pc:docMk/>
            <pc:sldMk cId="3184321266" sldId="296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D2DE92CD-AADB-43BF-8B53-266FBFF8B69D}" dt="2024-02-05T19:10:14.797" v="7583"/>
          <ac:graphicFrameMkLst>
            <pc:docMk/>
            <pc:sldMk cId="3184321266" sldId="296"/>
            <ac:graphicFrameMk id="7" creationId="{344CAAF7-3C82-B3A5-A350-BA4F838B9B0A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10:26.023" v="7661"/>
          <ac:graphicFrameMkLst>
            <pc:docMk/>
            <pc:sldMk cId="3184321266" sldId="296"/>
            <ac:graphicFrameMk id="11" creationId="{73A2D68C-1313-E594-1C17-522E6286420D}"/>
          </ac:graphicFrameMkLst>
        </pc:graphicFrameChg>
        <pc:graphicFrameChg chg="del">
          <ac:chgData name="Joelle Brehm" userId="a518f54c-6985-42c0-8041-2bb16a414839" providerId="ADAL" clId="{D2DE92CD-AADB-43BF-8B53-266FBFF8B69D}" dt="2024-02-05T19:10:11.150" v="7514"/>
          <ac:graphicFrameMkLst>
            <pc:docMk/>
            <pc:sldMk cId="3184321266" sldId="296"/>
            <ac:graphicFrameMk id="12" creationId="{6B9E93A4-8013-B07D-088F-7424A7189DDA}"/>
          </ac:graphicFrameMkLst>
        </pc:graphicFrameChg>
        <pc:graphicFrameChg chg="del mod ord">
          <ac:chgData name="Joelle Brehm" userId="a518f54c-6985-42c0-8041-2bb16a414839" providerId="ADAL" clId="{D2DE92CD-AADB-43BF-8B53-266FBFF8B69D}" dt="2024-02-05T19:10:25.978" v="7642"/>
          <ac:graphicFrameMkLst>
            <pc:docMk/>
            <pc:sldMk cId="3184321266" sldId="296"/>
            <ac:graphicFrameMk id="15" creationId="{DAE0F9FB-2E3E-B995-5A99-79E60010423E}"/>
          </ac:graphicFrameMkLst>
        </pc:graphicFrameChg>
        <pc:graphicFrameChg chg="add mod ord replST">
          <ac:chgData name="Joelle Brehm" userId="a518f54c-6985-42c0-8041-2bb16a414839" providerId="ADAL" clId="{D2DE92CD-AADB-43BF-8B53-266FBFF8B69D}" dt="2024-02-05T19:10:26.024" v="7665"/>
          <ac:graphicFrameMkLst>
            <pc:docMk/>
            <pc:sldMk cId="3184321266" sldId="296"/>
            <ac:graphicFrameMk id="16" creationId="{C06FA5D6-CFD3-0C5C-0289-D9DA8F135F85}"/>
          </ac:graphicFrameMkLst>
        </pc:graphicFrameChg>
        <pc:picChg chg="mod">
          <ac:chgData name="Joelle Brehm" userId="a518f54c-6985-42c0-8041-2bb16a414839" providerId="ADAL" clId="{D2DE92CD-AADB-43BF-8B53-266FBFF8B69D}" dt="2024-02-05T19:10:26.019" v="7655"/>
          <ac:picMkLst>
            <pc:docMk/>
            <pc:sldMk cId="3184321266" sldId="296"/>
            <ac:picMk id="1026" creationId="{A81E4029-9E9C-E6AC-16A9-5E0666C1EEB4}"/>
          </ac:picMkLst>
        </pc:picChg>
      </pc:sldChg>
    </pc:docChg>
  </pc:docChgLst>
  <pc:docChgLst>
    <pc:chgData name="Joelle Brehm" userId="a518f54c-6985-42c0-8041-2bb16a414839" providerId="ADAL" clId="{E88466E7-2243-47F6-9EAE-9BF9DD0649AD}"/>
    <pc:docChg chg="undo custSel addSld delSld modSld replTag">
      <pc:chgData name="Joelle Brehm" userId="a518f54c-6985-42c0-8041-2bb16a414839" providerId="ADAL" clId="{E88466E7-2243-47F6-9EAE-9BF9DD0649AD}" dt="2024-04-22T22:12:43.723" v="81537" actId="1076"/>
      <pc:docMkLst>
        <pc:docMk/>
      </pc:docMkLst>
      <pc:sldChg chg="addSp delSp modSp mod">
        <pc:chgData name="Joelle Brehm" userId="a518f54c-6985-42c0-8041-2bb16a414839" providerId="ADAL" clId="{E88466E7-2243-47F6-9EAE-9BF9DD0649AD}" dt="2024-04-07T23:52:51.066" v="59511" actId="478"/>
        <pc:sldMkLst>
          <pc:docMk/>
          <pc:sldMk cId="3839614074" sldId="258"/>
        </pc:sldMkLst>
        <pc:spChg chg="add del mod">
          <ac:chgData name="Joelle Brehm" userId="a518f54c-6985-42c0-8041-2bb16a414839" providerId="ADAL" clId="{E88466E7-2243-47F6-9EAE-9BF9DD0649AD}" dt="2024-04-07T23:52:51.066" v="59511" actId="478"/>
          <ac:spMkLst>
            <pc:docMk/>
            <pc:sldMk cId="3839614074" sldId="258"/>
            <ac:spMk id="9" creationId="{BA213D51-F5AF-7A7E-C940-94680E2C6F01}"/>
          </ac:spMkLst>
        </pc:spChg>
        <pc:spChg chg="mod">
          <ac:chgData name="Joelle Brehm" userId="a518f54c-6985-42c0-8041-2bb16a414839" providerId="ADAL" clId="{E88466E7-2243-47F6-9EAE-9BF9DD0649AD}" dt="2024-04-07T23:47:43.972" v="59308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E88466E7-2243-47F6-9EAE-9BF9DD0649AD}" dt="2024-04-04T22:20:47.480" v="59063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E88466E7-2243-47F6-9EAE-9BF9DD0649AD}" dt="2024-04-04T18:20:20.777" v="20906" actId="478"/>
        <pc:sldMkLst>
          <pc:docMk/>
          <pc:sldMk cId="3798164587" sldId="259"/>
        </pc:sldMkLst>
        <pc:spChg chg="mod ord">
          <ac:chgData name="Joelle Brehm" userId="a518f54c-6985-42c0-8041-2bb16a414839" providerId="ADAL" clId="{E88466E7-2243-47F6-9EAE-9BF9DD0649AD}" dt="2024-04-04T18:16:23.647" v="17767"/>
          <ac:spMkLst>
            <pc:docMk/>
            <pc:sldMk cId="3798164587" sldId="259"/>
            <ac:spMk id="2" creationId="{8EDF2A74-9587-4C1D-91CA-8D21248ED6E8}"/>
          </ac:spMkLst>
        </pc:spChg>
        <pc:spChg chg="add del mod">
          <ac:chgData name="Joelle Brehm" userId="a518f54c-6985-42c0-8041-2bb16a414839" providerId="ADAL" clId="{E88466E7-2243-47F6-9EAE-9BF9DD0649AD}" dt="2024-04-04T18:12:01.896" v="14065" actId="478"/>
          <ac:spMkLst>
            <pc:docMk/>
            <pc:sldMk cId="3798164587" sldId="259"/>
            <ac:spMk id="3" creationId="{E90F108D-7215-335D-68AB-F62B53EA2A44}"/>
          </ac:spMkLst>
        </pc:spChg>
        <pc:spChg chg="mod ord">
          <ac:chgData name="Joelle Brehm" userId="a518f54c-6985-42c0-8041-2bb16a414839" providerId="ADAL" clId="{E88466E7-2243-47F6-9EAE-9BF9DD0649AD}" dt="2024-04-04T18:16:23.615" v="17682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18:12:12.850" v="14304"/>
          <ac:spMkLst>
            <pc:docMk/>
            <pc:sldMk cId="3798164587" sldId="259"/>
            <ac:spMk id="8" creationId="{29E96BE9-6183-E68D-A09B-B79870A7C265}"/>
          </ac:spMkLst>
        </pc:spChg>
        <pc:spChg chg="add del mod modVis">
          <ac:chgData name="Joelle Brehm" userId="a518f54c-6985-42c0-8041-2bb16a414839" providerId="ADAL" clId="{E88466E7-2243-47F6-9EAE-9BF9DD0649AD}" dt="2024-04-04T18:14:06.418" v="14563"/>
          <ac:spMkLst>
            <pc:docMk/>
            <pc:sldMk cId="3798164587" sldId="259"/>
            <ac:spMk id="8" creationId="{373BD034-7DC0-D3F3-D542-81F621AEDDF1}"/>
          </ac:spMkLst>
        </pc:spChg>
        <pc:spChg chg="add del mod replST">
          <ac:chgData name="Joelle Brehm" userId="a518f54c-6985-42c0-8041-2bb16a414839" providerId="ADAL" clId="{E88466E7-2243-47F6-9EAE-9BF9DD0649AD}" dt="2024-04-04T18:16:02.872" v="15886"/>
          <ac:spMkLst>
            <pc:docMk/>
            <pc:sldMk cId="3798164587" sldId="259"/>
            <ac:spMk id="9" creationId="{23D62BA7-2A5C-7C52-2BF1-A5F29E81015C}"/>
          </ac:spMkLst>
        </pc:spChg>
        <pc:spChg chg="mod">
          <ac:chgData name="Joelle Brehm" userId="a518f54c-6985-42c0-8041-2bb16a414839" providerId="ADAL" clId="{E88466E7-2243-47F6-9EAE-9BF9DD0649AD}" dt="2024-04-04T18:16:23.615" v="17693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18:16:23.615" v="17689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18:16:23.615" v="17690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18:16:23.615" v="17687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18:16:23.615" v="17688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18:16:23.615" v="17691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18:16:23.615" v="17692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18:16:23.615" v="17694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18:16:23.615" v="17695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18:16:23.615" v="17696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18:16:23.615" v="17697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18:16:23.615" v="17698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18:16:23.615" v="17700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18:16:23.615" v="17701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18:16:23.631" v="17703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18:16:23.615" v="17702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18:16:23.631" v="17705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18:16:23.631" v="17706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18:16:23.631" v="17704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18:16:23.631" v="17708"/>
          <ac:spMkLst>
            <pc:docMk/>
            <pc:sldMk cId="3798164587" sldId="259"/>
            <ac:spMk id="30" creationId="{121A2A89-FB4E-4B9A-840D-28523B0B457F}"/>
          </ac:spMkLst>
        </pc:spChg>
        <pc:spChg chg="del mod">
          <ac:chgData name="Joelle Brehm" userId="a518f54c-6985-42c0-8041-2bb16a414839" providerId="ADAL" clId="{E88466E7-2243-47F6-9EAE-9BF9DD0649AD}" dt="2024-04-04T18:16:02.864" v="15864"/>
          <ac:spMkLst>
            <pc:docMk/>
            <pc:sldMk cId="3798164587" sldId="259"/>
            <ac:spMk id="32" creationId="{2EFC59B1-C208-1816-2539-FFF2F0D2CED4}"/>
          </ac:spMkLst>
        </pc:spChg>
        <pc:spChg chg="del mod">
          <ac:chgData name="Joelle Brehm" userId="a518f54c-6985-42c0-8041-2bb16a414839" providerId="ADAL" clId="{E88466E7-2243-47F6-9EAE-9BF9DD0649AD}" dt="2024-04-04T18:16:02.863" v="15860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E88466E7-2243-47F6-9EAE-9BF9DD0649AD}" dt="2024-04-04T18:16:23.631" v="17722"/>
          <ac:spMkLst>
            <pc:docMk/>
            <pc:sldMk cId="3798164587" sldId="259"/>
            <ac:spMk id="35" creationId="{1ACE69F8-F1AC-EF80-230F-4DB2F50E9D36}"/>
          </ac:spMkLst>
        </pc:spChg>
        <pc:spChg chg="del mod">
          <ac:chgData name="Joelle Brehm" userId="a518f54c-6985-42c0-8041-2bb16a414839" providerId="ADAL" clId="{E88466E7-2243-47F6-9EAE-9BF9DD0649AD}" dt="2024-04-04T18:16:02.868" v="15873"/>
          <ac:spMkLst>
            <pc:docMk/>
            <pc:sldMk cId="3798164587" sldId="259"/>
            <ac:spMk id="36" creationId="{24FD96C4-2F4A-AA43-27EB-B5B3270F9A1D}"/>
          </ac:spMkLst>
        </pc:spChg>
        <pc:spChg chg="mod">
          <ac:chgData name="Joelle Brehm" userId="a518f54c-6985-42c0-8041-2bb16a414839" providerId="ADAL" clId="{E88466E7-2243-47F6-9EAE-9BF9DD0649AD}" dt="2024-04-04T18:16:23.631" v="17724"/>
          <ac:spMkLst>
            <pc:docMk/>
            <pc:sldMk cId="3798164587" sldId="259"/>
            <ac:spMk id="37" creationId="{E3EAC238-37CE-FE97-F754-1E4E04FB6278}"/>
          </ac:spMkLst>
        </pc:spChg>
        <pc:spChg chg="del mod">
          <ac:chgData name="Joelle Brehm" userId="a518f54c-6985-42c0-8041-2bb16a414839" providerId="ADAL" clId="{E88466E7-2243-47F6-9EAE-9BF9DD0649AD}" dt="2024-04-04T18:16:02.869" v="15876"/>
          <ac:spMkLst>
            <pc:docMk/>
            <pc:sldMk cId="3798164587" sldId="259"/>
            <ac:spMk id="38" creationId="{76111FA9-1A54-7051-3AE8-877C73800496}"/>
          </ac:spMkLst>
        </pc:spChg>
        <pc:spChg chg="mod">
          <ac:chgData name="Joelle Brehm" userId="a518f54c-6985-42c0-8041-2bb16a414839" providerId="ADAL" clId="{E88466E7-2243-47F6-9EAE-9BF9DD0649AD}" dt="2024-04-04T18:16:23.631" v="17727"/>
          <ac:spMkLst>
            <pc:docMk/>
            <pc:sldMk cId="3798164587" sldId="259"/>
            <ac:spMk id="39" creationId="{D4D13DFD-8B8D-47B0-DF09-93358F670D14}"/>
          </ac:spMkLst>
        </pc:spChg>
        <pc:spChg chg="del mod">
          <ac:chgData name="Joelle Brehm" userId="a518f54c-6985-42c0-8041-2bb16a414839" providerId="ADAL" clId="{E88466E7-2243-47F6-9EAE-9BF9DD0649AD}" dt="2024-04-04T18:16:02.864" v="15863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E88466E7-2243-47F6-9EAE-9BF9DD0649AD}" dt="2024-04-04T18:16:23.631" v="17723"/>
          <ac:spMkLst>
            <pc:docMk/>
            <pc:sldMk cId="3798164587" sldId="259"/>
            <ac:spMk id="41" creationId="{AAEA4991-6EDC-4585-53B3-43FCB8287F41}"/>
          </ac:spMkLst>
        </pc:spChg>
        <pc:spChg chg="add mod ord replST">
          <ac:chgData name="Joelle Brehm" userId="a518f54c-6985-42c0-8041-2bb16a414839" providerId="ADAL" clId="{E88466E7-2243-47F6-9EAE-9BF9DD0649AD}" dt="2024-04-04T18:16:23.631" v="17731"/>
          <ac:spMkLst>
            <pc:docMk/>
            <pc:sldMk cId="3798164587" sldId="259"/>
            <ac:spMk id="42" creationId="{B1A4620F-C4D0-90F3-EA10-F65E2F656656}"/>
          </ac:spMkLst>
        </pc:spChg>
        <pc:spChg chg="add del mod modVis">
          <ac:chgData name="Joelle Brehm" userId="a518f54c-6985-42c0-8041-2bb16a414839" providerId="ADAL" clId="{E88466E7-2243-47F6-9EAE-9BF9DD0649AD}" dt="2024-04-04T18:15:58.858" v="14972"/>
          <ac:spMkLst>
            <pc:docMk/>
            <pc:sldMk cId="3798164587" sldId="259"/>
            <ac:spMk id="43" creationId="{57169D99-FEC8-8731-7328-72DA70FF2EE0}"/>
          </ac:spMkLst>
        </pc:spChg>
        <pc:spChg chg="del mod">
          <ac:chgData name="Joelle Brehm" userId="a518f54c-6985-42c0-8041-2bb16a414839" providerId="ADAL" clId="{E88466E7-2243-47F6-9EAE-9BF9DD0649AD}" dt="2024-04-04T18:16:02.870" v="15882"/>
          <ac:spMkLst>
            <pc:docMk/>
            <pc:sldMk cId="3798164587" sldId="259"/>
            <ac:spMk id="45" creationId="{834A4A6E-F942-97CD-1964-C91BE6483977}"/>
          </ac:spMkLst>
        </pc:spChg>
        <pc:spChg chg="mod">
          <ac:chgData name="Joelle Brehm" userId="a518f54c-6985-42c0-8041-2bb16a414839" providerId="ADAL" clId="{E88466E7-2243-47F6-9EAE-9BF9DD0649AD}" dt="2024-04-04T18:16:23.631" v="17729"/>
          <ac:spMkLst>
            <pc:docMk/>
            <pc:sldMk cId="3798164587" sldId="259"/>
            <ac:spMk id="46" creationId="{E6B65AFA-ED65-790E-FD9D-900AB5F10F73}"/>
          </ac:spMkLst>
        </pc:spChg>
        <pc:spChg chg="mod">
          <ac:chgData name="Joelle Brehm" userId="a518f54c-6985-42c0-8041-2bb16a414839" providerId="ADAL" clId="{E88466E7-2243-47F6-9EAE-9BF9DD0649AD}" dt="2024-04-04T18:16:23.631" v="17717"/>
          <ac:spMkLst>
            <pc:docMk/>
            <pc:sldMk cId="3798164587" sldId="259"/>
            <ac:spMk id="47" creationId="{0420A3C3-1A1B-41EB-AFAA-911B5CDBCB49}"/>
          </ac:spMkLst>
        </pc:spChg>
        <pc:spChg chg="del mod">
          <ac:chgData name="Joelle Brehm" userId="a518f54c-6985-42c0-8041-2bb16a414839" providerId="ADAL" clId="{E88466E7-2243-47F6-9EAE-9BF9DD0649AD}" dt="2024-04-04T18:16:02.113" v="15191"/>
          <ac:spMkLst>
            <pc:docMk/>
            <pc:sldMk cId="3798164587" sldId="259"/>
            <ac:spMk id="48" creationId="{109DD5E0-29D7-88B4-1064-D57907DC0418}"/>
          </ac:spMkLst>
        </pc:spChg>
        <pc:spChg chg="mod ord">
          <ac:chgData name="Joelle Brehm" userId="a518f54c-6985-42c0-8041-2bb16a414839" providerId="ADAL" clId="{E88466E7-2243-47F6-9EAE-9BF9DD0649AD}" dt="2024-04-04T18:16:23.631" v="17721"/>
          <ac:spMkLst>
            <pc:docMk/>
            <pc:sldMk cId="3798164587" sldId="259"/>
            <ac:spMk id="49" creationId="{4EF4B9C9-590D-7FAC-314A-6E7170817158}"/>
          </ac:spMkLst>
        </pc:spChg>
        <pc:spChg chg="del mod">
          <ac:chgData name="Joelle Brehm" userId="a518f54c-6985-42c0-8041-2bb16a414839" providerId="ADAL" clId="{E88466E7-2243-47F6-9EAE-9BF9DD0649AD}" dt="2024-04-04T18:16:02.865" v="15867"/>
          <ac:spMkLst>
            <pc:docMk/>
            <pc:sldMk cId="3798164587" sldId="259"/>
            <ac:spMk id="51" creationId="{3CCC5AEF-7BB6-2440-B43E-35D020EB1B82}"/>
          </ac:spMkLst>
        </pc:spChg>
        <pc:spChg chg="mod">
          <ac:chgData name="Joelle Brehm" userId="a518f54c-6985-42c0-8041-2bb16a414839" providerId="ADAL" clId="{E88466E7-2243-47F6-9EAE-9BF9DD0649AD}" dt="2024-04-04T18:16:23.631" v="17725"/>
          <ac:spMkLst>
            <pc:docMk/>
            <pc:sldMk cId="3798164587" sldId="259"/>
            <ac:spMk id="52" creationId="{D8EE27B5-3F46-02AD-6192-2B83C625A7E3}"/>
          </ac:spMkLst>
        </pc:spChg>
        <pc:spChg chg="del mod">
          <ac:chgData name="Joelle Brehm" userId="a518f54c-6985-42c0-8041-2bb16a414839" providerId="ADAL" clId="{E88466E7-2243-47F6-9EAE-9BF9DD0649AD}" dt="2024-04-04T18:16:02.872" v="15885"/>
          <ac:spMkLst>
            <pc:docMk/>
            <pc:sldMk cId="3798164587" sldId="259"/>
            <ac:spMk id="53" creationId="{EA5E416E-EAE0-1FEE-B3B8-C4682B7468DA}"/>
          </ac:spMkLst>
        </pc:spChg>
        <pc:spChg chg="del mod">
          <ac:chgData name="Joelle Brehm" userId="a518f54c-6985-42c0-8041-2bb16a414839" providerId="ADAL" clId="{E88466E7-2243-47F6-9EAE-9BF9DD0649AD}" dt="2024-04-04T18:16:02.867" v="15870"/>
          <ac:spMkLst>
            <pc:docMk/>
            <pc:sldMk cId="3798164587" sldId="259"/>
            <ac:spMk id="54" creationId="{2CEA7E2C-E3CA-7941-ACCF-262308344C45}"/>
          </ac:spMkLst>
        </pc:spChg>
        <pc:spChg chg="mod">
          <ac:chgData name="Joelle Brehm" userId="a518f54c-6985-42c0-8041-2bb16a414839" providerId="ADAL" clId="{E88466E7-2243-47F6-9EAE-9BF9DD0649AD}" dt="2024-04-04T18:16:23.631" v="17726"/>
          <ac:spMkLst>
            <pc:docMk/>
            <pc:sldMk cId="3798164587" sldId="259"/>
            <ac:spMk id="55" creationId="{02AD7D81-8D13-B15E-2594-BD31882D675C}"/>
          </ac:spMkLst>
        </pc:spChg>
        <pc:spChg chg="del mod">
          <ac:chgData name="Joelle Brehm" userId="a518f54c-6985-42c0-8041-2bb16a414839" providerId="ADAL" clId="{E88466E7-2243-47F6-9EAE-9BF9DD0649AD}" dt="2024-04-04T18:16:02.869" v="15879"/>
          <ac:spMkLst>
            <pc:docMk/>
            <pc:sldMk cId="3798164587" sldId="259"/>
            <ac:spMk id="56" creationId="{D0866A98-946F-C9DC-4025-403A17183A3F}"/>
          </ac:spMkLst>
        </pc:spChg>
        <pc:spChg chg="mod">
          <ac:chgData name="Joelle Brehm" userId="a518f54c-6985-42c0-8041-2bb16a414839" providerId="ADAL" clId="{E88466E7-2243-47F6-9EAE-9BF9DD0649AD}" dt="2024-04-04T18:16:23.631" v="17728"/>
          <ac:spMkLst>
            <pc:docMk/>
            <pc:sldMk cId="3798164587" sldId="259"/>
            <ac:spMk id="57" creationId="{9FDD95CB-347D-31C2-8C7C-8885536C3772}"/>
          </ac:spMkLst>
        </pc:spChg>
        <pc:spChg chg="mod">
          <ac:chgData name="Joelle Brehm" userId="a518f54c-6985-42c0-8041-2bb16a414839" providerId="ADAL" clId="{E88466E7-2243-47F6-9EAE-9BF9DD0649AD}" dt="2024-04-04T18:16:23.631" v="17730"/>
          <ac:spMkLst>
            <pc:docMk/>
            <pc:sldMk cId="3798164587" sldId="259"/>
            <ac:spMk id="58" creationId="{0DD75451-1FE2-C8B1-4E2C-E9CB46E6123B}"/>
          </ac:spMkLst>
        </pc:spChg>
        <pc:spChg chg="mod">
          <ac:chgData name="Joelle Brehm" userId="a518f54c-6985-42c0-8041-2bb16a414839" providerId="ADAL" clId="{E88466E7-2243-47F6-9EAE-9BF9DD0649AD}" dt="2024-04-04T18:16:23.631" v="17744"/>
          <ac:spMkLst>
            <pc:docMk/>
            <pc:sldMk cId="3798164587" sldId="259"/>
            <ac:spMk id="59" creationId="{FC0B19CE-D222-373E-7B18-A491724F2CFE}"/>
          </ac:spMkLst>
        </pc:spChg>
        <pc:spChg chg="add del mod modVis">
          <ac:chgData name="Joelle Brehm" userId="a518f54c-6985-42c0-8041-2bb16a414839" providerId="ADAL" clId="{E88466E7-2243-47F6-9EAE-9BF9DD0649AD}" dt="2024-04-04T18:16:00.189" v="15188"/>
          <ac:spMkLst>
            <pc:docMk/>
            <pc:sldMk cId="3798164587" sldId="259"/>
            <ac:spMk id="60" creationId="{2AD2F713-A27D-6C6F-E9D4-03097D2F87F1}"/>
          </ac:spMkLst>
        </pc:spChg>
        <pc:spChg chg="mod">
          <ac:chgData name="Joelle Brehm" userId="a518f54c-6985-42c0-8041-2bb16a414839" providerId="ADAL" clId="{E88466E7-2243-47F6-9EAE-9BF9DD0649AD}" dt="2024-04-04T18:16:23.631" v="17711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E88466E7-2243-47F6-9EAE-9BF9DD0649AD}" dt="2024-04-04T18:16:23.631" v="17713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E88466E7-2243-47F6-9EAE-9BF9DD0649AD}" dt="2024-04-04T18:16:23.631" v="17715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E88466E7-2243-47F6-9EAE-9BF9DD0649AD}" dt="2024-04-04T18:16:02.930" v="16001"/>
          <ac:spMkLst>
            <pc:docMk/>
            <pc:sldMk cId="3798164587" sldId="259"/>
            <ac:spMk id="65" creationId="{2A96A637-87A5-7D94-65D4-CF456E131F6F}"/>
          </ac:spMkLst>
        </pc:spChg>
        <pc:spChg chg="add del mod replST">
          <ac:chgData name="Joelle Brehm" userId="a518f54c-6985-42c0-8041-2bb16a414839" providerId="ADAL" clId="{E88466E7-2243-47F6-9EAE-9BF9DD0649AD}" dt="2024-04-04T18:16:19.679" v="16666"/>
          <ac:spMkLst>
            <pc:docMk/>
            <pc:sldMk cId="3798164587" sldId="259"/>
            <ac:spMk id="6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31" v="17720"/>
          <ac:spMkLst>
            <pc:docMk/>
            <pc:sldMk cId="3798164587" sldId="259"/>
            <ac:spMk id="67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8:16:19.679" v="16663"/>
          <ac:spMkLst>
            <pc:docMk/>
            <pc:sldMk cId="3798164587" sldId="259"/>
            <ac:spMk id="68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31" v="17712"/>
          <ac:spMkLst>
            <pc:docMk/>
            <pc:sldMk cId="3798164587" sldId="259"/>
            <ac:spMk id="69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8:16:19.679" v="16660"/>
          <ac:spMkLst>
            <pc:docMk/>
            <pc:sldMk cId="3798164587" sldId="259"/>
            <ac:spMk id="7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31" v="17714"/>
          <ac:spMkLst>
            <pc:docMk/>
            <pc:sldMk cId="3798164587" sldId="259"/>
            <ac:spMk id="71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31" v="17716"/>
          <ac:spMkLst>
            <pc:docMk/>
            <pc:sldMk cId="3798164587" sldId="259"/>
            <ac:spMk id="7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31" v="17718"/>
          <ac:spMkLst>
            <pc:docMk/>
            <pc:sldMk cId="3798164587" sldId="259"/>
            <ac:spMk id="73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8:16:19.679" v="16657"/>
          <ac:spMkLst>
            <pc:docMk/>
            <pc:sldMk cId="3798164587" sldId="259"/>
            <ac:spMk id="74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8:16:19.679" v="16654"/>
          <ac:spMkLst>
            <pc:docMk/>
            <pc:sldMk cId="3798164587" sldId="259"/>
            <ac:spMk id="75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8:16:19.679" v="16651"/>
          <ac:spMkLst>
            <pc:docMk/>
            <pc:sldMk cId="3798164587" sldId="259"/>
            <ac:spMk id="7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8:16:23.631" v="17746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18:16:23.631" v="17748"/>
          <ac:spMkLst>
            <pc:docMk/>
            <pc:sldMk cId="3798164587" sldId="259"/>
            <ac:spMk id="79" creationId="{F1476AC4-694B-4D83-BFD8-8DCAA4BB1923}"/>
          </ac:spMkLst>
        </pc:spChg>
        <pc:spChg chg="add del mod replST">
          <ac:chgData name="Joelle Brehm" userId="a518f54c-6985-42c0-8041-2bb16a414839" providerId="ADAL" clId="{E88466E7-2243-47F6-9EAE-9BF9DD0649AD}" dt="2024-04-04T18:16:19.679" v="16648"/>
          <ac:spMkLst>
            <pc:docMk/>
            <pc:sldMk cId="3798164587" sldId="259"/>
            <ac:spMk id="80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18:16:10.039" v="16219"/>
          <ac:spMkLst>
            <pc:docMk/>
            <pc:sldMk cId="3798164587" sldId="259"/>
            <ac:spMk id="89" creationId="{98D6632B-BFF4-56DB-5933-A5B2984FB03B}"/>
          </ac:spMkLst>
        </pc:spChg>
        <pc:spChg chg="mod">
          <ac:chgData name="Joelle Brehm" userId="a518f54c-6985-42c0-8041-2bb16a414839" providerId="ADAL" clId="{E88466E7-2243-47F6-9EAE-9BF9DD0649AD}" dt="2024-04-04T18:16:23.631" v="17719"/>
          <ac:spMkLst>
            <pc:docMk/>
            <pc:sldMk cId="3798164587" sldId="259"/>
            <ac:spMk id="91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18:16:14.011" v="16645"/>
          <ac:spMkLst>
            <pc:docMk/>
            <pc:sldMk cId="3798164587" sldId="259"/>
            <ac:spMk id="92" creationId="{C6D4F1C1-4890-627F-A22D-5247172251B8}"/>
          </ac:spMkLst>
        </pc:spChg>
        <pc:spChg chg="add del mod modVis">
          <ac:chgData name="Joelle Brehm" userId="a518f54c-6985-42c0-8041-2bb16a414839" providerId="ADAL" clId="{E88466E7-2243-47F6-9EAE-9BF9DD0649AD}" dt="2024-04-04T18:16:20.702" v="17577"/>
          <ac:spMkLst>
            <pc:docMk/>
            <pc:sldMk cId="3798164587" sldId="259"/>
            <ac:spMk id="94" creationId="{0505902B-4D8D-7DED-7C53-8D71A8CC2B8E}"/>
          </ac:spMkLst>
        </pc:spChg>
        <pc:spChg chg="del mod">
          <ac:chgData name="Joelle Brehm" userId="a518f54c-6985-42c0-8041-2bb16a414839" providerId="ADAL" clId="{E88466E7-2243-47F6-9EAE-9BF9DD0649AD}" dt="2024-04-04T18:16:02.113" v="15192"/>
          <ac:spMkLst>
            <pc:docMk/>
            <pc:sldMk cId="3798164587" sldId="259"/>
            <ac:spMk id="95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32"/>
          <ac:spMkLst>
            <pc:docMk/>
            <pc:sldMk cId="3798164587" sldId="259"/>
            <ac:spMk id="96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33"/>
          <ac:spMkLst>
            <pc:docMk/>
            <pc:sldMk cId="3798164587" sldId="259"/>
            <ac:spMk id="97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34"/>
          <ac:spMkLst>
            <pc:docMk/>
            <pc:sldMk cId="3798164587" sldId="259"/>
            <ac:spMk id="98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35"/>
          <ac:spMkLst>
            <pc:docMk/>
            <pc:sldMk cId="3798164587" sldId="259"/>
            <ac:spMk id="99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8:16:23.647" v="17750"/>
          <ac:spMkLst>
            <pc:docMk/>
            <pc:sldMk cId="3798164587" sldId="259"/>
            <ac:spMk id="100" creationId="{8B5667AB-609C-4AEA-83B3-24E395C8F420}"/>
          </ac:spMkLst>
        </pc:spChg>
        <pc:spChg chg="add mod replST">
          <ac:chgData name="Joelle Brehm" userId="a518f54c-6985-42c0-8041-2bb16a414839" providerId="ADAL" clId="{E88466E7-2243-47F6-9EAE-9BF9DD0649AD}" dt="2024-04-04T18:16:23.631" v="17736"/>
          <ac:spMkLst>
            <pc:docMk/>
            <pc:sldMk cId="3798164587" sldId="259"/>
            <ac:spMk id="101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37"/>
          <ac:spMkLst>
            <pc:docMk/>
            <pc:sldMk cId="3798164587" sldId="259"/>
            <ac:spMk id="102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38"/>
          <ac:spMkLst>
            <pc:docMk/>
            <pc:sldMk cId="3798164587" sldId="259"/>
            <ac:spMk id="103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39"/>
          <ac:spMkLst>
            <pc:docMk/>
            <pc:sldMk cId="3798164587" sldId="259"/>
            <ac:spMk id="104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40"/>
          <ac:spMkLst>
            <pc:docMk/>
            <pc:sldMk cId="3798164587" sldId="259"/>
            <ac:spMk id="105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41"/>
          <ac:spMkLst>
            <pc:docMk/>
            <pc:sldMk cId="3798164587" sldId="259"/>
            <ac:spMk id="106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8:16:02.863" v="15859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8:16:23.647" v="17752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18:16:23.647" v="17754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18:16:23.647" v="17756"/>
          <ac:spMkLst>
            <pc:docMk/>
            <pc:sldMk cId="3798164587" sldId="259"/>
            <ac:spMk id="110" creationId="{76D5A471-E342-4112-9B61-678EA0C3F282}"/>
          </ac:spMkLst>
        </pc:spChg>
        <pc:spChg chg="add mod replST">
          <ac:chgData name="Joelle Brehm" userId="a518f54c-6985-42c0-8041-2bb16a414839" providerId="ADAL" clId="{E88466E7-2243-47F6-9EAE-9BF9DD0649AD}" dt="2024-04-04T18:16:23.631" v="17742"/>
          <ac:spMkLst>
            <pc:docMk/>
            <pc:sldMk cId="3798164587" sldId="259"/>
            <ac:spMk id="111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8:16:23.631" v="17743"/>
          <ac:spMkLst>
            <pc:docMk/>
            <pc:sldMk cId="3798164587" sldId="259"/>
            <ac:spMk id="112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18:16:23.647" v="17771"/>
          <ac:spMkLst>
            <pc:docMk/>
            <pc:sldMk cId="3798164587" sldId="259"/>
            <ac:spMk id="114" creationId="{A06B8A2D-23BA-0445-43FC-1B617091DF1E}"/>
          </ac:spMkLst>
        </pc:spChg>
        <pc:spChg chg="mod">
          <ac:chgData name="Joelle Brehm" userId="a518f54c-6985-42c0-8041-2bb16a414839" providerId="ADAL" clId="{E88466E7-2243-47F6-9EAE-9BF9DD0649AD}" dt="2024-04-04T18:16:23.647" v="17759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47" v="17760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47" v="17761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6:23.647" v="17762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18:16:23.647" v="17763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18:16:23.694" v="17773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18:12:12.789" v="14199"/>
          <ac:graphicFrameMkLst>
            <pc:docMk/>
            <pc:sldMk cId="3798164587" sldId="259"/>
            <ac:graphicFrameMk id="9" creationId="{35F28C87-1695-B4D3-D69E-D38AD3C8C47E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6:23.615" v="17686"/>
          <ac:graphicFrameMkLst>
            <pc:docMk/>
            <pc:sldMk cId="3798164587" sldId="259"/>
            <ac:graphicFrameMk id="31" creationId="{9193F6EC-3564-B64F-36D0-EF7715351DBE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16:09.987" v="16106"/>
          <ac:graphicFrameMkLst>
            <pc:docMk/>
            <pc:sldMk cId="3798164587" sldId="259"/>
            <ac:graphicFrameMk id="44" creationId="{EA21C068-F0C4-A879-35AC-19BCCD488BD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6:00.133" v="15082"/>
          <ac:graphicFrameMkLst>
            <pc:docMk/>
            <pc:sldMk cId="3798164587" sldId="259"/>
            <ac:graphicFrameMk id="50" creationId="{5F58EDAE-006E-3A84-AFCA-A8A2281AF64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6:02.873" v="15888"/>
          <ac:graphicFrameMkLst>
            <pc:docMk/>
            <pc:sldMk cId="3798164587" sldId="259"/>
            <ac:graphicFrameMk id="63" creationId="{1D459396-5470-F505-5901-F3C7BA4D4EC3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15:58.805" v="14866"/>
          <ac:graphicFrameMkLst>
            <pc:docMk/>
            <pc:sldMk cId="3798164587" sldId="259"/>
            <ac:graphicFrameMk id="76" creationId="{9F21AA97-73F7-FFE2-6D88-F566F1691605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6:13.959" v="16533"/>
          <ac:graphicFrameMkLst>
            <pc:docMk/>
            <pc:sldMk cId="3798164587" sldId="259"/>
            <ac:graphicFrameMk id="88" creationId="{EEB5E79E-BBD2-DE29-1086-3E340194171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6:23.647" v="17758"/>
          <ac:graphicFrameMkLst>
            <pc:docMk/>
            <pc:sldMk cId="3798164587" sldId="259"/>
            <ac:graphicFrameMk id="90" creationId="{AA41345C-40AF-57C3-9A14-0C14360FAF8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6:20.638" v="17473"/>
          <ac:graphicFrameMkLst>
            <pc:docMk/>
            <pc:sldMk cId="3798164587" sldId="259"/>
            <ac:graphicFrameMk id="93" creationId="{A2477AAB-DD8C-3275-2787-F08165722DC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6:23.584" v="17668"/>
          <ac:graphicFrameMkLst>
            <pc:docMk/>
            <pc:sldMk cId="3798164587" sldId="259"/>
            <ac:graphicFrameMk id="113" creationId="{4FC621E3-DDCB-F0E2-908A-D61178D1456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6:23.631" v="17710"/>
          <ac:graphicFrameMkLst>
            <pc:docMk/>
            <pc:sldMk cId="3798164587" sldId="259"/>
            <ac:graphicFrameMk id="115" creationId="{35FA1063-9567-38D5-5F64-1C6D99EE6D90}"/>
          </ac:graphicFrameMkLst>
        </pc:graphicFrameChg>
        <pc:picChg chg="add mod ord">
          <ac:chgData name="Joelle Brehm" userId="a518f54c-6985-42c0-8041-2bb16a414839" providerId="ADAL" clId="{E88466E7-2243-47F6-9EAE-9BF9DD0649AD}" dt="2024-04-04T18:16:23.615" v="17676"/>
          <ac:picMkLst>
            <pc:docMk/>
            <pc:sldMk cId="3798164587" sldId="259"/>
            <ac:picMk id="3" creationId="{738F2EFE-3FCB-A772-7AFE-E3358881A153}"/>
          </ac:picMkLst>
        </pc:picChg>
        <pc:picChg chg="mod ord">
          <ac:chgData name="Joelle Brehm" userId="a518f54c-6985-42c0-8041-2bb16a414839" providerId="ADAL" clId="{E88466E7-2243-47F6-9EAE-9BF9DD0649AD}" dt="2024-04-04T18:16:23.615" v="17680"/>
          <ac:picMkLst>
            <pc:docMk/>
            <pc:sldMk cId="3798164587" sldId="259"/>
            <ac:picMk id="5" creationId="{8F4A2CF4-0CF3-47E4-B23B-AC49D50CFFA1}"/>
          </ac:picMkLst>
        </pc:picChg>
        <pc:picChg chg="add del mod ord">
          <ac:chgData name="Joelle Brehm" userId="a518f54c-6985-42c0-8041-2bb16a414839" providerId="ADAL" clId="{E88466E7-2243-47F6-9EAE-9BF9DD0649AD}" dt="2024-04-04T18:20:20.777" v="20906" actId="478"/>
          <ac:picMkLst>
            <pc:docMk/>
            <pc:sldMk cId="3798164587" sldId="259"/>
            <ac:picMk id="10" creationId="{04195A59-3121-8939-1C7E-5FC73DD93746}"/>
          </ac:picMkLst>
        </pc:picChg>
        <pc:picChg chg="add del mod ord">
          <ac:chgData name="Joelle Brehm" userId="a518f54c-6985-42c0-8041-2bb16a414839" providerId="ADAL" clId="{E88466E7-2243-47F6-9EAE-9BF9DD0649AD}" dt="2024-04-04T18:14:07.938" v="14566" actId="478"/>
          <ac:picMkLst>
            <pc:docMk/>
            <pc:sldMk cId="3798164587" sldId="259"/>
            <ac:picMk id="33" creationId="{8E4507E5-308B-28E5-CBA3-F00657BC8140}"/>
          </ac:picMkLst>
        </pc:picChg>
        <pc:picChg chg="mod ord">
          <ac:chgData name="Joelle Brehm" userId="a518f54c-6985-42c0-8041-2bb16a414839" providerId="ADAL" clId="{E88466E7-2243-47F6-9EAE-9BF9DD0649AD}" dt="2024-04-04T18:16:23.647" v="17765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18:16:23.615" v="17684"/>
          <ac:cxnSpMkLst>
            <pc:docMk/>
            <pc:sldMk cId="3798164587" sldId="259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E88466E7-2243-47F6-9EAE-9BF9DD0649AD}" dt="2024-04-04T18:16:19.679" v="16668"/>
          <ac:cxnSpMkLst>
            <pc:docMk/>
            <pc:sldMk cId="3798164587" sldId="259"/>
            <ac:cxnSpMk id="81" creationId="{2CDA8083-763E-4950-F02D-DD1107498721}"/>
          </ac:cxnSpMkLst>
        </pc:cxnChg>
        <pc:cxnChg chg="add del mod ord replST">
          <ac:chgData name="Joelle Brehm" userId="a518f54c-6985-42c0-8041-2bb16a414839" providerId="ADAL" clId="{E88466E7-2243-47F6-9EAE-9BF9DD0649AD}" dt="2024-04-04T18:16:19.679" v="16665"/>
          <ac:cxnSpMkLst>
            <pc:docMk/>
            <pc:sldMk cId="3798164587" sldId="259"/>
            <ac:cxnSpMk id="82" creationId="{246FE8CC-885E-B676-8F11-D96B0F419089}"/>
          </ac:cxnSpMkLst>
        </pc:cxnChg>
        <pc:cxnChg chg="add del mod ord replST">
          <ac:chgData name="Joelle Brehm" userId="a518f54c-6985-42c0-8041-2bb16a414839" providerId="ADAL" clId="{E88466E7-2243-47F6-9EAE-9BF9DD0649AD}" dt="2024-04-04T18:16:19.679" v="16662"/>
          <ac:cxnSpMkLst>
            <pc:docMk/>
            <pc:sldMk cId="3798164587" sldId="259"/>
            <ac:cxnSpMk id="83" creationId="{9E506FF5-3877-FE71-34D8-344EB2116E18}"/>
          </ac:cxnSpMkLst>
        </pc:cxnChg>
        <pc:cxnChg chg="add del mod ord replST">
          <ac:chgData name="Joelle Brehm" userId="a518f54c-6985-42c0-8041-2bb16a414839" providerId="ADAL" clId="{E88466E7-2243-47F6-9EAE-9BF9DD0649AD}" dt="2024-04-04T18:16:19.679" v="16659"/>
          <ac:cxnSpMkLst>
            <pc:docMk/>
            <pc:sldMk cId="3798164587" sldId="259"/>
            <ac:cxnSpMk id="84" creationId="{3B81F86F-FCFC-94CF-9CB3-B24BD02047B3}"/>
          </ac:cxnSpMkLst>
        </pc:cxnChg>
        <pc:cxnChg chg="add del mod ord replST">
          <ac:chgData name="Joelle Brehm" userId="a518f54c-6985-42c0-8041-2bb16a414839" providerId="ADAL" clId="{E88466E7-2243-47F6-9EAE-9BF9DD0649AD}" dt="2024-04-04T18:16:19.679" v="16656"/>
          <ac:cxnSpMkLst>
            <pc:docMk/>
            <pc:sldMk cId="3798164587" sldId="259"/>
            <ac:cxnSpMk id="85" creationId="{98A1A84D-C080-924F-73CA-E94377C83D06}"/>
          </ac:cxnSpMkLst>
        </pc:cxnChg>
        <pc:cxnChg chg="add del mod ord replST">
          <ac:chgData name="Joelle Brehm" userId="a518f54c-6985-42c0-8041-2bb16a414839" providerId="ADAL" clId="{E88466E7-2243-47F6-9EAE-9BF9DD0649AD}" dt="2024-04-04T18:16:19.679" v="16653"/>
          <ac:cxnSpMkLst>
            <pc:docMk/>
            <pc:sldMk cId="3798164587" sldId="259"/>
            <ac:cxnSpMk id="86" creationId="{913B2DD7-C0DA-13EC-0097-DD7343C9C15B}"/>
          </ac:cxnSpMkLst>
        </pc:cxnChg>
        <pc:cxnChg chg="add del mod ord replST">
          <ac:chgData name="Joelle Brehm" userId="a518f54c-6985-42c0-8041-2bb16a414839" providerId="ADAL" clId="{E88466E7-2243-47F6-9EAE-9BF9DD0649AD}" dt="2024-04-04T18:16:19.679" v="16650"/>
          <ac:cxnSpMkLst>
            <pc:docMk/>
            <pc:sldMk cId="3798164587" sldId="259"/>
            <ac:cxnSpMk id="87" creationId="{A3CE24BE-2BA9-DF18-A74B-6BF6CFFD4072}"/>
          </ac:cxnSpMkLst>
        </pc:cxnChg>
      </pc:sldChg>
      <pc:sldChg chg="modSp mod">
        <pc:chgData name="Joelle Brehm" userId="a518f54c-6985-42c0-8041-2bb16a414839" providerId="ADAL" clId="{E88466E7-2243-47F6-9EAE-9BF9DD0649AD}" dt="2024-04-03T21:56:12.084" v="4" actId="20577"/>
        <pc:sldMkLst>
          <pc:docMk/>
          <pc:sldMk cId="4090961396" sldId="260"/>
        </pc:sldMkLst>
        <pc:spChg chg="mod">
          <ac:chgData name="Joelle Brehm" userId="a518f54c-6985-42c0-8041-2bb16a414839" providerId="ADAL" clId="{E88466E7-2243-47F6-9EAE-9BF9DD0649AD}" dt="2024-04-03T21:56:12.084" v="4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E88466E7-2243-47F6-9EAE-9BF9DD0649AD}" dt="2024-04-22T22:12:43.723" v="81537" actId="1076"/>
        <pc:sldMkLst>
          <pc:docMk/>
          <pc:sldMk cId="3980989934" sldId="263"/>
        </pc:sldMkLst>
        <pc:spChg chg="mod ord">
          <ac:chgData name="Joelle Brehm" userId="a518f54c-6985-42c0-8041-2bb16a414839" providerId="ADAL" clId="{E88466E7-2243-47F6-9EAE-9BF9DD0649AD}" dt="2024-04-10T15:54:38.626" v="73082"/>
          <ac:spMkLst>
            <pc:docMk/>
            <pc:sldMk cId="3980989934" sldId="263"/>
            <ac:spMk id="2" creationId="{75C72E1E-661F-4997-A353-2798333F5BE3}"/>
          </ac:spMkLst>
        </pc:spChg>
        <pc:spChg chg="mod ord">
          <ac:chgData name="Joelle Brehm" userId="a518f54c-6985-42c0-8041-2bb16a414839" providerId="ADAL" clId="{E88466E7-2243-47F6-9EAE-9BF9DD0649AD}" dt="2024-04-22T22:12:43.723" v="81537" actId="1076"/>
          <ac:spMkLst>
            <pc:docMk/>
            <pc:sldMk cId="3980989934" sldId="263"/>
            <ac:spMk id="5" creationId="{7B827F87-784E-46DA-B4AC-26C5F16C015D}"/>
          </ac:spMkLst>
        </pc:spChg>
        <pc:spChg chg="add del mod">
          <ac:chgData name="Joelle Brehm" userId="a518f54c-6985-42c0-8041-2bb16a414839" providerId="ADAL" clId="{E88466E7-2243-47F6-9EAE-9BF9DD0649AD}" dt="2024-04-10T15:09:39.011" v="63385" actId="478"/>
          <ac:spMkLst>
            <pc:docMk/>
            <pc:sldMk cId="3980989934" sldId="263"/>
            <ac:spMk id="6" creationId="{4B59B238-E428-DD00-21F1-64D1BE3D6777}"/>
          </ac:spMkLst>
        </pc:spChg>
        <pc:spChg chg="mod">
          <ac:chgData name="Joelle Brehm" userId="a518f54c-6985-42c0-8041-2bb16a414839" providerId="ADAL" clId="{E88466E7-2243-47F6-9EAE-9BF9DD0649AD}" dt="2024-04-10T15:54:38.626" v="73066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E88466E7-2243-47F6-9EAE-9BF9DD0649AD}" dt="2024-04-10T15:54:38.626" v="73062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E88466E7-2243-47F6-9EAE-9BF9DD0649AD}" dt="2024-04-10T15:54:38.626" v="73060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E88466E7-2243-47F6-9EAE-9BF9DD0649AD}" dt="2024-04-10T15:54:38.626" v="73061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E88466E7-2243-47F6-9EAE-9BF9DD0649AD}" dt="2024-04-10T15:54:38.626" v="73063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E88466E7-2243-47F6-9EAE-9BF9DD0649AD}" dt="2024-04-10T15:54:38.626" v="73069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E88466E7-2243-47F6-9EAE-9BF9DD0649AD}" dt="2024-04-10T15:54:38.626" v="73064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E88466E7-2243-47F6-9EAE-9BF9DD0649AD}" dt="2024-04-10T15:54:38.626" v="73067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E88466E7-2243-47F6-9EAE-9BF9DD0649AD}" dt="2024-04-10T15:54:38.626" v="73065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E88466E7-2243-47F6-9EAE-9BF9DD0649AD}" dt="2024-04-10T15:54:38.626" v="73068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E88466E7-2243-47F6-9EAE-9BF9DD0649AD}" dt="2024-04-10T15:54:38.626" v="73070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E88466E7-2243-47F6-9EAE-9BF9DD0649AD}" dt="2024-04-10T15:54:38.626" v="73071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E88466E7-2243-47F6-9EAE-9BF9DD0649AD}" dt="2024-04-10T15:54:38.626" v="73073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E88466E7-2243-47F6-9EAE-9BF9DD0649AD}" dt="2024-04-10T15:54:38.626" v="73075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E88466E7-2243-47F6-9EAE-9BF9DD0649AD}" dt="2024-04-03T22:04:49.094" v="459"/>
          <ac:spMkLst>
            <pc:docMk/>
            <pc:sldMk cId="3980989934" sldId="263"/>
            <ac:spMk id="25" creationId="{4C1FA6F9-2C93-9FC2-4F3B-D83228BA6FF8}"/>
          </ac:spMkLst>
        </pc:spChg>
        <pc:spChg chg="mod ord">
          <ac:chgData name="Joelle Brehm" userId="a518f54c-6985-42c0-8041-2bb16a414839" providerId="ADAL" clId="{E88466E7-2243-47F6-9EAE-9BF9DD0649AD}" dt="2024-04-10T15:54:38.626" v="73084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E88466E7-2243-47F6-9EAE-9BF9DD0649AD}" dt="2024-04-10T15:54:38.626" v="73077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E88466E7-2243-47F6-9EAE-9BF9DD0649AD}" dt="2024-04-10T15:54:38.626" v="73079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E88466E7-2243-47F6-9EAE-9BF9DD0649AD}" dt="2024-04-10T15:54:38.641" v="73088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54:38.626" v="73059"/>
          <ac:graphicFrameMkLst>
            <pc:docMk/>
            <pc:sldMk cId="3980989934" sldId="263"/>
            <ac:graphicFrameMk id="27" creationId="{824C389B-492C-8A6F-059E-E77E5A47CC8E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3T22:04:49.037" v="416"/>
          <ac:graphicFrameMkLst>
            <pc:docMk/>
            <pc:sldMk cId="3980989934" sldId="263"/>
            <ac:graphicFrameMk id="29" creationId="{366590D8-414F-5AC7-CBBD-BD9DB7647BC7}"/>
          </ac:graphicFrameMkLst>
        </pc:graphicFrameChg>
        <pc:picChg chg="add del mod">
          <ac:chgData name="Joelle Brehm" userId="a518f54c-6985-42c0-8041-2bb16a414839" providerId="ADAL" clId="{E88466E7-2243-47F6-9EAE-9BF9DD0649AD}" dt="2024-04-10T14:46:55.127" v="63367" actId="478"/>
          <ac:picMkLst>
            <pc:docMk/>
            <pc:sldMk cId="3980989934" sldId="263"/>
            <ac:picMk id="3" creationId="{5F82E901-F2F3-E40B-12F7-50E18765F598}"/>
          </ac:picMkLst>
        </pc:picChg>
        <pc:picChg chg="add mod ord">
          <ac:chgData name="Joelle Brehm" userId="a518f54c-6985-42c0-8041-2bb16a414839" providerId="ADAL" clId="{E88466E7-2243-47F6-9EAE-9BF9DD0649AD}" dt="2024-04-10T15:54:38.626" v="73051"/>
          <ac:picMkLst>
            <pc:docMk/>
            <pc:sldMk cId="3980989934" sldId="263"/>
            <ac:picMk id="3" creationId="{6CD50359-D725-519A-6924-EBBE5FAD6701}"/>
          </ac:picMkLst>
        </pc:picChg>
        <pc:picChg chg="add del mod ord">
          <ac:chgData name="Joelle Brehm" userId="a518f54c-6985-42c0-8041-2bb16a414839" providerId="ADAL" clId="{E88466E7-2243-47F6-9EAE-9BF9DD0649AD}" dt="2024-04-03T22:01:25.948" v="110" actId="478"/>
          <ac:picMkLst>
            <pc:docMk/>
            <pc:sldMk cId="3980989934" sldId="263"/>
            <ac:picMk id="3" creationId="{781B5013-2A62-F95A-FD78-886661143C09}"/>
          </ac:picMkLst>
        </pc:picChg>
        <pc:picChg chg="add del mod">
          <ac:chgData name="Joelle Brehm" userId="a518f54c-6985-42c0-8041-2bb16a414839" providerId="ADAL" clId="{E88466E7-2243-47F6-9EAE-9BF9DD0649AD}" dt="2024-04-03T21:58:57.235" v="49" actId="478"/>
          <ac:picMkLst>
            <pc:docMk/>
            <pc:sldMk cId="3980989934" sldId="263"/>
            <ac:picMk id="6" creationId="{E31716E0-F8E9-7546-A842-CCF2B011C0AE}"/>
          </ac:picMkLst>
        </pc:picChg>
        <pc:picChg chg="add del mod ord">
          <ac:chgData name="Joelle Brehm" userId="a518f54c-6985-42c0-8041-2bb16a414839" providerId="ADAL" clId="{E88466E7-2243-47F6-9EAE-9BF9DD0649AD}" dt="2024-04-03T22:01:55.661" v="157" actId="478"/>
          <ac:picMkLst>
            <pc:docMk/>
            <pc:sldMk cId="3980989934" sldId="263"/>
            <ac:picMk id="7" creationId="{1126472E-9916-3DF9-1A31-7D85CBFBA9F7}"/>
          </ac:picMkLst>
        </pc:picChg>
        <pc:picChg chg="add del mod ord">
          <ac:chgData name="Joelle Brehm" userId="a518f54c-6985-42c0-8041-2bb16a414839" providerId="ADAL" clId="{E88466E7-2243-47F6-9EAE-9BF9DD0649AD}" dt="2024-04-10T15:54:39.983" v="73089" actId="478"/>
          <ac:picMkLst>
            <pc:docMk/>
            <pc:sldMk cId="3980989934" sldId="263"/>
            <ac:picMk id="7" creationId="{F8DF1B0B-8637-997D-74C1-9723588FBB3E}"/>
          </ac:picMkLst>
        </pc:picChg>
        <pc:picChg chg="add del mod">
          <ac:chgData name="Joelle Brehm" userId="a518f54c-6985-42c0-8041-2bb16a414839" providerId="ADAL" clId="{E88466E7-2243-47F6-9EAE-9BF9DD0649AD}" dt="2024-04-03T22:01:02.697" v="105" actId="478"/>
          <ac:picMkLst>
            <pc:docMk/>
            <pc:sldMk cId="3980989934" sldId="263"/>
            <ac:picMk id="22" creationId="{05D1EC1C-BCC7-2F0B-6B0B-6DEA25370363}"/>
          </ac:picMkLst>
        </pc:picChg>
        <pc:picChg chg="add del mod ord">
          <ac:chgData name="Joelle Brehm" userId="a518f54c-6985-42c0-8041-2bb16a414839" providerId="ADAL" clId="{E88466E7-2243-47F6-9EAE-9BF9DD0649AD}" dt="2024-04-10T15:10:06.488" v="63432" actId="478"/>
          <ac:picMkLst>
            <pc:docMk/>
            <pc:sldMk cId="3980989934" sldId="263"/>
            <ac:picMk id="23" creationId="{97BACAD6-DC6E-DDE9-5110-CD61E919BBDC}"/>
          </ac:picMkLst>
        </pc:picChg>
        <pc:picChg chg="add mod ord">
          <ac:chgData name="Joelle Brehm" userId="a518f54c-6985-42c0-8041-2bb16a414839" providerId="ADAL" clId="{E88466E7-2243-47F6-9EAE-9BF9DD0649AD}" dt="2024-04-10T15:54:38.626" v="73055"/>
          <ac:picMkLst>
            <pc:docMk/>
            <pc:sldMk cId="3980989934" sldId="263"/>
            <ac:picMk id="24" creationId="{BE160122-8CAE-3078-1188-02CAA0D23245}"/>
          </ac:picMkLst>
        </pc:picChg>
        <pc:picChg chg="del mod ord">
          <ac:chgData name="Joelle Brehm" userId="a518f54c-6985-42c0-8041-2bb16a414839" providerId="ADAL" clId="{E88466E7-2243-47F6-9EAE-9BF9DD0649AD}" dt="2024-04-03T22:04:29" v="208" actId="478"/>
          <ac:picMkLst>
            <pc:docMk/>
            <pc:sldMk cId="3980989934" sldId="263"/>
            <ac:picMk id="26" creationId="{89EE14D8-5F76-33FF-0FD7-9F781149BC6C}"/>
          </ac:picMkLst>
        </pc:picChg>
        <pc:picChg chg="mod">
          <ac:chgData name="Joelle Brehm" userId="a518f54c-6985-42c0-8041-2bb16a414839" providerId="ADAL" clId="{E88466E7-2243-47F6-9EAE-9BF9DD0649AD}" dt="2024-04-10T15:54:38.626" v="73080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E88466E7-2243-47F6-9EAE-9BF9DD0649AD}" dt="2024-04-08T20:41:22.547" v="63357"/>
        <pc:sldMkLst>
          <pc:docMk/>
          <pc:sldMk cId="1450446987" sldId="264"/>
        </pc:sldMkLst>
        <pc:spChg chg="add del mod ord">
          <ac:chgData name="Joelle Brehm" userId="a518f54c-6985-42c0-8041-2bb16a414839" providerId="ADAL" clId="{E88466E7-2243-47F6-9EAE-9BF9DD0649AD}" dt="2024-04-08T20:40:21.049" v="59744" actId="478"/>
          <ac:spMkLst>
            <pc:docMk/>
            <pc:sldMk cId="1450446987" sldId="264"/>
            <ac:spMk id="2" creationId="{ECABA4C6-896F-88D0-3CCE-0F616AE0E96C}"/>
          </ac:spMkLst>
        </pc:spChg>
        <pc:spChg chg="mod ord">
          <ac:chgData name="Joelle Brehm" userId="a518f54c-6985-42c0-8041-2bb16a414839" providerId="ADAL" clId="{E88466E7-2243-47F6-9EAE-9BF9DD0649AD}" dt="2024-04-08T20:41:22.481" v="63211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E88466E7-2243-47F6-9EAE-9BF9DD0649AD}" dt="2024-04-08T20:41:22.502" v="63278"/>
          <ac:spMkLst>
            <pc:docMk/>
            <pc:sldMk cId="1450446987" sldId="264"/>
            <ac:spMk id="6" creationId="{94041F47-DFC6-9E3F-6F9D-DC51588D95FB}"/>
          </ac:spMkLst>
        </pc:spChg>
        <pc:spChg chg="mod">
          <ac:chgData name="Joelle Brehm" userId="a518f54c-6985-42c0-8041-2bb16a414839" providerId="ADAL" clId="{E88466E7-2243-47F6-9EAE-9BF9DD0649AD}" dt="2024-04-08T20:41:22.501" v="63275"/>
          <ac:spMkLst>
            <pc:docMk/>
            <pc:sldMk cId="1450446987" sldId="264"/>
            <ac:spMk id="7" creationId="{DE57A07F-6746-6404-6ACC-31B88A8A6B3A}"/>
          </ac:spMkLst>
        </pc:spChg>
        <pc:spChg chg="mod">
          <ac:chgData name="Joelle Brehm" userId="a518f54c-6985-42c0-8041-2bb16a414839" providerId="ADAL" clId="{E88466E7-2243-47F6-9EAE-9BF9DD0649AD}" dt="2024-04-08T20:41:22.501" v="63277"/>
          <ac:spMkLst>
            <pc:docMk/>
            <pc:sldMk cId="1450446987" sldId="264"/>
            <ac:spMk id="8" creationId="{58B78C31-BB5C-89ED-34D3-7C1F9D71DB92}"/>
          </ac:spMkLst>
        </pc:spChg>
        <pc:spChg chg="add del mod modVis">
          <ac:chgData name="Joelle Brehm" userId="a518f54c-6985-42c0-8041-2bb16a414839" providerId="ADAL" clId="{E88466E7-2243-47F6-9EAE-9BF9DD0649AD}" dt="2024-04-08T20:40:29.907" v="60050"/>
          <ac:spMkLst>
            <pc:docMk/>
            <pc:sldMk cId="1450446987" sldId="264"/>
            <ac:spMk id="10" creationId="{8E751632-E160-3638-0690-8488E274CC35}"/>
          </ac:spMkLst>
        </pc:spChg>
        <pc:spChg chg="mod">
          <ac:chgData name="Joelle Brehm" userId="a518f54c-6985-42c0-8041-2bb16a414839" providerId="ADAL" clId="{E88466E7-2243-47F6-9EAE-9BF9DD0649AD}" dt="2024-04-08T20:41:22.501" v="63276"/>
          <ac:spMkLst>
            <pc:docMk/>
            <pc:sldMk cId="1450446987" sldId="264"/>
            <ac:spMk id="11" creationId="{D34BD6AF-79B7-0201-A9E6-DEFEE9B380F3}"/>
          </ac:spMkLst>
        </pc:spChg>
        <pc:spChg chg="add del mod replST">
          <ac:chgData name="Joelle Brehm" userId="a518f54c-6985-42c0-8041-2bb16a414839" providerId="ADAL" clId="{E88466E7-2243-47F6-9EAE-9BF9DD0649AD}" dt="2024-04-08T20:40:30.911" v="60096"/>
          <ac:spMkLst>
            <pc:docMk/>
            <pc:sldMk cId="1450446987" sldId="264"/>
            <ac:spMk id="12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8:07:59.173" v="11414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E88466E7-2243-47F6-9EAE-9BF9DD0649AD}" dt="2024-04-08T20:41:22.502" v="63279"/>
          <ac:spMkLst>
            <pc:docMk/>
            <pc:sldMk cId="1450446987" sldId="264"/>
            <ac:spMk id="13" creationId="{59E51F57-4F87-30DB-F9BB-D534DA6D3887}"/>
          </ac:spMkLst>
        </pc:spChg>
        <pc:spChg chg="add del mod modVis">
          <ac:chgData name="Joelle Brehm" userId="a518f54c-6985-42c0-8041-2bb16a414839" providerId="ADAL" clId="{E88466E7-2243-47F6-9EAE-9BF9DD0649AD}" dt="2024-04-04T18:07:46.614" v="11090"/>
          <ac:spMkLst>
            <pc:docMk/>
            <pc:sldMk cId="1450446987" sldId="264"/>
            <ac:spMk id="14" creationId="{14FBC3C1-E42D-AF0B-705A-E089B379249E}"/>
          </ac:spMkLst>
        </pc:spChg>
        <pc:spChg chg="mod">
          <ac:chgData name="Joelle Brehm" userId="a518f54c-6985-42c0-8041-2bb16a414839" providerId="ADAL" clId="{E88466E7-2243-47F6-9EAE-9BF9DD0649AD}" dt="2024-04-08T20:41:22.506" v="63289"/>
          <ac:spMkLst>
            <pc:docMk/>
            <pc:sldMk cId="1450446987" sldId="264"/>
            <ac:spMk id="15" creationId="{78323779-3C77-06EC-7E74-E6B35BABC750}"/>
          </ac:spMkLst>
        </pc:spChg>
        <pc:spChg chg="mod ord">
          <ac:chgData name="Joelle Brehm" userId="a518f54c-6985-42c0-8041-2bb16a414839" providerId="ADAL" clId="{E88466E7-2243-47F6-9EAE-9BF9DD0649AD}" dt="2024-04-08T20:41:22.514" v="63320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E88466E7-2243-47F6-9EAE-9BF9DD0649AD}" dt="2024-04-08T20:41:22.506" v="63290"/>
          <ac:spMkLst>
            <pc:docMk/>
            <pc:sldMk cId="1450446987" sldId="264"/>
            <ac:spMk id="17" creationId="{A63BB7A4-7E0B-7C45-80AE-587ED115AADD}"/>
          </ac:spMkLst>
        </pc:spChg>
        <pc:spChg chg="add mod replST">
          <ac:chgData name="Joelle Brehm" userId="a518f54c-6985-42c0-8041-2bb16a414839" providerId="ADAL" clId="{E88466E7-2243-47F6-9EAE-9BF9DD0649AD}" dt="2024-04-08T20:41:22.503" v="63281"/>
          <ac:spMkLst>
            <pc:docMk/>
            <pc:sldMk cId="1450446987" sldId="264"/>
            <ac:spMk id="18" creationId="{3B2F615D-61D1-3EE6-4C63-ABEC5F01E6F7}"/>
          </ac:spMkLst>
        </pc:spChg>
        <pc:spChg chg="mod">
          <ac:chgData name="Joelle Brehm" userId="a518f54c-6985-42c0-8041-2bb16a414839" providerId="ADAL" clId="{E88466E7-2243-47F6-9EAE-9BF9DD0649AD}" dt="2024-04-08T20:41:22.502" v="63280"/>
          <ac:spMkLst>
            <pc:docMk/>
            <pc:sldMk cId="1450446987" sldId="264"/>
            <ac:spMk id="19" creationId="{2BD2C9D2-45AB-B0EE-41F5-E56B76D40A08}"/>
          </ac:spMkLst>
        </pc:spChg>
        <pc:spChg chg="mod">
          <ac:chgData name="Joelle Brehm" userId="a518f54c-6985-42c0-8041-2bb16a414839" providerId="ADAL" clId="{E88466E7-2243-47F6-9EAE-9BF9DD0649AD}" dt="2024-04-08T20:41:22.510" v="63308"/>
          <ac:spMkLst>
            <pc:docMk/>
            <pc:sldMk cId="1450446987" sldId="264"/>
            <ac:spMk id="20" creationId="{18BB98B9-3195-BC71-0830-E8C7C89B36EF}"/>
          </ac:spMkLst>
        </pc:spChg>
        <pc:spChg chg="add del mod modVis">
          <ac:chgData name="Joelle Brehm" userId="a518f54c-6985-42c0-8041-2bb16a414839" providerId="ADAL" clId="{E88466E7-2243-47F6-9EAE-9BF9DD0649AD}" dt="2024-04-08T20:40:31.022" v="60251"/>
          <ac:spMkLst>
            <pc:docMk/>
            <pc:sldMk cId="1450446987" sldId="264"/>
            <ac:spMk id="21" creationId="{443DDC79-771C-5D91-4B59-B78D285668B6}"/>
          </ac:spMkLst>
        </pc:spChg>
        <pc:spChg chg="add del mod modVis">
          <ac:chgData name="Joelle Brehm" userId="a518f54c-6985-42c0-8041-2bb16a414839" providerId="ADAL" clId="{E88466E7-2243-47F6-9EAE-9BF9DD0649AD}" dt="2024-04-04T18:07:56.728" v="11410"/>
          <ac:spMkLst>
            <pc:docMk/>
            <pc:sldMk cId="1450446987" sldId="264"/>
            <ac:spMk id="21" creationId="{DD20AB85-DB63-F660-B499-45D2554122E0}"/>
          </ac:spMkLst>
        </pc:spChg>
        <pc:spChg chg="mod">
          <ac:chgData name="Joelle Brehm" userId="a518f54c-6985-42c0-8041-2bb16a414839" providerId="ADAL" clId="{E88466E7-2243-47F6-9EAE-9BF9DD0649AD}" dt="2024-04-08T20:41:22.505" v="63288"/>
          <ac:spMkLst>
            <pc:docMk/>
            <pc:sldMk cId="1450446987" sldId="264"/>
            <ac:spMk id="23" creationId="{ECE85BCC-DA74-38B9-C409-63F89574AA2B}"/>
          </ac:spMkLst>
        </pc:spChg>
        <pc:spChg chg="mod">
          <ac:chgData name="Joelle Brehm" userId="a518f54c-6985-42c0-8041-2bb16a414839" providerId="ADAL" clId="{E88466E7-2243-47F6-9EAE-9BF9DD0649AD}" dt="2024-04-08T20:41:22.484" v="63225"/>
          <ac:spMkLst>
            <pc:docMk/>
            <pc:sldMk cId="1450446987" sldId="264"/>
            <ac:spMk id="24" creationId="{E5D53381-936F-04EC-A4BF-61AC62630B7E}"/>
          </ac:spMkLst>
        </pc:spChg>
        <pc:spChg chg="mod">
          <ac:chgData name="Joelle Brehm" userId="a518f54c-6985-42c0-8041-2bb16a414839" providerId="ADAL" clId="{E88466E7-2243-47F6-9EAE-9BF9DD0649AD}" dt="2024-04-08T20:41:22.499" v="63270"/>
          <ac:spMkLst>
            <pc:docMk/>
            <pc:sldMk cId="1450446987" sldId="264"/>
            <ac:spMk id="25" creationId="{DDCB9CFD-6336-9FEE-8109-046E7B1EDE09}"/>
          </ac:spMkLst>
        </pc:spChg>
        <pc:spChg chg="add del mod modVis">
          <ac:chgData name="Joelle Brehm" userId="a518f54c-6985-42c0-8041-2bb16a414839" providerId="ADAL" clId="{E88466E7-2243-47F6-9EAE-9BF9DD0649AD}" dt="2024-04-08T20:40:33.974" v="60438"/>
          <ac:spMkLst>
            <pc:docMk/>
            <pc:sldMk cId="1450446987" sldId="264"/>
            <ac:spMk id="26" creationId="{DA80DBE4-AD2A-51D9-8417-9C7444D8CD7E}"/>
          </ac:spMkLst>
        </pc:spChg>
        <pc:spChg chg="mod">
          <ac:chgData name="Joelle Brehm" userId="a518f54c-6985-42c0-8041-2bb16a414839" providerId="ADAL" clId="{E88466E7-2243-47F6-9EAE-9BF9DD0649AD}" dt="2024-04-08T20:41:22.506" v="63291"/>
          <ac:spMkLst>
            <pc:docMk/>
            <pc:sldMk cId="1450446987" sldId="264"/>
            <ac:spMk id="27" creationId="{BE79AA66-A658-FB5E-FB38-1F294A525890}"/>
          </ac:spMkLst>
        </pc:spChg>
        <pc:spChg chg="add mod replST">
          <ac:chgData name="Joelle Brehm" userId="a518f54c-6985-42c0-8041-2bb16a414839" providerId="ADAL" clId="{E88466E7-2243-47F6-9EAE-9BF9DD0649AD}" dt="2024-04-08T20:41:22.507" v="63293"/>
          <ac:spMkLst>
            <pc:docMk/>
            <pc:sldMk cId="1450446987" sldId="264"/>
            <ac:spMk id="28" creationId="{8099BDDE-97A2-D2F0-D81B-420C034F20A3}"/>
          </ac:spMkLst>
        </pc:spChg>
        <pc:spChg chg="mod">
          <ac:chgData name="Joelle Brehm" userId="a518f54c-6985-42c0-8041-2bb16a414839" providerId="ADAL" clId="{E88466E7-2243-47F6-9EAE-9BF9DD0649AD}" dt="2024-04-08T20:41:22.485" v="63226"/>
          <ac:spMkLst>
            <pc:docMk/>
            <pc:sldMk cId="1450446987" sldId="264"/>
            <ac:spMk id="29" creationId="{D93C115D-D127-7D81-3796-9889DB2B0610}"/>
          </ac:spMkLst>
        </pc:spChg>
        <pc:spChg chg="mod">
          <ac:chgData name="Joelle Brehm" userId="a518f54c-6985-42c0-8041-2bb16a414839" providerId="ADAL" clId="{E88466E7-2243-47F6-9EAE-9BF9DD0649AD}" dt="2024-04-08T20:41:22.507" v="63292"/>
          <ac:spMkLst>
            <pc:docMk/>
            <pc:sldMk cId="1450446987" sldId="264"/>
            <ac:spMk id="30" creationId="{2F070BDA-EC70-8B53-0816-3E05697FB1EF}"/>
          </ac:spMkLst>
        </pc:spChg>
        <pc:spChg chg="mod">
          <ac:chgData name="Joelle Brehm" userId="a518f54c-6985-42c0-8041-2bb16a414839" providerId="ADAL" clId="{E88466E7-2243-47F6-9EAE-9BF9DD0649AD}" dt="2024-04-08T20:41:22.499" v="63271"/>
          <ac:spMkLst>
            <pc:docMk/>
            <pc:sldMk cId="1450446987" sldId="264"/>
            <ac:spMk id="31" creationId="{CA321323-2C4C-2167-68A7-B60C766BB3D9}"/>
          </ac:spMkLst>
        </pc:spChg>
        <pc:spChg chg="add del mod modVis">
          <ac:chgData name="Joelle Brehm" userId="a518f54c-6985-42c0-8041-2bb16a414839" providerId="ADAL" clId="{E88466E7-2243-47F6-9EAE-9BF9DD0649AD}" dt="2024-04-04T18:08:11.229" v="11863"/>
          <ac:spMkLst>
            <pc:docMk/>
            <pc:sldMk cId="1450446987" sldId="264"/>
            <ac:spMk id="32" creationId="{045FDFE8-7B45-157E-8330-402556311948}"/>
          </ac:spMkLst>
        </pc:spChg>
        <pc:spChg chg="mod">
          <ac:chgData name="Joelle Brehm" userId="a518f54c-6985-42c0-8041-2bb16a414839" providerId="ADAL" clId="{E88466E7-2243-47F6-9EAE-9BF9DD0649AD}" dt="2024-04-08T20:41:22.485" v="63227"/>
          <ac:spMkLst>
            <pc:docMk/>
            <pc:sldMk cId="1450446987" sldId="264"/>
            <ac:spMk id="33" creationId="{F8B53093-42EB-7465-F3DF-B254169B7CA1}"/>
          </ac:spMkLst>
        </pc:spChg>
        <pc:spChg chg="mod">
          <ac:chgData name="Joelle Brehm" userId="a518f54c-6985-42c0-8041-2bb16a414839" providerId="ADAL" clId="{E88466E7-2243-47F6-9EAE-9BF9DD0649AD}" dt="2024-04-08T20:41:22.503" v="63282"/>
          <ac:spMkLst>
            <pc:docMk/>
            <pc:sldMk cId="1450446987" sldId="264"/>
            <ac:spMk id="34" creationId="{A168857A-5A92-DB79-49DB-27685EFFF737}"/>
          </ac:spMkLst>
        </pc:spChg>
        <pc:spChg chg="add del mod modVis">
          <ac:chgData name="Joelle Brehm" userId="a518f54c-6985-42c0-8041-2bb16a414839" providerId="ADAL" clId="{E88466E7-2243-47F6-9EAE-9BF9DD0649AD}" dt="2024-04-08T20:40:37.806" v="60699"/>
          <ac:spMkLst>
            <pc:docMk/>
            <pc:sldMk cId="1450446987" sldId="264"/>
            <ac:spMk id="35" creationId="{356513D6-18D2-46ED-B202-4B5E6B3D36D5}"/>
          </ac:spMkLst>
        </pc:spChg>
        <pc:spChg chg="del mod">
          <ac:chgData name="Joelle Brehm" userId="a518f54c-6985-42c0-8041-2bb16a414839" providerId="ADAL" clId="{E88466E7-2243-47F6-9EAE-9BF9DD0649AD}" dt="2024-04-04T18:07:59.173" v="11413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E88466E7-2243-47F6-9EAE-9BF9DD0649AD}" dt="2024-04-08T20:41:22.504" v="63287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E88466E7-2243-47F6-9EAE-9BF9DD0649AD}" dt="2024-04-08T20:41:22.503" v="63283"/>
          <ac:spMkLst>
            <pc:docMk/>
            <pc:sldMk cId="1450446987" sldId="264"/>
            <ac:spMk id="37" creationId="{F4881349-7857-4045-CB14-ED7B5F3DF7AB}"/>
          </ac:spMkLst>
        </pc:spChg>
        <pc:spChg chg="add mod replST">
          <ac:chgData name="Joelle Brehm" userId="a518f54c-6985-42c0-8041-2bb16a414839" providerId="ADAL" clId="{E88466E7-2243-47F6-9EAE-9BF9DD0649AD}" dt="2024-04-08T20:41:22.511" v="63311"/>
          <ac:spMkLst>
            <pc:docMk/>
            <pc:sldMk cId="1450446987" sldId="264"/>
            <ac:spMk id="39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8T20:41:22.486" v="63229"/>
          <ac:spMkLst>
            <pc:docMk/>
            <pc:sldMk cId="1450446987" sldId="264"/>
            <ac:spMk id="40" creationId="{061B8C24-862E-39F3-377B-84A1D6209614}"/>
          </ac:spMkLst>
        </pc:spChg>
        <pc:spChg chg="mod">
          <ac:chgData name="Joelle Brehm" userId="a518f54c-6985-42c0-8041-2bb16a414839" providerId="ADAL" clId="{E88466E7-2243-47F6-9EAE-9BF9DD0649AD}" dt="2024-04-08T20:41:22.486" v="63228"/>
          <ac:spMkLst>
            <pc:docMk/>
            <pc:sldMk cId="1450446987" sldId="264"/>
            <ac:spMk id="41" creationId="{A2C1F74C-6393-C0BE-3E25-A442CC66BD8E}"/>
          </ac:spMkLst>
        </pc:spChg>
        <pc:spChg chg="mod">
          <ac:chgData name="Joelle Brehm" userId="a518f54c-6985-42c0-8041-2bb16a414839" providerId="ADAL" clId="{E88466E7-2243-47F6-9EAE-9BF9DD0649AD}" dt="2024-04-08T20:41:22.500" v="63272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E88466E7-2243-47F6-9EAE-9BF9DD0649AD}" dt="2024-04-08T20:41:22.482" v="63218"/>
          <ac:spMkLst>
            <pc:docMk/>
            <pc:sldMk cId="1450446987" sldId="264"/>
            <ac:spMk id="43" creationId="{B0C42678-4B24-F5DF-7ACE-3084C7C56E60}"/>
          </ac:spMkLst>
        </pc:spChg>
        <pc:spChg chg="add del mod modVis">
          <ac:chgData name="Joelle Brehm" userId="a518f54c-6985-42c0-8041-2bb16a414839" providerId="ADAL" clId="{E88466E7-2243-47F6-9EAE-9BF9DD0649AD}" dt="2024-04-04T18:08:18.568" v="12142"/>
          <ac:spMkLst>
            <pc:docMk/>
            <pc:sldMk cId="1450446987" sldId="264"/>
            <ac:spMk id="44" creationId="{F7B132F8-5125-DF4F-928B-AE991C6E26B7}"/>
          </ac:spMkLst>
        </pc:spChg>
        <pc:spChg chg="add mod replST">
          <ac:chgData name="Joelle Brehm" userId="a518f54c-6985-42c0-8041-2bb16a414839" providerId="ADAL" clId="{E88466E7-2243-47F6-9EAE-9BF9DD0649AD}" dt="2024-04-08T20:41:22.512" v="63312"/>
          <ac:spMkLst>
            <pc:docMk/>
            <pc:sldMk cId="1450446987" sldId="264"/>
            <ac:spMk id="45" creationId="{5786C259-6C1E-237B-24A0-B980E0283E5D}"/>
          </ac:spMkLst>
        </pc:spChg>
        <pc:spChg chg="add del mod modVis">
          <ac:chgData name="Joelle Brehm" userId="a518f54c-6985-42c0-8041-2bb16a414839" providerId="ADAL" clId="{E88466E7-2243-47F6-9EAE-9BF9DD0649AD}" dt="2024-04-08T20:40:47.751" v="60921"/>
          <ac:spMkLst>
            <pc:docMk/>
            <pc:sldMk cId="1450446987" sldId="264"/>
            <ac:spMk id="46" creationId="{01065AD2-ED3E-A2B9-48D8-8D8B418A5E7D}"/>
          </ac:spMkLst>
        </pc:spChg>
        <pc:spChg chg="mod">
          <ac:chgData name="Joelle Brehm" userId="a518f54c-6985-42c0-8041-2bb16a414839" providerId="ADAL" clId="{E88466E7-2243-47F6-9EAE-9BF9DD0649AD}" dt="2024-04-08T20:41:22.484" v="63224"/>
          <ac:spMkLst>
            <pc:docMk/>
            <pc:sldMk cId="1450446987" sldId="264"/>
            <ac:spMk id="47" creationId="{6D64FB34-D8B2-66AB-BCB4-DA6A0216CA2C}"/>
          </ac:spMkLst>
        </pc:spChg>
        <pc:spChg chg="mod">
          <ac:chgData name="Joelle Brehm" userId="a518f54c-6985-42c0-8041-2bb16a414839" providerId="ADAL" clId="{E88466E7-2243-47F6-9EAE-9BF9DD0649AD}" dt="2024-04-08T20:41:22.489" v="63239"/>
          <ac:spMkLst>
            <pc:docMk/>
            <pc:sldMk cId="1450446987" sldId="264"/>
            <ac:spMk id="48" creationId="{0123679F-CC40-E7DD-5F47-C9F2E6E51361}"/>
          </ac:spMkLst>
        </pc:spChg>
        <pc:spChg chg="mod">
          <ac:chgData name="Joelle Brehm" userId="a518f54c-6985-42c0-8041-2bb16a414839" providerId="ADAL" clId="{E88466E7-2243-47F6-9EAE-9BF9DD0649AD}" dt="2024-04-08T20:41:22.488" v="63237"/>
          <ac:spMkLst>
            <pc:docMk/>
            <pc:sldMk cId="1450446987" sldId="264"/>
            <ac:spMk id="49" creationId="{6C902FB1-9C72-CCD9-9F28-79FEEA1EBE9E}"/>
          </ac:spMkLst>
        </pc:spChg>
        <pc:spChg chg="mod">
          <ac:chgData name="Joelle Brehm" userId="a518f54c-6985-42c0-8041-2bb16a414839" providerId="ADAL" clId="{E88466E7-2243-47F6-9EAE-9BF9DD0649AD}" dt="2024-04-08T20:41:22.500" v="63273"/>
          <ac:spMkLst>
            <pc:docMk/>
            <pc:sldMk cId="1450446987" sldId="264"/>
            <ac:spMk id="50" creationId="{5FE9258F-A945-F4FF-832B-478FD9BAC76D}"/>
          </ac:spMkLst>
        </pc:spChg>
        <pc:spChg chg="add mod replST">
          <ac:chgData name="Joelle Brehm" userId="a518f54c-6985-42c0-8041-2bb16a414839" providerId="ADAL" clId="{E88466E7-2243-47F6-9EAE-9BF9DD0649AD}" dt="2024-04-08T20:41:22.490" v="63241"/>
          <ac:spMkLst>
            <pc:docMk/>
            <pc:sldMk cId="1450446987" sldId="264"/>
            <ac:spMk id="51" creationId="{73C74AE1-D0FF-BCEF-47C0-9B723DC459AB}"/>
          </ac:spMkLst>
        </pc:spChg>
        <pc:spChg chg="add del mod modVis">
          <ac:chgData name="Joelle Brehm" userId="a518f54c-6985-42c0-8041-2bb16a414839" providerId="ADAL" clId="{E88466E7-2243-47F6-9EAE-9BF9DD0649AD}" dt="2024-04-04T18:08:27.756" v="12595"/>
          <ac:spMkLst>
            <pc:docMk/>
            <pc:sldMk cId="1450446987" sldId="264"/>
            <ac:spMk id="52" creationId="{CE7A748B-E8D3-CFDE-CE23-E5FD9C0B3D7A}"/>
          </ac:spMkLst>
        </pc:spChg>
        <pc:spChg chg="mod">
          <ac:chgData name="Joelle Brehm" userId="a518f54c-6985-42c0-8041-2bb16a414839" providerId="ADAL" clId="{E88466E7-2243-47F6-9EAE-9BF9DD0649AD}" dt="2024-04-08T20:41:22.488" v="63238"/>
          <ac:spMkLst>
            <pc:docMk/>
            <pc:sldMk cId="1450446987" sldId="264"/>
            <ac:spMk id="53" creationId="{522E8E80-2D36-FBB2-D9BA-CCEAD36B44DA}"/>
          </ac:spMkLst>
        </pc:spChg>
        <pc:spChg chg="mod">
          <ac:chgData name="Joelle Brehm" userId="a518f54c-6985-42c0-8041-2bb16a414839" providerId="ADAL" clId="{E88466E7-2243-47F6-9EAE-9BF9DD0649AD}" dt="2024-04-08T20:41:22.486" v="63230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E88466E7-2243-47F6-9EAE-9BF9DD0649AD}" dt="2024-04-08T20:41:22.490" v="63240"/>
          <ac:spMkLst>
            <pc:docMk/>
            <pc:sldMk cId="1450446987" sldId="264"/>
            <ac:spMk id="56" creationId="{1D921D1B-5A18-FD5E-8FE7-0CE90EC79A50}"/>
          </ac:spMkLst>
        </pc:spChg>
        <pc:spChg chg="del mod">
          <ac:chgData name="Joelle Brehm" userId="a518f54c-6985-42c0-8041-2bb16a414839" providerId="ADAL" clId="{E88466E7-2243-47F6-9EAE-9BF9DD0649AD}" dt="2024-04-04T18:08:22.558" v="12146"/>
          <ac:spMkLst>
            <pc:docMk/>
            <pc:sldMk cId="1450446987" sldId="264"/>
            <ac:spMk id="57" creationId="{691D1289-3B15-0AD2-5838-E87715C40325}"/>
          </ac:spMkLst>
        </pc:spChg>
        <pc:spChg chg="add del mod modVis">
          <ac:chgData name="Joelle Brehm" userId="a518f54c-6985-42c0-8041-2bb16a414839" providerId="ADAL" clId="{E88466E7-2243-47F6-9EAE-9BF9DD0649AD}" dt="2024-04-08T20:40:51.955" v="61131"/>
          <ac:spMkLst>
            <pc:docMk/>
            <pc:sldMk cId="1450446987" sldId="264"/>
            <ac:spMk id="57" creationId="{D8F432E8-636C-55F2-DA91-FC1D6D253C31}"/>
          </ac:spMkLst>
        </pc:spChg>
        <pc:spChg chg="mod">
          <ac:chgData name="Joelle Brehm" userId="a518f54c-6985-42c0-8041-2bb16a414839" providerId="ADAL" clId="{E88466E7-2243-47F6-9EAE-9BF9DD0649AD}" dt="2024-04-08T20:41:22.488" v="63236"/>
          <ac:spMkLst>
            <pc:docMk/>
            <pc:sldMk cId="1450446987" sldId="264"/>
            <ac:spMk id="58" creationId="{998C3F37-48B7-D5CB-D2DD-2BF1FE08D1D9}"/>
          </ac:spMkLst>
        </pc:spChg>
        <pc:spChg chg="mod">
          <ac:chgData name="Joelle Brehm" userId="a518f54c-6985-42c0-8041-2bb16a414839" providerId="ADAL" clId="{E88466E7-2243-47F6-9EAE-9BF9DD0649AD}" dt="2024-04-08T20:41:22.482" v="63219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E88466E7-2243-47F6-9EAE-9BF9DD0649AD}" dt="2024-04-08T20:41:22.507" v="63295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E88466E7-2243-47F6-9EAE-9BF9DD0649AD}" dt="2024-04-08T20:41:22.508" v="63297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E88466E7-2243-47F6-9EAE-9BF9DD0649AD}" dt="2024-04-08T20:41:22.508" v="63299"/>
          <ac:spMkLst>
            <pc:docMk/>
            <pc:sldMk cId="1450446987" sldId="264"/>
            <ac:spMk id="62" creationId="{19815E26-2ABF-4A16-94FE-6C4A68E6FBBD}"/>
          </ac:spMkLst>
        </pc:spChg>
        <pc:spChg chg="add mod replST">
          <ac:chgData name="Joelle Brehm" userId="a518f54c-6985-42c0-8041-2bb16a414839" providerId="ADAL" clId="{E88466E7-2243-47F6-9EAE-9BF9DD0649AD}" dt="2024-04-08T20:41:22.519" v="63339"/>
          <ac:spMkLst>
            <pc:docMk/>
            <pc:sldMk cId="1450446987" sldId="264"/>
            <ac:spMk id="63" creationId="{CFD4D196-473C-340C-8B94-2E623BCF43C9}"/>
          </ac:spMkLst>
        </pc:spChg>
        <pc:spChg chg="mod">
          <ac:chgData name="Joelle Brehm" userId="a518f54c-6985-42c0-8041-2bb16a414839" providerId="ADAL" clId="{E88466E7-2243-47F6-9EAE-9BF9DD0649AD}" dt="2024-04-08T20:41:22.503" v="63284"/>
          <ac:spMkLst>
            <pc:docMk/>
            <pc:sldMk cId="1450446987" sldId="264"/>
            <ac:spMk id="64" creationId="{A32634C8-6FE7-6BB1-8251-847A1565A477}"/>
          </ac:spMkLst>
        </pc:spChg>
        <pc:spChg chg="add del mod modVis">
          <ac:chgData name="Joelle Brehm" userId="a518f54c-6985-42c0-8041-2bb16a414839" providerId="ADAL" clId="{E88466E7-2243-47F6-9EAE-9BF9DD0649AD}" dt="2024-04-04T18:08:37.168" v="12874"/>
          <ac:spMkLst>
            <pc:docMk/>
            <pc:sldMk cId="1450446987" sldId="264"/>
            <ac:spMk id="65" creationId="{F8DA5012-200F-3B1A-965E-1D5D28271542}"/>
          </ac:spMkLst>
        </pc:spChg>
        <pc:spChg chg="add del mod replST">
          <ac:chgData name="Joelle Brehm" userId="a518f54c-6985-42c0-8041-2bb16a414839" providerId="ADAL" clId="{E88466E7-2243-47F6-9EAE-9BF9DD0649AD}" dt="2024-04-08T20:40:53.354" v="61185"/>
          <ac:spMkLst>
            <pc:docMk/>
            <pc:sldMk cId="1450446987" sldId="264"/>
            <ac:spMk id="66" creationId="{91719B13-D0B3-3A21-CB11-B9C5947EDA1C}"/>
          </ac:spMkLst>
        </pc:spChg>
        <pc:spChg chg="add del mod modVis">
          <ac:chgData name="Joelle Brehm" userId="a518f54c-6985-42c0-8041-2bb16a414839" providerId="ADAL" clId="{E88466E7-2243-47F6-9EAE-9BF9DD0649AD}" dt="2024-04-08T20:40:53.462" v="61346"/>
          <ac:spMkLst>
            <pc:docMk/>
            <pc:sldMk cId="1450446987" sldId="264"/>
            <ac:spMk id="67" creationId="{6EC6F0F6-88B7-9048-6276-6BD8A8D52219}"/>
          </ac:spMkLst>
        </pc:spChg>
        <pc:spChg chg="del mod">
          <ac:chgData name="Joelle Brehm" userId="a518f54c-6985-42c0-8041-2bb16a414839" providerId="ADAL" clId="{E88466E7-2243-47F6-9EAE-9BF9DD0649AD}" dt="2024-04-04T18:08:22.558" v="12145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E88466E7-2243-47F6-9EAE-9BF9DD0649AD}" dt="2024-04-08T20:41:22.516" v="63328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E88466E7-2243-47F6-9EAE-9BF9DD0649AD}" dt="2024-04-08T20:41:22.518" v="63335"/>
          <ac:spMkLst>
            <pc:docMk/>
            <pc:sldMk cId="1450446987" sldId="264"/>
            <ac:spMk id="70" creationId="{13EDC3FB-EAD9-A2B2-8DFB-9D4FBEC4B5A3}"/>
          </ac:spMkLst>
        </pc:spChg>
        <pc:spChg chg="mod">
          <ac:chgData name="Joelle Brehm" userId="a518f54c-6985-42c0-8041-2bb16a414839" providerId="ADAL" clId="{E88466E7-2243-47F6-9EAE-9BF9DD0649AD}" dt="2024-04-08T20:41:22.519" v="63337"/>
          <ac:spMkLst>
            <pc:docMk/>
            <pc:sldMk cId="1450446987" sldId="264"/>
            <ac:spMk id="71" creationId="{10A10125-A1F9-AD63-5CE4-891EE0CF5D36}"/>
          </ac:spMkLst>
        </pc:spChg>
        <pc:spChg chg="mod">
          <ac:chgData name="Joelle Brehm" userId="a518f54c-6985-42c0-8041-2bb16a414839" providerId="ADAL" clId="{E88466E7-2243-47F6-9EAE-9BF9DD0649AD}" dt="2024-04-08T20:41:22.518" v="63334"/>
          <ac:spMkLst>
            <pc:docMk/>
            <pc:sldMk cId="1450446987" sldId="264"/>
            <ac:spMk id="72" creationId="{083CFBB9-44A9-ECE4-4C8E-DC2ED54DB4C5}"/>
          </ac:spMkLst>
        </pc:spChg>
        <pc:spChg chg="add mod replST">
          <ac:chgData name="Joelle Brehm" userId="a518f54c-6985-42c0-8041-2bb16a414839" providerId="ADAL" clId="{E88466E7-2243-47F6-9EAE-9BF9DD0649AD}" dt="2024-04-08T20:41:22.523" v="63351"/>
          <ac:spMkLst>
            <pc:docMk/>
            <pc:sldMk cId="1450446987" sldId="264"/>
            <ac:spMk id="73" creationId="{181377DE-B62A-6CF8-5F69-D447D7A4EA46}"/>
          </ac:spMkLst>
        </pc:spChg>
        <pc:spChg chg="add del mod modVis">
          <ac:chgData name="Joelle Brehm" userId="a518f54c-6985-42c0-8041-2bb16a414839" providerId="ADAL" clId="{E88466E7-2243-47F6-9EAE-9BF9DD0649AD}" dt="2024-04-08T20:40:54.411" v="61549"/>
          <ac:spMkLst>
            <pc:docMk/>
            <pc:sldMk cId="1450446987" sldId="264"/>
            <ac:spMk id="74" creationId="{571DDB73-F743-542F-A286-52B7D5F43BAD}"/>
          </ac:spMkLst>
        </pc:spChg>
        <pc:spChg chg="mod">
          <ac:chgData name="Joelle Brehm" userId="a518f54c-6985-42c0-8041-2bb16a414839" providerId="ADAL" clId="{E88466E7-2243-47F6-9EAE-9BF9DD0649AD}" dt="2024-04-08T20:41:22.519" v="63338"/>
          <ac:spMkLst>
            <pc:docMk/>
            <pc:sldMk cId="1450446987" sldId="264"/>
            <ac:spMk id="75" creationId="{5A77E1D9-03F8-D6DC-BE8C-492B2DB70EB0}"/>
          </ac:spMkLst>
        </pc:spChg>
        <pc:spChg chg="mod">
          <ac:chgData name="Joelle Brehm" userId="a518f54c-6985-42c0-8041-2bb16a414839" providerId="ADAL" clId="{E88466E7-2243-47F6-9EAE-9BF9DD0649AD}" dt="2024-04-08T20:41:22.487" v="63231"/>
          <ac:spMkLst>
            <pc:docMk/>
            <pc:sldMk cId="1450446987" sldId="264"/>
            <ac:spMk id="76" creationId="{8B86A84A-17AF-C0BB-9688-007EFA1F104D}"/>
          </ac:spMkLst>
        </pc:spChg>
        <pc:spChg chg="add del mod modVis">
          <ac:chgData name="Joelle Brehm" userId="a518f54c-6985-42c0-8041-2bb16a414839" providerId="ADAL" clId="{E88466E7-2243-47F6-9EAE-9BF9DD0649AD}" dt="2024-04-04T18:08:46.775" v="13327"/>
          <ac:spMkLst>
            <pc:docMk/>
            <pc:sldMk cId="1450446987" sldId="264"/>
            <ac:spMk id="77" creationId="{92B38ECD-BF70-F427-314E-9C9C2D6B7B44}"/>
          </ac:spMkLst>
        </pc:spChg>
        <pc:spChg chg="mod">
          <ac:chgData name="Joelle Brehm" userId="a518f54c-6985-42c0-8041-2bb16a414839" providerId="ADAL" clId="{E88466E7-2243-47F6-9EAE-9BF9DD0649AD}" dt="2024-04-08T20:41:22.522" v="63347"/>
          <ac:spMkLst>
            <pc:docMk/>
            <pc:sldMk cId="1450446987" sldId="264"/>
            <ac:spMk id="79" creationId="{23BEFDDE-D63B-813D-AA9B-DD3758088EEA}"/>
          </ac:spMkLst>
        </pc:spChg>
        <pc:spChg chg="mod">
          <ac:chgData name="Joelle Brehm" userId="a518f54c-6985-42c0-8041-2bb16a414839" providerId="ADAL" clId="{E88466E7-2243-47F6-9EAE-9BF9DD0649AD}" dt="2024-04-08T20:41:22.520" v="63340"/>
          <ac:spMkLst>
            <pc:docMk/>
            <pc:sldMk cId="1450446987" sldId="264"/>
            <ac:spMk id="80" creationId="{322C1714-AD6A-A2C4-9548-45C6502F722D}"/>
          </ac:spMkLst>
        </pc:spChg>
        <pc:spChg chg="add mod replST">
          <ac:chgData name="Joelle Brehm" userId="a518f54c-6985-42c0-8041-2bb16a414839" providerId="ADAL" clId="{E88466E7-2243-47F6-9EAE-9BF9DD0649AD}" dt="2024-04-08T20:41:22.494" v="63255"/>
          <ac:spMkLst>
            <pc:docMk/>
            <pc:sldMk cId="1450446987" sldId="264"/>
            <ac:spMk id="81" creationId="{A6FF540B-4AA0-5FD5-6506-AFD24C2D1BBB}"/>
          </ac:spMkLst>
        </pc:spChg>
        <pc:spChg chg="del mod">
          <ac:chgData name="Joelle Brehm" userId="a518f54c-6985-42c0-8041-2bb16a414839" providerId="ADAL" clId="{E88466E7-2243-47F6-9EAE-9BF9DD0649AD}" dt="2024-04-08T20:40:54.298" v="61393"/>
          <ac:spMkLst>
            <pc:docMk/>
            <pc:sldMk cId="1450446987" sldId="264"/>
            <ac:spMk id="8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8T20:41:22.522" v="63346"/>
          <ac:spMkLst>
            <pc:docMk/>
            <pc:sldMk cId="1450446987" sldId="264"/>
            <ac:spMk id="83" creationId="{A21D7036-40FA-BB0C-4CA6-E61688467FC8}"/>
          </ac:spMkLst>
        </pc:spChg>
        <pc:spChg chg="add del mod modVis">
          <ac:chgData name="Joelle Brehm" userId="a518f54c-6985-42c0-8041-2bb16a414839" providerId="ADAL" clId="{E88466E7-2243-47F6-9EAE-9BF9DD0649AD}" dt="2024-04-08T20:40:56.947" v="61804"/>
          <ac:spMkLst>
            <pc:docMk/>
            <pc:sldMk cId="1450446987" sldId="264"/>
            <ac:spMk id="84" creationId="{24AAEEA9-32FA-347F-4EA3-B215D31F9974}"/>
          </ac:spMkLst>
        </pc:spChg>
        <pc:spChg chg="del mod">
          <ac:chgData name="Joelle Brehm" userId="a518f54c-6985-42c0-8041-2bb16a414839" providerId="ADAL" clId="{E88466E7-2243-47F6-9EAE-9BF9DD0649AD}" dt="2024-04-04T18:08:40.401" v="12878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E88466E7-2243-47F6-9EAE-9BF9DD0649AD}" dt="2024-04-08T20:41:22.483" v="63220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E88466E7-2243-47F6-9EAE-9BF9DD0649AD}" dt="2024-04-08T20:41:22.491" v="63244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E88466E7-2243-47F6-9EAE-9BF9DD0649AD}" dt="2024-04-08T20:41:22.504" v="63285"/>
          <ac:spMkLst>
            <pc:docMk/>
            <pc:sldMk cId="1450446987" sldId="264"/>
            <ac:spMk id="87" creationId="{06946997-7AFB-6327-F61E-B25533F6C115}"/>
          </ac:spMkLst>
        </pc:spChg>
        <pc:spChg chg="mod">
          <ac:chgData name="Joelle Brehm" userId="a518f54c-6985-42c0-8041-2bb16a414839" providerId="ADAL" clId="{E88466E7-2243-47F6-9EAE-9BF9DD0649AD}" dt="2024-04-08T20:41:22.523" v="63349"/>
          <ac:spMkLst>
            <pc:docMk/>
            <pc:sldMk cId="1450446987" sldId="264"/>
            <ac:spMk id="88" creationId="{47D2C780-DDE5-CAE0-5CF8-3918C5739A3C}"/>
          </ac:spMkLst>
        </pc:spChg>
        <pc:spChg chg="add mod replST">
          <ac:chgData name="Joelle Brehm" userId="a518f54c-6985-42c0-8041-2bb16a414839" providerId="ADAL" clId="{E88466E7-2243-47F6-9EAE-9BF9DD0649AD}" dt="2024-04-08T20:41:22.512" v="63313"/>
          <ac:spMkLst>
            <pc:docMk/>
            <pc:sldMk cId="1450446987" sldId="264"/>
            <ac:spMk id="89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8:08:40.401" v="12877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E88466E7-2243-47F6-9EAE-9BF9DD0649AD}" dt="2024-04-08T20:41:22.495" v="63256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E88466E7-2243-47F6-9EAE-9BF9DD0649AD}" dt="2024-04-08T20:41:22.516" v="63329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E88466E7-2243-47F6-9EAE-9BF9DD0649AD}" dt="2024-04-08T20:41:22.518" v="63336"/>
          <ac:spMkLst>
            <pc:docMk/>
            <pc:sldMk cId="1450446987" sldId="264"/>
            <ac:spMk id="92" creationId="{04EED9C4-BB27-D966-447B-295E7E5DB4D0}"/>
          </ac:spMkLst>
        </pc:spChg>
        <pc:spChg chg="add del mod modVis">
          <ac:chgData name="Joelle Brehm" userId="a518f54c-6985-42c0-8041-2bb16a414839" providerId="ADAL" clId="{E88466E7-2243-47F6-9EAE-9BF9DD0649AD}" dt="2024-04-04T18:08:53.137" v="13606"/>
          <ac:spMkLst>
            <pc:docMk/>
            <pc:sldMk cId="1450446987" sldId="264"/>
            <ac:spMk id="93" creationId="{DD271882-EDE2-5DF5-98C2-850C477620AA}"/>
          </ac:spMkLst>
        </pc:spChg>
        <pc:spChg chg="mod">
          <ac:chgData name="Joelle Brehm" userId="a518f54c-6985-42c0-8041-2bb16a414839" providerId="ADAL" clId="{E88466E7-2243-47F6-9EAE-9BF9DD0649AD}" dt="2024-04-08T20:41:22.483" v="63221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E88466E7-2243-47F6-9EAE-9BF9DD0649AD}" dt="2024-04-08T20:41:22.487" v="63232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E88466E7-2243-47F6-9EAE-9BF9DD0649AD}" dt="2024-04-08T20:41:22.509" v="63301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E88466E7-2243-47F6-9EAE-9BF9DD0649AD}" dt="2024-04-08T20:41:22.509" v="63303"/>
          <ac:spMkLst>
            <pc:docMk/>
            <pc:sldMk cId="1450446987" sldId="264"/>
            <ac:spMk id="97" creationId="{64B2B8D7-E8A8-4757-99A4-69F1EAA48321}"/>
          </ac:spMkLst>
        </pc:spChg>
        <pc:spChg chg="mod">
          <ac:chgData name="Joelle Brehm" userId="a518f54c-6985-42c0-8041-2bb16a414839" providerId="ADAL" clId="{E88466E7-2243-47F6-9EAE-9BF9DD0649AD}" dt="2024-04-08T20:41:22.493" v="63251"/>
          <ac:spMkLst>
            <pc:docMk/>
            <pc:sldMk cId="1450446987" sldId="264"/>
            <ac:spMk id="98" creationId="{41685772-BE3E-26B1-D464-B2AD278CB65F}"/>
          </ac:spMkLst>
        </pc:spChg>
        <pc:spChg chg="mod">
          <ac:chgData name="Joelle Brehm" userId="a518f54c-6985-42c0-8041-2bb16a414839" providerId="ADAL" clId="{E88466E7-2243-47F6-9EAE-9BF9DD0649AD}" dt="2024-04-08T20:41:22.520" v="63341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E88466E7-2243-47F6-9EAE-9BF9DD0649AD}" dt="2024-04-08T20:41:04.556" v="62063"/>
          <ac:spMkLst>
            <pc:docMk/>
            <pc:sldMk cId="1450446987" sldId="264"/>
            <ac:spMk id="100" creationId="{05E93F35-3D7A-203D-673F-48AD78CCC377}"/>
          </ac:spMkLst>
        </pc:spChg>
        <pc:spChg chg="mod">
          <ac:chgData name="Joelle Brehm" userId="a518f54c-6985-42c0-8041-2bb16a414839" providerId="ADAL" clId="{E88466E7-2243-47F6-9EAE-9BF9DD0649AD}" dt="2024-04-08T20:41:22.494" v="63253"/>
          <ac:spMkLst>
            <pc:docMk/>
            <pc:sldMk cId="1450446987" sldId="264"/>
            <ac:spMk id="101" creationId="{EE29A4AC-9FCC-452F-30B4-8245793C249E}"/>
          </ac:spMkLst>
        </pc:spChg>
        <pc:spChg chg="mod">
          <ac:chgData name="Joelle Brehm" userId="a518f54c-6985-42c0-8041-2bb16a414839" providerId="ADAL" clId="{E88466E7-2243-47F6-9EAE-9BF9DD0649AD}" dt="2024-04-08T20:41:22.493" v="63250"/>
          <ac:spMkLst>
            <pc:docMk/>
            <pc:sldMk cId="1450446987" sldId="264"/>
            <ac:spMk id="102" creationId="{6333F09A-AE56-74E1-7B04-F4A5E3860BA0}"/>
          </ac:spMkLst>
        </pc:spChg>
        <pc:spChg chg="add mod replST">
          <ac:chgData name="Joelle Brehm" userId="a518f54c-6985-42c0-8041-2bb16a414839" providerId="ADAL" clId="{E88466E7-2243-47F6-9EAE-9BF9DD0649AD}" dt="2024-04-08T20:41:22.513" v="63314"/>
          <ac:spMkLst>
            <pc:docMk/>
            <pc:sldMk cId="1450446987" sldId="264"/>
            <ac:spMk id="103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8:08:55.394" v="13610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E88466E7-2243-47F6-9EAE-9BF9DD0649AD}" dt="2024-04-08T20:41:22.517" v="63330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E88466E7-2243-47F6-9EAE-9BF9DD0649AD}" dt="2024-04-08T20:41:22.481" v="63213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E88466E7-2243-47F6-9EAE-9BF9DD0649AD}" dt="2024-04-08T20:41:22.497" v="63263"/>
          <ac:spMkLst>
            <pc:docMk/>
            <pc:sldMk cId="1450446987" sldId="264"/>
            <ac:spMk id="107" creationId="{5A262282-AA4F-2691-1334-7CF06DA0EFE3}"/>
          </ac:spMkLst>
        </pc:spChg>
        <pc:spChg chg="del mod">
          <ac:chgData name="Joelle Brehm" userId="a518f54c-6985-42c0-8041-2bb16a414839" providerId="ADAL" clId="{E88466E7-2243-47F6-9EAE-9BF9DD0649AD}" dt="2024-04-04T18:08:55.394" v="13609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E88466E7-2243-47F6-9EAE-9BF9DD0649AD}" dt="2024-04-08T20:41:22.492" v="63245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E88466E7-2243-47F6-9EAE-9BF9DD0649AD}" dt="2024-04-08T20:41:22.487" v="63233"/>
          <ac:spMkLst>
            <pc:docMk/>
            <pc:sldMk cId="1450446987" sldId="264"/>
            <ac:spMk id="110" creationId="{3E9DFF71-BC3D-F5AB-9F34-2E7EB64B1AD3}"/>
          </ac:spMkLst>
        </pc:spChg>
        <pc:spChg chg="mod">
          <ac:chgData name="Joelle Brehm" userId="a518f54c-6985-42c0-8041-2bb16a414839" providerId="ADAL" clId="{E88466E7-2243-47F6-9EAE-9BF9DD0649AD}" dt="2024-04-08T20:41:22.523" v="63350"/>
          <ac:spMkLst>
            <pc:docMk/>
            <pc:sldMk cId="1450446987" sldId="264"/>
            <ac:spMk id="111" creationId="{C28B988E-6795-274F-9B01-EC3956E8C7D3}"/>
          </ac:spMkLst>
        </pc:spChg>
        <pc:spChg chg="mod">
          <ac:chgData name="Joelle Brehm" userId="a518f54c-6985-42c0-8041-2bb16a414839" providerId="ADAL" clId="{E88466E7-2243-47F6-9EAE-9BF9DD0649AD}" dt="2024-04-08T20:41:22.513" v="63317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E88466E7-2243-47F6-9EAE-9BF9DD0649AD}" dt="2024-04-08T20:41:22.495" v="63257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E88466E7-2243-47F6-9EAE-9BF9DD0649AD}" dt="2024-04-08T20:41:22.498" v="63265"/>
          <ac:spMkLst>
            <pc:docMk/>
            <pc:sldMk cId="1450446987" sldId="264"/>
            <ac:spMk id="114" creationId="{3CBA50EC-8157-24B9-3AC1-20A64EE1A3BF}"/>
          </ac:spMkLst>
        </pc:spChg>
        <pc:spChg chg="mod">
          <ac:chgData name="Joelle Brehm" userId="a518f54c-6985-42c0-8041-2bb16a414839" providerId="ADAL" clId="{E88466E7-2243-47F6-9EAE-9BF9DD0649AD}" dt="2024-04-08T20:41:22.515" v="63321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E88466E7-2243-47F6-9EAE-9BF9DD0649AD}" dt="2024-04-08T20:41:22.520" v="63342"/>
          <ac:spMkLst>
            <pc:docMk/>
            <pc:sldMk cId="1450446987" sldId="264"/>
            <ac:spMk id="116" creationId="{E6B2D068-E691-A10D-15D8-F8578EFD4C29}"/>
          </ac:spMkLst>
        </pc:spChg>
        <pc:spChg chg="mod">
          <ac:chgData name="Joelle Brehm" userId="a518f54c-6985-42c0-8041-2bb16a414839" providerId="ADAL" clId="{E88466E7-2243-47F6-9EAE-9BF9DD0649AD}" dt="2024-04-08T20:41:22.510" v="63306"/>
          <ac:spMkLst>
            <pc:docMk/>
            <pc:sldMk cId="1450446987" sldId="264"/>
            <ac:spMk id="117" creationId="{16ED222C-BE37-1D08-BF7E-D131AE2BBE04}"/>
          </ac:spMkLst>
        </pc:spChg>
        <pc:spChg chg="mod">
          <ac:chgData name="Joelle Brehm" userId="a518f54c-6985-42c0-8041-2bb16a414839" providerId="ADAL" clId="{E88466E7-2243-47F6-9EAE-9BF9DD0649AD}" dt="2024-04-08T20:41:22.497" v="63262"/>
          <ac:spMkLst>
            <pc:docMk/>
            <pc:sldMk cId="1450446987" sldId="264"/>
            <ac:spMk id="118" creationId="{64C7D22E-FE71-8346-6A8B-BCCE734C030C}"/>
          </ac:spMkLst>
        </pc:spChg>
        <pc:spChg chg="mod">
          <ac:chgData name="Joelle Brehm" userId="a518f54c-6985-42c0-8041-2bb16a414839" providerId="ADAL" clId="{E88466E7-2243-47F6-9EAE-9BF9DD0649AD}" dt="2024-04-08T20:41:22.523" v="63348"/>
          <ac:spMkLst>
            <pc:docMk/>
            <pc:sldMk cId="1450446987" sldId="264"/>
            <ac:spMk id="119" creationId="{68A51B41-5F1C-51E6-B7D6-26BE9B80F9FE}"/>
          </ac:spMkLst>
        </pc:spChg>
        <pc:spChg chg="add mod replST">
          <ac:chgData name="Joelle Brehm" userId="a518f54c-6985-42c0-8041-2bb16a414839" providerId="ADAL" clId="{E88466E7-2243-47F6-9EAE-9BF9DD0649AD}" dt="2024-04-08T20:41:22.498" v="63267"/>
          <ac:spMkLst>
            <pc:docMk/>
            <pc:sldMk cId="1450446987" sldId="264"/>
            <ac:spMk id="120" creationId="{CB151498-0B36-0FF7-49DB-790ACE461047}"/>
          </ac:spMkLst>
        </pc:spChg>
        <pc:spChg chg="add mod replST">
          <ac:chgData name="Joelle Brehm" userId="a518f54c-6985-42c0-8041-2bb16a414839" providerId="ADAL" clId="{E88466E7-2243-47F6-9EAE-9BF9DD0649AD}" dt="2024-04-08T20:41:22.513" v="63315"/>
          <ac:spMkLst>
            <pc:docMk/>
            <pc:sldMk cId="1450446987" sldId="264"/>
            <ac:spMk id="121" creationId="{3B65F91C-54C4-0316-82DB-2CB3454E70EC}"/>
          </ac:spMkLst>
        </pc:spChg>
        <pc:spChg chg="mod">
          <ac:chgData name="Joelle Brehm" userId="a518f54c-6985-42c0-8041-2bb16a414839" providerId="ADAL" clId="{E88466E7-2243-47F6-9EAE-9BF9DD0649AD}" dt="2024-04-08T20:41:22.494" v="63252"/>
          <ac:spMkLst>
            <pc:docMk/>
            <pc:sldMk cId="1450446987" sldId="264"/>
            <ac:spMk id="122" creationId="{EE58AE63-B2BC-C11A-1802-02E107E19990}"/>
          </ac:spMkLst>
        </pc:spChg>
        <pc:spChg chg="add del mod modVis">
          <ac:chgData name="Joelle Brehm" userId="a518f54c-6985-42c0-8041-2bb16a414839" providerId="ADAL" clId="{E88466E7-2243-47F6-9EAE-9BF9DD0649AD}" dt="2024-04-04T18:09:01.326" v="14059"/>
          <ac:spMkLst>
            <pc:docMk/>
            <pc:sldMk cId="1450446987" sldId="264"/>
            <ac:spMk id="123" creationId="{9204402E-E666-13AC-8CF2-985FDEDC553D}"/>
          </ac:spMkLst>
        </pc:spChg>
        <pc:spChg chg="add del mod modVis">
          <ac:chgData name="Joelle Brehm" userId="a518f54c-6985-42c0-8041-2bb16a414839" providerId="ADAL" clId="{E88466E7-2243-47F6-9EAE-9BF9DD0649AD}" dt="2024-04-08T20:41:09.417" v="62472"/>
          <ac:spMkLst>
            <pc:docMk/>
            <pc:sldMk cId="1450446987" sldId="264"/>
            <ac:spMk id="123" creationId="{A2AE1D29-5BF5-9981-9DC2-4B39AD835F7E}"/>
          </ac:spMkLst>
        </pc:spChg>
        <pc:spChg chg="mod">
          <ac:chgData name="Joelle Brehm" userId="a518f54c-6985-42c0-8041-2bb16a414839" providerId="ADAL" clId="{E88466E7-2243-47F6-9EAE-9BF9DD0649AD}" dt="2024-04-08T20:41:22.492" v="63246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E88466E7-2243-47F6-9EAE-9BF9DD0649AD}" dt="2024-04-08T20:41:22.517" v="63331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E88466E7-2243-47F6-9EAE-9BF9DD0649AD}" dt="2024-04-08T20:41:22.484" v="63223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E88466E7-2243-47F6-9EAE-9BF9DD0649AD}" dt="2024-04-08T20:41:22.495" v="63258"/>
          <ac:spMkLst>
            <pc:docMk/>
            <pc:sldMk cId="1450446987" sldId="264"/>
            <ac:spMk id="127" creationId="{2CF9A986-1E95-AE1A-FD0F-F8AD045E4589}"/>
          </ac:spMkLst>
        </pc:spChg>
        <pc:spChg chg="mod">
          <ac:chgData name="Joelle Brehm" userId="a518f54c-6985-42c0-8041-2bb16a414839" providerId="ADAL" clId="{E88466E7-2243-47F6-9EAE-9BF9DD0649AD}" dt="2024-04-08T20:41:22.494" v="63254"/>
          <ac:spMkLst>
            <pc:docMk/>
            <pc:sldMk cId="1450446987" sldId="264"/>
            <ac:spMk id="128" creationId="{004E9F0D-3290-4792-0B4B-DA40262DC992}"/>
          </ac:spMkLst>
        </pc:spChg>
        <pc:spChg chg="mod">
          <ac:chgData name="Joelle Brehm" userId="a518f54c-6985-42c0-8041-2bb16a414839" providerId="ADAL" clId="{E88466E7-2243-47F6-9EAE-9BF9DD0649AD}" dt="2024-04-08T20:41:22.487" v="63235"/>
          <ac:spMkLst>
            <pc:docMk/>
            <pc:sldMk cId="1450446987" sldId="264"/>
            <ac:spMk id="130" creationId="{DB0A6969-9BE6-DD88-9511-7F8FD934DA11}"/>
          </ac:spMkLst>
        </pc:spChg>
        <pc:spChg chg="mod">
          <ac:chgData name="Joelle Brehm" userId="a518f54c-6985-42c0-8041-2bb16a414839" providerId="ADAL" clId="{E88466E7-2243-47F6-9EAE-9BF9DD0649AD}" dt="2024-04-08T20:41:22.497" v="63264"/>
          <ac:spMkLst>
            <pc:docMk/>
            <pc:sldMk cId="1450446987" sldId="264"/>
            <ac:spMk id="131" creationId="{1E95563A-161A-F388-D6A8-05A228809377}"/>
          </ac:spMkLst>
        </pc:spChg>
        <pc:spChg chg="mod">
          <ac:chgData name="Joelle Brehm" userId="a518f54c-6985-42c0-8041-2bb16a414839" providerId="ADAL" clId="{E88466E7-2243-47F6-9EAE-9BF9DD0649AD}" dt="2024-04-08T20:41:22.521" v="63343"/>
          <ac:spMkLst>
            <pc:docMk/>
            <pc:sldMk cId="1450446987" sldId="264"/>
            <ac:spMk id="132" creationId="{8E856E10-A2C3-3BD4-C02F-F3D2D343989C}"/>
          </ac:spMkLst>
        </pc:spChg>
        <pc:spChg chg="mod">
          <ac:chgData name="Joelle Brehm" userId="a518f54c-6985-42c0-8041-2bb16a414839" providerId="ADAL" clId="{E88466E7-2243-47F6-9EAE-9BF9DD0649AD}" dt="2024-04-08T20:41:22.500" v="63274"/>
          <ac:spMkLst>
            <pc:docMk/>
            <pc:sldMk cId="1450446987" sldId="264"/>
            <ac:spMk id="134" creationId="{4B21D98E-CBDB-7AFB-94BD-6B7A23D60EC2}"/>
          </ac:spMkLst>
        </pc:spChg>
        <pc:spChg chg="mod">
          <ac:chgData name="Joelle Brehm" userId="a518f54c-6985-42c0-8041-2bb16a414839" providerId="ADAL" clId="{E88466E7-2243-47F6-9EAE-9BF9DD0649AD}" dt="2024-04-08T20:41:22.515" v="63322"/>
          <ac:spMkLst>
            <pc:docMk/>
            <pc:sldMk cId="1450446987" sldId="264"/>
            <ac:spMk id="135" creationId="{005E4CB4-2A31-DB1F-88CB-2FBBBD0C091B}"/>
          </ac:spMkLst>
        </pc:spChg>
        <pc:spChg chg="mod">
          <ac:chgData name="Joelle Brehm" userId="a518f54c-6985-42c0-8041-2bb16a414839" providerId="ADAL" clId="{E88466E7-2243-47F6-9EAE-9BF9DD0649AD}" dt="2024-04-08T20:41:22.511" v="63309"/>
          <ac:spMkLst>
            <pc:docMk/>
            <pc:sldMk cId="1450446987" sldId="264"/>
            <ac:spMk id="136" creationId="{B0880886-62C0-5AA0-11B4-1A12280C6771}"/>
          </ac:spMkLst>
        </pc:spChg>
        <pc:spChg chg="add del mod replST">
          <ac:chgData name="Joelle Brehm" userId="a518f54c-6985-42c0-8041-2bb16a414839" providerId="ADAL" clId="{E88466E7-2243-47F6-9EAE-9BF9DD0649AD}" dt="2024-04-08T20:41:12.496" v="62528"/>
          <ac:spMkLst>
            <pc:docMk/>
            <pc:sldMk cId="1450446987" sldId="264"/>
            <ac:spMk id="137" creationId="{1CE1A1F5-C7E9-80E5-4D29-05DDABCD99E3}"/>
          </ac:spMkLst>
        </pc:spChg>
        <pc:spChg chg="mod">
          <ac:chgData name="Joelle Brehm" userId="a518f54c-6985-42c0-8041-2bb16a414839" providerId="ADAL" clId="{E88466E7-2243-47F6-9EAE-9BF9DD0649AD}" dt="2024-04-08T20:41:22.518" v="63333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E88466E7-2243-47F6-9EAE-9BF9DD0649AD}" dt="2024-04-08T20:41:22.492" v="63247"/>
          <ac:spMkLst>
            <pc:docMk/>
            <pc:sldMk cId="1450446987" sldId="264"/>
            <ac:spMk id="139" creationId="{90D6C27A-2B60-467B-C5C7-9CCE43964040}"/>
          </ac:spMkLst>
        </pc:spChg>
        <pc:spChg chg="mod">
          <ac:chgData name="Joelle Brehm" userId="a518f54c-6985-42c0-8041-2bb16a414839" providerId="ADAL" clId="{E88466E7-2243-47F6-9EAE-9BF9DD0649AD}" dt="2024-04-08T20:41:22.498" v="63266"/>
          <ac:spMkLst>
            <pc:docMk/>
            <pc:sldMk cId="1450446987" sldId="264"/>
            <ac:spMk id="140" creationId="{68675877-AA6B-0EB2-4A7A-588E2212467E}"/>
          </ac:spMkLst>
        </pc:spChg>
        <pc:spChg chg="mod">
          <ac:chgData name="Joelle Brehm" userId="a518f54c-6985-42c0-8041-2bb16a414839" providerId="ADAL" clId="{E88466E7-2243-47F6-9EAE-9BF9DD0649AD}" dt="2024-04-08T20:41:22.504" v="63286"/>
          <ac:spMkLst>
            <pc:docMk/>
            <pc:sldMk cId="1450446987" sldId="264"/>
            <ac:spMk id="141" creationId="{E36F4C8D-EC2C-AF10-792A-6324A776E04A}"/>
          </ac:spMkLst>
        </pc:spChg>
        <pc:spChg chg="add del mod modVis">
          <ac:chgData name="Joelle Brehm" userId="a518f54c-6985-42c0-8041-2bb16a414839" providerId="ADAL" clId="{E88466E7-2243-47F6-9EAE-9BF9DD0649AD}" dt="2024-04-08T20:41:12.600" v="62701"/>
          <ac:spMkLst>
            <pc:docMk/>
            <pc:sldMk cId="1450446987" sldId="264"/>
            <ac:spMk id="142" creationId="{01C341E3-4E61-A4A1-C670-7699AAFC0AC0}"/>
          </ac:spMkLst>
        </pc:spChg>
        <pc:spChg chg="mod">
          <ac:chgData name="Joelle Brehm" userId="a518f54c-6985-42c0-8041-2bb16a414839" providerId="ADAL" clId="{E88466E7-2243-47F6-9EAE-9BF9DD0649AD}" dt="2024-04-08T20:41:22.496" v="63259"/>
          <ac:spMkLst>
            <pc:docMk/>
            <pc:sldMk cId="1450446987" sldId="264"/>
            <ac:spMk id="143" creationId="{8B4F9978-6CBD-ADA8-09AB-786FD14471F8}"/>
          </ac:spMkLst>
        </pc:spChg>
        <pc:spChg chg="mod">
          <ac:chgData name="Joelle Brehm" userId="a518f54c-6985-42c0-8041-2bb16a414839" providerId="ADAL" clId="{E88466E7-2243-47F6-9EAE-9BF9DD0649AD}" dt="2024-04-08T20:41:22.514" v="63318"/>
          <ac:spMkLst>
            <pc:docMk/>
            <pc:sldMk cId="1450446987" sldId="264"/>
            <ac:spMk id="144" creationId="{5181FAC4-6DC3-041D-2CC1-374608CD8D5F}"/>
          </ac:spMkLst>
        </pc:spChg>
        <pc:spChg chg="mod">
          <ac:chgData name="Joelle Brehm" userId="a518f54c-6985-42c0-8041-2bb16a414839" providerId="ADAL" clId="{E88466E7-2243-47F6-9EAE-9BF9DD0649AD}" dt="2024-04-08T20:41:22.522" v="63345"/>
          <ac:spMkLst>
            <pc:docMk/>
            <pc:sldMk cId="1450446987" sldId="264"/>
            <ac:spMk id="146" creationId="{6414DE83-49A9-C649-08EC-1FB84B54E2EA}"/>
          </ac:spMkLst>
        </pc:spChg>
        <pc:spChg chg="add del mod modVis">
          <ac:chgData name="Joelle Brehm" userId="a518f54c-6985-42c0-8041-2bb16a414839" providerId="ADAL" clId="{E88466E7-2243-47F6-9EAE-9BF9DD0649AD}" dt="2024-04-08T20:41:14.078" v="62896"/>
          <ac:spMkLst>
            <pc:docMk/>
            <pc:sldMk cId="1450446987" sldId="264"/>
            <ac:spMk id="147" creationId="{A1B83579-F070-AF7A-E623-46814E5F080A}"/>
          </ac:spMkLst>
        </pc:spChg>
        <pc:spChg chg="mod">
          <ac:chgData name="Joelle Brehm" userId="a518f54c-6985-42c0-8041-2bb16a414839" providerId="ADAL" clId="{E88466E7-2243-47F6-9EAE-9BF9DD0649AD}" dt="2024-04-08T20:41:22.483" v="63222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E88466E7-2243-47F6-9EAE-9BF9DD0649AD}" dt="2024-04-08T20:41:22.487" v="63234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E88466E7-2243-47F6-9EAE-9BF9DD0649AD}" dt="2024-04-08T20:41:15.538" v="63161"/>
          <ac:spMkLst>
            <pc:docMk/>
            <pc:sldMk cId="1450446987" sldId="264"/>
            <ac:spMk id="151" creationId="{0F979F29-A57D-DB00-B82F-160B0B51B762}"/>
          </ac:spMkLst>
        </pc:spChg>
        <pc:spChg chg="add mod replST">
          <ac:chgData name="Joelle Brehm" userId="a518f54c-6985-42c0-8041-2bb16a414839" providerId="ADAL" clId="{E88466E7-2243-47F6-9EAE-9BF9DD0649AD}" dt="2024-04-08T20:41:22.513" v="63316"/>
          <ac:spMkLst>
            <pc:docMk/>
            <pc:sldMk cId="1450446987" sldId="264"/>
            <ac:spMk id="15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8T20:41:22.493" v="63249"/>
          <ac:spMkLst>
            <pc:docMk/>
            <pc:sldMk cId="1450446987" sldId="264"/>
            <ac:spMk id="154" creationId="{A61E4EE9-FC3E-9FF2-7995-0C75440B927B}"/>
          </ac:spMkLst>
        </pc:spChg>
        <pc:spChg chg="mod">
          <ac:chgData name="Joelle Brehm" userId="a518f54c-6985-42c0-8041-2bb16a414839" providerId="ADAL" clId="{E88466E7-2243-47F6-9EAE-9BF9DD0649AD}" dt="2024-04-08T20:41:22.492" v="63248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E88466E7-2243-47F6-9EAE-9BF9DD0649AD}" dt="2024-04-08T20:41:22.496" v="63260"/>
          <ac:spMkLst>
            <pc:docMk/>
            <pc:sldMk cId="1450446987" sldId="264"/>
            <ac:spMk id="158" creationId="{5B6F19F9-65BC-D043-328A-0D4F88644681}"/>
          </ac:spMkLst>
        </pc:spChg>
        <pc:spChg chg="mod">
          <ac:chgData name="Joelle Brehm" userId="a518f54c-6985-42c0-8041-2bb16a414839" providerId="ADAL" clId="{E88466E7-2243-47F6-9EAE-9BF9DD0649AD}" dt="2024-04-08T20:41:22.511" v="63310"/>
          <ac:spMkLst>
            <pc:docMk/>
            <pc:sldMk cId="1450446987" sldId="264"/>
            <ac:spMk id="159" creationId="{35B271FB-A1D6-D982-7784-49F30BEC4F67}"/>
          </ac:spMkLst>
        </pc:spChg>
        <pc:spChg chg="mod">
          <ac:chgData name="Joelle Brehm" userId="a518f54c-6985-42c0-8041-2bb16a414839" providerId="ADAL" clId="{E88466E7-2243-47F6-9EAE-9BF9DD0649AD}" dt="2024-04-08T20:41:22.510" v="63307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E88466E7-2243-47F6-9EAE-9BF9DD0649AD}" dt="2024-04-08T20:41:22.515" v="63323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E88466E7-2243-47F6-9EAE-9BF9DD0649AD}" dt="2024-04-08T20:41:22.496" v="63261"/>
          <ac:spMkLst>
            <pc:docMk/>
            <pc:sldMk cId="1450446987" sldId="264"/>
            <ac:spMk id="163" creationId="{B4BF5702-9B69-493D-938D-23FA87022A8B}"/>
          </ac:spMkLst>
        </pc:spChg>
        <pc:spChg chg="mod">
          <ac:chgData name="Joelle Brehm" userId="a518f54c-6985-42c0-8041-2bb16a414839" providerId="ADAL" clId="{E88466E7-2243-47F6-9EAE-9BF9DD0649AD}" dt="2024-04-08T20:41:22.517" v="63332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E88466E7-2243-47F6-9EAE-9BF9DD0649AD}" dt="2024-04-08T20:41:22.522" v="63344"/>
          <ac:spMkLst>
            <pc:docMk/>
            <pc:sldMk cId="1450446987" sldId="264"/>
            <ac:spMk id="167" creationId="{F4E87B54-979D-3FF4-CD65-15E354C7960B}"/>
          </ac:spMkLst>
        </pc:spChg>
        <pc:spChg chg="mod ord">
          <ac:chgData name="Joelle Brehm" userId="a518f54c-6985-42c0-8041-2bb16a414839" providerId="ADAL" clId="{E88466E7-2243-47F6-9EAE-9BF9DD0649AD}" dt="2024-04-08T20:41:22.516" v="63325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E88466E7-2243-47F6-9EAE-9BF9DD0649AD}" dt="2024-04-08T20:41:22.524" v="63353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E88466E7-2243-47F6-9EAE-9BF9DD0649AD}" dt="2024-04-08T20:41:22.547" v="63357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30.914" v="60100"/>
          <ac:graphicFrameMkLst>
            <pc:docMk/>
            <pc:sldMk cId="1450446987" sldId="264"/>
            <ac:graphicFrameMk id="14" creationId="{F3F7B5F7-6B36-28DA-ADD5-FD91DC3CEEF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33.889" v="60287"/>
          <ac:graphicFrameMkLst>
            <pc:docMk/>
            <pc:sldMk cId="1450446987" sldId="264"/>
            <ac:graphicFrameMk id="22" creationId="{5E75A3F2-4F31-B8CD-9FCD-09E8D4AB34F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7:59.219" v="11488"/>
          <ac:graphicFrameMkLst>
            <pc:docMk/>
            <pc:sldMk cId="1450446987" sldId="264"/>
            <ac:graphicFrameMk id="22" creationId="{9A53124B-EE4F-60F0-B15F-47B4CD7BD47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8:11.159" v="11710"/>
          <ac:graphicFrameMkLst>
            <pc:docMk/>
            <pc:sldMk cId="1450446987" sldId="264"/>
            <ac:graphicFrameMk id="26" creationId="{68B80037-CFB0-B28A-9D1A-8F2A2026D00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37.710" v="60547"/>
          <ac:graphicFrameMkLst>
            <pc:docMk/>
            <pc:sldMk cId="1450446987" sldId="264"/>
            <ac:graphicFrameMk id="32" creationId="{FA12598D-E4EB-6431-332A-904D0F936E1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8T20:41:22.499" v="63269"/>
          <ac:graphicFrameMkLst>
            <pc:docMk/>
            <pc:sldMk cId="1450446987" sldId="264"/>
            <ac:graphicFrameMk id="38" creationId="{623C81A7-778D-81E9-08FE-DF7A08E85975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07:56.636" v="11256"/>
          <ac:graphicFrameMkLst>
            <pc:docMk/>
            <pc:sldMk cId="1450446987" sldId="264"/>
            <ac:graphicFrameMk id="39" creationId="{8952CBF7-9F1D-8D16-5975-FB0F44A28A5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47.652" v="60768"/>
          <ac:graphicFrameMkLst>
            <pc:docMk/>
            <pc:sldMk cId="1450446987" sldId="264"/>
            <ac:graphicFrameMk id="44" creationId="{3C602BA8-87BA-7419-0DB0-96328FA1C36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8:22.589" v="12220"/>
          <ac:graphicFrameMkLst>
            <pc:docMk/>
            <pc:sldMk cId="1450446987" sldId="264"/>
            <ac:graphicFrameMk id="45" creationId="{9651FB4E-5F68-CEC8-21E7-6850D535003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8:27.675" v="12442"/>
          <ac:graphicFrameMkLst>
            <pc:docMk/>
            <pc:sldMk cId="1450446987" sldId="264"/>
            <ac:graphicFrameMk id="46" creationId="{D4A85EE6-6DBD-053C-E0D4-ED03D46683C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51.865" v="60978"/>
          <ac:graphicFrameMkLst>
            <pc:docMk/>
            <pc:sldMk cId="1450446987" sldId="264"/>
            <ac:graphicFrameMk id="52" creationId="{5954F549-064C-6E9C-5884-A1446FB78EE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8T20:41:22.482" v="63217"/>
          <ac:graphicFrameMkLst>
            <pc:docMk/>
            <pc:sldMk cId="1450446987" sldId="264"/>
            <ac:graphicFrameMk id="55" creationId="{94D26237-70C9-EE5A-4367-90170036BF1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53.357" v="61193"/>
          <ac:graphicFrameMkLst>
            <pc:docMk/>
            <pc:sldMk cId="1450446987" sldId="264"/>
            <ac:graphicFrameMk id="65" creationId="{43C892BE-355A-1BC5-E05D-E4743CF255C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8:40.445" v="12952"/>
          <ac:graphicFrameMkLst>
            <pc:docMk/>
            <pc:sldMk cId="1450446987" sldId="264"/>
            <ac:graphicFrameMk id="66" creationId="{759704EA-4F0F-DB77-BC43-E604AF269AA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8:46.685" v="13174"/>
          <ac:graphicFrameMkLst>
            <pc:docMk/>
            <pc:sldMk cId="1450446987" sldId="264"/>
            <ac:graphicFrameMk id="67" creationId="{3D0EFA0B-7B6D-8EB1-F535-F8810349C210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54.300" v="61397"/>
          <ac:graphicFrameMkLst>
            <pc:docMk/>
            <pc:sldMk cId="1450446987" sldId="264"/>
            <ac:graphicFrameMk id="68" creationId="{74998C1C-1B67-6076-2756-6E6A2EBF103B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08:18.502" v="11988"/>
          <ac:graphicFrameMkLst>
            <pc:docMk/>
            <pc:sldMk cId="1450446987" sldId="264"/>
            <ac:graphicFrameMk id="74" creationId="{3A67557D-8B53-D19C-89DF-8F5FCC848F6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0:56.862" v="61651"/>
          <ac:graphicFrameMkLst>
            <pc:docMk/>
            <pc:sldMk cId="1450446987" sldId="264"/>
            <ac:graphicFrameMk id="77" creationId="{BC054E39-BCF8-3B22-334D-0880CFA83AF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8T20:41:22.516" v="63327"/>
          <ac:graphicFrameMkLst>
            <pc:docMk/>
            <pc:sldMk cId="1450446987" sldId="264"/>
            <ac:graphicFrameMk id="78" creationId="{0CDAC30E-2169-3437-D7F0-1E593ACF0D5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1:04.459" v="61909"/>
          <ac:graphicFrameMkLst>
            <pc:docMk/>
            <pc:sldMk cId="1450446987" sldId="264"/>
            <ac:graphicFrameMk id="93" creationId="{8510CEE5-5AC2-9F6A-49CF-198276C6BE7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8:55.433" v="13684"/>
          <ac:graphicFrameMkLst>
            <pc:docMk/>
            <pc:sldMk cId="1450446987" sldId="264"/>
            <ac:graphicFrameMk id="100" creationId="{A57C9782-0BF4-7DC8-3D27-75E756326A9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09:01.242" v="13906"/>
          <ac:graphicFrameMkLst>
            <pc:docMk/>
            <pc:sldMk cId="1450446987" sldId="264"/>
            <ac:graphicFrameMk id="103" creationId="{85D035ED-035F-5335-7019-6509D306BB5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1:05.325" v="62103"/>
          <ac:graphicFrameMkLst>
            <pc:docMk/>
            <pc:sldMk cId="1450446987" sldId="264"/>
            <ac:graphicFrameMk id="104" creationId="{BBDA2AB4-0A7D-DA4A-F56A-8C7A2595F213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1:09.326" v="62317"/>
          <ac:graphicFrameMkLst>
            <pc:docMk/>
            <pc:sldMk cId="1450446987" sldId="264"/>
            <ac:graphicFrameMk id="108" creationId="{EA5BFF7B-338C-32E2-15B3-76A2937F426B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08:37.067" v="12720"/>
          <ac:graphicFrameMkLst>
            <pc:docMk/>
            <pc:sldMk cId="1450446987" sldId="264"/>
            <ac:graphicFrameMk id="121" creationId="{C222CB9E-A724-D2A4-86D2-FF3CE78FD5E0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8T20:41:22.491" v="63243"/>
          <ac:graphicFrameMkLst>
            <pc:docMk/>
            <pc:sldMk cId="1450446987" sldId="264"/>
            <ac:graphicFrameMk id="129" creationId="{B2344AE2-3D7A-9CF4-99CE-4200AEFC074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1:12.503" v="62546"/>
          <ac:graphicFrameMkLst>
            <pc:docMk/>
            <pc:sldMk cId="1450446987" sldId="264"/>
            <ac:graphicFrameMk id="133" creationId="{003CFB35-479A-A8FF-9733-9369EA483E73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08:53.063" v="13452"/>
          <ac:graphicFrameMkLst>
            <pc:docMk/>
            <pc:sldMk cId="1450446987" sldId="264"/>
            <ac:graphicFrameMk id="145" creationId="{67E38FC5-D602-448D-E9E6-5FA9C5A6DA2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1:13.978" v="62741"/>
          <ac:graphicFrameMkLst>
            <pc:docMk/>
            <pc:sldMk cId="1450446987" sldId="264"/>
            <ac:graphicFrameMk id="145" creationId="{BB7796B5-22E8-64EB-0E7B-640642B7943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1:15.440" v="63005"/>
          <ac:graphicFrameMkLst>
            <pc:docMk/>
            <pc:sldMk cId="1450446987" sldId="264"/>
            <ac:graphicFrameMk id="150" creationId="{53CB8DD6-2F26-88DB-BD2D-6FFF767AA1A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8T20:41:22.456" v="63201"/>
          <ac:graphicFrameMkLst>
            <pc:docMk/>
            <pc:sldMk cId="1450446987" sldId="264"/>
            <ac:graphicFrameMk id="153" creationId="{172B0DCD-179D-2D00-60CD-5417C58D4068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8T20:41:22.510" v="63305"/>
          <ac:graphicFrameMkLst>
            <pc:docMk/>
            <pc:sldMk cId="1450446987" sldId="264"/>
            <ac:graphicFrameMk id="155" creationId="{4D015195-40DA-C778-74CD-44B34986665C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8T20:40:29.824" v="59898"/>
          <ac:graphicFrameMkLst>
            <pc:docMk/>
            <pc:sldMk cId="1450446987" sldId="264"/>
            <ac:graphicFrameMk id="178" creationId="{DD2000F6-3E1A-ED7D-EB20-B86745D351F6}"/>
          </ac:graphicFrameMkLst>
        </pc:graphicFrameChg>
        <pc:picChg chg="mod ord">
          <ac:chgData name="Joelle Brehm" userId="a518f54c-6985-42c0-8041-2bb16a414839" providerId="ADAL" clId="{E88466E7-2243-47F6-9EAE-9BF9DD0649AD}" dt="2024-04-08T20:41:22.482" v="63215"/>
          <ac:picMkLst>
            <pc:docMk/>
            <pc:sldMk cId="1450446987" sldId="264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E88466E7-2243-47F6-9EAE-9BF9DD0649AD}" dt="2024-04-08T20:41:22.480" v="63209"/>
          <ac:picMkLst>
            <pc:docMk/>
            <pc:sldMk cId="1450446987" sldId="264"/>
            <ac:picMk id="9" creationId="{9412C57A-0EC9-8950-A05B-8760CF4825B8}"/>
          </ac:picMkLst>
        </pc:picChg>
        <pc:picChg chg="del mod ord">
          <ac:chgData name="Joelle Brehm" userId="a518f54c-6985-42c0-8041-2bb16a414839" providerId="ADAL" clId="{E88466E7-2243-47F6-9EAE-9BF9DD0649AD}" dt="2024-04-04T18:07:48.005" v="11093" actId="478"/>
          <ac:picMkLst>
            <pc:docMk/>
            <pc:sldMk cId="1450446987" sldId="264"/>
            <ac:picMk id="10" creationId="{AB4F185B-0194-3273-C129-6C12F05ACD22}"/>
          </ac:picMkLst>
        </pc:picChg>
      </pc:sldChg>
      <pc:sldChg chg="addSp delSp modSp mod">
        <pc:chgData name="Joelle Brehm" userId="a518f54c-6985-42c0-8041-2bb16a414839" providerId="ADAL" clId="{E88466E7-2243-47F6-9EAE-9BF9DD0649AD}" dt="2024-04-04T18:18:40.769" v="20599"/>
        <pc:sldMkLst>
          <pc:docMk/>
          <pc:sldMk cId="3436037945" sldId="265"/>
        </pc:sldMkLst>
        <pc:spChg chg="mod ord">
          <ac:chgData name="Joelle Brehm" userId="a518f54c-6985-42c0-8041-2bb16a414839" providerId="ADAL" clId="{E88466E7-2243-47F6-9EAE-9BF9DD0649AD}" dt="2024-04-04T18:18:40.736" v="20593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E88466E7-2243-47F6-9EAE-9BF9DD0649AD}" dt="2024-04-04T18:18:00.276" v="19283" actId="478"/>
          <ac:spMkLst>
            <pc:docMk/>
            <pc:sldMk cId="3436037945" sldId="265"/>
            <ac:spMk id="5" creationId="{443C8FCD-7F04-A20F-4AFB-FBEBE45152B0}"/>
          </ac:spMkLst>
        </pc:spChg>
        <pc:spChg chg="mod ord">
          <ac:chgData name="Joelle Brehm" userId="a518f54c-6985-42c0-8041-2bb16a414839" providerId="ADAL" clId="{E88466E7-2243-47F6-9EAE-9BF9DD0649AD}" dt="2024-04-04T18:18:40.720" v="20528"/>
          <ac:spMkLst>
            <pc:docMk/>
            <pc:sldMk cId="3436037945" sldId="265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18:18:03.864" v="19496"/>
          <ac:spMkLst>
            <pc:docMk/>
            <pc:sldMk cId="3436037945" sldId="265"/>
            <ac:spMk id="8" creationId="{4E2F6616-208C-02E4-91FF-B2F2BF6AA49F}"/>
          </ac:spMkLst>
        </pc:spChg>
        <pc:spChg chg="mod">
          <ac:chgData name="Joelle Brehm" userId="a518f54c-6985-42c0-8041-2bb16a414839" providerId="ADAL" clId="{E88466E7-2243-47F6-9EAE-9BF9DD0649AD}" dt="2024-04-04T18:18:40.720" v="20539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18:18:40.720" v="20535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18:18:40.720" v="20536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18:18:40.720" v="20533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18:18:40.720" v="20534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18:18:40.720" v="20537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18:18:40.720" v="20538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18:18:40.720" v="20540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18:18:40.720" v="20541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18:18:40.720" v="20542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18:18:40.720" v="20543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18:18:40.720" v="20544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18:18:40.720" v="20546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18:18:40.720" v="20547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18:18:40.720" v="20549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18:18:40.720" v="20548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18:18:40.720" v="20551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18:18:40.720" v="20552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18:18:40.720" v="20550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18:18:40.720" v="20554"/>
          <ac:spMkLst>
            <pc:docMk/>
            <pc:sldMk cId="3436037945" sldId="26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04T18:18:28.749" v="19777"/>
          <ac:spMkLst>
            <pc:docMk/>
            <pc:sldMk cId="3436037945" sldId="265"/>
            <ac:spMk id="32" creationId="{8B1FA5FE-D904-D76C-8EE9-32C0B90DD75C}"/>
          </ac:spMkLst>
        </pc:spChg>
        <pc:spChg chg="add mod replST">
          <ac:chgData name="Joelle Brehm" userId="a518f54c-6985-42c0-8041-2bb16a414839" providerId="ADAL" clId="{E88466E7-2243-47F6-9EAE-9BF9DD0649AD}" dt="2024-04-04T18:18:40.720" v="20568"/>
          <ac:spMkLst>
            <pc:docMk/>
            <pc:sldMk cId="3436037945" sldId="265"/>
            <ac:spMk id="34" creationId="{0D8F1153-C700-1624-1BA5-E3705911D87E}"/>
          </ac:spMkLst>
        </pc:spChg>
        <pc:spChg chg="add del mod modVis">
          <ac:chgData name="Joelle Brehm" userId="a518f54c-6985-42c0-8041-2bb16a414839" providerId="ADAL" clId="{E88466E7-2243-47F6-9EAE-9BF9DD0649AD}" dt="2024-04-04T18:18:35.241" v="20237"/>
          <ac:spMkLst>
            <pc:docMk/>
            <pc:sldMk cId="3436037945" sldId="265"/>
            <ac:spMk id="35" creationId="{79E78944-A857-2534-7CDF-B274036B1C7E}"/>
          </ac:spMkLst>
        </pc:spChg>
        <pc:spChg chg="add del mod ord replST">
          <ac:chgData name="Joelle Brehm" userId="a518f54c-6985-42c0-8041-2bb16a414839" providerId="ADAL" clId="{E88466E7-2243-47F6-9EAE-9BF9DD0649AD}" dt="2024-04-04T18:18:40.693" v="20511"/>
          <ac:spMkLst>
            <pc:docMk/>
            <pc:sldMk cId="3436037945" sldId="265"/>
            <ac:spMk id="36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18:18:38.224" v="20414"/>
          <ac:spMkLst>
            <pc:docMk/>
            <pc:sldMk cId="3436037945" sldId="265"/>
            <ac:spMk id="38" creationId="{1E0974DD-F2C4-6581-AB60-EC2CDDFFEC45}"/>
          </ac:spMkLst>
        </pc:spChg>
        <pc:spChg chg="add del mod modVis">
          <ac:chgData name="Joelle Brehm" userId="a518f54c-6985-42c0-8041-2bb16a414839" providerId="ADAL" clId="{E88466E7-2243-47F6-9EAE-9BF9DD0649AD}" dt="2024-04-04T18:18:40.736" v="20597"/>
          <ac:spMkLst>
            <pc:docMk/>
            <pc:sldMk cId="3436037945" sldId="265"/>
            <ac:spMk id="40" creationId="{CAE2555A-BF3E-76EE-BCAA-0469777C0E4E}"/>
          </ac:spMkLst>
        </pc:spChg>
        <pc:spChg chg="mod ord">
          <ac:chgData name="Joelle Brehm" userId="a518f54c-6985-42c0-8041-2bb16a414839" providerId="ADAL" clId="{E88466E7-2243-47F6-9EAE-9BF9DD0649AD}" dt="2024-04-04T18:18:40.720" v="20570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18:18:40.720" v="20572"/>
          <ac:spMkLst>
            <pc:docMk/>
            <pc:sldMk cId="3436037945" sldId="265"/>
            <ac:spMk id="79" creationId="{F1476AC4-694B-4D83-BFD8-8DCAA4BB1923}"/>
          </ac:spMkLst>
        </pc:spChg>
        <pc:spChg chg="del mod">
          <ac:chgData name="Joelle Brehm" userId="a518f54c-6985-42c0-8041-2bb16a414839" providerId="ADAL" clId="{E88466E7-2243-47F6-9EAE-9BF9DD0649AD}" dt="2024-04-04T18:18:40.621" v="20417"/>
          <ac:spMkLst>
            <pc:docMk/>
            <pc:sldMk cId="3436037945" sldId="265"/>
            <ac:spMk id="89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57"/>
          <ac:spMkLst>
            <pc:docMk/>
            <pc:sldMk cId="3436037945" sldId="265"/>
            <ac:spMk id="9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58"/>
          <ac:spMkLst>
            <pc:docMk/>
            <pc:sldMk cId="3436037945" sldId="265"/>
            <ac:spMk id="91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59"/>
          <ac:spMkLst>
            <pc:docMk/>
            <pc:sldMk cId="3436037945" sldId="265"/>
            <ac:spMk id="9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60"/>
          <ac:spMkLst>
            <pc:docMk/>
            <pc:sldMk cId="3436037945" sldId="265"/>
            <ac:spMk id="9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61"/>
          <ac:spMkLst>
            <pc:docMk/>
            <pc:sldMk cId="3436037945" sldId="265"/>
            <ac:spMk id="94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62"/>
          <ac:spMkLst>
            <pc:docMk/>
            <pc:sldMk cId="3436037945" sldId="265"/>
            <ac:spMk id="9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63"/>
          <ac:spMkLst>
            <pc:docMk/>
            <pc:sldMk cId="3436037945" sldId="265"/>
            <ac:spMk id="9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64"/>
          <ac:spMkLst>
            <pc:docMk/>
            <pc:sldMk cId="3436037945" sldId="265"/>
            <ac:spMk id="97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65"/>
          <ac:spMkLst>
            <pc:docMk/>
            <pc:sldMk cId="3436037945" sldId="265"/>
            <ac:spMk id="98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20" v="20566"/>
          <ac:spMkLst>
            <pc:docMk/>
            <pc:sldMk cId="3436037945" sldId="265"/>
            <ac:spMk id="99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8:18:40.720" v="20574"/>
          <ac:spMkLst>
            <pc:docMk/>
            <pc:sldMk cId="3436037945" sldId="265"/>
            <ac:spMk id="100" creationId="{8B5667AB-609C-4AEA-83B3-24E395C8F420}"/>
          </ac:spMkLst>
        </pc:spChg>
        <pc:spChg chg="mod">
          <ac:chgData name="Joelle Brehm" userId="a518f54c-6985-42c0-8041-2bb16a414839" providerId="ADAL" clId="{E88466E7-2243-47F6-9EAE-9BF9DD0649AD}" dt="2024-04-04T18:18:40.720" v="20567"/>
          <ac:spMkLst>
            <pc:docMk/>
            <pc:sldMk cId="3436037945" sldId="265"/>
            <ac:spMk id="101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8:18:40.736" v="20576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18:18:40.736" v="20578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18:18:40.736" v="20580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E88466E7-2243-47F6-9EAE-9BF9DD0649AD}" dt="2024-04-04T18:18:40.736" v="20591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E88466E7-2243-47F6-9EAE-9BF9DD0649AD}" dt="2024-04-04T18:18:40.736" v="20583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36" v="20584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36" v="20585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8:40.736" v="20586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18:18:40.736" v="20587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18:18:40.769" v="20599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18:18:03.809" v="19413"/>
          <ac:graphicFrameMkLst>
            <pc:docMk/>
            <pc:sldMk cId="3436037945" sldId="265"/>
            <ac:graphicFrameMk id="9" creationId="{CEFB1D27-951B-DD63-FCB7-E75D4818211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8:40.720" v="20532"/>
          <ac:graphicFrameMkLst>
            <pc:docMk/>
            <pc:sldMk cId="3436037945" sldId="265"/>
            <ac:graphicFrameMk id="10" creationId="{149A44AC-9B25-7C17-E71C-3BAB404696EE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8:40.736" v="20582"/>
          <ac:graphicFrameMkLst>
            <pc:docMk/>
            <pc:sldMk cId="3436037945" sldId="265"/>
            <ac:graphicFrameMk id="33" creationId="{ED156218-AA4D-BD3F-7A77-AD50059DF02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8:38.143" v="20319"/>
          <ac:graphicFrameMkLst>
            <pc:docMk/>
            <pc:sldMk cId="3436037945" sldId="265"/>
            <ac:graphicFrameMk id="37" creationId="{479245D8-3F6E-BA0E-BC2D-F5061137835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8:40.693" v="20518"/>
          <ac:graphicFrameMkLst>
            <pc:docMk/>
            <pc:sldMk cId="3436037945" sldId="265"/>
            <ac:graphicFrameMk id="39" creationId="{DE9E60F1-E3EE-8CFF-F2A5-99D3704B0E0C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8:40.720" v="20556"/>
          <ac:graphicFrameMkLst>
            <pc:docMk/>
            <pc:sldMk cId="3436037945" sldId="265"/>
            <ac:graphicFrameMk id="41" creationId="{089478CF-2BB5-0D21-56CB-457BAAD07A5E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18:28.678" v="19698"/>
          <ac:graphicFrameMkLst>
            <pc:docMk/>
            <pc:sldMk cId="3436037945" sldId="265"/>
            <ac:graphicFrameMk id="48" creationId="{F23678B7-A450-8C30-03AA-8DFDE6C3A378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18:35.173" v="20142"/>
          <ac:graphicFrameMkLst>
            <pc:docMk/>
            <pc:sldMk cId="3436037945" sldId="265"/>
            <ac:graphicFrameMk id="104" creationId="{2469C7DE-BE23-6EBB-CFA6-1E087DC0CC33}"/>
          </ac:graphicFrameMkLst>
        </pc:graphicFrameChg>
        <pc:picChg chg="del mod ord">
          <ac:chgData name="Joelle Brehm" userId="a518f54c-6985-42c0-8041-2bb16a414839" providerId="ADAL" clId="{E88466E7-2243-47F6-9EAE-9BF9DD0649AD}" dt="2024-04-04T18:18:21.331" v="19595" actId="478"/>
          <ac:picMkLst>
            <pc:docMk/>
            <pc:sldMk cId="3436037945" sldId="265"/>
            <ac:picMk id="3" creationId="{968D692F-B5D5-63CB-A24B-4172D2DF0C60}"/>
          </ac:picMkLst>
        </pc:picChg>
        <pc:picChg chg="add mod ord">
          <ac:chgData name="Joelle Brehm" userId="a518f54c-6985-42c0-8041-2bb16a414839" providerId="ADAL" clId="{E88466E7-2243-47F6-9EAE-9BF9DD0649AD}" dt="2024-04-04T18:18:40.720" v="20526"/>
          <ac:picMkLst>
            <pc:docMk/>
            <pc:sldMk cId="3436037945" sldId="265"/>
            <ac:picMk id="31" creationId="{1AE5981B-8A04-C4A1-A770-29D9BDC3D813}"/>
          </ac:picMkLst>
        </pc:picChg>
        <pc:picChg chg="mod ord">
          <ac:chgData name="Joelle Brehm" userId="a518f54c-6985-42c0-8041-2bb16a414839" providerId="ADAL" clId="{E88466E7-2243-47F6-9EAE-9BF9DD0649AD}" dt="2024-04-04T18:18:40.736" v="20589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18:18:40.720" v="20530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18:17:45.105" v="19282"/>
        <pc:sldMkLst>
          <pc:docMk/>
          <pc:sldMk cId="2057745716" sldId="266"/>
        </pc:sldMkLst>
        <pc:spChg chg="mod ord">
          <ac:chgData name="Joelle Brehm" userId="a518f54c-6985-42c0-8041-2bb16a414839" providerId="ADAL" clId="{E88466E7-2243-47F6-9EAE-9BF9DD0649AD}" dt="2024-04-04T18:17:45.089" v="19276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E88466E7-2243-47F6-9EAE-9BF9DD0649AD}" dt="2024-04-04T18:16:29.472" v="17774" actId="478"/>
          <ac:spMkLst>
            <pc:docMk/>
            <pc:sldMk cId="2057745716" sldId="266"/>
            <ac:spMk id="5" creationId="{D3C9EDE1-1CD6-D257-F528-5929F14B8D18}"/>
          </ac:spMkLst>
        </pc:spChg>
        <pc:spChg chg="mod ord">
          <ac:chgData name="Joelle Brehm" userId="a518f54c-6985-42c0-8041-2bb16a414839" providerId="ADAL" clId="{E88466E7-2243-47F6-9EAE-9BF9DD0649AD}" dt="2024-04-04T18:17:45.073" v="19194"/>
          <ac:spMkLst>
            <pc:docMk/>
            <pc:sldMk cId="2057745716" sldId="26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18:16:47.612" v="18021"/>
          <ac:spMkLst>
            <pc:docMk/>
            <pc:sldMk cId="2057745716" sldId="266"/>
            <ac:spMk id="9" creationId="{9B8DB684-0AF3-F078-9719-7255FEC5E4D9}"/>
          </ac:spMkLst>
        </pc:spChg>
        <pc:spChg chg="mod">
          <ac:chgData name="Joelle Brehm" userId="a518f54c-6985-42c0-8041-2bb16a414839" providerId="ADAL" clId="{E88466E7-2243-47F6-9EAE-9BF9DD0649AD}" dt="2024-04-04T18:17:45.073" v="19205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18:17:45.073" v="19201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18:17:45.073" v="19202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18:17:45.073" v="19199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18:17:45.073" v="19200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18:17:45.073" v="19203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18:17:45.073" v="19204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18:17:45.073" v="19206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18:17:45.073" v="19207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18:17:45.073" v="19208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18:17:45.073" v="19209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18:17:45.073" v="19210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18:17:45.073" v="19212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18:17:45.073" v="19213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18:17:45.073" v="19215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18:17:45.073" v="19214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18:17:45.073" v="19217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18:17:45.089" v="19218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18:17:45.073" v="19216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18:17:45.089" v="19220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18:17:45.089" v="19229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E88466E7-2243-47F6-9EAE-9BF9DD0649AD}" dt="2024-04-04T18:17:45.089" v="19241"/>
          <ac:spMkLst>
            <pc:docMk/>
            <pc:sldMk cId="2057745716" sldId="266"/>
            <ac:spMk id="33" creationId="{4776A783-F061-E03D-5F78-B2DE3144370E}"/>
          </ac:spMkLst>
        </pc:spChg>
        <pc:spChg chg="add del mod modVis">
          <ac:chgData name="Joelle Brehm" userId="a518f54c-6985-42c0-8041-2bb16a414839" providerId="ADAL" clId="{E88466E7-2243-47F6-9EAE-9BF9DD0649AD}" dt="2024-04-04T18:17:26.013" v="18313"/>
          <ac:spMkLst>
            <pc:docMk/>
            <pc:sldMk cId="2057745716" sldId="266"/>
            <ac:spMk id="34" creationId="{6E4FA3EA-DC92-B793-548A-416741F87090}"/>
          </ac:spMkLst>
        </pc:spChg>
        <pc:spChg chg="mod">
          <ac:chgData name="Joelle Brehm" userId="a518f54c-6985-42c0-8041-2bb16a414839" providerId="ADAL" clId="{E88466E7-2243-47F6-9EAE-9BF9DD0649AD}" dt="2024-04-04T18:17:45.089" v="19243"/>
          <ac:spMkLst>
            <pc:docMk/>
            <pc:sldMk cId="2057745716" sldId="266"/>
            <ac:spMk id="35" creationId="{07FC4FF1-C9FC-C6C2-5A5D-6EECA837BD15}"/>
          </ac:spMkLst>
        </pc:spChg>
        <pc:spChg chg="mod">
          <ac:chgData name="Joelle Brehm" userId="a518f54c-6985-42c0-8041-2bb16a414839" providerId="ADAL" clId="{E88466E7-2243-47F6-9EAE-9BF9DD0649AD}" dt="2024-04-04T18:17:45.089" v="19245"/>
          <ac:spMkLst>
            <pc:docMk/>
            <pc:sldMk cId="2057745716" sldId="266"/>
            <ac:spMk id="36" creationId="{3764C828-0438-D875-2C45-33FA7010F8CA}"/>
          </ac:spMkLst>
        </pc:spChg>
        <pc:spChg chg="mod">
          <ac:chgData name="Joelle Brehm" userId="a518f54c-6985-42c0-8041-2bb16a414839" providerId="ADAL" clId="{E88466E7-2243-47F6-9EAE-9BF9DD0649AD}" dt="2024-04-04T18:17:45.089" v="19244"/>
          <ac:spMkLst>
            <pc:docMk/>
            <pc:sldMk cId="2057745716" sldId="266"/>
            <ac:spMk id="37" creationId="{33181A84-3557-D464-C31E-C60C3CBB82A3}"/>
          </ac:spMkLst>
        </pc:spChg>
        <pc:spChg chg="mod">
          <ac:chgData name="Joelle Brehm" userId="a518f54c-6985-42c0-8041-2bb16a414839" providerId="ADAL" clId="{E88466E7-2243-47F6-9EAE-9BF9DD0649AD}" dt="2024-04-04T18:17:45.089" v="19247"/>
          <ac:spMkLst>
            <pc:docMk/>
            <pc:sldMk cId="2057745716" sldId="266"/>
            <ac:spMk id="39" creationId="{D8831937-ECCE-17CE-638D-71442AEB8CE1}"/>
          </ac:spMkLst>
        </pc:spChg>
        <pc:spChg chg="del mod">
          <ac:chgData name="Joelle Brehm" userId="a518f54c-6985-42c0-8041-2bb16a414839" providerId="ADAL" clId="{E88466E7-2243-47F6-9EAE-9BF9DD0649AD}" dt="2024-04-04T18:17:44.974" v="19051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E88466E7-2243-47F6-9EAE-9BF9DD0649AD}" dt="2024-04-04T18:17:45.089" v="19246"/>
          <ac:spMkLst>
            <pc:docMk/>
            <pc:sldMk cId="2057745716" sldId="266"/>
            <ac:spMk id="41" creationId="{29AEB0C0-1606-DAD4-E036-1191325B42B8}"/>
          </ac:spMkLst>
        </pc:spChg>
        <pc:spChg chg="add mod replST">
          <ac:chgData name="Joelle Brehm" userId="a518f54c-6985-42c0-8041-2bb16a414839" providerId="ADAL" clId="{E88466E7-2243-47F6-9EAE-9BF9DD0649AD}" dt="2024-04-04T18:17:45.089" v="19250"/>
          <ac:spMkLst>
            <pc:docMk/>
            <pc:sldMk cId="2057745716" sldId="266"/>
            <ac:spMk id="43" creationId="{AB0D7F40-1892-EEC1-1C0A-D5919B7B2012}"/>
          </ac:spMkLst>
        </pc:spChg>
        <pc:spChg chg="del mod">
          <ac:chgData name="Joelle Brehm" userId="a518f54c-6985-42c0-8041-2bb16a414839" providerId="ADAL" clId="{E88466E7-2243-47F6-9EAE-9BF9DD0649AD}" dt="2024-04-04T18:17:44.974" v="19050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E88466E7-2243-47F6-9EAE-9BF9DD0649AD}" dt="2024-04-04T18:17:45.089" v="19249"/>
          <ac:spMkLst>
            <pc:docMk/>
            <pc:sldMk cId="2057745716" sldId="266"/>
            <ac:spMk id="45" creationId="{B82AA6F2-A080-E1BB-74E5-DD473360855A}"/>
          </ac:spMkLst>
        </pc:spChg>
        <pc:spChg chg="mod">
          <ac:chgData name="Joelle Brehm" userId="a518f54c-6985-42c0-8041-2bb16a414839" providerId="ADAL" clId="{E88466E7-2243-47F6-9EAE-9BF9DD0649AD}" dt="2024-04-04T18:17:45.089" v="19242"/>
          <ac:spMkLst>
            <pc:docMk/>
            <pc:sldMk cId="2057745716" sldId="266"/>
            <ac:spMk id="46" creationId="{F71F0A63-DF39-49D4-2B0A-063A8976E855}"/>
          </ac:spMkLst>
        </pc:spChg>
        <pc:spChg chg="add del mod modVis">
          <ac:chgData name="Joelle Brehm" userId="a518f54c-6985-42c0-8041-2bb16a414839" providerId="ADAL" clId="{E88466E7-2243-47F6-9EAE-9BF9DD0649AD}" dt="2024-04-04T18:17:34.482" v="18653"/>
          <ac:spMkLst>
            <pc:docMk/>
            <pc:sldMk cId="2057745716" sldId="266"/>
            <ac:spMk id="47" creationId="{3BE3544A-1EED-1480-8FC7-B2A82FD47639}"/>
          </ac:spMkLst>
        </pc:spChg>
        <pc:spChg chg="mod">
          <ac:chgData name="Joelle Brehm" userId="a518f54c-6985-42c0-8041-2bb16a414839" providerId="ADAL" clId="{E88466E7-2243-47F6-9EAE-9BF9DD0649AD}" dt="2024-04-04T18:17:45.089" v="19240"/>
          <ac:spMkLst>
            <pc:docMk/>
            <pc:sldMk cId="2057745716" sldId="266"/>
            <ac:spMk id="48" creationId="{83D70FB8-70C1-9516-ECF9-CBF5EA76AE37}"/>
          </ac:spMkLst>
        </pc:spChg>
        <pc:spChg chg="mod">
          <ac:chgData name="Joelle Brehm" userId="a518f54c-6985-42c0-8041-2bb16a414839" providerId="ADAL" clId="{E88466E7-2243-47F6-9EAE-9BF9DD0649AD}" dt="2024-04-04T18:17:45.089" v="19228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E88466E7-2243-47F6-9EAE-9BF9DD0649AD}" dt="2024-04-04T18:17:45.089" v="19231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E88466E7-2243-47F6-9EAE-9BF9DD0649AD}" dt="2024-04-04T18:17:45.089" v="19230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E88466E7-2243-47F6-9EAE-9BF9DD0649AD}" dt="2024-04-04T18:17:45.089" v="19237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E88466E7-2243-47F6-9EAE-9BF9DD0649AD}" dt="2024-04-04T18:17:45.089" v="19236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E88466E7-2243-47F6-9EAE-9BF9DD0649AD}" dt="2024-04-04T18:17:45.089" v="19233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E88466E7-2243-47F6-9EAE-9BF9DD0649AD}" dt="2024-04-04T18:17:45.089" v="19232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E88466E7-2243-47F6-9EAE-9BF9DD0649AD}" dt="2024-04-04T18:17:45.089" v="19235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E88466E7-2243-47F6-9EAE-9BF9DD0649AD}" dt="2024-04-04T18:17:45.089" v="19234"/>
          <ac:spMkLst>
            <pc:docMk/>
            <pc:sldMk cId="2057745716" sldId="266"/>
            <ac:spMk id="57" creationId="{5B53372F-C271-7F94-7100-D104F06C3037}"/>
          </ac:spMkLst>
        </pc:spChg>
        <pc:spChg chg="mod">
          <ac:chgData name="Joelle Brehm" userId="a518f54c-6985-42c0-8041-2bb16a414839" providerId="ADAL" clId="{E88466E7-2243-47F6-9EAE-9BF9DD0649AD}" dt="2024-04-04T18:17:45.089" v="19239"/>
          <ac:spMkLst>
            <pc:docMk/>
            <pc:sldMk cId="2057745716" sldId="266"/>
            <ac:spMk id="58" creationId="{DAA22F52-9C0E-72DF-927C-E34B49E164A2}"/>
          </ac:spMkLst>
        </pc:spChg>
        <pc:spChg chg="mod">
          <ac:chgData name="Joelle Brehm" userId="a518f54c-6985-42c0-8041-2bb16a414839" providerId="ADAL" clId="{E88466E7-2243-47F6-9EAE-9BF9DD0649AD}" dt="2024-04-04T18:17:45.089" v="19248"/>
          <ac:spMkLst>
            <pc:docMk/>
            <pc:sldMk cId="2057745716" sldId="266"/>
            <ac:spMk id="59" creationId="{37F90B60-CDE7-7CB7-7193-5A82F5ACF164}"/>
          </ac:spMkLst>
        </pc:spChg>
        <pc:spChg chg="mod">
          <ac:chgData name="Joelle Brehm" userId="a518f54c-6985-42c0-8041-2bb16a414839" providerId="ADAL" clId="{E88466E7-2243-47F6-9EAE-9BF9DD0649AD}" dt="2024-04-04T18:17:45.089" v="19238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E88466E7-2243-47F6-9EAE-9BF9DD0649AD}" dt="2024-04-04T18:17:38.547" v="18844"/>
          <ac:spMkLst>
            <pc:docMk/>
            <pc:sldMk cId="2057745716" sldId="266"/>
            <ac:spMk id="62" creationId="{C1435C64-325A-ADFB-1617-DAC4B0C353D9}"/>
          </ac:spMkLst>
        </pc:spChg>
        <pc:spChg chg="add mod replST">
          <ac:chgData name="Joelle Brehm" userId="a518f54c-6985-42c0-8041-2bb16a414839" providerId="ADAL" clId="{E88466E7-2243-47F6-9EAE-9BF9DD0649AD}" dt="2024-04-04T18:17:45.089" v="19251"/>
          <ac:spMkLst>
            <pc:docMk/>
            <pc:sldMk cId="2057745716" sldId="266"/>
            <ac:spMk id="64" creationId="{943CE596-0F60-CC8E-8158-20D65B25C030}"/>
          </ac:spMkLst>
        </pc:spChg>
        <pc:spChg chg="add del mod modVis">
          <ac:chgData name="Joelle Brehm" userId="a518f54c-6985-42c0-8041-2bb16a414839" providerId="ADAL" clId="{E88466E7-2243-47F6-9EAE-9BF9DD0649AD}" dt="2024-04-04T18:17:41.318" v="19047"/>
          <ac:spMkLst>
            <pc:docMk/>
            <pc:sldMk cId="2057745716" sldId="266"/>
            <ac:spMk id="65" creationId="{B3C2132A-28F2-0781-7B9D-B83693AD04D6}"/>
          </ac:spMkLst>
        </pc:spChg>
        <pc:spChg chg="add del mod modVis">
          <ac:chgData name="Joelle Brehm" userId="a518f54c-6985-42c0-8041-2bb16a414839" providerId="ADAL" clId="{E88466E7-2243-47F6-9EAE-9BF9DD0649AD}" dt="2024-04-04T18:17:45.105" v="19280"/>
          <ac:spMkLst>
            <pc:docMk/>
            <pc:sldMk cId="2057745716" sldId="266"/>
            <ac:spMk id="67" creationId="{40CE8B61-BE73-8AAD-75B1-9E59AED03302}"/>
          </ac:spMkLst>
        </pc:spChg>
        <pc:spChg chg="mod ord">
          <ac:chgData name="Joelle Brehm" userId="a518f54c-6985-42c0-8041-2bb16a414839" providerId="ADAL" clId="{E88466E7-2243-47F6-9EAE-9BF9DD0649AD}" dt="2024-04-04T18:17:45.089" v="19253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18:17:45.089" v="19255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E88466E7-2243-47F6-9EAE-9BF9DD0649AD}" dt="2024-04-04T18:17:45.089" v="19227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8:17:45.089" v="19257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18:17:45.089" v="19259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18:17:45.089" v="19261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18:17:45.089" v="19263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18:17:45.089" v="19224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7:45.089" v="19225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7:45.089" v="19226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7:45.089" v="19223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7:45.089" v="19266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7:45.089" v="19267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7:45.089" v="19268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17:45.089" v="19269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18:17:45.089" v="19270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18:17:45.105" v="19282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18:16:47.535" v="17919"/>
          <ac:graphicFrameMkLst>
            <pc:docMk/>
            <pc:sldMk cId="2057745716" sldId="266"/>
            <ac:graphicFrameMk id="8" creationId="{D863BDB1-DEE2-FF16-71A3-2F23F06BC52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7:45.073" v="19198"/>
          <ac:graphicFrameMkLst>
            <pc:docMk/>
            <pc:sldMk cId="2057745716" sldId="266"/>
            <ac:graphicFrameMk id="10" creationId="{587BAF17-347B-1377-08BD-C07F621749D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7:45.089" v="19265"/>
          <ac:graphicFrameMkLst>
            <pc:docMk/>
            <pc:sldMk cId="2057745716" sldId="266"/>
            <ac:graphicFrameMk id="38" creationId="{98A94A83-6F7A-0A60-DB24-0F3037FF8000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17:25.962" v="18217"/>
          <ac:graphicFrameMkLst>
            <pc:docMk/>
            <pc:sldMk cId="2057745716" sldId="266"/>
            <ac:graphicFrameMk id="42" creationId="{1C874F43-2628-8886-DA08-EB62F804494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7:38.488" v="18747"/>
          <ac:graphicFrameMkLst>
            <pc:docMk/>
            <pc:sldMk cId="2057745716" sldId="266"/>
            <ac:graphicFrameMk id="60" creationId="{9F47CEAA-EEDB-D22A-25AC-CE5716151E0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7:41.266" v="18949"/>
          <ac:graphicFrameMkLst>
            <pc:docMk/>
            <pc:sldMk cId="2057745716" sldId="266"/>
            <ac:graphicFrameMk id="63" creationId="{A202B4D4-33C5-7665-7EDA-526E84C90054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17:45.042" v="19184"/>
          <ac:graphicFrameMkLst>
            <pc:docMk/>
            <pc:sldMk cId="2057745716" sldId="266"/>
            <ac:graphicFrameMk id="66" creationId="{FFEB9A74-F189-277D-10D6-62140ED25E4C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17:45.089" v="19222"/>
          <ac:graphicFrameMkLst>
            <pc:docMk/>
            <pc:sldMk cId="2057745716" sldId="266"/>
            <ac:graphicFrameMk id="68" creationId="{0BC6C05F-DEEE-43AD-71CC-50A2E37A4ACC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17:34.414" v="18556"/>
          <ac:graphicFrameMkLst>
            <pc:docMk/>
            <pc:sldMk cId="2057745716" sldId="266"/>
            <ac:graphicFrameMk id="69" creationId="{88AF386C-62F4-2470-CF0A-FCB3199255DF}"/>
          </ac:graphicFrameMkLst>
        </pc:graphicFrameChg>
        <pc:picChg chg="del mod ord">
          <ac:chgData name="Joelle Brehm" userId="a518f54c-6985-42c0-8041-2bb16a414839" providerId="ADAL" clId="{E88466E7-2243-47F6-9EAE-9BF9DD0649AD}" dt="2024-04-04T18:17:14.958" v="18127" actId="478"/>
          <ac:picMkLst>
            <pc:docMk/>
            <pc:sldMk cId="2057745716" sldId="266"/>
            <ac:picMk id="3" creationId="{C9D35F0C-87E9-C3D7-0D72-B4BA9F8FF724}"/>
          </ac:picMkLst>
        </pc:picChg>
        <pc:picChg chg="add mod ord">
          <ac:chgData name="Joelle Brehm" userId="a518f54c-6985-42c0-8041-2bb16a414839" providerId="ADAL" clId="{E88466E7-2243-47F6-9EAE-9BF9DD0649AD}" dt="2024-04-04T18:17:45.073" v="19192"/>
          <ac:picMkLst>
            <pc:docMk/>
            <pc:sldMk cId="2057745716" sldId="266"/>
            <ac:picMk id="31" creationId="{15A46F71-DEF7-F5BF-6DA8-5BB5CE888590}"/>
          </ac:picMkLst>
        </pc:picChg>
        <pc:picChg chg="mod ord">
          <ac:chgData name="Joelle Brehm" userId="a518f54c-6985-42c0-8041-2bb16a414839" providerId="ADAL" clId="{E88466E7-2243-47F6-9EAE-9BF9DD0649AD}" dt="2024-04-04T18:17:45.089" v="19274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E88466E7-2243-47F6-9EAE-9BF9DD0649AD}" dt="2024-04-04T18:17:45.089" v="19272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18:17:45.073" v="19196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18:20:10.617" v="20905" actId="478"/>
        <pc:sldMkLst>
          <pc:docMk/>
          <pc:sldMk cId="3795966898" sldId="267"/>
        </pc:sldMkLst>
        <pc:spChg chg="mod ord">
          <ac:chgData name="Joelle Brehm" userId="a518f54c-6985-42c0-8041-2bb16a414839" providerId="ADAL" clId="{E88466E7-2243-47F6-9EAE-9BF9DD0649AD}" dt="2024-04-04T18:20:08.706" v="20900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E88466E7-2243-47F6-9EAE-9BF9DD0649AD}" dt="2024-04-04T18:19:41.035" v="20600" actId="478"/>
          <ac:spMkLst>
            <pc:docMk/>
            <pc:sldMk cId="3795966898" sldId="267"/>
            <ac:spMk id="5" creationId="{FB59EC73-6886-4C52-1A61-983899B8F1CF}"/>
          </ac:spMkLst>
        </pc:spChg>
        <pc:spChg chg="mod ord">
          <ac:chgData name="Joelle Brehm" userId="a518f54c-6985-42c0-8041-2bb16a414839" providerId="ADAL" clId="{E88466E7-2243-47F6-9EAE-9BF9DD0649AD}" dt="2024-04-04T18:20:08.674" v="20835"/>
          <ac:spMkLst>
            <pc:docMk/>
            <pc:sldMk cId="3795966898" sldId="267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18:19:51.287" v="20817"/>
          <ac:spMkLst>
            <pc:docMk/>
            <pc:sldMk cId="3795966898" sldId="267"/>
            <ac:spMk id="8" creationId="{AD7CAFF1-E184-B378-4F2B-95252984C9CE}"/>
          </ac:spMkLst>
        </pc:spChg>
        <pc:spChg chg="mod">
          <ac:chgData name="Joelle Brehm" userId="a518f54c-6985-42c0-8041-2bb16a414839" providerId="ADAL" clId="{E88466E7-2243-47F6-9EAE-9BF9DD0649AD}" dt="2024-04-04T18:20:08.690" v="20846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18:20:08.690" v="20842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18:20:08.690" v="20843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18:20:08.690" v="20840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18:20:08.690" v="20841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18:20:08.690" v="20844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18:20:08.690" v="20845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18:20:08.690" v="20847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18:20:08.690" v="20848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18:20:08.690" v="20849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18:20:08.690" v="20850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18:20:08.690" v="20851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18:20:08.690" v="20853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18:20:08.690" v="20854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18:20:08.690" v="20856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18:20:08.690" v="20855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18:20:08.690" v="20858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18:20:08.690" v="20859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18:20:08.690" v="20857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18:20:08.690" v="20861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18:20:08.690" v="20868"/>
          <ac:spMkLst>
            <pc:docMk/>
            <pc:sldMk cId="3795966898" sldId="267"/>
            <ac:spMk id="32" creationId="{D88A5B48-AEEB-61CD-49C8-685CA2FA5FCC}"/>
          </ac:spMkLst>
        </pc:spChg>
        <pc:spChg chg="mod">
          <ac:chgData name="Joelle Brehm" userId="a518f54c-6985-42c0-8041-2bb16a414839" providerId="ADAL" clId="{E88466E7-2243-47F6-9EAE-9BF9DD0649AD}" dt="2024-04-04T18:20:08.690" v="20875"/>
          <ac:spMkLst>
            <pc:docMk/>
            <pc:sldMk cId="3795966898" sldId="267"/>
            <ac:spMk id="35" creationId="{DD4816DC-5869-08C3-CF58-585CD7C59822}"/>
          </ac:spMkLst>
        </pc:spChg>
        <pc:spChg chg="mod">
          <ac:chgData name="Joelle Brehm" userId="a518f54c-6985-42c0-8041-2bb16a414839" providerId="ADAL" clId="{E88466E7-2243-47F6-9EAE-9BF9DD0649AD}" dt="2024-04-04T18:20:08.690" v="20871"/>
          <ac:spMkLst>
            <pc:docMk/>
            <pc:sldMk cId="3795966898" sldId="267"/>
            <ac:spMk id="37" creationId="{0A296482-73A5-3697-F8D4-5A660F4A5947}"/>
          </ac:spMkLst>
        </pc:spChg>
        <pc:spChg chg="mod">
          <ac:chgData name="Joelle Brehm" userId="a518f54c-6985-42c0-8041-2bb16a414839" providerId="ADAL" clId="{E88466E7-2243-47F6-9EAE-9BF9DD0649AD}" dt="2024-04-04T18:20:08.690" v="20864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E88466E7-2243-47F6-9EAE-9BF9DD0649AD}" dt="2024-04-04T18:20:08.690" v="20866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E88466E7-2243-47F6-9EAE-9BF9DD0649AD}" dt="2024-04-04T18:20:08.690" v="20874"/>
          <ac:spMkLst>
            <pc:docMk/>
            <pc:sldMk cId="3795966898" sldId="267"/>
            <ac:spMk id="41" creationId="{1544008B-7BC7-360D-B647-986A196ADF59}"/>
          </ac:spMkLst>
        </pc:spChg>
        <pc:spChg chg="mod">
          <ac:chgData name="Joelle Brehm" userId="a518f54c-6985-42c0-8041-2bb16a414839" providerId="ADAL" clId="{E88466E7-2243-47F6-9EAE-9BF9DD0649AD}" dt="2024-04-04T18:20:08.690" v="20865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E88466E7-2243-47F6-9EAE-9BF9DD0649AD}" dt="2024-04-04T18:20:08.690" v="20869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E88466E7-2243-47F6-9EAE-9BF9DD0649AD}" dt="2024-04-04T18:20:08.690" v="20867"/>
          <ac:spMkLst>
            <pc:docMk/>
            <pc:sldMk cId="3795966898" sldId="267"/>
            <ac:spMk id="44" creationId="{40B65240-400F-5791-7F3E-FCB0C3838579}"/>
          </ac:spMkLst>
        </pc:spChg>
        <pc:spChg chg="mod">
          <ac:chgData name="Joelle Brehm" userId="a518f54c-6985-42c0-8041-2bb16a414839" providerId="ADAL" clId="{E88466E7-2243-47F6-9EAE-9BF9DD0649AD}" dt="2024-04-04T18:20:08.690" v="20872"/>
          <ac:spMkLst>
            <pc:docMk/>
            <pc:sldMk cId="3795966898" sldId="267"/>
            <ac:spMk id="45" creationId="{5ACDDB66-5F72-9CF8-8B82-2B020F8894AD}"/>
          </ac:spMkLst>
        </pc:spChg>
        <pc:spChg chg="mod">
          <ac:chgData name="Joelle Brehm" userId="a518f54c-6985-42c0-8041-2bb16a414839" providerId="ADAL" clId="{E88466E7-2243-47F6-9EAE-9BF9DD0649AD}" dt="2024-04-04T18:20:08.690" v="20870"/>
          <ac:spMkLst>
            <pc:docMk/>
            <pc:sldMk cId="3795966898" sldId="267"/>
            <ac:spMk id="46" creationId="{2B2E11F0-202F-7C08-CDCD-D9021CA2670F}"/>
          </ac:spMkLst>
        </pc:spChg>
        <pc:spChg chg="mod">
          <ac:chgData name="Joelle Brehm" userId="a518f54c-6985-42c0-8041-2bb16a414839" providerId="ADAL" clId="{E88466E7-2243-47F6-9EAE-9BF9DD0649AD}" dt="2024-04-04T18:20:08.690" v="20873"/>
          <ac:spMkLst>
            <pc:docMk/>
            <pc:sldMk cId="3795966898" sldId="267"/>
            <ac:spMk id="47" creationId="{3DBF8D64-4F6D-0CD0-9A0D-73552A46C028}"/>
          </ac:spMkLst>
        </pc:spChg>
        <pc:spChg chg="mod">
          <ac:chgData name="Joelle Brehm" userId="a518f54c-6985-42c0-8041-2bb16a414839" providerId="ADAL" clId="{E88466E7-2243-47F6-9EAE-9BF9DD0649AD}" dt="2024-04-04T18:20:08.690" v="20892"/>
          <ac:spMkLst>
            <pc:docMk/>
            <pc:sldMk cId="3795966898" sldId="267"/>
            <ac:spMk id="48" creationId="{E576B5C5-1657-F503-0E96-3114EE7E1750}"/>
          </ac:spMkLst>
        </pc:spChg>
        <pc:spChg chg="mod ord">
          <ac:chgData name="Joelle Brehm" userId="a518f54c-6985-42c0-8041-2bb16a414839" providerId="ADAL" clId="{E88466E7-2243-47F6-9EAE-9BF9DD0649AD}" dt="2024-04-04T18:20:08.690" v="20877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18:20:08.690" v="20879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18:20:08.690" v="20881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18:20:08.690" v="20898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E88466E7-2243-47F6-9EAE-9BF9DD0649AD}" dt="2024-04-04T18:20:08.690" v="20883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18:20:08.690" v="20885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18:20:08.690" v="20887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18:20:08.690" v="20890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20:08.690" v="20891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20:08.690" v="20893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18:20:08.690" v="20894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18:20:08.708" v="20904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18:19:51.236" v="20734"/>
          <ac:graphicFrameMkLst>
            <pc:docMk/>
            <pc:sldMk cId="3795966898" sldId="267"/>
            <ac:graphicFrameMk id="9" creationId="{F8345189-DC0B-BDA2-9B0D-DCB7A6752E54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0:08.690" v="20839"/>
          <ac:graphicFrameMkLst>
            <pc:docMk/>
            <pc:sldMk cId="3795966898" sldId="267"/>
            <ac:graphicFrameMk id="10" creationId="{389BD272-258F-7A1F-E162-4E89E12257CE}"/>
          </ac:graphicFrameMkLst>
        </pc:graphicFrameChg>
        <pc:graphicFrameChg chg="mod ord">
          <ac:chgData name="Joelle Brehm" userId="a518f54c-6985-42c0-8041-2bb16a414839" providerId="ADAL" clId="{E88466E7-2243-47F6-9EAE-9BF9DD0649AD}" dt="2024-04-04T18:20:08.690" v="20889"/>
          <ac:graphicFrameMkLst>
            <pc:docMk/>
            <pc:sldMk cId="3795966898" sldId="267"/>
            <ac:graphicFrameMk id="33" creationId="{3355EF6E-E8FF-780C-5D84-6A9AD5091CE7}"/>
          </ac:graphicFrameMkLst>
        </pc:graphicFrameChg>
        <pc:graphicFrameChg chg="mod ord">
          <ac:chgData name="Joelle Brehm" userId="a518f54c-6985-42c0-8041-2bb16a414839" providerId="ADAL" clId="{E88466E7-2243-47F6-9EAE-9BF9DD0649AD}" dt="2024-04-04T18:20:08.690" v="20863"/>
          <ac:graphicFrameMkLst>
            <pc:docMk/>
            <pc:sldMk cId="3795966898" sldId="267"/>
            <ac:graphicFrameMk id="53" creationId="{605C09F3-15D1-D4C3-83EA-B70D88AEB76F}"/>
          </ac:graphicFrameMkLst>
        </pc:graphicFrameChg>
        <pc:picChg chg="del mod ord">
          <ac:chgData name="Joelle Brehm" userId="a518f54c-6985-42c0-8041-2bb16a414839" providerId="ADAL" clId="{E88466E7-2243-47F6-9EAE-9BF9DD0649AD}" dt="2024-04-04T18:20:10.617" v="20905" actId="478"/>
          <ac:picMkLst>
            <pc:docMk/>
            <pc:sldMk cId="3795966898" sldId="267"/>
            <ac:picMk id="3" creationId="{5D130419-4B36-8646-4908-4EE57A0FCFAE}"/>
          </ac:picMkLst>
        </pc:picChg>
        <pc:picChg chg="add mod ord">
          <ac:chgData name="Joelle Brehm" userId="a518f54c-6985-42c0-8041-2bb16a414839" providerId="ADAL" clId="{E88466E7-2243-47F6-9EAE-9BF9DD0649AD}" dt="2024-04-04T18:20:08.674" v="20831"/>
          <ac:picMkLst>
            <pc:docMk/>
            <pc:sldMk cId="3795966898" sldId="267"/>
            <ac:picMk id="31" creationId="{B618A910-1590-81A8-9B91-8DEDEBFCBC27}"/>
          </ac:picMkLst>
        </pc:picChg>
        <pc:picChg chg="mod ord">
          <ac:chgData name="Joelle Brehm" userId="a518f54c-6985-42c0-8041-2bb16a414839" providerId="ADAL" clId="{E88466E7-2243-47F6-9EAE-9BF9DD0649AD}" dt="2024-04-04T18:20:08.690" v="20896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18:20:08.690" v="20837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18:21:42.868" v="22108"/>
        <pc:sldMkLst>
          <pc:docMk/>
          <pc:sldMk cId="622078465" sldId="269"/>
        </pc:sldMkLst>
        <pc:spChg chg="mod ord">
          <ac:chgData name="Joelle Brehm" userId="a518f54c-6985-42c0-8041-2bb16a414839" providerId="ADAL" clId="{E88466E7-2243-47F6-9EAE-9BF9DD0649AD}" dt="2024-04-04T18:21:42.846" v="22102"/>
          <ac:spMkLst>
            <pc:docMk/>
            <pc:sldMk cId="622078465" sldId="269"/>
            <ac:spMk id="3" creationId="{66BFCA7E-870A-4521-9A23-06C3E5565A60}"/>
          </ac:spMkLst>
        </pc:spChg>
        <pc:spChg chg="add del mod">
          <ac:chgData name="Joelle Brehm" userId="a518f54c-6985-42c0-8041-2bb16a414839" providerId="ADAL" clId="{E88466E7-2243-47F6-9EAE-9BF9DD0649AD}" dt="2024-04-04T18:20:40.808" v="20907" actId="478"/>
          <ac:spMkLst>
            <pc:docMk/>
            <pc:sldMk cId="622078465" sldId="269"/>
            <ac:spMk id="5" creationId="{CAD90941-BB2D-67B9-DB4A-D10A3BCEB21E}"/>
          </ac:spMkLst>
        </pc:spChg>
        <pc:spChg chg="mod ord">
          <ac:chgData name="Joelle Brehm" userId="a518f54c-6985-42c0-8041-2bb16a414839" providerId="ADAL" clId="{E88466E7-2243-47F6-9EAE-9BF9DD0649AD}" dt="2024-04-04T18:21:42.826" v="22037"/>
          <ac:spMkLst>
            <pc:docMk/>
            <pc:sldMk cId="622078465" sldId="26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18:20:45.801" v="21122"/>
          <ac:spMkLst>
            <pc:docMk/>
            <pc:sldMk cId="622078465" sldId="269"/>
            <ac:spMk id="8" creationId="{DF587BC0-3111-9C69-A2F7-B15A841723C8}"/>
          </ac:spMkLst>
        </pc:spChg>
        <pc:spChg chg="mod">
          <ac:chgData name="Joelle Brehm" userId="a518f54c-6985-42c0-8041-2bb16a414839" providerId="ADAL" clId="{E88466E7-2243-47F6-9EAE-9BF9DD0649AD}" dt="2024-04-04T18:21:42.841" v="22068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E88466E7-2243-47F6-9EAE-9BF9DD0649AD}" dt="2024-04-04T18:21:42.831" v="22048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18:21:42.829" v="22044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18:21:42.830" v="22045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18:21:42.828" v="22042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18:21:42.829" v="22043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18:21:42.830" v="22046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18:21:42.830" v="22047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18:21:42.831" v="22049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18:21:42.833" v="22050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18:21:42.833" v="22051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18:21:42.833" v="22052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18:21:42.833" v="22053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18:21:42.833" v="22055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18:21:42.833" v="22056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18:21:42.836" v="22058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18:21:42.836" v="22057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18:21:42.837" v="22060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18:21:42.838" v="22061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18:21:42.837" v="22059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18:21:42.839" v="22063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18:21:42.841" v="22066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E88466E7-2243-47F6-9EAE-9BF9DD0649AD}" dt="2024-04-04T18:21:42.841" v="22067"/>
          <ac:spMkLst>
            <pc:docMk/>
            <pc:sldMk cId="622078465" sldId="269"/>
            <ac:spMk id="33" creationId="{9A566DA3-8FEF-C899-7B5C-813112FBA28E}"/>
          </ac:spMkLst>
        </pc:spChg>
        <pc:spChg chg="del mod">
          <ac:chgData name="Joelle Brehm" userId="a518f54c-6985-42c0-8041-2bb16a414839" providerId="ADAL" clId="{E88466E7-2243-47F6-9EAE-9BF9DD0649AD}" dt="2024-04-04T18:21:38.520" v="21736"/>
          <ac:spMkLst>
            <pc:docMk/>
            <pc:sldMk cId="622078465" sldId="269"/>
            <ac:spMk id="34" creationId="{361A309D-582A-9EF2-AAA6-D0365E1E80AF}"/>
          </ac:spMkLst>
        </pc:spChg>
        <pc:spChg chg="mod">
          <ac:chgData name="Joelle Brehm" userId="a518f54c-6985-42c0-8041-2bb16a414839" providerId="ADAL" clId="{E88466E7-2243-47F6-9EAE-9BF9DD0649AD}" dt="2024-04-04T18:21:42.844" v="22076"/>
          <ac:spMkLst>
            <pc:docMk/>
            <pc:sldMk cId="622078465" sldId="269"/>
            <ac:spMk id="35" creationId="{54F7F950-39C9-051A-4566-D6003E30B6F3}"/>
          </ac:spMkLst>
        </pc:spChg>
        <pc:spChg chg="mod">
          <ac:chgData name="Joelle Brehm" userId="a518f54c-6985-42c0-8041-2bb16a414839" providerId="ADAL" clId="{E88466E7-2243-47F6-9EAE-9BF9DD0649AD}" dt="2024-04-04T18:21:42.844" v="22072"/>
          <ac:spMkLst>
            <pc:docMk/>
            <pc:sldMk cId="622078465" sldId="269"/>
            <ac:spMk id="36" creationId="{68733CF5-8A2C-4045-0CB9-423CA4B0F6E1}"/>
          </ac:spMkLst>
        </pc:spChg>
        <pc:spChg chg="mod">
          <ac:chgData name="Joelle Brehm" userId="a518f54c-6985-42c0-8041-2bb16a414839" providerId="ADAL" clId="{E88466E7-2243-47F6-9EAE-9BF9DD0649AD}" dt="2024-04-04T18:21:42.841" v="22069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E88466E7-2243-47F6-9EAE-9BF9DD0649AD}" dt="2024-04-04T18:21:42.841" v="22070"/>
          <ac:spMkLst>
            <pc:docMk/>
            <pc:sldMk cId="622078465" sldId="269"/>
            <ac:spMk id="38" creationId="{81A34C8B-3AB7-1E3C-EABE-00492913B3D2}"/>
          </ac:spMkLst>
        </pc:spChg>
        <pc:spChg chg="mod">
          <ac:chgData name="Joelle Brehm" userId="a518f54c-6985-42c0-8041-2bb16a414839" providerId="ADAL" clId="{E88466E7-2243-47F6-9EAE-9BF9DD0649AD}" dt="2024-04-04T18:21:42.841" v="22071"/>
          <ac:spMkLst>
            <pc:docMk/>
            <pc:sldMk cId="622078465" sldId="269"/>
            <ac:spMk id="40" creationId="{88D90EFE-E362-B516-8CB5-42E8A0F19B96}"/>
          </ac:spMkLst>
        </pc:spChg>
        <pc:spChg chg="add mod replST">
          <ac:chgData name="Joelle Brehm" userId="a518f54c-6985-42c0-8041-2bb16a414839" providerId="ADAL" clId="{E88466E7-2243-47F6-9EAE-9BF9DD0649AD}" dt="2024-04-04T18:21:42.846" v="22077"/>
          <ac:spMkLst>
            <pc:docMk/>
            <pc:sldMk cId="622078465" sldId="269"/>
            <ac:spMk id="41" creationId="{A6DD1E2D-9B30-A874-738F-04389CA07150}"/>
          </ac:spMkLst>
        </pc:spChg>
        <pc:spChg chg="mod">
          <ac:chgData name="Joelle Brehm" userId="a518f54c-6985-42c0-8041-2bb16a414839" providerId="ADAL" clId="{E88466E7-2243-47F6-9EAE-9BF9DD0649AD}" dt="2024-04-04T18:21:42.844" v="22073"/>
          <ac:spMkLst>
            <pc:docMk/>
            <pc:sldMk cId="622078465" sldId="269"/>
            <ac:spMk id="42" creationId="{D1BED0AC-AAFB-7B18-5C9F-F7242C07E3F7}"/>
          </ac:spMkLst>
        </pc:spChg>
        <pc:spChg chg="add del mod modVis">
          <ac:chgData name="Joelle Brehm" userId="a518f54c-6985-42c0-8041-2bb16a414839" providerId="ADAL" clId="{E88466E7-2243-47F6-9EAE-9BF9DD0649AD}" dt="2024-04-04T18:21:34.678" v="21591"/>
          <ac:spMkLst>
            <pc:docMk/>
            <pc:sldMk cId="622078465" sldId="269"/>
            <ac:spMk id="43" creationId="{B5E897BF-352A-4A11-616E-BF154965D624}"/>
          </ac:spMkLst>
        </pc:spChg>
        <pc:spChg chg="mod">
          <ac:chgData name="Joelle Brehm" userId="a518f54c-6985-42c0-8041-2bb16a414839" providerId="ADAL" clId="{E88466E7-2243-47F6-9EAE-9BF9DD0649AD}" dt="2024-04-04T18:21:42.844" v="22074"/>
          <ac:spMkLst>
            <pc:docMk/>
            <pc:sldMk cId="622078465" sldId="269"/>
            <ac:spMk id="44" creationId="{7CF7601D-52B5-FA09-CF16-65EB783A2223}"/>
          </ac:spMkLst>
        </pc:spChg>
        <pc:spChg chg="mod">
          <ac:chgData name="Joelle Brehm" userId="a518f54c-6985-42c0-8041-2bb16a414839" providerId="ADAL" clId="{E88466E7-2243-47F6-9EAE-9BF9DD0649AD}" dt="2024-04-04T18:21:42.844" v="22075"/>
          <ac:spMkLst>
            <pc:docMk/>
            <pc:sldMk cId="622078465" sldId="269"/>
            <ac:spMk id="45" creationId="{EB662A17-D4B7-1A35-9E98-701F790A1C6F}"/>
          </ac:spMkLst>
        </pc:spChg>
        <pc:spChg chg="add del mod modVis">
          <ac:chgData name="Joelle Brehm" userId="a518f54c-6985-42c0-8041-2bb16a414839" providerId="ADAL" clId="{E88466E7-2243-47F6-9EAE-9BF9DD0649AD}" dt="2024-04-04T18:21:36.450" v="21731"/>
          <ac:spMkLst>
            <pc:docMk/>
            <pc:sldMk cId="622078465" sldId="269"/>
            <ac:spMk id="48" creationId="{1F31FE5C-77F9-1954-C06F-CAD1F8081234}"/>
          </ac:spMkLst>
        </pc:spChg>
        <pc:spChg chg="mod">
          <ac:chgData name="Joelle Brehm" userId="a518f54c-6985-42c0-8041-2bb16a414839" providerId="ADAL" clId="{E88466E7-2243-47F6-9EAE-9BF9DD0649AD}" dt="2024-04-04T18:21:42.846" v="22096"/>
          <ac:spMkLst>
            <pc:docMk/>
            <pc:sldMk cId="622078465" sldId="269"/>
            <ac:spMk id="50" creationId="{69BAD6A3-FF64-4C04-1D02-164463F908A1}"/>
          </ac:spMkLst>
        </pc:spChg>
        <pc:spChg chg="add del mod modVis">
          <ac:chgData name="Joelle Brehm" userId="a518f54c-6985-42c0-8041-2bb16a414839" providerId="ADAL" clId="{E88466E7-2243-47F6-9EAE-9BF9DD0649AD}" dt="2024-04-04T18:21:38.637" v="21913"/>
          <ac:spMkLst>
            <pc:docMk/>
            <pc:sldMk cId="622078465" sldId="269"/>
            <ac:spMk id="51" creationId="{C8AB47A7-3F87-2B88-D0A3-6228A3423EAA}"/>
          </ac:spMkLst>
        </pc:spChg>
        <pc:spChg chg="add del mod modVis">
          <ac:chgData name="Joelle Brehm" userId="a518f54c-6985-42c0-8041-2bb16a414839" providerId="ADAL" clId="{E88466E7-2243-47F6-9EAE-9BF9DD0649AD}" dt="2024-04-04T18:21:42.846" v="22106"/>
          <ac:spMkLst>
            <pc:docMk/>
            <pc:sldMk cId="622078465" sldId="269"/>
            <ac:spMk id="53" creationId="{428C558A-7DC5-CE06-D8A9-85E508EC06B5}"/>
          </ac:spMkLst>
        </pc:spChg>
        <pc:spChg chg="mod ord">
          <ac:chgData name="Joelle Brehm" userId="a518f54c-6985-42c0-8041-2bb16a414839" providerId="ADAL" clId="{E88466E7-2243-47F6-9EAE-9BF9DD0649AD}" dt="2024-04-04T18:21:42.846" v="22100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E88466E7-2243-47F6-9EAE-9BF9DD0649AD}" dt="2024-04-04T18:21:42.846" v="22079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18:21:42.846" v="22081"/>
          <ac:spMkLst>
            <pc:docMk/>
            <pc:sldMk cId="622078465" sldId="269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18:21:42.846" v="22083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18:21:42.846" v="22085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18:21:42.846" v="22087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18:21:42.846" v="22089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18:21:42.846" v="22092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21:42.846" v="22093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8:21:42.846" v="22094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18:21:42.846" v="22095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18:21:42.868" v="22108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21:42.780" v="22027"/>
          <ac:graphicFrameMkLst>
            <pc:docMk/>
            <pc:sldMk cId="622078465" sldId="269"/>
            <ac:graphicFrameMk id="9" creationId="{5B4755A9-E1F3-5A89-E6EC-5DC1BE4C2AB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1:42.828" v="22041"/>
          <ac:graphicFrameMkLst>
            <pc:docMk/>
            <pc:sldMk cId="622078465" sldId="269"/>
            <ac:graphicFrameMk id="31" creationId="{BF14FDBC-02C6-7A3D-3FD1-D0CE48C1C643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21:36.389" v="21649"/>
          <ac:graphicFrameMkLst>
            <pc:docMk/>
            <pc:sldMk cId="622078465" sldId="269"/>
            <ac:graphicFrameMk id="47" creationId="{E46DB38A-40F6-1351-7239-26A387DB09C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21:38.590" v="21834"/>
          <ac:graphicFrameMkLst>
            <pc:docMk/>
            <pc:sldMk cId="622078465" sldId="269"/>
            <ac:graphicFrameMk id="49" creationId="{35672AA0-EAF8-7F0B-C3B9-0CC971851F8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1:42.841" v="22065"/>
          <ac:graphicFrameMkLst>
            <pc:docMk/>
            <pc:sldMk cId="622078465" sldId="269"/>
            <ac:graphicFrameMk id="52" creationId="{BB43313D-1237-65F1-578E-97D4F93BA44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1:42.846" v="22091"/>
          <ac:graphicFrameMkLst>
            <pc:docMk/>
            <pc:sldMk cId="622078465" sldId="269"/>
            <ac:graphicFrameMk id="54" creationId="{D692E3EB-9A95-DB4A-4911-F90B3FE4B53E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21:34.613" v="21501"/>
          <ac:graphicFrameMkLst>
            <pc:docMk/>
            <pc:sldMk cId="622078465" sldId="269"/>
            <ac:graphicFrameMk id="57" creationId="{CD6AB8CE-0E82-AB1D-0E41-20A2FB098E35}"/>
          </ac:graphicFrameMkLst>
        </pc:graphicFrameChg>
        <pc:graphicFrameChg chg="del">
          <ac:chgData name="Joelle Brehm" userId="a518f54c-6985-42c0-8041-2bb16a414839" providerId="ADAL" clId="{E88466E7-2243-47F6-9EAE-9BF9DD0649AD}" dt="2024-04-04T18:20:45.734" v="21039"/>
          <ac:graphicFrameMkLst>
            <pc:docMk/>
            <pc:sldMk cId="622078465" sldId="269"/>
            <ac:graphicFrameMk id="60" creationId="{F60AFDB3-446D-3C0A-079D-5B8D9C866054}"/>
          </ac:graphicFrameMkLst>
        </pc:graphicFrameChg>
        <pc:picChg chg="del mod ord">
          <ac:chgData name="Joelle Brehm" userId="a518f54c-6985-42c0-8041-2bb16a414839" providerId="ADAL" clId="{E88466E7-2243-47F6-9EAE-9BF9DD0649AD}" dt="2024-04-04T18:21:22.762" v="21212" actId="478"/>
          <ac:picMkLst>
            <pc:docMk/>
            <pc:sldMk cId="622078465" sldId="269"/>
            <ac:picMk id="2" creationId="{D15BC4B8-D2CD-9C4E-29F5-888E3D3580A2}"/>
          </ac:picMkLst>
        </pc:picChg>
        <pc:picChg chg="add del mod ord">
          <ac:chgData name="Joelle Brehm" userId="a518f54c-6985-42c0-8041-2bb16a414839" providerId="ADAL" clId="{E88466E7-2243-47F6-9EAE-9BF9DD0649AD}" dt="2024-04-04T18:21:42.825" v="22035"/>
          <ac:picMkLst>
            <pc:docMk/>
            <pc:sldMk cId="622078465" sldId="269"/>
            <ac:picMk id="39" creationId="{7F3B722D-F2FF-77B9-B97C-B82E7666AB7D}"/>
          </ac:picMkLst>
        </pc:picChg>
        <pc:picChg chg="mod ord">
          <ac:chgData name="Joelle Brehm" userId="a518f54c-6985-42c0-8041-2bb16a414839" providerId="ADAL" clId="{E88466E7-2243-47F6-9EAE-9BF9DD0649AD}" dt="2024-04-04T18:21:42.846" v="22098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18:21:42.827" v="22039"/>
          <ac:cxnSpMkLst>
            <pc:docMk/>
            <pc:sldMk cId="622078465" sldId="269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E88466E7-2243-47F6-9EAE-9BF9DD0649AD}" dt="2024-04-04T18:21:38.520" v="21735"/>
          <ac:cxnSpMkLst>
            <pc:docMk/>
            <pc:sldMk cId="622078465" sldId="269"/>
            <ac:cxnSpMk id="46" creationId="{E8A73A96-34C8-2025-553B-A2802F0782E1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15:02.187" v="42942"/>
        <pc:sldMkLst>
          <pc:docMk/>
          <pc:sldMk cId="1002023985" sldId="270"/>
        </pc:sldMkLst>
        <pc:spChg chg="mod ord">
          <ac:chgData name="Joelle Brehm" userId="a518f54c-6985-42c0-8041-2bb16a414839" providerId="ADAL" clId="{E88466E7-2243-47F6-9EAE-9BF9DD0649AD}" dt="2024-04-04T21:15:02.171" v="42936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E88466E7-2243-47F6-9EAE-9BF9DD0649AD}" dt="2024-04-04T21:13:53.480" v="41084" actId="478"/>
          <ac:spMkLst>
            <pc:docMk/>
            <pc:sldMk cId="1002023985" sldId="270"/>
            <ac:spMk id="3" creationId="{5536C696-FCCF-3692-1849-BE0B319548BA}"/>
          </ac:spMkLst>
        </pc:spChg>
        <pc:spChg chg="add del mod modVis">
          <ac:chgData name="Joelle Brehm" userId="a518f54c-6985-42c0-8041-2bb16a414839" providerId="ADAL" clId="{E88466E7-2243-47F6-9EAE-9BF9DD0649AD}" dt="2024-04-04T21:13:59.004" v="41316"/>
          <ac:spMkLst>
            <pc:docMk/>
            <pc:sldMk cId="1002023985" sldId="270"/>
            <ac:spMk id="5" creationId="{A8A0C179-1A51-1051-3F82-1855BBCC6C7E}"/>
          </ac:spMkLst>
        </pc:spChg>
        <pc:spChg chg="mod ord">
          <ac:chgData name="Joelle Brehm" userId="a518f54c-6985-42c0-8041-2bb16a414839" providerId="ADAL" clId="{E88466E7-2243-47F6-9EAE-9BF9DD0649AD}" dt="2024-04-04T21:15:02.139" v="42848"/>
          <ac:spMkLst>
            <pc:docMk/>
            <pc:sldMk cId="1002023985" sldId="270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15:02.147" v="42859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15:02.146" v="42855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15:02.146" v="42856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15:02.145" v="42853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15:02.145" v="42854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15:02.146" v="42857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15:02.147" v="42858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15:02.148" v="42860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15:02.148" v="42861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15:02.148" v="42862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15:02.149" v="42863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15:02.149" v="42864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15:02.150" v="42866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15:02.151" v="42869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15:02.151" v="42871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15:02.151" v="42870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15:02.152" v="42874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15:02.152" v="42875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15:02.152" v="42873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15:02.154" v="42877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1:15:02.163" v="42908"/>
          <ac:spMkLst>
            <pc:docMk/>
            <pc:sldMk cId="1002023985" sldId="270"/>
            <ac:spMk id="31" creationId="{6BA9EDD4-290C-F877-1100-52D636DA2E72}"/>
          </ac:spMkLst>
        </pc:spChg>
        <pc:spChg chg="mod">
          <ac:chgData name="Joelle Brehm" userId="a518f54c-6985-42c0-8041-2bb16a414839" providerId="ADAL" clId="{E88466E7-2243-47F6-9EAE-9BF9DD0649AD}" dt="2024-04-04T21:15:02.161" v="42900"/>
          <ac:spMkLst>
            <pc:docMk/>
            <pc:sldMk cId="1002023985" sldId="270"/>
            <ac:spMk id="32" creationId="{08AA1604-C221-6E9B-740F-41449B8DB0E9}"/>
          </ac:spMkLst>
        </pc:spChg>
        <pc:spChg chg="add del mod modVis">
          <ac:chgData name="Joelle Brehm" userId="a518f54c-6985-42c0-8041-2bb16a414839" providerId="ADAL" clId="{E88466E7-2243-47F6-9EAE-9BF9DD0649AD}" dt="2024-04-04T21:14:00.336" v="41465"/>
          <ac:spMkLst>
            <pc:docMk/>
            <pc:sldMk cId="1002023985" sldId="270"/>
            <ac:spMk id="33" creationId="{8714E8B2-D260-F39E-55CE-BF50501075DB}"/>
          </ac:spMkLst>
        </pc:spChg>
        <pc:spChg chg="mod">
          <ac:chgData name="Joelle Brehm" userId="a518f54c-6985-42c0-8041-2bb16a414839" providerId="ADAL" clId="{E88466E7-2243-47F6-9EAE-9BF9DD0649AD}" dt="2024-04-04T21:15:02.163" v="42907"/>
          <ac:spMkLst>
            <pc:docMk/>
            <pc:sldMk cId="1002023985" sldId="270"/>
            <ac:spMk id="35" creationId="{07B07046-5F63-C964-71CA-C1091F9220BF}"/>
          </ac:spMkLst>
        </pc:spChg>
        <pc:spChg chg="add del mod modVis">
          <ac:chgData name="Joelle Brehm" userId="a518f54c-6985-42c0-8041-2bb16a414839" providerId="ADAL" clId="{E88466E7-2243-47F6-9EAE-9BF9DD0649AD}" dt="2024-04-04T21:14:05.741" v="41614"/>
          <ac:spMkLst>
            <pc:docMk/>
            <pc:sldMk cId="1002023985" sldId="270"/>
            <ac:spMk id="36" creationId="{8F339D44-3CBC-AF93-AAA3-2ED7C5502549}"/>
          </ac:spMkLst>
        </pc:spChg>
        <pc:spChg chg="mod ord">
          <ac:chgData name="Joelle Brehm" userId="a518f54c-6985-42c0-8041-2bb16a414839" providerId="ADAL" clId="{E88466E7-2243-47F6-9EAE-9BF9DD0649AD}" dt="2024-04-04T21:15:02.150" v="42868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E88466E7-2243-47F6-9EAE-9BF9DD0649AD}" dt="2024-04-04T21:15:02.163" v="42906"/>
          <ac:spMkLst>
            <pc:docMk/>
            <pc:sldMk cId="1002023985" sldId="270"/>
            <ac:spMk id="38" creationId="{BB0D67DD-2C63-A046-707C-1F332B15DC1E}"/>
          </ac:spMkLst>
        </pc:spChg>
        <pc:spChg chg="mod">
          <ac:chgData name="Joelle Brehm" userId="a518f54c-6985-42c0-8041-2bb16a414839" providerId="ADAL" clId="{E88466E7-2243-47F6-9EAE-9BF9DD0649AD}" dt="2024-04-04T21:15:02.163" v="42905"/>
          <ac:spMkLst>
            <pc:docMk/>
            <pc:sldMk cId="1002023985" sldId="270"/>
            <ac:spMk id="39" creationId="{8E63D2DC-8A78-99F3-5681-8D0584E6C5DD}"/>
          </ac:spMkLst>
        </pc:spChg>
        <pc:spChg chg="add del mod modVis">
          <ac:chgData name="Joelle Brehm" userId="a518f54c-6985-42c0-8041-2bb16a414839" providerId="ADAL" clId="{E88466E7-2243-47F6-9EAE-9BF9DD0649AD}" dt="2024-04-04T21:14:47.292" v="41889"/>
          <ac:spMkLst>
            <pc:docMk/>
            <pc:sldMk cId="1002023985" sldId="270"/>
            <ac:spMk id="42" creationId="{293DF823-E30B-F175-0BC2-5C6213D7ACD2}"/>
          </ac:spMkLst>
        </pc:spChg>
        <pc:spChg chg="add mod replST">
          <ac:chgData name="Joelle Brehm" userId="a518f54c-6985-42c0-8041-2bb16a414839" providerId="ADAL" clId="{E88466E7-2243-47F6-9EAE-9BF9DD0649AD}" dt="2024-04-04T21:15:02.164" v="42909"/>
          <ac:spMkLst>
            <pc:docMk/>
            <pc:sldMk cId="1002023985" sldId="270"/>
            <ac:spMk id="44" creationId="{19294354-B8E6-952B-93F0-08CF74B5AE59}"/>
          </ac:spMkLst>
        </pc:spChg>
        <pc:spChg chg="mod">
          <ac:chgData name="Joelle Brehm" userId="a518f54c-6985-42c0-8041-2bb16a414839" providerId="ADAL" clId="{E88466E7-2243-47F6-9EAE-9BF9DD0649AD}" dt="2024-04-04T21:15:02.159" v="42893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E88466E7-2243-47F6-9EAE-9BF9DD0649AD}" dt="2024-04-04T21:15:02.159" v="42895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E88466E7-2243-47F6-9EAE-9BF9DD0649AD}" dt="2024-04-04T21:15:02.158" v="42892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E88466E7-2243-47F6-9EAE-9BF9DD0649AD}" dt="2024-04-04T21:15:02.159" v="42894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E88466E7-2243-47F6-9EAE-9BF9DD0649AD}" dt="2024-04-04T21:15:02.157" v="42889"/>
          <ac:spMkLst>
            <pc:docMk/>
            <pc:sldMk cId="1002023985" sldId="270"/>
            <ac:spMk id="50" creationId="{3E1A03AC-31E8-687C-FBE0-7C7D66E5248D}"/>
          </ac:spMkLst>
        </pc:spChg>
        <pc:spChg chg="del mod">
          <ac:chgData name="Joelle Brehm" userId="a518f54c-6985-42c0-8041-2bb16a414839" providerId="ADAL" clId="{E88466E7-2243-47F6-9EAE-9BF9DD0649AD}" dt="2024-04-04T21:14:58.885" v="42500"/>
          <ac:spMkLst>
            <pc:docMk/>
            <pc:sldMk cId="1002023985" sldId="270"/>
            <ac:spMk id="51" creationId="{9459FE82-DBC5-AAD1-46F4-768D76416103}"/>
          </ac:spMkLst>
        </pc:spChg>
        <pc:spChg chg="mod ord">
          <ac:chgData name="Joelle Brehm" userId="a518f54c-6985-42c0-8041-2bb16a414839" providerId="ADAL" clId="{E88466E7-2243-47F6-9EAE-9BF9DD0649AD}" dt="2024-04-04T21:15:02.157" v="42888"/>
          <ac:spMkLst>
            <pc:docMk/>
            <pc:sldMk cId="1002023985" sldId="270"/>
            <ac:spMk id="52" creationId="{CDAA8CD8-B796-5FFD-8D34-2773F7AB7F1D}"/>
          </ac:spMkLst>
        </pc:spChg>
        <pc:spChg chg="add mod replST">
          <ac:chgData name="Joelle Brehm" userId="a518f54c-6985-42c0-8041-2bb16a414839" providerId="ADAL" clId="{E88466E7-2243-47F6-9EAE-9BF9DD0649AD}" dt="2024-04-04T21:15:02.164" v="42910"/>
          <ac:spMkLst>
            <pc:docMk/>
            <pc:sldMk cId="1002023985" sldId="270"/>
            <ac:spMk id="53" creationId="{1BCBF079-994B-4676-4133-C0D4744DBC65}"/>
          </ac:spMkLst>
        </pc:spChg>
        <pc:spChg chg="mod">
          <ac:chgData name="Joelle Brehm" userId="a518f54c-6985-42c0-8041-2bb16a414839" providerId="ADAL" clId="{E88466E7-2243-47F6-9EAE-9BF9DD0649AD}" dt="2024-04-04T21:15:02.160" v="42898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E88466E7-2243-47F6-9EAE-9BF9DD0649AD}" dt="2024-04-04T21:15:02.159" v="42896"/>
          <ac:spMkLst>
            <pc:docMk/>
            <pc:sldMk cId="1002023985" sldId="270"/>
            <ac:spMk id="55" creationId="{E5519A9A-9BE6-DCEA-87DD-CC3F6748DE83}"/>
          </ac:spMkLst>
        </pc:spChg>
        <pc:spChg chg="del mod ord">
          <ac:chgData name="Joelle Brehm" userId="a518f54c-6985-42c0-8041-2bb16a414839" providerId="ADAL" clId="{E88466E7-2243-47F6-9EAE-9BF9DD0649AD}" dt="2024-04-04T21:14:58.885" v="42499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E88466E7-2243-47F6-9EAE-9BF9DD0649AD}" dt="2024-04-04T21:15:02.158" v="42891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E88466E7-2243-47F6-9EAE-9BF9DD0649AD}" dt="2024-04-04T21:15:02.158" v="42890"/>
          <ac:spMkLst>
            <pc:docMk/>
            <pc:sldMk cId="1002023985" sldId="270"/>
            <ac:spMk id="59" creationId="{15DED5C0-8834-6FCE-242E-76495D4381EE}"/>
          </ac:spMkLst>
        </pc:spChg>
        <pc:spChg chg="mod">
          <ac:chgData name="Joelle Brehm" userId="a518f54c-6985-42c0-8041-2bb16a414839" providerId="ADAL" clId="{E88466E7-2243-47F6-9EAE-9BF9DD0649AD}" dt="2024-04-04T21:15:02.164" v="42911"/>
          <ac:spMkLst>
            <pc:docMk/>
            <pc:sldMk cId="1002023985" sldId="270"/>
            <ac:spMk id="60" creationId="{0C74CE89-8513-C13D-30DC-F81C311B717E}"/>
          </ac:spMkLst>
        </pc:spChg>
        <pc:spChg chg="mod">
          <ac:chgData name="Joelle Brehm" userId="a518f54c-6985-42c0-8041-2bb16a414839" providerId="ADAL" clId="{E88466E7-2243-47F6-9EAE-9BF9DD0649AD}" dt="2024-04-04T21:15:02.157" v="42887"/>
          <ac:spMkLst>
            <pc:docMk/>
            <pc:sldMk cId="1002023985" sldId="270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1:14:54.802" v="42285"/>
          <ac:spMkLst>
            <pc:docMk/>
            <pc:sldMk cId="1002023985" sldId="270"/>
            <ac:spMk id="63" creationId="{37696515-0471-82AA-37AD-43FA8AEBF42C}"/>
          </ac:spMkLst>
        </pc:spChg>
        <pc:spChg chg="mod">
          <ac:chgData name="Joelle Brehm" userId="a518f54c-6985-42c0-8041-2bb16a414839" providerId="ADAL" clId="{E88466E7-2243-47F6-9EAE-9BF9DD0649AD}" dt="2024-04-04T21:15:02.160" v="42897"/>
          <ac:spMkLst>
            <pc:docMk/>
            <pc:sldMk cId="1002023985" sldId="270"/>
            <ac:spMk id="64" creationId="{41EAF63A-0EB0-1655-3104-FBA53C392892}"/>
          </ac:spMkLst>
        </pc:spChg>
        <pc:spChg chg="add del mod modVis">
          <ac:chgData name="Joelle Brehm" userId="a518f54c-6985-42c0-8041-2bb16a414839" providerId="ADAL" clId="{E88466E7-2243-47F6-9EAE-9BF9DD0649AD}" dt="2024-04-04T21:14:56.757" v="42495"/>
          <ac:spMkLst>
            <pc:docMk/>
            <pc:sldMk cId="1002023985" sldId="270"/>
            <ac:spMk id="66" creationId="{4F8D3AA5-361B-6437-AD63-F9C1E2D9A2B7}"/>
          </ac:spMkLst>
        </pc:spChg>
        <pc:spChg chg="mod">
          <ac:chgData name="Joelle Brehm" userId="a518f54c-6985-42c0-8041-2bb16a414839" providerId="ADAL" clId="{E88466E7-2243-47F6-9EAE-9BF9DD0649AD}" dt="2024-04-04T21:15:02.155" v="42880"/>
          <ac:spMkLst>
            <pc:docMk/>
            <pc:sldMk cId="1002023985" sldId="270"/>
            <ac:spMk id="68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55" v="42881"/>
          <ac:spMkLst>
            <pc:docMk/>
            <pc:sldMk cId="1002023985" sldId="270"/>
            <ac:spMk id="69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55" v="42882"/>
          <ac:spMkLst>
            <pc:docMk/>
            <pc:sldMk cId="1002023985" sldId="270"/>
            <ac:spMk id="7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56" v="42883"/>
          <ac:spMkLst>
            <pc:docMk/>
            <pc:sldMk cId="1002023985" sldId="270"/>
            <ac:spMk id="71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56" v="42885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56" v="42886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52" v="42872"/>
          <ac:spMkLst>
            <pc:docMk/>
            <pc:sldMk cId="1002023985" sldId="270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E88466E7-2243-47F6-9EAE-9BF9DD0649AD}" dt="2024-04-04T21:14:59.153" v="42748"/>
          <ac:spMkLst>
            <pc:docMk/>
            <pc:sldMk cId="1002023985" sldId="270"/>
            <ac:spMk id="75" creationId="{C8850A14-8AE8-3CDA-91E3-0AFF9704D99D}"/>
          </ac:spMkLst>
        </pc:spChg>
        <pc:spChg chg="add del mod modVis">
          <ac:chgData name="Joelle Brehm" userId="a518f54c-6985-42c0-8041-2bb16a414839" providerId="ADAL" clId="{E88466E7-2243-47F6-9EAE-9BF9DD0649AD}" dt="2024-04-04T21:15:02.172" v="42940"/>
          <ac:spMkLst>
            <pc:docMk/>
            <pc:sldMk cId="1002023985" sldId="270"/>
            <ac:spMk id="77" creationId="{71912F88-42AD-738E-E892-0B07EF470CAB}"/>
          </ac:spMkLst>
        </pc:spChg>
        <pc:spChg chg="mod ord">
          <ac:chgData name="Joelle Brehm" userId="a518f54c-6985-42c0-8041-2bb16a414839" providerId="ADAL" clId="{E88466E7-2243-47F6-9EAE-9BF9DD0649AD}" dt="2024-04-04T21:15:02.165" v="42913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15:02.165" v="42915"/>
          <ac:spMkLst>
            <pc:docMk/>
            <pc:sldMk cId="1002023985" sldId="270"/>
            <ac:spMk id="79" creationId="{F1476AC4-694B-4D83-BFD8-8DCAA4BB1923}"/>
          </ac:spMkLst>
        </pc:spChg>
        <pc:spChg chg="mod">
          <ac:chgData name="Joelle Brehm" userId="a518f54c-6985-42c0-8041-2bb16a414839" providerId="ADAL" clId="{E88466E7-2243-47F6-9EAE-9BF9DD0649AD}" dt="2024-04-04T21:15:02.162" v="42902"/>
          <ac:spMkLst>
            <pc:docMk/>
            <pc:sldMk cId="1002023985" sldId="270"/>
            <ac:spMk id="93" creationId="{B1BBD422-A0F8-8CC0-B23C-8A9CB3A1C6D6}"/>
          </ac:spMkLst>
        </pc:spChg>
        <pc:spChg chg="mod">
          <ac:chgData name="Joelle Brehm" userId="a518f54c-6985-42c0-8041-2bb16a414839" providerId="ADAL" clId="{E88466E7-2243-47F6-9EAE-9BF9DD0649AD}" dt="2024-04-04T21:15:02.162" v="42904"/>
          <ac:spMkLst>
            <pc:docMk/>
            <pc:sldMk cId="1002023985" sldId="270"/>
            <ac:spMk id="94" creationId="{51EBDFDB-5209-9250-277A-278A1E76D5CD}"/>
          </ac:spMkLst>
        </pc:spChg>
        <pc:spChg chg="mod">
          <ac:chgData name="Joelle Brehm" userId="a518f54c-6985-42c0-8041-2bb16a414839" providerId="ADAL" clId="{E88466E7-2243-47F6-9EAE-9BF9DD0649AD}" dt="2024-04-04T21:15:02.162" v="42903"/>
          <ac:spMkLst>
            <pc:docMk/>
            <pc:sldMk cId="1002023985" sldId="270"/>
            <ac:spMk id="97" creationId="{C2B1B1FC-2665-491D-9D8C-8903880B36C8}"/>
          </ac:spMkLst>
        </pc:spChg>
        <pc:spChg chg="mod ord">
          <ac:chgData name="Joelle Brehm" userId="a518f54c-6985-42c0-8041-2bb16a414839" providerId="ADAL" clId="{E88466E7-2243-47F6-9EAE-9BF9DD0649AD}" dt="2024-04-04T21:15:02.166" v="42917"/>
          <ac:spMkLst>
            <pc:docMk/>
            <pc:sldMk cId="1002023985" sldId="270"/>
            <ac:spMk id="100" creationId="{8B5667AB-609C-4AEA-83B3-24E395C8F420}"/>
          </ac:spMkLst>
        </pc:spChg>
        <pc:spChg chg="mod">
          <ac:chgData name="Joelle Brehm" userId="a518f54c-6985-42c0-8041-2bb16a414839" providerId="ADAL" clId="{E88466E7-2243-47F6-9EAE-9BF9DD0649AD}" dt="2024-04-04T21:15:02.162" v="42901"/>
          <ac:spMkLst>
            <pc:docMk/>
            <pc:sldMk cId="1002023985" sldId="270"/>
            <ac:spMk id="103" creationId="{7690AA4A-71C2-2257-266C-E805FC265889}"/>
          </ac:spMkLst>
        </pc:spChg>
        <pc:spChg chg="mod ord">
          <ac:chgData name="Joelle Brehm" userId="a518f54c-6985-42c0-8041-2bb16a414839" providerId="ADAL" clId="{E88466E7-2243-47F6-9EAE-9BF9DD0649AD}" dt="2024-04-04T21:15:02.166" v="42919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15:02.167" v="42921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15:02.167" v="42923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15:02.161" v="42899"/>
          <ac:spMkLst>
            <pc:docMk/>
            <pc:sldMk cId="1002023985" sldId="270"/>
            <ac:spMk id="111" creationId="{DD839E76-A267-BB7D-5F18-E1B3B8823A3B}"/>
          </ac:spMkLst>
        </pc:spChg>
        <pc:spChg chg="mod">
          <ac:chgData name="Joelle Brehm" userId="a518f54c-6985-42c0-8041-2bb16a414839" providerId="ADAL" clId="{E88466E7-2243-47F6-9EAE-9BF9DD0649AD}" dt="2024-04-04T21:15:02.168" v="42926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68" v="42927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69" v="42928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5:02.169" v="42929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15:02.169" v="42930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E88466E7-2243-47F6-9EAE-9BF9DD0649AD}" dt="2024-04-04T21:15:02.156" v="42884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E88466E7-2243-47F6-9EAE-9BF9DD0649AD}" dt="2024-04-04T21:15:02.187" v="42942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1:13:58.935" v="41209"/>
          <ac:graphicFrameMkLst>
            <pc:docMk/>
            <pc:sldMk cId="1002023985" sldId="270"/>
            <ac:graphicFrameMk id="8" creationId="{667EDBE8-0B00-1A6B-406E-787F678828E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4:00.277" v="41362"/>
          <ac:graphicFrameMkLst>
            <pc:docMk/>
            <pc:sldMk cId="1002023985" sldId="270"/>
            <ac:graphicFrameMk id="10" creationId="{7D5C58E8-20F1-F74D-207F-E5CE6F9A5A3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4:05.670" v="41511"/>
          <ac:graphicFrameMkLst>
            <pc:docMk/>
            <pc:sldMk cId="1002023985" sldId="270"/>
            <ac:graphicFrameMk id="34" creationId="{AE2A427A-EC58-44CE-4DDC-2938743E35D4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5:02.144" v="42852"/>
          <ac:graphicFrameMkLst>
            <pc:docMk/>
            <pc:sldMk cId="1002023985" sldId="270"/>
            <ac:graphicFrameMk id="40" creationId="{9804168A-E4B1-A287-19E4-8815EAC5EF8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5:02.168" v="42925"/>
          <ac:graphicFrameMkLst>
            <pc:docMk/>
            <pc:sldMk cId="1002023985" sldId="270"/>
            <ac:graphicFrameMk id="43" creationId="{C0A98379-91EA-E729-5AE5-9FA164CDAA8B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4:54.665" v="42180"/>
          <ac:graphicFrameMkLst>
            <pc:docMk/>
            <pc:sldMk cId="1002023985" sldId="270"/>
            <ac:graphicFrameMk id="45" creationId="{4AE975D7-92AC-5475-967C-FE61B47526C4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4:47.234" v="41786"/>
          <ac:graphicFrameMkLst>
            <pc:docMk/>
            <pc:sldMk cId="1002023985" sldId="270"/>
            <ac:graphicFrameMk id="61" creationId="{7C7C7AA1-7913-5B85-EBE1-1CA081CAA7A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4:56.606" v="42390"/>
          <ac:graphicFrameMkLst>
            <pc:docMk/>
            <pc:sldMk cId="1002023985" sldId="270"/>
            <ac:graphicFrameMk id="65" creationId="{B63C25B4-061B-CAAF-64A6-DCC23D2A277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4:59.065" v="42645"/>
          <ac:graphicFrameMkLst>
            <pc:docMk/>
            <pc:sldMk cId="1002023985" sldId="270"/>
            <ac:graphicFrameMk id="67" creationId="{ED6AC887-74EB-96F7-0487-A6EE57139B9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5:02.114" v="42838"/>
          <ac:graphicFrameMkLst>
            <pc:docMk/>
            <pc:sldMk cId="1002023985" sldId="270"/>
            <ac:graphicFrameMk id="76" creationId="{A0918AD1-419C-4069-E3CD-05897B32A91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5:02.154" v="42879"/>
          <ac:graphicFrameMkLst>
            <pc:docMk/>
            <pc:sldMk cId="1002023985" sldId="270"/>
            <ac:graphicFrameMk id="80" creationId="{A4FB93C2-AC76-974F-A09A-1E3D9C383EC9}"/>
          </ac:graphicFrameMkLst>
        </pc:graphicFrameChg>
        <pc:picChg chg="del mod ord">
          <ac:chgData name="Joelle Brehm" userId="a518f54c-6985-42c0-8041-2bb16a414839" providerId="ADAL" clId="{E88466E7-2243-47F6-9EAE-9BF9DD0649AD}" dt="2024-04-04T21:14:35.088" v="41724" actId="478"/>
          <ac:picMkLst>
            <pc:docMk/>
            <pc:sldMk cId="1002023985" sldId="270"/>
            <ac:picMk id="9" creationId="{D430B71A-A1BA-60BE-974C-8DB4B91B45D3}"/>
          </ac:picMkLst>
        </pc:picChg>
        <pc:picChg chg="add mod ord">
          <ac:chgData name="Joelle Brehm" userId="a518f54c-6985-42c0-8041-2bb16a414839" providerId="ADAL" clId="{E88466E7-2243-47F6-9EAE-9BF9DD0649AD}" dt="2024-04-04T21:15:02.136" v="42846"/>
          <ac:picMkLst>
            <pc:docMk/>
            <pc:sldMk cId="1002023985" sldId="270"/>
            <ac:picMk id="41" creationId="{1A25BD86-48C3-FF54-B876-584E7C9B4E06}"/>
          </ac:picMkLst>
        </pc:picChg>
        <pc:picChg chg="mod ord">
          <ac:chgData name="Joelle Brehm" userId="a518f54c-6985-42c0-8041-2bb16a414839" providerId="ADAL" clId="{E88466E7-2243-47F6-9EAE-9BF9DD0649AD}" dt="2024-04-04T21:15:02.170" v="42934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E88466E7-2243-47F6-9EAE-9BF9DD0649AD}" dt="2024-04-04T21:15:02.170" v="42932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15:02.143" v="42850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18:23:06.392" v="23298"/>
        <pc:sldMkLst>
          <pc:docMk/>
          <pc:sldMk cId="2815334483" sldId="271"/>
        </pc:sldMkLst>
        <pc:spChg chg="mod ord">
          <ac:chgData name="Joelle Brehm" userId="a518f54c-6985-42c0-8041-2bb16a414839" providerId="ADAL" clId="{E88466E7-2243-47F6-9EAE-9BF9DD0649AD}" dt="2024-04-04T18:23:06.373" v="23292"/>
          <ac:spMkLst>
            <pc:docMk/>
            <pc:sldMk cId="2815334483" sldId="271"/>
            <ac:spMk id="3" creationId="{393FCF28-B518-473D-82EF-3DE322BE0405}"/>
          </ac:spMkLst>
        </pc:spChg>
        <pc:spChg chg="add del mod">
          <ac:chgData name="Joelle Brehm" userId="a518f54c-6985-42c0-8041-2bb16a414839" providerId="ADAL" clId="{E88466E7-2243-47F6-9EAE-9BF9DD0649AD}" dt="2024-04-04T18:21:50.201" v="22109" actId="478"/>
          <ac:spMkLst>
            <pc:docMk/>
            <pc:sldMk cId="2815334483" sldId="271"/>
            <ac:spMk id="5" creationId="{F32C4A0F-F3D3-AF05-4D9A-6A34E036C051}"/>
          </ac:spMkLst>
        </pc:spChg>
        <pc:spChg chg="mod ord">
          <ac:chgData name="Joelle Brehm" userId="a518f54c-6985-42c0-8041-2bb16a414839" providerId="ADAL" clId="{E88466E7-2243-47F6-9EAE-9BF9DD0649AD}" dt="2024-04-04T18:23:06.350" v="23229"/>
          <ac:spMkLst>
            <pc:docMk/>
            <pc:sldMk cId="2815334483" sldId="271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18:22:03.784" v="22324"/>
          <ac:spMkLst>
            <pc:docMk/>
            <pc:sldMk cId="2815334483" sldId="271"/>
            <ac:spMk id="8" creationId="{6D87FCEC-D89F-748C-9AA7-9D346044C798}"/>
          </ac:spMkLst>
        </pc:spChg>
        <pc:spChg chg="mod">
          <ac:chgData name="Joelle Brehm" userId="a518f54c-6985-42c0-8041-2bb16a414839" providerId="ADAL" clId="{E88466E7-2243-47F6-9EAE-9BF9DD0649AD}" dt="2024-04-04T18:23:06.352" v="23240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18:23:06.352" v="23236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18:23:06.352" v="23237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18:23:06.352" v="23234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18:23:06.352" v="23235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18:23:06.352" v="23238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18:23:06.352" v="23239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18:23:06.352" v="23241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18:23:06.352" v="23242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18:23:06.352" v="23243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18:23:06.352" v="23244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18:23:06.355" v="23245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18:23:06.356" v="23247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18:23:06.356" v="23248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18:23:06.357" v="23250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18:23:06.356" v="23249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18:23:06.357" v="23252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18:23:06.357" v="23253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18:23:06.357" v="23251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18:23:06.359" v="23255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18:23:06.359" v="23259"/>
          <ac:spMkLst>
            <pc:docMk/>
            <pc:sldMk cId="2815334483" sldId="271"/>
            <ac:spMk id="32" creationId="{8777249A-D943-16C1-E900-269856ADE995}"/>
          </ac:spMkLst>
        </pc:spChg>
        <pc:spChg chg="add del mod modVis">
          <ac:chgData name="Joelle Brehm" userId="a518f54c-6985-42c0-8041-2bb16a414839" providerId="ADAL" clId="{E88466E7-2243-47F6-9EAE-9BF9DD0649AD}" dt="2024-04-04T18:22:54.390" v="22590"/>
          <ac:spMkLst>
            <pc:docMk/>
            <pc:sldMk cId="2815334483" sldId="271"/>
            <ac:spMk id="33" creationId="{1FDDAEA5-FD6B-CFDB-49A7-3EA36D7C09BF}"/>
          </ac:spMkLst>
        </pc:spChg>
        <pc:spChg chg="mod">
          <ac:chgData name="Joelle Brehm" userId="a518f54c-6985-42c0-8041-2bb16a414839" providerId="ADAL" clId="{E88466E7-2243-47F6-9EAE-9BF9DD0649AD}" dt="2024-04-04T18:23:06.362" v="23265"/>
          <ac:spMkLst>
            <pc:docMk/>
            <pc:sldMk cId="2815334483" sldId="271"/>
            <ac:spMk id="34" creationId="{A8CE6006-892B-02A7-FD6F-1A7CFF52A860}"/>
          </ac:spMkLst>
        </pc:spChg>
        <pc:spChg chg="mod">
          <ac:chgData name="Joelle Brehm" userId="a518f54c-6985-42c0-8041-2bb16a414839" providerId="ADAL" clId="{E88466E7-2243-47F6-9EAE-9BF9DD0649AD}" dt="2024-04-04T18:23:06.370" v="23285"/>
          <ac:spMkLst>
            <pc:docMk/>
            <pc:sldMk cId="2815334483" sldId="271"/>
            <ac:spMk id="35" creationId="{45572655-755F-8D0B-3A48-D4124A0ED0D7}"/>
          </ac:spMkLst>
        </pc:spChg>
        <pc:spChg chg="add mod replST">
          <ac:chgData name="Joelle Brehm" userId="a518f54c-6985-42c0-8041-2bb16a414839" providerId="ADAL" clId="{E88466E7-2243-47F6-9EAE-9BF9DD0649AD}" dt="2024-04-04T18:23:06.364" v="23269"/>
          <ac:spMkLst>
            <pc:docMk/>
            <pc:sldMk cId="2815334483" sldId="271"/>
            <ac:spMk id="37" creationId="{8D98996E-A89F-BC66-EE73-927CDF34A688}"/>
          </ac:spMkLst>
        </pc:spChg>
        <pc:spChg chg="mod">
          <ac:chgData name="Joelle Brehm" userId="a518f54c-6985-42c0-8041-2bb16a414839" providerId="ADAL" clId="{E88466E7-2243-47F6-9EAE-9BF9DD0649AD}" dt="2024-04-04T18:23:06.371" v="23286"/>
          <ac:spMkLst>
            <pc:docMk/>
            <pc:sldMk cId="2815334483" sldId="271"/>
            <ac:spMk id="38" creationId="{93F58660-4061-9E2B-E06A-098BB1CF0FFF}"/>
          </ac:spMkLst>
        </pc:spChg>
        <pc:spChg chg="mod">
          <ac:chgData name="Joelle Brehm" userId="a518f54c-6985-42c0-8041-2bb16a414839" providerId="ADAL" clId="{E88466E7-2243-47F6-9EAE-9BF9DD0649AD}" dt="2024-04-04T18:23:06.362" v="23264"/>
          <ac:spMkLst>
            <pc:docMk/>
            <pc:sldMk cId="2815334483" sldId="271"/>
            <ac:spMk id="39" creationId="{3FE8D96F-1EA9-E112-7607-E4758CD02F39}"/>
          </ac:spMkLst>
        </pc:spChg>
        <pc:spChg chg="add del mod modVis">
          <ac:chgData name="Joelle Brehm" userId="a518f54c-6985-42c0-8041-2bb16a414839" providerId="ADAL" clId="{E88466E7-2243-47F6-9EAE-9BF9DD0649AD}" dt="2024-04-04T18:23:02.108" v="22986"/>
          <ac:spMkLst>
            <pc:docMk/>
            <pc:sldMk cId="2815334483" sldId="271"/>
            <ac:spMk id="40" creationId="{7706C6B8-336E-EAF4-BF86-0A7B27413311}"/>
          </ac:spMkLst>
        </pc:spChg>
        <pc:spChg chg="mod">
          <ac:chgData name="Joelle Brehm" userId="a518f54c-6985-42c0-8041-2bb16a414839" providerId="ADAL" clId="{E88466E7-2243-47F6-9EAE-9BF9DD0649AD}" dt="2024-04-04T18:23:06.359" v="23260"/>
          <ac:spMkLst>
            <pc:docMk/>
            <pc:sldMk cId="2815334483" sldId="271"/>
            <ac:spMk id="41" creationId="{DC6516B3-9BBF-0226-04DF-1347B6AC9AB0}"/>
          </ac:spMkLst>
        </pc:spChg>
        <pc:spChg chg="del mod">
          <ac:chgData name="Joelle Brehm" userId="a518f54c-6985-42c0-8041-2bb16a414839" providerId="ADAL" clId="{E88466E7-2243-47F6-9EAE-9BF9DD0649AD}" dt="2024-04-04T18:23:06.233" v="23123"/>
          <ac:spMkLst>
            <pc:docMk/>
            <pc:sldMk cId="2815334483" sldId="271"/>
            <ac:spMk id="42" creationId="{6259DA9A-2854-0028-25DD-8E34BDEB2937}"/>
          </ac:spMkLst>
        </pc:spChg>
        <pc:spChg chg="mod">
          <ac:chgData name="Joelle Brehm" userId="a518f54c-6985-42c0-8041-2bb16a414839" providerId="ADAL" clId="{E88466E7-2243-47F6-9EAE-9BF9DD0649AD}" dt="2024-04-04T18:23:06.359" v="23261"/>
          <ac:spMkLst>
            <pc:docMk/>
            <pc:sldMk cId="2815334483" sldId="271"/>
            <ac:spMk id="44" creationId="{2A226A46-FF6E-9786-3934-AE547CB60305}"/>
          </ac:spMkLst>
        </pc:spChg>
        <pc:spChg chg="mod">
          <ac:chgData name="Joelle Brehm" userId="a518f54c-6985-42c0-8041-2bb16a414839" providerId="ADAL" clId="{E88466E7-2243-47F6-9EAE-9BF9DD0649AD}" dt="2024-04-04T18:23:06.362" v="23262"/>
          <ac:spMkLst>
            <pc:docMk/>
            <pc:sldMk cId="2815334483" sldId="271"/>
            <ac:spMk id="46" creationId="{930ECC5A-4534-E4CB-B946-9975134BC620}"/>
          </ac:spMkLst>
        </pc:spChg>
        <pc:spChg chg="add del mod modVis">
          <ac:chgData name="Joelle Brehm" userId="a518f54c-6985-42c0-8041-2bb16a414839" providerId="ADAL" clId="{E88466E7-2243-47F6-9EAE-9BF9DD0649AD}" dt="2024-04-04T18:23:05.166" v="23120"/>
          <ac:spMkLst>
            <pc:docMk/>
            <pc:sldMk cId="2815334483" sldId="271"/>
            <ac:spMk id="47" creationId="{60F1292F-1BFA-6F94-83D3-D89BAC9B0E21}"/>
          </ac:spMkLst>
        </pc:spChg>
        <pc:spChg chg="mod">
          <ac:chgData name="Joelle Brehm" userId="a518f54c-6985-42c0-8041-2bb16a414839" providerId="ADAL" clId="{E88466E7-2243-47F6-9EAE-9BF9DD0649AD}" dt="2024-04-04T18:23:06.359" v="23258"/>
          <ac:spMkLst>
            <pc:docMk/>
            <pc:sldMk cId="2815334483" sldId="271"/>
            <ac:spMk id="48" creationId="{E51CFCE3-4E32-6059-9327-A1EFC827F040}"/>
          </ac:spMkLst>
        </pc:spChg>
        <pc:spChg chg="mod">
          <ac:chgData name="Joelle Brehm" userId="a518f54c-6985-42c0-8041-2bb16a414839" providerId="ADAL" clId="{E88466E7-2243-47F6-9EAE-9BF9DD0649AD}" dt="2024-04-04T18:23:06.364" v="23268"/>
          <ac:spMkLst>
            <pc:docMk/>
            <pc:sldMk cId="2815334483" sldId="271"/>
            <ac:spMk id="50" creationId="{E10416A4-9A93-21B9-0943-EFAE6FB90E68}"/>
          </ac:spMkLst>
        </pc:spChg>
        <pc:spChg chg="mod">
          <ac:chgData name="Joelle Brehm" userId="a518f54c-6985-42c0-8041-2bb16a414839" providerId="ADAL" clId="{E88466E7-2243-47F6-9EAE-9BF9DD0649AD}" dt="2024-04-04T18:23:06.363" v="23266"/>
          <ac:spMkLst>
            <pc:docMk/>
            <pc:sldMk cId="2815334483" sldId="271"/>
            <ac:spMk id="51" creationId="{D8AE21DE-2650-D35B-B0CE-FC60DFB87981}"/>
          </ac:spMkLst>
        </pc:spChg>
        <pc:spChg chg="mod">
          <ac:chgData name="Joelle Brehm" userId="a518f54c-6985-42c0-8041-2bb16a414839" providerId="ADAL" clId="{E88466E7-2243-47F6-9EAE-9BF9DD0649AD}" dt="2024-04-04T18:23:06.363" v="23267"/>
          <ac:spMkLst>
            <pc:docMk/>
            <pc:sldMk cId="2815334483" sldId="271"/>
            <ac:spMk id="52" creationId="{53628FE2-0A0B-9EF5-96A1-DA716D6AD9E6}"/>
          </ac:spMkLst>
        </pc:spChg>
        <pc:spChg chg="add del mod modVis">
          <ac:chgData name="Joelle Brehm" userId="a518f54c-6985-42c0-8041-2bb16a414839" providerId="ADAL" clId="{E88466E7-2243-47F6-9EAE-9BF9DD0649AD}" dt="2024-04-04T18:23:06.375" v="23296"/>
          <ac:spMkLst>
            <pc:docMk/>
            <pc:sldMk cId="2815334483" sldId="271"/>
            <ac:spMk id="53" creationId="{2C7A224F-579E-03D7-8403-53829193AED8}"/>
          </ac:spMkLst>
        </pc:spChg>
        <pc:spChg chg="mod">
          <ac:chgData name="Joelle Brehm" userId="a518f54c-6985-42c0-8041-2bb16a414839" providerId="ADAL" clId="{E88466E7-2243-47F6-9EAE-9BF9DD0649AD}" dt="2024-04-04T18:23:06.362" v="23263"/>
          <ac:spMkLst>
            <pc:docMk/>
            <pc:sldMk cId="2815334483" sldId="271"/>
            <ac:spMk id="54" creationId="{040A7AC0-BA49-481C-2E93-53505ECC740A}"/>
          </ac:spMkLst>
        </pc:spChg>
        <pc:spChg chg="mod ord">
          <ac:chgData name="Joelle Brehm" userId="a518f54c-6985-42c0-8041-2bb16a414839" providerId="ADAL" clId="{E88466E7-2243-47F6-9EAE-9BF9DD0649AD}" dt="2024-04-04T18:23:06.372" v="23290"/>
          <ac:spMkLst>
            <pc:docMk/>
            <pc:sldMk cId="2815334483" sldId="271"/>
            <ac:spMk id="58" creationId="{13D3C19C-081E-48C7-8BE2-5EF3E8A1DEEB}"/>
          </ac:spMkLst>
        </pc:spChg>
        <pc:spChg chg="mod ord">
          <ac:chgData name="Joelle Brehm" userId="a518f54c-6985-42c0-8041-2bb16a414839" providerId="ADAL" clId="{E88466E7-2243-47F6-9EAE-9BF9DD0649AD}" dt="2024-04-04T18:23:06.365" v="23271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18:23:06.366" v="23273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18:23:06.366" v="23275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18:23:06.366" v="23277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18:23:06.366" v="23279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18:23:06.366" v="23281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18:23:06.366" v="23284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18:23:06.392" v="23298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18:22:03.729" v="22241"/>
          <ac:graphicFrameMkLst>
            <pc:docMk/>
            <pc:sldMk cId="2815334483" sldId="271"/>
            <ac:graphicFrameMk id="9" creationId="{BE0B1A87-C632-67CC-4720-9D38A39BC66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3:06.351" v="23233"/>
          <ac:graphicFrameMkLst>
            <pc:docMk/>
            <pc:sldMk cId="2815334483" sldId="271"/>
            <ac:graphicFrameMk id="10" creationId="{CEB47C85-54C5-4D69-F0FC-C5D3E892EBB8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3:06.366" v="23283"/>
          <ac:graphicFrameMkLst>
            <pc:docMk/>
            <pc:sldMk cId="2815334483" sldId="271"/>
            <ac:graphicFrameMk id="36" creationId="{357F0E79-FDD9-B9EB-7F92-5390059E473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23:05.117" v="23042"/>
          <ac:graphicFrameMkLst>
            <pc:docMk/>
            <pc:sldMk cId="2815334483" sldId="271"/>
            <ac:graphicFrameMk id="43" creationId="{29B9963E-E61C-890E-2D29-A6FC04011248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22:54.334" v="22513"/>
          <ac:graphicFrameMkLst>
            <pc:docMk/>
            <pc:sldMk cId="2815334483" sldId="271"/>
            <ac:graphicFrameMk id="45" creationId="{6654F1B7-EE4F-5762-0A1D-D73203816D7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23:06.318" v="23219"/>
          <ac:graphicFrameMkLst>
            <pc:docMk/>
            <pc:sldMk cId="2815334483" sldId="271"/>
            <ac:graphicFrameMk id="49" creationId="{601CDC94-D08A-3EEE-9B5E-5D248E0AB242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3:06.359" v="23257"/>
          <ac:graphicFrameMkLst>
            <pc:docMk/>
            <pc:sldMk cId="2815334483" sldId="271"/>
            <ac:graphicFrameMk id="55" creationId="{7D06F76C-F732-9C10-AE9F-826372B97551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23:02.056" v="22902"/>
          <ac:graphicFrameMkLst>
            <pc:docMk/>
            <pc:sldMk cId="2815334483" sldId="271"/>
            <ac:graphicFrameMk id="61" creationId="{2F3062F6-D0DD-40AA-6BE0-9E445521D312}"/>
          </ac:graphicFrameMkLst>
        </pc:graphicFrameChg>
        <pc:picChg chg="del mod ord">
          <ac:chgData name="Joelle Brehm" userId="a518f54c-6985-42c0-8041-2bb16a414839" providerId="ADAL" clId="{E88466E7-2243-47F6-9EAE-9BF9DD0649AD}" dt="2024-04-04T18:22:30.765" v="22411" actId="478"/>
          <ac:picMkLst>
            <pc:docMk/>
            <pc:sldMk cId="2815334483" sldId="271"/>
            <ac:picMk id="2" creationId="{A3048CBB-BFB1-EF58-6220-6DAE95A4C197}"/>
          </ac:picMkLst>
        </pc:picChg>
        <pc:picChg chg="add mod ord">
          <ac:chgData name="Joelle Brehm" userId="a518f54c-6985-42c0-8041-2bb16a414839" providerId="ADAL" clId="{E88466E7-2243-47F6-9EAE-9BF9DD0649AD}" dt="2024-04-04T18:23:06.349" v="23227"/>
          <ac:picMkLst>
            <pc:docMk/>
            <pc:sldMk cId="2815334483" sldId="271"/>
            <ac:picMk id="31" creationId="{9C4DCF98-85EB-F89A-637C-BEAB795A0251}"/>
          </ac:picMkLst>
        </pc:picChg>
        <pc:picChg chg="mod ord">
          <ac:chgData name="Joelle Brehm" userId="a518f54c-6985-42c0-8041-2bb16a414839" providerId="ADAL" clId="{E88466E7-2243-47F6-9EAE-9BF9DD0649AD}" dt="2024-04-04T18:23:06.371" v="23288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18:23:06.351" v="23231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0:25:11.318" v="27112"/>
        <pc:sldMkLst>
          <pc:docMk/>
          <pc:sldMk cId="1407012127" sldId="272"/>
        </pc:sldMkLst>
        <pc:spChg chg="mod ord">
          <ac:chgData name="Joelle Brehm" userId="a518f54c-6985-42c0-8041-2bb16a414839" providerId="ADAL" clId="{E88466E7-2243-47F6-9EAE-9BF9DD0649AD}" dt="2024-04-04T20:25:11.286" v="27106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E88466E7-2243-47F6-9EAE-9BF9DD0649AD}" dt="2024-04-04T20:16:24.044" v="24353" actId="478"/>
          <ac:spMkLst>
            <pc:docMk/>
            <pc:sldMk cId="1407012127" sldId="272"/>
            <ac:spMk id="5" creationId="{8543C8B1-F741-41A2-C721-6B359330B610}"/>
          </ac:spMkLst>
        </pc:spChg>
        <pc:spChg chg="mod ord">
          <ac:chgData name="Joelle Brehm" userId="a518f54c-6985-42c0-8041-2bb16a414839" providerId="ADAL" clId="{E88466E7-2243-47F6-9EAE-9BF9DD0649AD}" dt="2024-04-04T20:25:11.270" v="27041"/>
          <ac:spMkLst>
            <pc:docMk/>
            <pc:sldMk cId="1407012127" sldId="272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0:16:28.920" v="24564"/>
          <ac:spMkLst>
            <pc:docMk/>
            <pc:sldMk cId="1407012127" sldId="272"/>
            <ac:spMk id="8" creationId="{BF23DDC0-E90F-1AB5-2AAA-23055AD7B634}"/>
          </ac:spMkLst>
        </pc:spChg>
        <pc:spChg chg="mod">
          <ac:chgData name="Joelle Brehm" userId="a518f54c-6985-42c0-8041-2bb16a414839" providerId="ADAL" clId="{E88466E7-2243-47F6-9EAE-9BF9DD0649AD}" dt="2024-04-04T20:25:11.270" v="27052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0:25:11.270" v="27048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0:25:11.270" v="27049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0:25:11.270" v="27046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0:25:11.270" v="27047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0:25:11.270" v="27050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0:25:11.270" v="27051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0:25:11.270" v="27053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0:25:11.270" v="27054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0:25:11.270" v="27055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0:25:11.270" v="27056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0:25:11.270" v="27057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0:25:11.270" v="27059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0:25:11.270" v="27060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0:25:11.286" v="27062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0:25:11.286" v="27061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0:25:11.286" v="27064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0:25:11.286" v="27065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0:25:11.286" v="27063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0:25:11.286" v="27067"/>
          <ac:spMkLst>
            <pc:docMk/>
            <pc:sldMk cId="1407012127" sldId="272"/>
            <ac:spMk id="30" creationId="{121A2A89-FB4E-4B9A-840D-28523B0B457F}"/>
          </ac:spMkLst>
        </pc:spChg>
        <pc:spChg chg="del mod">
          <ac:chgData name="Joelle Brehm" userId="a518f54c-6985-42c0-8041-2bb16a414839" providerId="ADAL" clId="{E88466E7-2243-47F6-9EAE-9BF9DD0649AD}" dt="2024-04-04T20:25:06.971" v="26124"/>
          <ac:spMkLst>
            <pc:docMk/>
            <pc:sldMk cId="1407012127" sldId="272"/>
            <ac:spMk id="31" creationId="{12D405BD-09A7-5DE2-D31C-098B6254BA48}"/>
          </ac:spMkLst>
        </pc:spChg>
        <pc:spChg chg="del mod">
          <ac:chgData name="Joelle Brehm" userId="a518f54c-6985-42c0-8041-2bb16a414839" providerId="ADAL" clId="{E88466E7-2243-47F6-9EAE-9BF9DD0649AD}" dt="2024-04-04T20:25:06.987" v="26132"/>
          <ac:spMkLst>
            <pc:docMk/>
            <pc:sldMk cId="1407012127" sldId="272"/>
            <ac:spMk id="33" creationId="{DEE0E245-78E9-7A67-664E-EC2B0754BE35}"/>
          </ac:spMkLst>
        </pc:spChg>
        <pc:spChg chg="add del mod modVis">
          <ac:chgData name="Joelle Brehm" userId="a518f54c-6985-42c0-8041-2bb16a414839" providerId="ADAL" clId="{E88466E7-2243-47F6-9EAE-9BF9DD0649AD}" dt="2024-04-04T20:24:50.183" v="24857"/>
          <ac:spMkLst>
            <pc:docMk/>
            <pc:sldMk cId="1407012127" sldId="272"/>
            <ac:spMk id="34" creationId="{D9479BD5-7167-1F74-CCB0-8E3974992005}"/>
          </ac:spMkLst>
        </pc:spChg>
        <pc:spChg chg="del mod">
          <ac:chgData name="Joelle Brehm" userId="a518f54c-6985-42c0-8041-2bb16a414839" providerId="ADAL" clId="{E88466E7-2243-47F6-9EAE-9BF9DD0649AD}" dt="2024-04-04T20:25:06.987" v="26134"/>
          <ac:spMkLst>
            <pc:docMk/>
            <pc:sldMk cId="1407012127" sldId="272"/>
            <ac:spMk id="35" creationId="{9A61C4AC-2BC0-7427-87BB-C00DF9E032F6}"/>
          </ac:spMkLst>
        </pc:spChg>
        <pc:spChg chg="del mod">
          <ac:chgData name="Joelle Brehm" userId="a518f54c-6985-42c0-8041-2bb16a414839" providerId="ADAL" clId="{E88466E7-2243-47F6-9EAE-9BF9DD0649AD}" dt="2024-04-04T20:25:06.987" v="26130"/>
          <ac:spMkLst>
            <pc:docMk/>
            <pc:sldMk cId="1407012127" sldId="272"/>
            <ac:spMk id="36" creationId="{C8D3E2C2-3C12-3A42-5737-E5E3D3EAF8EA}"/>
          </ac:spMkLst>
        </pc:spChg>
        <pc:spChg chg="add del mod replST">
          <ac:chgData name="Joelle Brehm" userId="a518f54c-6985-42c0-8041-2bb16a414839" providerId="ADAL" clId="{E88466E7-2243-47F6-9EAE-9BF9DD0649AD}" dt="2024-04-04T20:25:06.987" v="26136"/>
          <ac:spMkLst>
            <pc:docMk/>
            <pc:sldMk cId="1407012127" sldId="272"/>
            <ac:spMk id="38" creationId="{0C0FCFEB-62EB-21CF-9AC8-2536D706CFF6}"/>
          </ac:spMkLst>
        </pc:spChg>
        <pc:spChg chg="del mod">
          <ac:chgData name="Joelle Brehm" userId="a518f54c-6985-42c0-8041-2bb16a414839" providerId="ADAL" clId="{E88466E7-2243-47F6-9EAE-9BF9DD0649AD}" dt="2024-04-04T20:25:06.971" v="26121"/>
          <ac:spMkLst>
            <pc:docMk/>
            <pc:sldMk cId="1407012127" sldId="272"/>
            <ac:spMk id="39" creationId="{BC8B8CEB-DD48-E296-513C-6E912EEE1511}"/>
          </ac:spMkLst>
        </pc:spChg>
        <pc:spChg chg="del mod">
          <ac:chgData name="Joelle Brehm" userId="a518f54c-6985-42c0-8041-2bb16a414839" providerId="ADAL" clId="{E88466E7-2243-47F6-9EAE-9BF9DD0649AD}" dt="2024-04-04T20:25:06.971" v="26123"/>
          <ac:spMkLst>
            <pc:docMk/>
            <pc:sldMk cId="1407012127" sldId="272"/>
            <ac:spMk id="40" creationId="{14D3D5B8-E518-8259-72DA-929515D14DC3}"/>
          </ac:spMkLst>
        </pc:spChg>
        <pc:spChg chg="del mod">
          <ac:chgData name="Joelle Brehm" userId="a518f54c-6985-42c0-8041-2bb16a414839" providerId="ADAL" clId="{E88466E7-2243-47F6-9EAE-9BF9DD0649AD}" dt="2024-04-04T20:25:06.319" v="25485"/>
          <ac:spMkLst>
            <pc:docMk/>
            <pc:sldMk cId="1407012127" sldId="272"/>
            <ac:spMk id="41" creationId="{3B0A3A52-5D18-7245-58AE-791EE368F68D}"/>
          </ac:spMkLst>
        </pc:spChg>
        <pc:spChg chg="del mod">
          <ac:chgData name="Joelle Brehm" userId="a518f54c-6985-42c0-8041-2bb16a414839" providerId="ADAL" clId="{E88466E7-2243-47F6-9EAE-9BF9DD0649AD}" dt="2024-04-04T20:25:06.987" v="26131"/>
          <ac:spMkLst>
            <pc:docMk/>
            <pc:sldMk cId="1407012127" sldId="272"/>
            <ac:spMk id="42" creationId="{1CCE2CD3-9785-B79A-EAFB-8C7C97C912CB}"/>
          </ac:spMkLst>
        </pc:spChg>
        <pc:spChg chg="del mod">
          <ac:chgData name="Joelle Brehm" userId="a518f54c-6985-42c0-8041-2bb16a414839" providerId="ADAL" clId="{E88466E7-2243-47F6-9EAE-9BF9DD0649AD}" dt="2024-04-04T20:25:06.971" v="26122"/>
          <ac:spMkLst>
            <pc:docMk/>
            <pc:sldMk cId="1407012127" sldId="272"/>
            <ac:spMk id="43" creationId="{FB4FB43F-D084-EE9C-5BF8-B064116032D0}"/>
          </ac:spMkLst>
        </pc:spChg>
        <pc:spChg chg="del mod">
          <ac:chgData name="Joelle Brehm" userId="a518f54c-6985-42c0-8041-2bb16a414839" providerId="ADAL" clId="{E88466E7-2243-47F6-9EAE-9BF9DD0649AD}" dt="2024-04-04T20:25:06.987" v="26129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E88466E7-2243-47F6-9EAE-9BF9DD0649AD}" dt="2024-04-04T20:25:01.780" v="25307"/>
          <ac:spMkLst>
            <pc:docMk/>
            <pc:sldMk cId="1407012127" sldId="272"/>
            <ac:spMk id="45" creationId="{A99207C0-BD45-9056-60E7-7522F20ECF58}"/>
          </ac:spMkLst>
        </pc:spChg>
        <pc:spChg chg="del mod">
          <ac:chgData name="Joelle Brehm" userId="a518f54c-6985-42c0-8041-2bb16a414839" providerId="ADAL" clId="{E88466E7-2243-47F6-9EAE-9BF9DD0649AD}" dt="2024-04-04T20:25:06.987" v="26135"/>
          <ac:spMkLst>
            <pc:docMk/>
            <pc:sldMk cId="1407012127" sldId="272"/>
            <ac:spMk id="47" creationId="{8115A837-4CA6-7E31-4D61-CBE46C2C39A7}"/>
          </ac:spMkLst>
        </pc:spChg>
        <pc:spChg chg="add del mod ord replST">
          <ac:chgData name="Joelle Brehm" userId="a518f54c-6985-42c0-8041-2bb16a414839" providerId="ADAL" clId="{E88466E7-2243-47F6-9EAE-9BF9DD0649AD}" dt="2024-04-04T20:25:11.191" v="26936"/>
          <ac:spMkLst>
            <pc:docMk/>
            <pc:sldMk cId="1407012127" sldId="272"/>
            <ac:spMk id="48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20:25:06.987" v="26133"/>
          <ac:spMkLst>
            <pc:docMk/>
            <pc:sldMk cId="1407012127" sldId="272"/>
            <ac:spMk id="49" creationId="{BFBE4DAB-6CE3-A4D4-76EB-EE4B23B402B6}"/>
          </ac:spMkLst>
        </pc:spChg>
        <pc:spChg chg="add del mod modVis">
          <ac:chgData name="Joelle Brehm" userId="a518f54c-6985-42c0-8041-2bb16a414839" providerId="ADAL" clId="{E88466E7-2243-47F6-9EAE-9BF9DD0649AD}" dt="2024-04-04T20:25:03.882" v="25482"/>
          <ac:spMkLst>
            <pc:docMk/>
            <pc:sldMk cId="1407012127" sldId="272"/>
            <ac:spMk id="51" creationId="{E9DC4C27-8B98-C194-1F18-4A7C9CD7395E}"/>
          </ac:spMkLst>
        </pc:spChg>
        <pc:spChg chg="add del mod modVis">
          <ac:chgData name="Joelle Brehm" userId="a518f54c-6985-42c0-8041-2bb16a414839" providerId="ADAL" clId="{E88466E7-2243-47F6-9EAE-9BF9DD0649AD}" dt="2024-04-04T20:25:07.051" v="26241"/>
          <ac:spMkLst>
            <pc:docMk/>
            <pc:sldMk cId="1407012127" sldId="272"/>
            <ac:spMk id="53" creationId="{69F78949-24C8-DA76-E5AC-76A7BA904583}"/>
          </ac:spMkLst>
        </pc:spChg>
        <pc:spChg chg="add del mod replST">
          <ac:chgData name="Joelle Brehm" userId="a518f54c-6985-42c0-8041-2bb16a414839" providerId="ADAL" clId="{E88466E7-2243-47F6-9EAE-9BF9DD0649AD}" dt="2024-04-04T20:25:10.367" v="26262"/>
          <ac:spMkLst>
            <pc:docMk/>
            <pc:sldMk cId="1407012127" sldId="272"/>
            <ac:spMk id="54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5:10.367" v="26259"/>
          <ac:spMkLst>
            <pc:docMk/>
            <pc:sldMk cId="1407012127" sldId="272"/>
            <ac:spMk id="55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5:10.367" v="26256"/>
          <ac:spMkLst>
            <pc:docMk/>
            <pc:sldMk cId="1407012127" sldId="272"/>
            <ac:spMk id="56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5:10.367" v="26253"/>
          <ac:spMkLst>
            <pc:docMk/>
            <pc:sldMk cId="1407012127" sldId="272"/>
            <ac:spMk id="57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5:10.367" v="26250"/>
          <ac:spMkLst>
            <pc:docMk/>
            <pc:sldMk cId="1407012127" sldId="272"/>
            <ac:spMk id="59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5:10.366" v="26247"/>
          <ac:spMkLst>
            <pc:docMk/>
            <pc:sldMk cId="1407012127" sldId="272"/>
            <ac:spMk id="60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5:10.350" v="26244"/>
          <ac:spMkLst>
            <pc:docMk/>
            <pc:sldMk cId="1407012127" sldId="272"/>
            <ac:spMk id="61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0:25:11.286" v="27110"/>
          <ac:spMkLst>
            <pc:docMk/>
            <pc:sldMk cId="1407012127" sldId="272"/>
            <ac:spMk id="70" creationId="{8A78122E-C64C-C01A-0AE3-7A427F7CEE59}"/>
          </ac:spMkLst>
        </pc:spChg>
        <pc:spChg chg="add mod replST">
          <ac:chgData name="Joelle Brehm" userId="a518f54c-6985-42c0-8041-2bb16a414839" providerId="ADAL" clId="{E88466E7-2243-47F6-9EAE-9BF9DD0649AD}" dt="2024-04-04T20:25:11.286" v="27070"/>
          <ac:spMkLst>
            <pc:docMk/>
            <pc:sldMk cId="1407012127" sldId="272"/>
            <ac:spMk id="71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0:25:11.286" v="27104"/>
          <ac:spMkLst>
            <pc:docMk/>
            <pc:sldMk cId="1407012127" sldId="272"/>
            <ac:spMk id="72" creationId="{E9A305E6-E2FF-42BD-A4C9-5026A51C421A}"/>
          </ac:spMkLst>
        </pc:spChg>
        <pc:spChg chg="add mod replST">
          <ac:chgData name="Joelle Brehm" userId="a518f54c-6985-42c0-8041-2bb16a414839" providerId="ADAL" clId="{E88466E7-2243-47F6-9EAE-9BF9DD0649AD}" dt="2024-04-04T20:25:11.286" v="27071"/>
          <ac:spMkLst>
            <pc:docMk/>
            <pc:sldMk cId="1407012127" sldId="272"/>
            <ac:spMk id="73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72"/>
          <ac:spMkLst>
            <pc:docMk/>
            <pc:sldMk cId="1407012127" sldId="272"/>
            <ac:spMk id="74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73"/>
          <ac:spMkLst>
            <pc:docMk/>
            <pc:sldMk cId="1407012127" sldId="272"/>
            <ac:spMk id="75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74"/>
          <ac:spMkLst>
            <pc:docMk/>
            <pc:sldMk cId="1407012127" sldId="272"/>
            <ac:spMk id="76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75"/>
          <ac:spMkLst>
            <pc:docMk/>
            <pc:sldMk cId="1407012127" sldId="272"/>
            <ac:spMk id="7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0:25:11.286" v="27083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0:25:11.286" v="27085"/>
          <ac:spMkLst>
            <pc:docMk/>
            <pc:sldMk cId="1407012127" sldId="272"/>
            <ac:spMk id="79" creationId="{F1476AC4-694B-4D83-BFD8-8DCAA4BB1923}"/>
          </ac:spMkLst>
        </pc:spChg>
        <pc:spChg chg="add mod replST">
          <ac:chgData name="Joelle Brehm" userId="a518f54c-6985-42c0-8041-2bb16a414839" providerId="ADAL" clId="{E88466E7-2243-47F6-9EAE-9BF9DD0649AD}" dt="2024-04-04T20:25:11.286" v="27076"/>
          <ac:spMkLst>
            <pc:docMk/>
            <pc:sldMk cId="1407012127" sldId="272"/>
            <ac:spMk id="80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77"/>
          <ac:spMkLst>
            <pc:docMk/>
            <pc:sldMk cId="1407012127" sldId="272"/>
            <ac:spMk id="81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78"/>
          <ac:spMkLst>
            <pc:docMk/>
            <pc:sldMk cId="1407012127" sldId="272"/>
            <ac:spMk id="82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79"/>
          <ac:spMkLst>
            <pc:docMk/>
            <pc:sldMk cId="1407012127" sldId="272"/>
            <ac:spMk id="83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80"/>
          <ac:spMkLst>
            <pc:docMk/>
            <pc:sldMk cId="1407012127" sldId="272"/>
            <ac:spMk id="84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0:25:11.286" v="27081"/>
          <ac:spMkLst>
            <pc:docMk/>
            <pc:sldMk cId="1407012127" sldId="272"/>
            <ac:spMk id="85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0:25:11.286" v="27087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0:25:11.286" v="27089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0:25:11.286" v="27091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0:25:11.286" v="27093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0:25:11.286" v="27096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5:11.286" v="27097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5:11.286" v="27098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5:11.286" v="27099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0:25:11.286" v="27100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0:25:11.318" v="27112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5:11.270" v="27045"/>
          <ac:graphicFrameMkLst>
            <pc:docMk/>
            <pc:sldMk cId="1407012127" sldId="272"/>
            <ac:graphicFrameMk id="9" creationId="{A7EB7A9A-BB6F-C0A9-2498-048B7281D80E}"/>
          </ac:graphicFrameMkLst>
        </pc:graphicFrameChg>
        <pc:graphicFrameChg chg="del">
          <ac:chgData name="Joelle Brehm" userId="a518f54c-6985-42c0-8041-2bb16a414839" providerId="ADAL" clId="{E88466E7-2243-47F6-9EAE-9BF9DD0649AD}" dt="2024-04-04T20:16:28.837" v="24481"/>
          <ac:graphicFrameMkLst>
            <pc:docMk/>
            <pc:sldMk cId="1407012127" sldId="272"/>
            <ac:graphicFrameMk id="10" creationId="{1AA272A9-96BB-9822-E72B-8EDA261EBCA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5:11.286" v="27095"/>
          <ac:graphicFrameMkLst>
            <pc:docMk/>
            <pc:sldMk cId="1407012127" sldId="272"/>
            <ac:graphicFrameMk id="37" creationId="{C7E1CBF6-021D-D95E-452D-8559B453EF7E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4:50.135" v="24778"/>
          <ac:graphicFrameMkLst>
            <pc:docMk/>
            <pc:sldMk cId="1407012127" sldId="272"/>
            <ac:graphicFrameMk id="46" creationId="{4AC1C6C1-1456-0B43-F592-54BB4010C40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5:03.817" v="25387"/>
          <ac:graphicFrameMkLst>
            <pc:docMk/>
            <pc:sldMk cId="1407012127" sldId="272"/>
            <ac:graphicFrameMk id="50" creationId="{88EB19A8-B50F-5BFE-9C40-17EE4C811B45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5:06.987" v="26138"/>
          <ac:graphicFrameMkLst>
            <pc:docMk/>
            <pc:sldMk cId="1407012127" sldId="272"/>
            <ac:graphicFrameMk id="52" creationId="{60F5A248-9F44-0E8B-817F-0ADCE59F63DD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5:01.699" v="25217"/>
          <ac:graphicFrameMkLst>
            <pc:docMk/>
            <pc:sldMk cId="1407012127" sldId="272"/>
            <ac:graphicFrameMk id="58" creationId="{A1AE2A94-0C7F-2FCD-29C0-5CE085FC24A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5:11.222" v="27018"/>
          <ac:graphicFrameMkLst>
            <pc:docMk/>
            <pc:sldMk cId="1407012127" sldId="272"/>
            <ac:graphicFrameMk id="69" creationId="{21B93778-AB9E-83FC-7CD7-3DC706C4CA4D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5:11.286" v="27069"/>
          <ac:graphicFrameMkLst>
            <pc:docMk/>
            <pc:sldMk cId="1407012127" sldId="272"/>
            <ac:graphicFrameMk id="86" creationId="{82B14461-3F13-7950-BB87-5E380B97F9A6}"/>
          </ac:graphicFrameMkLst>
        </pc:graphicFrameChg>
        <pc:picChg chg="del mod ord">
          <ac:chgData name="Joelle Brehm" userId="a518f54c-6985-42c0-8041-2bb16a414839" providerId="ADAL" clId="{E88466E7-2243-47F6-9EAE-9BF9DD0649AD}" dt="2024-04-04T20:17:05.622" v="24647" actId="478"/>
          <ac:picMkLst>
            <pc:docMk/>
            <pc:sldMk cId="1407012127" sldId="272"/>
            <ac:picMk id="3" creationId="{FD60745E-312D-B969-E9F0-F674907CD7A6}"/>
          </ac:picMkLst>
        </pc:picChg>
        <pc:picChg chg="add mod ord">
          <ac:chgData name="Joelle Brehm" userId="a518f54c-6985-42c0-8041-2bb16a414839" providerId="ADAL" clId="{E88466E7-2243-47F6-9EAE-9BF9DD0649AD}" dt="2024-04-04T20:25:11.254" v="27039"/>
          <ac:picMkLst>
            <pc:docMk/>
            <pc:sldMk cId="1407012127" sldId="272"/>
            <ac:picMk id="32" creationId="{41EF5945-50B4-AFEF-E72D-9D19833102AB}"/>
          </ac:picMkLst>
        </pc:picChg>
        <pc:picChg chg="mod ord">
          <ac:chgData name="Joelle Brehm" userId="a518f54c-6985-42c0-8041-2bb16a414839" providerId="ADAL" clId="{E88466E7-2243-47F6-9EAE-9BF9DD0649AD}" dt="2024-04-04T20:25:11.286" v="27102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0:25:11.270" v="27043"/>
          <ac:cxnSpMkLst>
            <pc:docMk/>
            <pc:sldMk cId="1407012127" sldId="272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E88466E7-2243-47F6-9EAE-9BF9DD0649AD}" dt="2024-04-04T20:25:10.367" v="26264"/>
          <ac:cxnSpMkLst>
            <pc:docMk/>
            <pc:sldMk cId="1407012127" sldId="272"/>
            <ac:cxnSpMk id="62" creationId="{9B9BBB21-3040-738D-74C5-F9CB8BBAEEAA}"/>
          </ac:cxnSpMkLst>
        </pc:cxnChg>
        <pc:cxnChg chg="add del mod ord replST">
          <ac:chgData name="Joelle Brehm" userId="a518f54c-6985-42c0-8041-2bb16a414839" providerId="ADAL" clId="{E88466E7-2243-47F6-9EAE-9BF9DD0649AD}" dt="2024-04-04T20:25:10.367" v="26261"/>
          <ac:cxnSpMkLst>
            <pc:docMk/>
            <pc:sldMk cId="1407012127" sldId="272"/>
            <ac:cxnSpMk id="63" creationId="{B6750E64-5942-27B9-61A6-1F021C8FC7B7}"/>
          </ac:cxnSpMkLst>
        </pc:cxnChg>
        <pc:cxnChg chg="add del mod ord replST">
          <ac:chgData name="Joelle Brehm" userId="a518f54c-6985-42c0-8041-2bb16a414839" providerId="ADAL" clId="{E88466E7-2243-47F6-9EAE-9BF9DD0649AD}" dt="2024-04-04T20:25:10.367" v="26258"/>
          <ac:cxnSpMkLst>
            <pc:docMk/>
            <pc:sldMk cId="1407012127" sldId="272"/>
            <ac:cxnSpMk id="64" creationId="{C8943081-0D12-D271-AF27-99CCA6B979EF}"/>
          </ac:cxnSpMkLst>
        </pc:cxnChg>
        <pc:cxnChg chg="add del mod ord replST">
          <ac:chgData name="Joelle Brehm" userId="a518f54c-6985-42c0-8041-2bb16a414839" providerId="ADAL" clId="{E88466E7-2243-47F6-9EAE-9BF9DD0649AD}" dt="2024-04-04T20:25:10.367" v="26255"/>
          <ac:cxnSpMkLst>
            <pc:docMk/>
            <pc:sldMk cId="1407012127" sldId="272"/>
            <ac:cxnSpMk id="65" creationId="{F2855D19-8274-4DCB-2ED8-C073AEFED0CC}"/>
          </ac:cxnSpMkLst>
        </pc:cxnChg>
        <pc:cxnChg chg="add del mod ord replST">
          <ac:chgData name="Joelle Brehm" userId="a518f54c-6985-42c0-8041-2bb16a414839" providerId="ADAL" clId="{E88466E7-2243-47F6-9EAE-9BF9DD0649AD}" dt="2024-04-04T20:25:10.367" v="26252"/>
          <ac:cxnSpMkLst>
            <pc:docMk/>
            <pc:sldMk cId="1407012127" sldId="272"/>
            <ac:cxnSpMk id="66" creationId="{464DE056-B922-B928-8A35-314FE94BE7B5}"/>
          </ac:cxnSpMkLst>
        </pc:cxnChg>
        <pc:cxnChg chg="add del mod ord replST">
          <ac:chgData name="Joelle Brehm" userId="a518f54c-6985-42c0-8041-2bb16a414839" providerId="ADAL" clId="{E88466E7-2243-47F6-9EAE-9BF9DD0649AD}" dt="2024-04-04T20:25:10.367" v="26249"/>
          <ac:cxnSpMkLst>
            <pc:docMk/>
            <pc:sldMk cId="1407012127" sldId="272"/>
            <ac:cxnSpMk id="67" creationId="{EB58A9B4-BED1-2CAE-1A28-A2AF43ED2092}"/>
          </ac:cxnSpMkLst>
        </pc:cxnChg>
        <pc:cxnChg chg="add del mod ord replST">
          <ac:chgData name="Joelle Brehm" userId="a518f54c-6985-42c0-8041-2bb16a414839" providerId="ADAL" clId="{E88466E7-2243-47F6-9EAE-9BF9DD0649AD}" dt="2024-04-04T20:25:10.350" v="26246"/>
          <ac:cxnSpMkLst>
            <pc:docMk/>
            <pc:sldMk cId="1407012127" sldId="272"/>
            <ac:cxnSpMk id="68" creationId="{03B9D732-38C6-51F6-C121-2EC7D7B1AB4C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0:26:29.536" v="28732"/>
        <pc:sldMkLst>
          <pc:docMk/>
          <pc:sldMk cId="4005475890" sldId="273"/>
        </pc:sldMkLst>
        <pc:spChg chg="mod ord">
          <ac:chgData name="Joelle Brehm" userId="a518f54c-6985-42c0-8041-2bb16a414839" providerId="ADAL" clId="{E88466E7-2243-47F6-9EAE-9BF9DD0649AD}" dt="2024-04-04T20:26:29.520" v="28726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E88466E7-2243-47F6-9EAE-9BF9DD0649AD}" dt="2024-04-04T20:25:29.914" v="27113" actId="478"/>
          <ac:spMkLst>
            <pc:docMk/>
            <pc:sldMk cId="4005475890" sldId="273"/>
            <ac:spMk id="5" creationId="{6BF8C9E0-B8A0-0923-086B-FB357A3D4A65}"/>
          </ac:spMkLst>
        </pc:spChg>
        <pc:spChg chg="mod ord">
          <ac:chgData name="Joelle Brehm" userId="a518f54c-6985-42c0-8041-2bb16a414839" providerId="ADAL" clId="{E88466E7-2243-47F6-9EAE-9BF9DD0649AD}" dt="2024-04-04T20:26:29.504" v="28661"/>
          <ac:spMkLst>
            <pc:docMk/>
            <pc:sldMk cId="4005475890" sldId="273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0:25:38.891" v="27334"/>
          <ac:spMkLst>
            <pc:docMk/>
            <pc:sldMk cId="4005475890" sldId="273"/>
            <ac:spMk id="9" creationId="{18C38A09-5C74-B3B3-CBB5-1CFF911AB74C}"/>
          </ac:spMkLst>
        </pc:spChg>
        <pc:spChg chg="mod">
          <ac:chgData name="Joelle Brehm" userId="a518f54c-6985-42c0-8041-2bb16a414839" providerId="ADAL" clId="{E88466E7-2243-47F6-9EAE-9BF9DD0649AD}" dt="2024-04-04T20:26:29.520" v="28696"/>
          <ac:spMkLst>
            <pc:docMk/>
            <pc:sldMk cId="4005475890" sldId="273"/>
            <ac:spMk id="10" creationId="{F4526B17-4D9D-5E61-CE0E-B2D48C5D6FAD}"/>
          </ac:spMkLst>
        </pc:spChg>
        <pc:spChg chg="mod">
          <ac:chgData name="Joelle Brehm" userId="a518f54c-6985-42c0-8041-2bb16a414839" providerId="ADAL" clId="{E88466E7-2243-47F6-9EAE-9BF9DD0649AD}" dt="2024-04-04T20:26:29.520" v="28672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0:26:29.520" v="28668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0:26:29.520" v="28669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0:26:29.504" v="28666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0:26:29.504" v="28667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0:26:29.520" v="28670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0:26:29.520" v="28671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0:26:29.520" v="28673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0:26:29.520" v="28674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0:26:29.520" v="28675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0:26:29.520" v="28676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0:26:29.520" v="28677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0:26:29.520" v="28679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0:26:29.520" v="28680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0:26:29.520" v="28682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0:26:29.520" v="28681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0:26:29.520" v="28684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0:26:29.520" v="28685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0:26:29.520" v="28683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0:26:29.520" v="28687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0:26:29.520" v="28691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E88466E7-2243-47F6-9EAE-9BF9DD0649AD}" dt="2024-04-04T20:26:29.520" v="28692"/>
          <ac:spMkLst>
            <pc:docMk/>
            <pc:sldMk cId="4005475890" sldId="273"/>
            <ac:spMk id="33" creationId="{DD197FE7-3589-FD89-6611-B0D101E5EA5C}"/>
          </ac:spMkLst>
        </pc:spChg>
        <pc:spChg chg="del mod">
          <ac:chgData name="Joelle Brehm" userId="a518f54c-6985-42c0-8041-2bb16a414839" providerId="ADAL" clId="{E88466E7-2243-47F6-9EAE-9BF9DD0649AD}" dt="2024-04-04T20:26:22.542" v="28080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E88466E7-2243-47F6-9EAE-9BF9DD0649AD}" dt="2024-04-04T20:26:29.520" v="28690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E88466E7-2243-47F6-9EAE-9BF9DD0649AD}" dt="2024-04-04T20:26:29.520" v="28693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E88466E7-2243-47F6-9EAE-9BF9DD0649AD}" dt="2024-04-04T20:26:29.520" v="28694"/>
          <ac:spMkLst>
            <pc:docMk/>
            <pc:sldMk cId="4005475890" sldId="273"/>
            <ac:spMk id="38" creationId="{8B5BCAB4-60F8-4FD5-A40F-97245FABCE9A}"/>
          </ac:spMkLst>
        </pc:spChg>
        <pc:spChg chg="mod">
          <ac:chgData name="Joelle Brehm" userId="a518f54c-6985-42c0-8041-2bb16a414839" providerId="ADAL" clId="{E88466E7-2243-47F6-9EAE-9BF9DD0649AD}" dt="2024-04-04T20:26:29.520" v="28699"/>
          <ac:spMkLst>
            <pc:docMk/>
            <pc:sldMk cId="4005475890" sldId="273"/>
            <ac:spMk id="39" creationId="{6EB370A9-5BCE-98AF-C8A7-2C1083EB4B47}"/>
          </ac:spMkLst>
        </pc:spChg>
        <pc:spChg chg="mod">
          <ac:chgData name="Joelle Brehm" userId="a518f54c-6985-42c0-8041-2bb16a414839" providerId="ADAL" clId="{E88466E7-2243-47F6-9EAE-9BF9DD0649AD}" dt="2024-04-04T20:26:29.520" v="28695"/>
          <ac:spMkLst>
            <pc:docMk/>
            <pc:sldMk cId="4005475890" sldId="273"/>
            <ac:spMk id="40" creationId="{6DF186F3-D7BB-E35B-BC5F-B5541CDFEBC5}"/>
          </ac:spMkLst>
        </pc:spChg>
        <pc:spChg chg="add del mod modVis">
          <ac:chgData name="Joelle Brehm" userId="a518f54c-6985-42c0-8041-2bb16a414839" providerId="ADAL" clId="{E88466E7-2243-47F6-9EAE-9BF9DD0649AD}" dt="2024-04-04T20:26:09.547" v="27609"/>
          <ac:spMkLst>
            <pc:docMk/>
            <pc:sldMk cId="4005475890" sldId="273"/>
            <ac:spMk id="41" creationId="{F2A9158F-FE7D-5F3F-F879-2B2CCD9D6F7E}"/>
          </ac:spMkLst>
        </pc:spChg>
        <pc:spChg chg="mod">
          <ac:chgData name="Joelle Brehm" userId="a518f54c-6985-42c0-8041-2bb16a414839" providerId="ADAL" clId="{E88466E7-2243-47F6-9EAE-9BF9DD0649AD}" dt="2024-04-04T20:26:29.520" v="28697"/>
          <ac:spMkLst>
            <pc:docMk/>
            <pc:sldMk cId="4005475890" sldId="273"/>
            <ac:spMk id="42" creationId="{7FC47C4A-8CF4-7E0B-5C11-19422C1D0358}"/>
          </ac:spMkLst>
        </pc:spChg>
        <pc:spChg chg="mod">
          <ac:chgData name="Joelle Brehm" userId="a518f54c-6985-42c0-8041-2bb16a414839" providerId="ADAL" clId="{E88466E7-2243-47F6-9EAE-9BF9DD0649AD}" dt="2024-04-04T20:26:29.520" v="28698"/>
          <ac:spMkLst>
            <pc:docMk/>
            <pc:sldMk cId="4005475890" sldId="273"/>
            <ac:spMk id="44" creationId="{F5DD50D0-308B-02DF-A219-2C10A5776DF3}"/>
          </ac:spMkLst>
        </pc:spChg>
        <pc:spChg chg="mod">
          <ac:chgData name="Joelle Brehm" userId="a518f54c-6985-42c0-8041-2bb16a414839" providerId="ADAL" clId="{E88466E7-2243-47F6-9EAE-9BF9DD0649AD}" dt="2024-04-04T20:26:29.520" v="28700"/>
          <ac:spMkLst>
            <pc:docMk/>
            <pc:sldMk cId="4005475890" sldId="273"/>
            <ac:spMk id="45" creationId="{6D111BDF-CA0B-7DF2-86F8-105CCD7F741C}"/>
          </ac:spMkLst>
        </pc:spChg>
        <pc:spChg chg="add mod replST">
          <ac:chgData name="Joelle Brehm" userId="a518f54c-6985-42c0-8041-2bb16a414839" providerId="ADAL" clId="{E88466E7-2243-47F6-9EAE-9BF9DD0649AD}" dt="2024-04-04T20:26:29.520" v="28701"/>
          <ac:spMkLst>
            <pc:docMk/>
            <pc:sldMk cId="4005475890" sldId="273"/>
            <ac:spMk id="48" creationId="{E278405F-6139-E877-8C6E-29ED14D5D0A8}"/>
          </ac:spMkLst>
        </pc:spChg>
        <pc:spChg chg="add del mod modVis">
          <ac:chgData name="Joelle Brehm" userId="a518f54c-6985-42c0-8041-2bb16a414839" providerId="ADAL" clId="{E88466E7-2243-47F6-9EAE-9BF9DD0649AD}" dt="2024-04-04T20:26:19.961" v="28077"/>
          <ac:spMkLst>
            <pc:docMk/>
            <pc:sldMk cId="4005475890" sldId="273"/>
            <ac:spMk id="49" creationId="{D21428A8-FCB0-D490-AB9F-199D3A84B468}"/>
          </ac:spMkLst>
        </pc:spChg>
        <pc:spChg chg="add del mod modVis">
          <ac:chgData name="Joelle Brehm" userId="a518f54c-6985-42c0-8041-2bb16a414839" providerId="ADAL" clId="{E88466E7-2243-47F6-9EAE-9BF9DD0649AD}" dt="2024-04-04T20:26:22.991" v="28556"/>
          <ac:spMkLst>
            <pc:docMk/>
            <pc:sldMk cId="4005475890" sldId="273"/>
            <ac:spMk id="51" creationId="{9613ADC8-3849-F913-FFCE-67822B0B0604}"/>
          </ac:spMkLst>
        </pc:spChg>
        <pc:spChg chg="add del mod ord replST">
          <ac:chgData name="Joelle Brehm" userId="a518f54c-6985-42c0-8041-2bb16a414839" providerId="ADAL" clId="{E88466E7-2243-47F6-9EAE-9BF9DD0649AD}" dt="2024-04-04T20:26:29.473" v="28619"/>
          <ac:spMkLst>
            <pc:docMk/>
            <pc:sldMk cId="4005475890" sldId="273"/>
            <ac:spMk id="52" creationId="{7CAA3B95-4C78-4122-BECA-B5FB0F3F3764}"/>
          </ac:spMkLst>
        </pc:spChg>
        <pc:spChg chg="add del mod ord replST">
          <ac:chgData name="Joelle Brehm" userId="a518f54c-6985-42c0-8041-2bb16a414839" providerId="ADAL" clId="{E88466E7-2243-47F6-9EAE-9BF9DD0649AD}" dt="2024-04-04T20:26:29.473" v="28623"/>
          <ac:spMkLst>
            <pc:docMk/>
            <pc:sldMk cId="4005475890" sldId="273"/>
            <ac:spMk id="53" creationId="{7CAA3B95-4C78-4122-BECA-B5FB0F3F3764}"/>
          </ac:spMkLst>
        </pc:spChg>
        <pc:spChg chg="add del mod ord replST">
          <ac:chgData name="Joelle Brehm" userId="a518f54c-6985-42c0-8041-2bb16a414839" providerId="ADAL" clId="{E88466E7-2243-47F6-9EAE-9BF9DD0649AD}" dt="2024-04-04T20:26:29.489" v="28635"/>
          <ac:spMkLst>
            <pc:docMk/>
            <pc:sldMk cId="4005475890" sldId="273"/>
            <ac:spMk id="54" creationId="{7CAA3B95-4C78-4122-BECA-B5FB0F3F3764}"/>
          </ac:spMkLst>
        </pc:spChg>
        <pc:spChg chg="add del mod ord replST">
          <ac:chgData name="Joelle Brehm" userId="a518f54c-6985-42c0-8041-2bb16a414839" providerId="ADAL" clId="{E88466E7-2243-47F6-9EAE-9BF9DD0649AD}" dt="2024-04-04T20:26:29.489" v="28645"/>
          <ac:spMkLst>
            <pc:docMk/>
            <pc:sldMk cId="4005475890" sldId="273"/>
            <ac:spMk id="55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0:26:29.520" v="28724"/>
          <ac:spMkLst>
            <pc:docMk/>
            <pc:sldMk cId="4005475890" sldId="273"/>
            <ac:spMk id="58" creationId="{FEC487CB-3123-46A1-8350-8669839FA870}"/>
          </ac:spMkLst>
        </pc:spChg>
        <pc:spChg chg="add del mod modVis">
          <ac:chgData name="Joelle Brehm" userId="a518f54c-6985-42c0-8041-2bb16a414839" providerId="ADAL" clId="{E88466E7-2243-47F6-9EAE-9BF9DD0649AD}" dt="2024-04-04T20:26:29.536" v="28730"/>
          <ac:spMkLst>
            <pc:docMk/>
            <pc:sldMk cId="4005475890" sldId="273"/>
            <ac:spMk id="59" creationId="{1B749856-0CAA-16F7-360F-C218D9BA668F}"/>
          </ac:spMkLst>
        </pc:spChg>
        <pc:spChg chg="mod ord">
          <ac:chgData name="Joelle Brehm" userId="a518f54c-6985-42c0-8041-2bb16a414839" providerId="ADAL" clId="{E88466E7-2243-47F6-9EAE-9BF9DD0649AD}" dt="2024-04-04T20:26:29.520" v="28703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0:26:29.520" v="28705"/>
          <ac:spMkLst>
            <pc:docMk/>
            <pc:sldMk cId="4005475890" sldId="273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0:26:29.520" v="28707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0:26:29.520" v="28709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0:26:29.520" v="28711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0:26:29.520" v="28713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0:26:29.520" v="28716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6:29.520" v="28717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6:29.520" v="28718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6:29.520" v="28719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0:26:29.520" v="28720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0:26:29.536" v="28732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0:25:38.843" v="27253"/>
          <ac:graphicFrameMkLst>
            <pc:docMk/>
            <pc:sldMk cId="4005475890" sldId="273"/>
            <ac:graphicFrameMk id="8" creationId="{9E72D3E2-126A-915D-C7C2-0AAAD160452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6:29.504" v="28665"/>
          <ac:graphicFrameMkLst>
            <pc:docMk/>
            <pc:sldMk cId="4005475890" sldId="273"/>
            <ac:graphicFrameMk id="31" creationId="{3EA3AC1D-E9E2-AB60-89F8-B1D318E77CC5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6:09.483" v="27530"/>
          <ac:graphicFrameMkLst>
            <pc:docMk/>
            <pc:sldMk cId="4005475890" sldId="273"/>
            <ac:graphicFrameMk id="43" creationId="{DFFF4FCA-9B23-9147-9EC8-8740DC6DCB2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6:13.616" v="27631"/>
          <ac:graphicFrameMkLst>
            <pc:docMk/>
            <pc:sldMk cId="4005475890" sldId="273"/>
            <ac:graphicFrameMk id="46" creationId="{301D890F-E6FF-7A22-0B68-4554E750B41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6:29.520" v="28715"/>
          <ac:graphicFrameMkLst>
            <pc:docMk/>
            <pc:sldMk cId="4005475890" sldId="273"/>
            <ac:graphicFrameMk id="47" creationId="{34D621AD-B40A-4273-D9F7-3C34F5E0751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6:22.923" v="28463"/>
          <ac:graphicFrameMkLst>
            <pc:docMk/>
            <pc:sldMk cId="4005475890" sldId="273"/>
            <ac:graphicFrameMk id="50" creationId="{9D23348F-DA51-4A05-B6B2-FBE1DDF8DA70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6:19.893" v="27989"/>
          <ac:graphicFrameMkLst>
            <pc:docMk/>
            <pc:sldMk cId="4005475890" sldId="273"/>
            <ac:graphicFrameMk id="56" creationId="{593C7D43-D4F4-4124-426C-F6D4AFFCF3C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6:29.489" v="28651"/>
          <ac:graphicFrameMkLst>
            <pc:docMk/>
            <pc:sldMk cId="4005475890" sldId="273"/>
            <ac:graphicFrameMk id="57" creationId="{164FE603-A273-CD9A-700B-3969D0C26273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6:29.520" v="28689"/>
          <ac:graphicFrameMkLst>
            <pc:docMk/>
            <pc:sldMk cId="4005475890" sldId="273"/>
            <ac:graphicFrameMk id="60" creationId="{D9FA19B9-D6C7-3A11-4ABF-1050AC89B895}"/>
          </ac:graphicFrameMkLst>
        </pc:graphicFrameChg>
        <pc:picChg chg="del mod ord">
          <ac:chgData name="Joelle Brehm" userId="a518f54c-6985-42c0-8041-2bb16a414839" providerId="ADAL" clId="{E88466E7-2243-47F6-9EAE-9BF9DD0649AD}" dt="2024-04-04T20:25:56.608" v="27424" actId="478"/>
          <ac:picMkLst>
            <pc:docMk/>
            <pc:sldMk cId="4005475890" sldId="273"/>
            <ac:picMk id="3" creationId="{49516B59-58F9-9884-087C-9A2399409680}"/>
          </ac:picMkLst>
        </pc:picChg>
        <pc:picChg chg="add mod ord">
          <ac:chgData name="Joelle Brehm" userId="a518f54c-6985-42c0-8041-2bb16a414839" providerId="ADAL" clId="{E88466E7-2243-47F6-9EAE-9BF9DD0649AD}" dt="2024-04-04T20:26:29.504" v="28659"/>
          <ac:picMkLst>
            <pc:docMk/>
            <pc:sldMk cId="4005475890" sldId="273"/>
            <ac:picMk id="35" creationId="{E84A8E08-EC13-8A4D-DA52-723C486C1430}"/>
          </ac:picMkLst>
        </pc:picChg>
        <pc:picChg chg="mod ord">
          <ac:chgData name="Joelle Brehm" userId="a518f54c-6985-42c0-8041-2bb16a414839" providerId="ADAL" clId="{E88466E7-2243-47F6-9EAE-9BF9DD0649AD}" dt="2024-04-04T20:26:29.520" v="28722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0:26:29.504" v="28663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0:28:23.953" v="31735"/>
        <pc:sldMkLst>
          <pc:docMk/>
          <pc:sldMk cId="3374649050" sldId="274"/>
        </pc:sldMkLst>
        <pc:spChg chg="mod ord">
          <ac:chgData name="Joelle Brehm" userId="a518f54c-6985-42c0-8041-2bb16a414839" providerId="ADAL" clId="{E88466E7-2243-47F6-9EAE-9BF9DD0649AD}" dt="2024-04-04T20:28:23.943" v="31729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E88466E7-2243-47F6-9EAE-9BF9DD0649AD}" dt="2024-04-04T20:26:47.858" v="28733" actId="478"/>
          <ac:spMkLst>
            <pc:docMk/>
            <pc:sldMk cId="3374649050" sldId="274"/>
            <ac:spMk id="5" creationId="{0B1EB363-D3B4-F235-5718-3A300399AA7F}"/>
          </ac:spMkLst>
        </pc:spChg>
        <pc:spChg chg="mod ord">
          <ac:chgData name="Joelle Brehm" userId="a518f54c-6985-42c0-8041-2bb16a414839" providerId="ADAL" clId="{E88466E7-2243-47F6-9EAE-9BF9DD0649AD}" dt="2024-04-04T20:28:23.927" v="31664"/>
          <ac:spMkLst>
            <pc:docMk/>
            <pc:sldMk cId="3374649050" sldId="274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0:26:59.756" v="28954"/>
          <ac:spMkLst>
            <pc:docMk/>
            <pc:sldMk cId="3374649050" sldId="274"/>
            <ac:spMk id="9" creationId="{83428439-4449-3F67-B395-743ACB807DC9}"/>
          </ac:spMkLst>
        </pc:spChg>
        <pc:spChg chg="mod">
          <ac:chgData name="Joelle Brehm" userId="a518f54c-6985-42c0-8041-2bb16a414839" providerId="ADAL" clId="{E88466E7-2243-47F6-9EAE-9BF9DD0649AD}" dt="2024-04-04T20:28:23.943" v="31722"/>
          <ac:spMkLst>
            <pc:docMk/>
            <pc:sldMk cId="3374649050" sldId="274"/>
            <ac:spMk id="10" creationId="{F8CD0E45-E5DD-C5F8-57FC-2BF4B99AC187}"/>
          </ac:spMkLst>
        </pc:spChg>
        <pc:spChg chg="mod">
          <ac:chgData name="Joelle Brehm" userId="a518f54c-6985-42c0-8041-2bb16a414839" providerId="ADAL" clId="{E88466E7-2243-47F6-9EAE-9BF9DD0649AD}" dt="2024-04-04T20:28:23.927" v="31675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0:28:23.927" v="31671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0:28:23.927" v="31672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0:28:23.927" v="31669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0:28:23.927" v="31670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0:28:23.927" v="31673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0:28:23.927" v="31674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0:28:23.927" v="31676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0:28:23.927" v="31677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0:28:23.927" v="31678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0:28:23.927" v="31679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0:28:23.927" v="31680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0:28:23.927" v="31682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0:28:23.927" v="31683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0:28:23.927" v="31685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0:28:23.927" v="31684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0:28:23.927" v="31687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0:28:23.927" v="31688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0:28:23.927" v="31686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0:28:23.927" v="31690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0:28:23.943" v="31723"/>
          <ac:spMkLst>
            <pc:docMk/>
            <pc:sldMk cId="3374649050" sldId="274"/>
            <ac:spMk id="31" creationId="{82DC7CFE-E7CF-73AE-1B49-1886C3F2126F}"/>
          </ac:spMkLst>
        </pc:spChg>
        <pc:spChg chg="mod">
          <ac:chgData name="Joelle Brehm" userId="a518f54c-6985-42c0-8041-2bb16a414839" providerId="ADAL" clId="{E88466E7-2243-47F6-9EAE-9BF9DD0649AD}" dt="2024-04-04T20:28:23.927" v="31695"/>
          <ac:spMkLst>
            <pc:docMk/>
            <pc:sldMk cId="3374649050" sldId="274"/>
            <ac:spMk id="32" creationId="{5324707A-1B1B-6212-8309-A11137DFC2A2}"/>
          </ac:spMkLst>
        </pc:spChg>
        <pc:spChg chg="del mod">
          <ac:chgData name="Joelle Brehm" userId="a518f54c-6985-42c0-8041-2bb16a414839" providerId="ADAL" clId="{E88466E7-2243-47F6-9EAE-9BF9DD0649AD}" dt="2024-04-04T20:28:20.342" v="31413"/>
          <ac:spMkLst>
            <pc:docMk/>
            <pc:sldMk cId="3374649050" sldId="274"/>
            <ac:spMk id="33" creationId="{8A5C4479-0363-6F13-F887-8871FD03F34C}"/>
          </ac:spMkLst>
        </pc:spChg>
        <pc:spChg chg="mod">
          <ac:chgData name="Joelle Brehm" userId="a518f54c-6985-42c0-8041-2bb16a414839" providerId="ADAL" clId="{E88466E7-2243-47F6-9EAE-9BF9DD0649AD}" dt="2024-04-04T20:28:23.927" v="31694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E88466E7-2243-47F6-9EAE-9BF9DD0649AD}" dt="2024-04-04T20:28:23.927" v="31696"/>
          <ac:spMkLst>
            <pc:docMk/>
            <pc:sldMk cId="3374649050" sldId="274"/>
            <ac:spMk id="36" creationId="{88575725-6998-54DE-FE5F-DCCF247F6A3F}"/>
          </ac:spMkLst>
        </pc:spChg>
        <pc:spChg chg="add del mod modVis">
          <ac:chgData name="Joelle Brehm" userId="a518f54c-6985-42c0-8041-2bb16a414839" providerId="ADAL" clId="{E88466E7-2243-47F6-9EAE-9BF9DD0649AD}" dt="2024-04-04T20:27:15.060" v="29695"/>
          <ac:spMkLst>
            <pc:docMk/>
            <pc:sldMk cId="3374649050" sldId="274"/>
            <ac:spMk id="37" creationId="{34CA0F33-8E2B-3678-10A9-0A0BEC4471B4}"/>
          </ac:spMkLst>
        </pc:spChg>
        <pc:spChg chg="mod">
          <ac:chgData name="Joelle Brehm" userId="a518f54c-6985-42c0-8041-2bb16a414839" providerId="ADAL" clId="{E88466E7-2243-47F6-9EAE-9BF9DD0649AD}" dt="2024-04-04T20:28:23.927" v="31693"/>
          <ac:spMkLst>
            <pc:docMk/>
            <pc:sldMk cId="3374649050" sldId="274"/>
            <ac:spMk id="38" creationId="{1995B1DD-126C-92BA-1668-3B87C2F5B1E5}"/>
          </ac:spMkLst>
        </pc:spChg>
        <pc:spChg chg="mod">
          <ac:chgData name="Joelle Brehm" userId="a518f54c-6985-42c0-8041-2bb16a414839" providerId="ADAL" clId="{E88466E7-2243-47F6-9EAE-9BF9DD0649AD}" dt="2024-04-04T20:28:23.927" v="31700"/>
          <ac:spMkLst>
            <pc:docMk/>
            <pc:sldMk cId="3374649050" sldId="274"/>
            <ac:spMk id="39" creationId="{89E6B1B8-FAF0-A6A0-1BC8-497F71E112CB}"/>
          </ac:spMkLst>
        </pc:spChg>
        <pc:spChg chg="mod">
          <ac:chgData name="Joelle Brehm" userId="a518f54c-6985-42c0-8041-2bb16a414839" providerId="ADAL" clId="{E88466E7-2243-47F6-9EAE-9BF9DD0649AD}" dt="2024-04-04T20:28:23.927" v="31697"/>
          <ac:spMkLst>
            <pc:docMk/>
            <pc:sldMk cId="3374649050" sldId="274"/>
            <ac:spMk id="40" creationId="{8BA31CDF-8D43-74CD-D3E4-26F103CC0D3B}"/>
          </ac:spMkLst>
        </pc:spChg>
        <pc:spChg chg="mod">
          <ac:chgData name="Joelle Brehm" userId="a518f54c-6985-42c0-8041-2bb16a414839" providerId="ADAL" clId="{E88466E7-2243-47F6-9EAE-9BF9DD0649AD}" dt="2024-04-04T20:28:23.927" v="31698"/>
          <ac:spMkLst>
            <pc:docMk/>
            <pc:sldMk cId="3374649050" sldId="274"/>
            <ac:spMk id="41" creationId="{B7AB9DCF-AEC0-1EB4-2709-C783258EE0AF}"/>
          </ac:spMkLst>
        </pc:spChg>
        <pc:spChg chg="mod">
          <ac:chgData name="Joelle Brehm" userId="a518f54c-6985-42c0-8041-2bb16a414839" providerId="ADAL" clId="{E88466E7-2243-47F6-9EAE-9BF9DD0649AD}" dt="2024-04-04T20:28:23.927" v="31699"/>
          <ac:spMkLst>
            <pc:docMk/>
            <pc:sldMk cId="3374649050" sldId="274"/>
            <ac:spMk id="42" creationId="{41583D19-C077-7FD0-6F5A-DBE565BC62CF}"/>
          </ac:spMkLst>
        </pc:spChg>
        <pc:spChg chg="mod">
          <ac:chgData name="Joelle Brehm" userId="a518f54c-6985-42c0-8041-2bb16a414839" providerId="ADAL" clId="{E88466E7-2243-47F6-9EAE-9BF9DD0649AD}" dt="2024-04-04T20:28:23.943" v="31719"/>
          <ac:spMkLst>
            <pc:docMk/>
            <pc:sldMk cId="3374649050" sldId="274"/>
            <ac:spMk id="43" creationId="{71A50278-0560-C951-1F18-CA11BF2F6494}"/>
          </ac:spMkLst>
        </pc:spChg>
        <pc:spChg chg="add del mod replST">
          <ac:chgData name="Joelle Brehm" userId="a518f54c-6985-42c0-8041-2bb16a414839" providerId="ADAL" clId="{E88466E7-2243-47F6-9EAE-9BF9DD0649AD}" dt="2024-04-04T20:27:20.663" v="30122"/>
          <ac:spMkLst>
            <pc:docMk/>
            <pc:sldMk cId="3374649050" sldId="274"/>
            <ac:spMk id="44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8:23.927" v="31701"/>
          <ac:spMkLst>
            <pc:docMk/>
            <pc:sldMk cId="3374649050" sldId="274"/>
            <ac:spMk id="45" creationId="{020AC365-4654-40E5-2FE6-86C3FC6C4C65}"/>
          </ac:spMkLst>
        </pc:spChg>
        <pc:spChg chg="add del mod replST">
          <ac:chgData name="Joelle Brehm" userId="a518f54c-6985-42c0-8041-2bb16a414839" providerId="ADAL" clId="{E88466E7-2243-47F6-9EAE-9BF9DD0649AD}" dt="2024-04-04T20:27:19.367" v="29884"/>
          <ac:spMkLst>
            <pc:docMk/>
            <pc:sldMk cId="3374649050" sldId="274"/>
            <ac:spMk id="46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7:20.663" v="30123"/>
          <ac:spMkLst>
            <pc:docMk/>
            <pc:sldMk cId="3374649050" sldId="274"/>
            <ac:spMk id="47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7:19.367" v="29883"/>
          <ac:spMkLst>
            <pc:docMk/>
            <pc:sldMk cId="3374649050" sldId="274"/>
            <ac:spMk id="48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7:20.663" v="30124"/>
          <ac:spMkLst>
            <pc:docMk/>
            <pc:sldMk cId="3374649050" sldId="274"/>
            <ac:spMk id="49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8:23.927" v="31702"/>
          <ac:spMkLst>
            <pc:docMk/>
            <pc:sldMk cId="3374649050" sldId="274"/>
            <ac:spMk id="50" creationId="{2926314F-BD6E-0404-97CF-8949EB65A226}"/>
          </ac:spMkLst>
        </pc:spChg>
        <pc:spChg chg="mod">
          <ac:chgData name="Joelle Brehm" userId="a518f54c-6985-42c0-8041-2bb16a414839" providerId="ADAL" clId="{E88466E7-2243-47F6-9EAE-9BF9DD0649AD}" dt="2024-04-04T20:28:23.927" v="31703"/>
          <ac:spMkLst>
            <pc:docMk/>
            <pc:sldMk cId="3374649050" sldId="274"/>
            <ac:spMk id="52" creationId="{0964E864-42A7-5B2E-517E-B29526537FEF}"/>
          </ac:spMkLst>
        </pc:spChg>
        <pc:spChg chg="add del mod replST">
          <ac:chgData name="Joelle Brehm" userId="a518f54c-6985-42c0-8041-2bb16a414839" providerId="ADAL" clId="{E88466E7-2243-47F6-9EAE-9BF9DD0649AD}" dt="2024-04-04T20:27:19.367" v="29882"/>
          <ac:spMkLst>
            <pc:docMk/>
            <pc:sldMk cId="3374649050" sldId="274"/>
            <ac:spMk id="53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7:20.663" v="30125"/>
          <ac:spMkLst>
            <pc:docMk/>
            <pc:sldMk cId="3374649050" sldId="274"/>
            <ac:spMk id="54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7:19.367" v="29881"/>
          <ac:spMkLst>
            <pc:docMk/>
            <pc:sldMk cId="3374649050" sldId="274"/>
            <ac:spMk id="55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0:27:20.678" v="30126"/>
          <ac:spMkLst>
            <pc:docMk/>
            <pc:sldMk cId="3374649050" sldId="274"/>
            <ac:spMk id="56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0:28:23.943" v="31727"/>
          <ac:spMkLst>
            <pc:docMk/>
            <pc:sldMk cId="3374649050" sldId="274"/>
            <ac:spMk id="58" creationId="{5BBF118A-F952-4AA1-8B74-92A00B5F6171}"/>
          </ac:spMkLst>
        </pc:spChg>
        <pc:spChg chg="add del mod modVis">
          <ac:chgData name="Joelle Brehm" userId="a518f54c-6985-42c0-8041-2bb16a414839" providerId="ADAL" clId="{E88466E7-2243-47F6-9EAE-9BF9DD0649AD}" dt="2024-04-04T20:27:16.961" v="29843"/>
          <ac:spMkLst>
            <pc:docMk/>
            <pc:sldMk cId="3374649050" sldId="274"/>
            <ac:spMk id="59" creationId="{11C1C12F-F49F-6934-0C6D-F1D2F62F3AB3}"/>
          </ac:spMkLst>
        </pc:spChg>
        <pc:spChg chg="add del mod modVis">
          <ac:chgData name="Joelle Brehm" userId="a518f54c-6985-42c0-8041-2bb16a414839" providerId="ADAL" clId="{E88466E7-2243-47F6-9EAE-9BF9DD0649AD}" dt="2024-04-04T20:27:19.492" v="30071"/>
          <ac:spMkLst>
            <pc:docMk/>
            <pc:sldMk cId="3374649050" sldId="274"/>
            <ac:spMk id="62" creationId="{CBB585AB-F5DD-8796-BE37-D0C562074191}"/>
          </ac:spMkLst>
        </pc:spChg>
        <pc:spChg chg="add del mod modVis">
          <ac:chgData name="Joelle Brehm" userId="a518f54c-6985-42c0-8041-2bb16a414839" providerId="ADAL" clId="{E88466E7-2243-47F6-9EAE-9BF9DD0649AD}" dt="2024-04-04T20:27:20.725" v="30207"/>
          <ac:spMkLst>
            <pc:docMk/>
            <pc:sldMk cId="3374649050" sldId="274"/>
            <ac:spMk id="64" creationId="{63DCABE5-50E8-B926-27FC-668734A62AD7}"/>
          </ac:spMkLst>
        </pc:spChg>
        <pc:spChg chg="add del mod modVis">
          <ac:chgData name="Joelle Brehm" userId="a518f54c-6985-42c0-8041-2bb16a414839" providerId="ADAL" clId="{E88466E7-2243-47F6-9EAE-9BF9DD0649AD}" dt="2024-04-04T20:27:59.701" v="30474"/>
          <ac:spMkLst>
            <pc:docMk/>
            <pc:sldMk cId="3374649050" sldId="274"/>
            <ac:spMk id="67" creationId="{C471A197-1DB7-0305-D42F-233BA6D293F8}"/>
          </ac:spMkLst>
        </pc:spChg>
        <pc:spChg chg="add mod replST">
          <ac:chgData name="Joelle Brehm" userId="a518f54c-6985-42c0-8041-2bb16a414839" providerId="ADAL" clId="{E88466E7-2243-47F6-9EAE-9BF9DD0649AD}" dt="2024-04-04T20:28:23.927" v="31704"/>
          <ac:spMkLst>
            <pc:docMk/>
            <pc:sldMk cId="3374649050" sldId="274"/>
            <ac:spMk id="70" creationId="{2F747F5B-C2C0-BC75-F359-E89E0DB136CF}"/>
          </ac:spMkLst>
        </pc:spChg>
        <pc:spChg chg="add del mod modVis">
          <ac:chgData name="Joelle Brehm" userId="a518f54c-6985-42c0-8041-2bb16a414839" providerId="ADAL" clId="{E88466E7-2243-47F6-9EAE-9BF9DD0649AD}" dt="2024-04-04T20:28:10.868" v="31058"/>
          <ac:spMkLst>
            <pc:docMk/>
            <pc:sldMk cId="3374649050" sldId="274"/>
            <ac:spMk id="71" creationId="{B5131746-8E23-2E43-5A09-BEE301F141E8}"/>
          </ac:spMkLst>
        </pc:spChg>
        <pc:spChg chg="add del mod ord replST">
          <ac:chgData name="Joelle Brehm" userId="a518f54c-6985-42c0-8041-2bb16a414839" providerId="ADAL" clId="{E88466E7-2243-47F6-9EAE-9BF9DD0649AD}" dt="2024-04-04T20:28:20.406" v="31494"/>
          <ac:spMkLst>
            <pc:docMk/>
            <pc:sldMk cId="3374649050" sldId="274"/>
            <ac:spMk id="72" creationId="{7CAA3B95-4C78-4122-BECA-B5FB0F3F3764}"/>
          </ac:spMkLst>
        </pc:spChg>
        <pc:spChg chg="add del mod ord replST">
          <ac:chgData name="Joelle Brehm" userId="a518f54c-6985-42c0-8041-2bb16a414839" providerId="ADAL" clId="{E88466E7-2243-47F6-9EAE-9BF9DD0649AD}" dt="2024-04-04T20:28:23.895" v="31652"/>
          <ac:spMkLst>
            <pc:docMk/>
            <pc:sldMk cId="3374649050" sldId="274"/>
            <ac:spMk id="73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0:28:13.442" v="31234"/>
          <ac:spMkLst>
            <pc:docMk/>
            <pc:sldMk cId="3374649050" sldId="274"/>
            <ac:spMk id="75" creationId="{15150603-B2D1-96C0-74C8-78ADE0B756A4}"/>
          </ac:spMkLst>
        </pc:spChg>
        <pc:spChg chg="add del mod modVis">
          <ac:chgData name="Joelle Brehm" userId="a518f54c-6985-42c0-8041-2bb16a414839" providerId="ADAL" clId="{E88466E7-2243-47F6-9EAE-9BF9DD0649AD}" dt="2024-04-04T20:28:16.226" v="31410"/>
          <ac:spMkLst>
            <pc:docMk/>
            <pc:sldMk cId="3374649050" sldId="274"/>
            <ac:spMk id="77" creationId="{64CBB4AC-DA19-E93D-EF67-9D0600B114E1}"/>
          </ac:spMkLst>
        </pc:spChg>
        <pc:spChg chg="mod ord">
          <ac:chgData name="Joelle Brehm" userId="a518f54c-6985-42c0-8041-2bb16a414839" providerId="ADAL" clId="{E88466E7-2243-47F6-9EAE-9BF9DD0649AD}" dt="2024-04-04T20:28:23.927" v="31706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0:28:23.927" v="31708"/>
          <ac:spMkLst>
            <pc:docMk/>
            <pc:sldMk cId="3374649050" sldId="274"/>
            <ac:spMk id="79" creationId="{F1476AC4-694B-4D83-BFD8-8DCAA4BB1923}"/>
          </ac:spMkLst>
        </pc:spChg>
        <pc:spChg chg="add del mod modVis">
          <ac:chgData name="Joelle Brehm" userId="a518f54c-6985-42c0-8041-2bb16a414839" providerId="ADAL" clId="{E88466E7-2243-47F6-9EAE-9BF9DD0649AD}" dt="2024-04-04T20:28:20.469" v="31598"/>
          <ac:spMkLst>
            <pc:docMk/>
            <pc:sldMk cId="3374649050" sldId="274"/>
            <ac:spMk id="81" creationId="{3184D478-8531-7CF0-C853-2598954AD5F3}"/>
          </ac:spMkLst>
        </pc:spChg>
        <pc:spChg chg="add del mod modVis">
          <ac:chgData name="Joelle Brehm" userId="a518f54c-6985-42c0-8041-2bb16a414839" providerId="ADAL" clId="{E88466E7-2243-47F6-9EAE-9BF9DD0649AD}" dt="2024-04-04T20:28:23.943" v="31733"/>
          <ac:spMkLst>
            <pc:docMk/>
            <pc:sldMk cId="3374649050" sldId="274"/>
            <ac:spMk id="83" creationId="{75B1C655-D97C-4406-2C0B-FCB7E2D9B27B}"/>
          </ac:spMkLst>
        </pc:spChg>
        <pc:spChg chg="mod ord">
          <ac:chgData name="Joelle Brehm" userId="a518f54c-6985-42c0-8041-2bb16a414839" providerId="ADAL" clId="{E88466E7-2243-47F6-9EAE-9BF9DD0649AD}" dt="2024-04-04T20:28:23.927" v="31710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0:28:23.943" v="31712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0:28:23.943" v="31714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0:28:23.943" v="31716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0:28:23.943" v="31720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8:23.943" v="31721"/>
          <ac:spMkLst>
            <pc:docMk/>
            <pc:sldMk cId="3374649050" sldId="274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E88466E7-2243-47F6-9EAE-9BF9DD0649AD}" dt="2024-04-04T20:28:23.953" v="31735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0:26:59.658" v="28869"/>
          <ac:graphicFrameMkLst>
            <pc:docMk/>
            <pc:sldMk cId="3374649050" sldId="274"/>
            <ac:graphicFrameMk id="8" creationId="{58AF3ED3-7A48-09C4-DE49-27871C32E1C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7:15.013" v="29607"/>
          <ac:graphicFrameMkLst>
            <pc:docMk/>
            <pc:sldMk cId="3374649050" sldId="274"/>
            <ac:graphicFrameMk id="34" creationId="{6A87A84D-34AD-E603-80B9-D1A7995D98EF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7:59.646" v="30395"/>
          <ac:graphicFrameMkLst>
            <pc:docMk/>
            <pc:sldMk cId="3374649050" sldId="274"/>
            <ac:graphicFrameMk id="51" creationId="{3B06DC89-203B-69D3-A4EF-2557050690E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7:16.912" v="29755"/>
          <ac:graphicFrameMkLst>
            <pc:docMk/>
            <pc:sldMk cId="3374649050" sldId="274"/>
            <ac:graphicFrameMk id="57" creationId="{E2B38739-D8A8-76F2-8532-D3F538B2CCB5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8:10.808" v="30970"/>
          <ac:graphicFrameMkLst>
            <pc:docMk/>
            <pc:sldMk cId="3374649050" sldId="274"/>
            <ac:graphicFrameMk id="60" creationId="{43D9160E-E82B-334A-2BBA-056061C47A5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7:19.445" v="29987"/>
          <ac:graphicFrameMkLst>
            <pc:docMk/>
            <pc:sldMk cId="3374649050" sldId="274"/>
            <ac:graphicFrameMk id="61" creationId="{54A0719D-EF59-AE2D-7FA6-55C0579E30B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7:20.678" v="30128"/>
          <ac:graphicFrameMkLst>
            <pc:docMk/>
            <pc:sldMk cId="3374649050" sldId="274"/>
            <ac:graphicFrameMk id="63" creationId="{DB4AB5C8-FE46-7776-F767-3C677E8AEEF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8:23.927" v="31668"/>
          <ac:graphicFrameMkLst>
            <pc:docMk/>
            <pc:sldMk cId="3374649050" sldId="274"/>
            <ac:graphicFrameMk id="65" creationId="{ADDA709F-5C47-8EE1-048A-5BC008BFD21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8:03.401" v="30496"/>
          <ac:graphicFrameMkLst>
            <pc:docMk/>
            <pc:sldMk cId="3374649050" sldId="274"/>
            <ac:graphicFrameMk id="68" creationId="{1A098F6A-B803-13AF-D460-F7643902923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8:23.943" v="31718"/>
          <ac:graphicFrameMkLst>
            <pc:docMk/>
            <pc:sldMk cId="3374649050" sldId="274"/>
            <ac:graphicFrameMk id="69" creationId="{843B6A36-ABB7-9E12-5F5A-0FF042DA3DF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8:13.393" v="31139"/>
          <ac:graphicFrameMkLst>
            <pc:docMk/>
            <pc:sldMk cId="3374649050" sldId="274"/>
            <ac:graphicFrameMk id="74" creationId="{580A3851-EFDA-2CFC-A075-BC373E3FA4D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8:16.161" v="31315"/>
          <ac:graphicFrameMkLst>
            <pc:docMk/>
            <pc:sldMk cId="3374649050" sldId="274"/>
            <ac:graphicFrameMk id="76" creationId="{92AA54FF-52FA-6C4D-E7D0-F9FE1EDF14B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8:20.422" v="31517"/>
          <ac:graphicFrameMkLst>
            <pc:docMk/>
            <pc:sldMk cId="3374649050" sldId="274"/>
            <ac:graphicFrameMk id="80" creationId="{D685FC56-767D-6463-1E0D-CFE9F4B3710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8:23.895" v="31654"/>
          <ac:graphicFrameMkLst>
            <pc:docMk/>
            <pc:sldMk cId="3374649050" sldId="274"/>
            <ac:graphicFrameMk id="82" creationId="{E3728E87-3048-DA32-A64F-AF5118D7E87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8:23.927" v="31692"/>
          <ac:graphicFrameMkLst>
            <pc:docMk/>
            <pc:sldMk cId="3374649050" sldId="274"/>
            <ac:graphicFrameMk id="84" creationId="{9FF60B6E-EB41-8453-E3E1-0125393F32A8}"/>
          </ac:graphicFrameMkLst>
        </pc:graphicFrameChg>
        <pc:picChg chg="del mod ord">
          <ac:chgData name="Joelle Brehm" userId="a518f54c-6985-42c0-8041-2bb16a414839" providerId="ADAL" clId="{E88466E7-2243-47F6-9EAE-9BF9DD0649AD}" dt="2024-04-04T20:27:40.870" v="30294" actId="478"/>
          <ac:picMkLst>
            <pc:docMk/>
            <pc:sldMk cId="3374649050" sldId="274"/>
            <ac:picMk id="3" creationId="{933AE3C5-416C-12BA-A9DF-F9BB6F1AE52D}"/>
          </ac:picMkLst>
        </pc:picChg>
        <pc:picChg chg="add mod ord">
          <ac:chgData name="Joelle Brehm" userId="a518f54c-6985-42c0-8041-2bb16a414839" providerId="ADAL" clId="{E88466E7-2243-47F6-9EAE-9BF9DD0649AD}" dt="2024-04-04T20:28:23.912" v="31662"/>
          <ac:picMkLst>
            <pc:docMk/>
            <pc:sldMk cId="3374649050" sldId="274"/>
            <ac:picMk id="66" creationId="{37BA6F56-D863-DE9D-FD70-1C85C019CDFE}"/>
          </ac:picMkLst>
        </pc:picChg>
        <pc:picChg chg="mod ord">
          <ac:chgData name="Joelle Brehm" userId="a518f54c-6985-42c0-8041-2bb16a414839" providerId="ADAL" clId="{E88466E7-2243-47F6-9EAE-9BF9DD0649AD}" dt="2024-04-04T20:28:23.943" v="31725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0:28:23.927" v="31666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0:29:35.777" v="33379"/>
        <pc:sldMkLst>
          <pc:docMk/>
          <pc:sldMk cId="592117244" sldId="275"/>
        </pc:sldMkLst>
        <pc:spChg chg="mod ord">
          <ac:chgData name="Joelle Brehm" userId="a518f54c-6985-42c0-8041-2bb16a414839" providerId="ADAL" clId="{E88466E7-2243-47F6-9EAE-9BF9DD0649AD}" dt="2024-04-04T20:29:35.760" v="33373"/>
          <ac:spMkLst>
            <pc:docMk/>
            <pc:sldMk cId="592117244" sldId="275"/>
            <ac:spMk id="3" creationId="{0C27DD68-4A51-4792-857F-F431DC7C99BB}"/>
          </ac:spMkLst>
        </pc:spChg>
        <pc:spChg chg="add del mod">
          <ac:chgData name="Joelle Brehm" userId="a518f54c-6985-42c0-8041-2bb16a414839" providerId="ADAL" clId="{E88466E7-2243-47F6-9EAE-9BF9DD0649AD}" dt="2024-04-04T20:28:29.988" v="31736" actId="478"/>
          <ac:spMkLst>
            <pc:docMk/>
            <pc:sldMk cId="592117244" sldId="275"/>
            <ac:spMk id="5" creationId="{58A781AD-5F98-1072-8C78-E59A3CAA5237}"/>
          </ac:spMkLst>
        </pc:spChg>
        <pc:spChg chg="mod ord">
          <ac:chgData name="Joelle Brehm" userId="a518f54c-6985-42c0-8041-2bb16a414839" providerId="ADAL" clId="{E88466E7-2243-47F6-9EAE-9BF9DD0649AD}" dt="2024-04-04T20:29:35.744" v="33308"/>
          <ac:spMkLst>
            <pc:docMk/>
            <pc:sldMk cId="592117244" sldId="275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0:28:47.368" v="31955"/>
          <ac:spMkLst>
            <pc:docMk/>
            <pc:sldMk cId="592117244" sldId="275"/>
            <ac:spMk id="9" creationId="{ABCD81BA-2DBB-080F-444E-ADBCE4612E76}"/>
          </ac:spMkLst>
        </pc:spChg>
        <pc:spChg chg="mod">
          <ac:chgData name="Joelle Brehm" userId="a518f54c-6985-42c0-8041-2bb16a414839" providerId="ADAL" clId="{E88466E7-2243-47F6-9EAE-9BF9DD0649AD}" dt="2024-04-04T20:29:35.744" v="33319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0:29:35.744" v="33315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0:29:35.744" v="33316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0:29:35.744" v="33313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0:29:35.744" v="33314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0:29:35.744" v="33317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0:29:35.744" v="33318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0:29:35.744" v="33320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0:29:35.744" v="33321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0:29:35.744" v="33322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0:29:35.744" v="33323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0:29:35.744" v="33324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0:29:35.744" v="33326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0:29:35.744" v="33327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0:29:35.744" v="33329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0:29:35.744" v="33328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0:29:35.744" v="33331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0:29:35.744" v="33332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0:29:35.744" v="33330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0:29:35.744" v="33334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0:29:35.744" v="33338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E88466E7-2243-47F6-9EAE-9BF9DD0649AD}" dt="2024-04-04T20:29:35.744" v="33339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E88466E7-2243-47F6-9EAE-9BF9DD0649AD}" dt="2024-04-04T20:29:35.744" v="33341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E88466E7-2243-47F6-9EAE-9BF9DD0649AD}" dt="2024-04-04T20:29:35.744" v="33340"/>
          <ac:spMkLst>
            <pc:docMk/>
            <pc:sldMk cId="592117244" sldId="275"/>
            <ac:spMk id="35" creationId="{8A659545-7F46-0F9C-1180-4340FFF52971}"/>
          </ac:spMkLst>
        </pc:spChg>
        <pc:spChg chg="mod">
          <ac:chgData name="Joelle Brehm" userId="a518f54c-6985-42c0-8041-2bb16a414839" providerId="ADAL" clId="{E88466E7-2243-47F6-9EAE-9BF9DD0649AD}" dt="2024-04-04T20:29:35.744" v="33343"/>
          <ac:spMkLst>
            <pc:docMk/>
            <pc:sldMk cId="592117244" sldId="275"/>
            <ac:spMk id="36" creationId="{C43BE2CA-3914-FB60-BCFB-2D4A26000593}"/>
          </ac:spMkLst>
        </pc:spChg>
        <pc:spChg chg="mod">
          <ac:chgData name="Joelle Brehm" userId="a518f54c-6985-42c0-8041-2bb16a414839" providerId="ADAL" clId="{E88466E7-2243-47F6-9EAE-9BF9DD0649AD}" dt="2024-04-04T20:29:35.744" v="33337"/>
          <ac:spMkLst>
            <pc:docMk/>
            <pc:sldMk cId="592117244" sldId="275"/>
            <ac:spMk id="37" creationId="{90FA8FF8-BF43-F8ED-7D69-4D34F348E5E1}"/>
          </ac:spMkLst>
        </pc:spChg>
        <pc:spChg chg="add del mod modVis">
          <ac:chgData name="Joelle Brehm" userId="a518f54c-6985-42c0-8041-2bb16a414839" providerId="ADAL" clId="{E88466E7-2243-47F6-9EAE-9BF9DD0649AD}" dt="2024-04-04T20:29:15.838" v="32255"/>
          <ac:spMkLst>
            <pc:docMk/>
            <pc:sldMk cId="592117244" sldId="275"/>
            <ac:spMk id="38" creationId="{8D40ED00-8E0D-D3F1-FC94-2A1848BE01A4}"/>
          </ac:spMkLst>
        </pc:spChg>
        <pc:spChg chg="del mod">
          <ac:chgData name="Joelle Brehm" userId="a518f54c-6985-42c0-8041-2bb16a414839" providerId="ADAL" clId="{E88466E7-2243-47F6-9EAE-9BF9DD0649AD}" dt="2024-04-04T20:29:31.007" v="33064"/>
          <ac:spMkLst>
            <pc:docMk/>
            <pc:sldMk cId="592117244" sldId="275"/>
            <ac:spMk id="39" creationId="{1EFCB791-16E1-BC87-1C92-0DDD24DA7D5F}"/>
          </ac:spMkLst>
        </pc:spChg>
        <pc:spChg chg="mod">
          <ac:chgData name="Joelle Brehm" userId="a518f54c-6985-42c0-8041-2bb16a414839" providerId="ADAL" clId="{E88466E7-2243-47F6-9EAE-9BF9DD0649AD}" dt="2024-04-04T20:29:35.744" v="33342"/>
          <ac:spMkLst>
            <pc:docMk/>
            <pc:sldMk cId="592117244" sldId="275"/>
            <ac:spMk id="40" creationId="{EA684AFB-C218-2E57-6C22-6AF81611FBE3}"/>
          </ac:spMkLst>
        </pc:spChg>
        <pc:spChg chg="mod">
          <ac:chgData name="Joelle Brehm" userId="a518f54c-6985-42c0-8041-2bb16a414839" providerId="ADAL" clId="{E88466E7-2243-47F6-9EAE-9BF9DD0649AD}" dt="2024-04-04T20:29:35.744" v="33344"/>
          <ac:spMkLst>
            <pc:docMk/>
            <pc:sldMk cId="592117244" sldId="275"/>
            <ac:spMk id="42" creationId="{7AECD966-6D66-1191-E056-C35E4AC93D68}"/>
          </ac:spMkLst>
        </pc:spChg>
        <pc:spChg chg="mod">
          <ac:chgData name="Joelle Brehm" userId="a518f54c-6985-42c0-8041-2bb16a414839" providerId="ADAL" clId="{E88466E7-2243-47F6-9EAE-9BF9DD0649AD}" dt="2024-04-04T20:29:35.744" v="33345"/>
          <ac:spMkLst>
            <pc:docMk/>
            <pc:sldMk cId="592117244" sldId="275"/>
            <ac:spMk id="44" creationId="{221444E3-A480-FC28-9EFB-C89326EEDBF7}"/>
          </ac:spMkLst>
        </pc:spChg>
        <pc:spChg chg="mod">
          <ac:chgData name="Joelle Brehm" userId="a518f54c-6985-42c0-8041-2bb16a414839" providerId="ADAL" clId="{E88466E7-2243-47F6-9EAE-9BF9DD0649AD}" dt="2024-04-04T20:29:35.744" v="33346"/>
          <ac:spMkLst>
            <pc:docMk/>
            <pc:sldMk cId="592117244" sldId="275"/>
            <ac:spMk id="45" creationId="{53113F2F-9D53-0198-9768-061422461E94}"/>
          </ac:spMkLst>
        </pc:spChg>
        <pc:spChg chg="mod">
          <ac:chgData name="Joelle Brehm" userId="a518f54c-6985-42c0-8041-2bb16a414839" providerId="ADAL" clId="{E88466E7-2243-47F6-9EAE-9BF9DD0649AD}" dt="2024-04-04T20:29:35.744" v="33347"/>
          <ac:spMkLst>
            <pc:docMk/>
            <pc:sldMk cId="592117244" sldId="275"/>
            <ac:spMk id="46" creationId="{500D504E-CB81-2A27-BBB9-BC905D388C32}"/>
          </ac:spMkLst>
        </pc:spChg>
        <pc:spChg chg="add mod replST">
          <ac:chgData name="Joelle Brehm" userId="a518f54c-6985-42c0-8041-2bb16a414839" providerId="ADAL" clId="{E88466E7-2243-47F6-9EAE-9BF9DD0649AD}" dt="2024-04-04T20:29:35.744" v="33348"/>
          <ac:spMkLst>
            <pc:docMk/>
            <pc:sldMk cId="592117244" sldId="275"/>
            <ac:spMk id="49" creationId="{1A736730-DA9B-7D05-EABA-25110602FD1D}"/>
          </ac:spMkLst>
        </pc:spChg>
        <pc:spChg chg="add del mod modVis">
          <ac:chgData name="Joelle Brehm" userId="a518f54c-6985-42c0-8041-2bb16a414839" providerId="ADAL" clId="{E88466E7-2243-47F6-9EAE-9BF9DD0649AD}" dt="2024-04-04T20:29:25.615" v="32888"/>
          <ac:spMkLst>
            <pc:docMk/>
            <pc:sldMk cId="592117244" sldId="275"/>
            <ac:spMk id="50" creationId="{D4D8FDA0-4B53-DC4B-5D91-556EF5F3B3E0}"/>
          </ac:spMkLst>
        </pc:spChg>
        <pc:spChg chg="add del mod ord replST">
          <ac:chgData name="Joelle Brehm" userId="a518f54c-6985-42c0-8041-2bb16a414839" providerId="ADAL" clId="{E88466E7-2243-47F6-9EAE-9BF9DD0649AD}" dt="2024-04-04T20:29:35.713" v="33296"/>
          <ac:spMkLst>
            <pc:docMk/>
            <pc:sldMk cId="592117244" sldId="275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0:29:27.717" v="33061"/>
          <ac:spMkLst>
            <pc:docMk/>
            <pc:sldMk cId="592117244" sldId="275"/>
            <ac:spMk id="53" creationId="{5535C23E-B398-F5D7-1DEC-46BD7DFAC3D7}"/>
          </ac:spMkLst>
        </pc:spChg>
        <pc:spChg chg="add del mod modVis">
          <ac:chgData name="Joelle Brehm" userId="a518f54c-6985-42c0-8041-2bb16a414839" providerId="ADAL" clId="{E88466E7-2243-47F6-9EAE-9BF9DD0649AD}" dt="2024-04-04T20:29:31.200" v="33242"/>
          <ac:spMkLst>
            <pc:docMk/>
            <pc:sldMk cId="592117244" sldId="275"/>
            <ac:spMk id="56" creationId="{A0B2414B-3BBB-0FBB-CE97-5A85D8592B73}"/>
          </ac:spMkLst>
        </pc:spChg>
        <pc:spChg chg="mod ord">
          <ac:chgData name="Joelle Brehm" userId="a518f54c-6985-42c0-8041-2bb16a414839" providerId="ADAL" clId="{E88466E7-2243-47F6-9EAE-9BF9DD0649AD}" dt="2024-04-04T20:29:35.760" v="33371"/>
          <ac:spMkLst>
            <pc:docMk/>
            <pc:sldMk cId="592117244" sldId="275"/>
            <ac:spMk id="58" creationId="{E203E344-295B-447B-A55D-50D302A82D3F}"/>
          </ac:spMkLst>
        </pc:spChg>
        <pc:spChg chg="add del mod modVis">
          <ac:chgData name="Joelle Brehm" userId="a518f54c-6985-42c0-8041-2bb16a414839" providerId="ADAL" clId="{E88466E7-2243-47F6-9EAE-9BF9DD0649AD}" dt="2024-04-04T20:29:35.760" v="33377"/>
          <ac:spMkLst>
            <pc:docMk/>
            <pc:sldMk cId="592117244" sldId="275"/>
            <ac:spMk id="59" creationId="{1CE571A4-C898-0A81-5D57-3DF5092290B1}"/>
          </ac:spMkLst>
        </pc:spChg>
        <pc:spChg chg="mod ord">
          <ac:chgData name="Joelle Brehm" userId="a518f54c-6985-42c0-8041-2bb16a414839" providerId="ADAL" clId="{E88466E7-2243-47F6-9EAE-9BF9DD0649AD}" dt="2024-04-04T20:29:35.744" v="33350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0:29:35.744" v="33352"/>
          <ac:spMkLst>
            <pc:docMk/>
            <pc:sldMk cId="592117244" sldId="275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0:29:35.744" v="33354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0:29:35.744" v="33356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0:29:35.760" v="33358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0:29:35.760" v="33360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0:29:35.760" v="33363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9:35.760" v="33364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9:35.760" v="33365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29:35.760" v="33366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0:29:35.760" v="33367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0:29:35.777" v="33379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0:28:47.320" v="31872"/>
          <ac:graphicFrameMkLst>
            <pc:docMk/>
            <pc:sldMk cId="592117244" sldId="275"/>
            <ac:graphicFrameMk id="8" creationId="{CCA03FAB-0A88-8FC9-7AA8-CF6850723B12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9:35.744" v="33312"/>
          <ac:graphicFrameMkLst>
            <pc:docMk/>
            <pc:sldMk cId="592117244" sldId="275"/>
            <ac:graphicFrameMk id="10" creationId="{2850CF27-A151-1052-3738-51D977F89380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9:18.290" v="32277"/>
          <ac:graphicFrameMkLst>
            <pc:docMk/>
            <pc:sldMk cId="592117244" sldId="275"/>
            <ac:graphicFrameMk id="41" creationId="{8EAEF6AC-FE5B-F68A-FAA2-CC14172D8374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9:15.790" v="32176"/>
          <ac:graphicFrameMkLst>
            <pc:docMk/>
            <pc:sldMk cId="592117244" sldId="275"/>
            <ac:graphicFrameMk id="43" creationId="{006723D0-4CDC-B471-D200-71FD214BAE0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9:19.732" v="32376"/>
          <ac:graphicFrameMkLst>
            <pc:docMk/>
            <pc:sldMk cId="592117244" sldId="275"/>
            <ac:graphicFrameMk id="47" creationId="{8F29A0ED-FAD1-AA63-A682-7BFF055BD9F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9:35.760" v="33362"/>
          <ac:graphicFrameMkLst>
            <pc:docMk/>
            <pc:sldMk cId="592117244" sldId="275"/>
            <ac:graphicFrameMk id="48" creationId="{040B0657-4109-5E05-471A-069D741E9574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9:27.654" v="32968"/>
          <ac:graphicFrameMkLst>
            <pc:docMk/>
            <pc:sldMk cId="592117244" sldId="275"/>
            <ac:graphicFrameMk id="52" creationId="{490CDFCC-EC3B-F51D-9649-CFEEF52E429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9:31.120" v="33161"/>
          <ac:graphicFrameMkLst>
            <pc:docMk/>
            <pc:sldMk cId="592117244" sldId="275"/>
            <ac:graphicFrameMk id="54" creationId="{9213A351-02D8-A477-B5ED-BD2DF078C559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29:25.558" v="32800"/>
          <ac:graphicFrameMkLst>
            <pc:docMk/>
            <pc:sldMk cId="592117244" sldId="275"/>
            <ac:graphicFrameMk id="55" creationId="{759BEDB0-AC79-7FC0-764A-002822D75E8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29:35.713" v="33298"/>
          <ac:graphicFrameMkLst>
            <pc:docMk/>
            <pc:sldMk cId="592117244" sldId="275"/>
            <ac:graphicFrameMk id="57" creationId="{E7D535F8-7C4F-3C39-7A74-04C1B63BAD1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29:35.744" v="33336"/>
          <ac:graphicFrameMkLst>
            <pc:docMk/>
            <pc:sldMk cId="592117244" sldId="275"/>
            <ac:graphicFrameMk id="60" creationId="{3AD1328C-E6A2-E4FE-7DF7-A38EE24CDB7B}"/>
          </ac:graphicFrameMkLst>
        </pc:graphicFrameChg>
        <pc:picChg chg="del mod ord">
          <ac:chgData name="Joelle Brehm" userId="a518f54c-6985-42c0-8041-2bb16a414839" providerId="ADAL" clId="{E88466E7-2243-47F6-9EAE-9BF9DD0649AD}" dt="2024-04-04T20:29:01.983" v="32043" actId="478"/>
          <ac:picMkLst>
            <pc:docMk/>
            <pc:sldMk cId="592117244" sldId="275"/>
            <ac:picMk id="2" creationId="{EF9B8CC9-573D-1FCB-81A4-58CD80AABEF5}"/>
          </ac:picMkLst>
        </pc:picChg>
        <pc:picChg chg="add mod ord">
          <ac:chgData name="Joelle Brehm" userId="a518f54c-6985-42c0-8041-2bb16a414839" providerId="ADAL" clId="{E88466E7-2243-47F6-9EAE-9BF9DD0649AD}" dt="2024-04-04T20:29:35.744" v="33306"/>
          <ac:picMkLst>
            <pc:docMk/>
            <pc:sldMk cId="592117244" sldId="275"/>
            <ac:picMk id="31" creationId="{07ACC6AF-D379-8C58-CCA9-2F7AF9E3E0D2}"/>
          </ac:picMkLst>
        </pc:picChg>
        <pc:picChg chg="mod ord">
          <ac:chgData name="Joelle Brehm" userId="a518f54c-6985-42c0-8041-2bb16a414839" providerId="ADAL" clId="{E88466E7-2243-47F6-9EAE-9BF9DD0649AD}" dt="2024-04-04T20:29:35.760" v="33369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0:29:35.744" v="33310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0:45:34.248" v="34872"/>
        <pc:sldMkLst>
          <pc:docMk/>
          <pc:sldMk cId="3358644479" sldId="276"/>
        </pc:sldMkLst>
        <pc:spChg chg="mod ord">
          <ac:chgData name="Joelle Brehm" userId="a518f54c-6985-42c0-8041-2bb16a414839" providerId="ADAL" clId="{E88466E7-2243-47F6-9EAE-9BF9DD0649AD}" dt="2024-04-04T20:45:34.232" v="34866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E88466E7-2243-47F6-9EAE-9BF9DD0649AD}" dt="2024-04-04T20:44:40.179" v="33380" actId="478"/>
          <ac:spMkLst>
            <pc:docMk/>
            <pc:sldMk cId="3358644479" sldId="276"/>
            <ac:spMk id="5" creationId="{F216AD95-F674-1A40-CA1C-E3B1A169FA43}"/>
          </ac:spMkLst>
        </pc:spChg>
        <pc:spChg chg="mod ord">
          <ac:chgData name="Joelle Brehm" userId="a518f54c-6985-42c0-8041-2bb16a414839" providerId="ADAL" clId="{E88466E7-2243-47F6-9EAE-9BF9DD0649AD}" dt="2024-04-04T20:45:34.216" v="34801"/>
          <ac:spMkLst>
            <pc:docMk/>
            <pc:sldMk cId="3358644479" sldId="27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0:44:48.300" v="33577"/>
          <ac:spMkLst>
            <pc:docMk/>
            <pc:sldMk cId="3358644479" sldId="276"/>
            <ac:spMk id="9" creationId="{4EE8D7AB-E4E3-8895-0432-9C2C0BB97F25}"/>
          </ac:spMkLst>
        </pc:spChg>
        <pc:spChg chg="mod">
          <ac:chgData name="Joelle Brehm" userId="a518f54c-6985-42c0-8041-2bb16a414839" providerId="ADAL" clId="{E88466E7-2243-47F6-9EAE-9BF9DD0649AD}" dt="2024-04-04T20:45:34.232" v="34830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E88466E7-2243-47F6-9EAE-9BF9DD0649AD}" dt="2024-04-04T20:45:34.216" v="34812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0:45:34.216" v="34808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0:45:34.216" v="34809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0:45:34.216" v="34806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0:45:34.216" v="34807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0:45:34.216" v="34810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0:45:34.216" v="34811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0:45:34.216" v="34813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0:45:34.231" v="34814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0:45:34.232" v="34815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0:45:34.232" v="34816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0:45:34.232" v="34817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0:45:34.232" v="34819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0:45:34.232" v="34820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0:45:34.232" v="34822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0:45:34.232" v="34821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0:45:34.232" v="34824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0:45:34.232" v="34825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0:45:34.232" v="34823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0:45:34.232" v="34827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0:45:34.232" v="34840"/>
          <ac:spMkLst>
            <pc:docMk/>
            <pc:sldMk cId="3358644479" sldId="276"/>
            <ac:spMk id="33" creationId="{1735947B-D840-E65A-104B-866876956309}"/>
          </ac:spMkLst>
        </pc:spChg>
        <pc:spChg chg="add mod replST">
          <ac:chgData name="Joelle Brehm" userId="a518f54c-6985-42c0-8041-2bb16a414839" providerId="ADAL" clId="{E88466E7-2243-47F6-9EAE-9BF9DD0649AD}" dt="2024-04-04T20:45:34.232" v="34859"/>
          <ac:spMkLst>
            <pc:docMk/>
            <pc:sldMk cId="3358644479" sldId="276"/>
            <ac:spMk id="35" creationId="{64BA7946-6B0A-1174-4B4A-1D021C1E91C7}"/>
          </ac:spMkLst>
        </pc:spChg>
        <pc:spChg chg="mod">
          <ac:chgData name="Joelle Brehm" userId="a518f54c-6985-42c0-8041-2bb16a414839" providerId="ADAL" clId="{E88466E7-2243-47F6-9EAE-9BF9DD0649AD}" dt="2024-04-04T20:45:34.232" v="34836"/>
          <ac:spMkLst>
            <pc:docMk/>
            <pc:sldMk cId="3358644479" sldId="276"/>
            <ac:spMk id="36" creationId="{4467CB91-DB37-223E-6BCD-75143BB1B4BC}"/>
          </ac:spMkLst>
        </pc:spChg>
        <pc:spChg chg="add mod replST">
          <ac:chgData name="Joelle Brehm" userId="a518f54c-6985-42c0-8041-2bb16a414839" providerId="ADAL" clId="{E88466E7-2243-47F6-9EAE-9BF9DD0649AD}" dt="2024-04-04T20:45:34.232" v="34860"/>
          <ac:spMkLst>
            <pc:docMk/>
            <pc:sldMk cId="3358644479" sldId="276"/>
            <ac:spMk id="37" creationId="{D376440F-466E-B382-F0AA-F1974C9B9A32}"/>
          </ac:spMkLst>
        </pc:spChg>
        <pc:spChg chg="add del mod modVis">
          <ac:chgData name="Joelle Brehm" userId="a518f54c-6985-42c0-8041-2bb16a414839" providerId="ADAL" clId="{E88466E7-2243-47F6-9EAE-9BF9DD0649AD}" dt="2024-04-04T20:45:15.113" v="33877"/>
          <ac:spMkLst>
            <pc:docMk/>
            <pc:sldMk cId="3358644479" sldId="276"/>
            <ac:spMk id="38" creationId="{2BDEA254-CC82-B904-2BE0-236CBB0FFD76}"/>
          </ac:spMkLst>
        </pc:spChg>
        <pc:spChg chg="mod">
          <ac:chgData name="Joelle Brehm" userId="a518f54c-6985-42c0-8041-2bb16a414839" providerId="ADAL" clId="{E88466E7-2243-47F6-9EAE-9BF9DD0649AD}" dt="2024-04-04T20:45:34.232" v="34858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E88466E7-2243-47F6-9EAE-9BF9DD0649AD}" dt="2024-04-04T20:45:34.232" v="34833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E88466E7-2243-47F6-9EAE-9BF9DD0649AD}" dt="2024-04-04T20:45:34.232" v="34831"/>
          <ac:spMkLst>
            <pc:docMk/>
            <pc:sldMk cId="3358644479" sldId="276"/>
            <ac:spMk id="42" creationId="{14A59D3D-0E04-F038-E831-1425EC648002}"/>
          </ac:spMkLst>
        </pc:spChg>
        <pc:spChg chg="del mod">
          <ac:chgData name="Joelle Brehm" userId="a518f54c-6985-42c0-8041-2bb16a414839" providerId="ADAL" clId="{E88466E7-2243-47F6-9EAE-9BF9DD0649AD}" dt="2024-04-04T20:45:34.126" v="34692"/>
          <ac:spMkLst>
            <pc:docMk/>
            <pc:sldMk cId="3358644479" sldId="276"/>
            <ac:spMk id="44" creationId="{5C64EA04-B56C-CC91-D9A7-8AB0C80D5C79}"/>
          </ac:spMkLst>
        </pc:spChg>
        <pc:spChg chg="mod">
          <ac:chgData name="Joelle Brehm" userId="a518f54c-6985-42c0-8041-2bb16a414839" providerId="ADAL" clId="{E88466E7-2243-47F6-9EAE-9BF9DD0649AD}" dt="2024-04-04T20:45:34.232" v="34834"/>
          <ac:spMkLst>
            <pc:docMk/>
            <pc:sldMk cId="3358644479" sldId="276"/>
            <ac:spMk id="45" creationId="{E2BF77D0-7FDB-BE38-6486-446042D2E6CA}"/>
          </ac:spMkLst>
        </pc:spChg>
        <pc:spChg chg="mod">
          <ac:chgData name="Joelle Brehm" userId="a518f54c-6985-42c0-8041-2bb16a414839" providerId="ADAL" clId="{E88466E7-2243-47F6-9EAE-9BF9DD0649AD}" dt="2024-04-04T20:45:34.232" v="34839"/>
          <ac:spMkLst>
            <pc:docMk/>
            <pc:sldMk cId="3358644479" sldId="276"/>
            <ac:spMk id="46" creationId="{60941C7A-4FE6-6D9F-9D91-5722837A43E7}"/>
          </ac:spMkLst>
        </pc:spChg>
        <pc:spChg chg="mod">
          <ac:chgData name="Joelle Brehm" userId="a518f54c-6985-42c0-8041-2bb16a414839" providerId="ADAL" clId="{E88466E7-2243-47F6-9EAE-9BF9DD0649AD}" dt="2024-04-04T20:45:34.232" v="34838"/>
          <ac:spMkLst>
            <pc:docMk/>
            <pc:sldMk cId="3358644479" sldId="276"/>
            <ac:spMk id="48" creationId="{C2906F56-C60C-2BB1-3607-9FB82AD9A981}"/>
          </ac:spMkLst>
        </pc:spChg>
        <pc:spChg chg="mod">
          <ac:chgData name="Joelle Brehm" userId="a518f54c-6985-42c0-8041-2bb16a414839" providerId="ADAL" clId="{E88466E7-2243-47F6-9EAE-9BF9DD0649AD}" dt="2024-04-04T20:45:34.232" v="34832"/>
          <ac:spMkLst>
            <pc:docMk/>
            <pc:sldMk cId="3358644479" sldId="276"/>
            <ac:spMk id="49" creationId="{D4F90E1C-EAB9-BF7D-5820-940E92571336}"/>
          </ac:spMkLst>
        </pc:spChg>
        <pc:spChg chg="mod">
          <ac:chgData name="Joelle Brehm" userId="a518f54c-6985-42c0-8041-2bb16a414839" providerId="ADAL" clId="{E88466E7-2243-47F6-9EAE-9BF9DD0649AD}" dt="2024-04-04T20:45:34.232" v="34835"/>
          <ac:spMkLst>
            <pc:docMk/>
            <pc:sldMk cId="3358644479" sldId="276"/>
            <ac:spMk id="50" creationId="{EBF57C44-6BCA-2A9E-015B-FE2A2654B397}"/>
          </ac:spMkLst>
        </pc:spChg>
        <pc:spChg chg="add mod replST">
          <ac:chgData name="Joelle Brehm" userId="a518f54c-6985-42c0-8041-2bb16a414839" providerId="ADAL" clId="{E88466E7-2243-47F6-9EAE-9BF9DD0649AD}" dt="2024-04-04T20:45:34.232" v="34841"/>
          <ac:spMkLst>
            <pc:docMk/>
            <pc:sldMk cId="3358644479" sldId="276"/>
            <ac:spMk id="51" creationId="{F2780FEF-F06D-6B95-5ED3-50FB0558DD6D}"/>
          </ac:spMkLst>
        </pc:spChg>
        <pc:spChg chg="add del mod modVis">
          <ac:chgData name="Joelle Brehm" userId="a518f54c-6985-42c0-8041-2bb16a414839" providerId="ADAL" clId="{E88466E7-2243-47F6-9EAE-9BF9DD0649AD}" dt="2024-04-04T20:45:28.183" v="34516"/>
          <ac:spMkLst>
            <pc:docMk/>
            <pc:sldMk cId="3358644479" sldId="276"/>
            <ac:spMk id="52" creationId="{108C6924-3716-3D75-9E1B-AF6F1F7CA8E6}"/>
          </ac:spMkLst>
        </pc:spChg>
        <pc:spChg chg="mod">
          <ac:chgData name="Joelle Brehm" userId="a518f54c-6985-42c0-8041-2bb16a414839" providerId="ADAL" clId="{E88466E7-2243-47F6-9EAE-9BF9DD0649AD}" dt="2024-04-04T20:45:34.232" v="34837"/>
          <ac:spMkLst>
            <pc:docMk/>
            <pc:sldMk cId="3358644479" sldId="276"/>
            <ac:spMk id="53" creationId="{319F4068-5046-76B4-073D-72CEC16CD1EA}"/>
          </ac:spMkLst>
        </pc:spChg>
        <pc:spChg chg="add del mod ord replST">
          <ac:chgData name="Joelle Brehm" userId="a518f54c-6985-42c0-8041-2bb16a414839" providerId="ADAL" clId="{E88466E7-2243-47F6-9EAE-9BF9DD0649AD}" dt="2024-04-04T20:45:34.189" v="34751"/>
          <ac:spMkLst>
            <pc:docMk/>
            <pc:sldMk cId="3358644479" sldId="276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0:45:31.280" v="34689"/>
          <ac:spMkLst>
            <pc:docMk/>
            <pc:sldMk cId="3358644479" sldId="276"/>
            <ac:spMk id="56" creationId="{7B129759-7137-A54E-76FF-0C3F7A5E339D}"/>
          </ac:spMkLst>
        </pc:spChg>
        <pc:spChg chg="mod ord">
          <ac:chgData name="Joelle Brehm" userId="a518f54c-6985-42c0-8041-2bb16a414839" providerId="ADAL" clId="{E88466E7-2243-47F6-9EAE-9BF9DD0649AD}" dt="2024-04-04T20:45:34.232" v="34864"/>
          <ac:spMkLst>
            <pc:docMk/>
            <pc:sldMk cId="3358644479" sldId="276"/>
            <ac:spMk id="58" creationId="{0CB06D1E-8664-4C1B-9ACF-854D6C46B776}"/>
          </ac:spMkLst>
        </pc:spChg>
        <pc:spChg chg="add del mod modVis">
          <ac:chgData name="Joelle Brehm" userId="a518f54c-6985-42c0-8041-2bb16a414839" providerId="ADAL" clId="{E88466E7-2243-47F6-9EAE-9BF9DD0649AD}" dt="2024-04-04T20:45:34.232" v="34870"/>
          <ac:spMkLst>
            <pc:docMk/>
            <pc:sldMk cId="3358644479" sldId="276"/>
            <ac:spMk id="60" creationId="{114335E4-59A7-EEAE-4F33-07C522BBB9A9}"/>
          </ac:spMkLst>
        </pc:spChg>
        <pc:spChg chg="mod ord">
          <ac:chgData name="Joelle Brehm" userId="a518f54c-6985-42c0-8041-2bb16a414839" providerId="ADAL" clId="{E88466E7-2243-47F6-9EAE-9BF9DD0649AD}" dt="2024-04-04T20:45:34.232" v="34843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0:45:34.232" v="34845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0:45:34.232" v="34847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0:45:34.232" v="34849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0:45:34.232" v="34851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0:45:34.232" v="34853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0:45:34.232" v="34856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0:45:34.232" v="34857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E88466E7-2243-47F6-9EAE-9BF9DD0649AD}" dt="2024-04-04T20:45:34.248" v="34872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0:44:48.244" v="33491"/>
          <ac:graphicFrameMkLst>
            <pc:docMk/>
            <pc:sldMk cId="3358644479" sldId="276"/>
            <ac:graphicFrameMk id="8" creationId="{D41DBE00-C539-4A74-F1A7-9F57BDCAA75C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45:28.134" v="34432"/>
          <ac:graphicFrameMkLst>
            <pc:docMk/>
            <pc:sldMk cId="3358644479" sldId="276"/>
            <ac:graphicFrameMk id="31" creationId="{E1F132BE-8CFC-9A2A-9BBD-B461B3E1FE4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45:34.216" v="34805"/>
          <ac:graphicFrameMkLst>
            <pc:docMk/>
            <pc:sldMk cId="3358644479" sldId="276"/>
            <ac:graphicFrameMk id="32" creationId="{71DFE74A-BCC2-3C58-A83F-873F03B7C41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45:19.846" v="33899"/>
          <ac:graphicFrameMkLst>
            <pc:docMk/>
            <pc:sldMk cId="3358644479" sldId="276"/>
            <ac:graphicFrameMk id="40" creationId="{8B1DDF60-F699-1C75-FF8D-5662F097428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45:21.546" v="33998"/>
          <ac:graphicFrameMkLst>
            <pc:docMk/>
            <pc:sldMk cId="3358644479" sldId="276"/>
            <ac:graphicFrameMk id="43" creationId="{3FFF1A6F-AF03-05AD-3DFD-5FA050075CC0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45:34.232" v="34855"/>
          <ac:graphicFrameMkLst>
            <pc:docMk/>
            <pc:sldMk cId="3358644479" sldId="276"/>
            <ac:graphicFrameMk id="47" creationId="{276D6971-FA8F-9393-3562-257417C116E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45:31.200" v="34596"/>
          <ac:graphicFrameMkLst>
            <pc:docMk/>
            <pc:sldMk cId="3358644479" sldId="276"/>
            <ac:graphicFrameMk id="55" creationId="{E914BCFC-F143-5A4D-F878-1CD168EF50EF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0:45:15.048" v="33798"/>
          <ac:graphicFrameMkLst>
            <pc:docMk/>
            <pc:sldMk cId="3358644479" sldId="276"/>
            <ac:graphicFrameMk id="57" creationId="{B384D894-0C3B-2100-F845-06AC1C9D104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0:45:34.200" v="34791"/>
          <ac:graphicFrameMkLst>
            <pc:docMk/>
            <pc:sldMk cId="3358644479" sldId="276"/>
            <ac:graphicFrameMk id="59" creationId="{90F47BDA-53B4-A39A-1D7B-695F659A5A3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0:45:34.232" v="34829"/>
          <ac:graphicFrameMkLst>
            <pc:docMk/>
            <pc:sldMk cId="3358644479" sldId="276"/>
            <ac:graphicFrameMk id="61" creationId="{92BAE051-36CA-D845-7724-890D78371346}"/>
          </ac:graphicFrameMkLst>
        </pc:graphicFrameChg>
        <pc:picChg chg="del mod ord">
          <ac:chgData name="Joelle Brehm" userId="a518f54c-6985-42c0-8041-2bb16a414839" providerId="ADAL" clId="{E88466E7-2243-47F6-9EAE-9BF9DD0649AD}" dt="2024-04-04T20:45:04.632" v="33658" actId="478"/>
          <ac:picMkLst>
            <pc:docMk/>
            <pc:sldMk cId="3358644479" sldId="276"/>
            <ac:picMk id="3" creationId="{9F76B280-A75D-811B-C658-B36E05306571}"/>
          </ac:picMkLst>
        </pc:picChg>
        <pc:picChg chg="add mod ord">
          <ac:chgData name="Joelle Brehm" userId="a518f54c-6985-42c0-8041-2bb16a414839" providerId="ADAL" clId="{E88466E7-2243-47F6-9EAE-9BF9DD0649AD}" dt="2024-04-04T20:45:34.216" v="34799"/>
          <ac:picMkLst>
            <pc:docMk/>
            <pc:sldMk cId="3358644479" sldId="276"/>
            <ac:picMk id="34" creationId="{FF12CF86-2467-2F00-B024-53E4DEFEECEF}"/>
          </ac:picMkLst>
        </pc:picChg>
        <pc:picChg chg="mod ord">
          <ac:chgData name="Joelle Brehm" userId="a518f54c-6985-42c0-8041-2bb16a414839" providerId="ADAL" clId="{E88466E7-2243-47F6-9EAE-9BF9DD0649AD}" dt="2024-04-04T20:45:34.232" v="34862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0:45:34.216" v="34803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09:41.398" v="36474"/>
        <pc:sldMkLst>
          <pc:docMk/>
          <pc:sldMk cId="1336352168" sldId="277"/>
        </pc:sldMkLst>
        <pc:spChg chg="mod ord">
          <ac:chgData name="Joelle Brehm" userId="a518f54c-6985-42c0-8041-2bb16a414839" providerId="ADAL" clId="{E88466E7-2243-47F6-9EAE-9BF9DD0649AD}" dt="2024-04-04T21:09:41.370" v="36468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E88466E7-2243-47F6-9EAE-9BF9DD0649AD}" dt="2024-04-04T20:45:41.768" v="34873" actId="478"/>
          <ac:spMkLst>
            <pc:docMk/>
            <pc:sldMk cId="1336352168" sldId="277"/>
            <ac:spMk id="3" creationId="{7AD3D463-41F7-A6B4-3A9A-AB81E6D6BB91}"/>
          </ac:spMkLst>
        </pc:spChg>
        <pc:spChg chg="add del mod modVis">
          <ac:chgData name="Joelle Brehm" userId="a518f54c-6985-42c0-8041-2bb16a414839" providerId="ADAL" clId="{E88466E7-2243-47F6-9EAE-9BF9DD0649AD}" dt="2024-04-04T21:06:15.102" v="35286"/>
          <ac:spMkLst>
            <pc:docMk/>
            <pc:sldMk cId="1336352168" sldId="277"/>
            <ac:spMk id="5" creationId="{0F373F9E-BBF8-6DA5-BC25-FA15FA887F8C}"/>
          </ac:spMkLst>
        </pc:spChg>
        <pc:spChg chg="add del mod modVis">
          <ac:chgData name="Joelle Brehm" userId="a518f54c-6985-42c0-8041-2bb16a414839" providerId="ADAL" clId="{E88466E7-2243-47F6-9EAE-9BF9DD0649AD}" dt="2024-04-04T21:02:56.428" v="35088"/>
          <ac:spMkLst>
            <pc:docMk/>
            <pc:sldMk cId="1336352168" sldId="277"/>
            <ac:spMk id="5" creationId="{D75D6125-6176-1008-B710-ADE8A90755C7}"/>
          </ac:spMkLst>
        </pc:spChg>
        <pc:spChg chg="mod ord">
          <ac:chgData name="Joelle Brehm" userId="a518f54c-6985-42c0-8041-2bb16a414839" providerId="ADAL" clId="{E88466E7-2243-47F6-9EAE-9BF9DD0649AD}" dt="2024-04-04T21:09:41.351" v="36403"/>
          <ac:spMkLst>
            <pc:docMk/>
            <pc:sldMk cId="1336352168" sldId="277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1:06:25.904" v="35485"/>
          <ac:spMkLst>
            <pc:docMk/>
            <pc:sldMk cId="1336352168" sldId="277"/>
            <ac:spMk id="9" creationId="{A727114D-EBC5-D4C8-5C2C-9A7450143757}"/>
          </ac:spMkLst>
        </pc:spChg>
        <pc:spChg chg="mod">
          <ac:chgData name="Joelle Brehm" userId="a518f54c-6985-42c0-8041-2bb16a414839" providerId="ADAL" clId="{E88466E7-2243-47F6-9EAE-9BF9DD0649AD}" dt="2024-04-04T21:09:41.355" v="36414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09:41.354" v="36410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09:41.354" v="36411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09:41.353" v="36408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09:41.353" v="36409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09:41.354" v="36412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09:41.354" v="36413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09:41.355" v="36415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09:41.355" v="36416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09:41.355" v="36417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09:41.356" v="36418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09:41.356" v="36419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09:41.356" v="36421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09:41.357" v="36422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09:41.357" v="36424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09:41.357" v="36423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09:41.358" v="36426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09:41.358" v="36427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09:41.358" v="36425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09:41.359" v="36429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1:09:41.361" v="36438"/>
          <ac:spMkLst>
            <pc:docMk/>
            <pc:sldMk cId="1336352168" sldId="277"/>
            <ac:spMk id="32" creationId="{74CF8B3F-36F6-9332-CFE2-CF317BED3193}"/>
          </ac:spMkLst>
        </pc:spChg>
        <pc:spChg chg="add mod replST">
          <ac:chgData name="Joelle Brehm" userId="a518f54c-6985-42c0-8041-2bb16a414839" providerId="ADAL" clId="{E88466E7-2243-47F6-9EAE-9BF9DD0649AD}" dt="2024-04-04T21:09:41.363" v="36443"/>
          <ac:spMkLst>
            <pc:docMk/>
            <pc:sldMk cId="1336352168" sldId="277"/>
            <ac:spMk id="33" creationId="{86B54686-1D6F-6ED8-BFC2-81A5FF4023B0}"/>
          </ac:spMkLst>
        </pc:spChg>
        <pc:spChg chg="add del mod modVis">
          <ac:chgData name="Joelle Brehm" userId="a518f54c-6985-42c0-8041-2bb16a414839" providerId="ADAL" clId="{E88466E7-2243-47F6-9EAE-9BF9DD0649AD}" dt="2024-04-04T21:06:33.932" v="35971"/>
          <ac:spMkLst>
            <pc:docMk/>
            <pc:sldMk cId="1336352168" sldId="277"/>
            <ac:spMk id="34" creationId="{51A422A3-9988-712D-05F9-F8D7B0CFB033}"/>
          </ac:spMkLst>
        </pc:spChg>
        <pc:spChg chg="mod">
          <ac:chgData name="Joelle Brehm" userId="a518f54c-6985-42c0-8041-2bb16a414839" providerId="ADAL" clId="{E88466E7-2243-47F6-9EAE-9BF9DD0649AD}" dt="2024-04-04T21:09:41.362" v="36441"/>
          <ac:spMkLst>
            <pc:docMk/>
            <pc:sldMk cId="1336352168" sldId="277"/>
            <ac:spMk id="36" creationId="{868EF4EC-6C6C-5D6C-CE37-AA48A78690B5}"/>
          </ac:spMkLst>
        </pc:spChg>
        <pc:spChg chg="mod">
          <ac:chgData name="Joelle Brehm" userId="a518f54c-6985-42c0-8041-2bb16a414839" providerId="ADAL" clId="{E88466E7-2243-47F6-9EAE-9BF9DD0649AD}" dt="2024-04-04T21:09:41.362" v="36442"/>
          <ac:spMkLst>
            <pc:docMk/>
            <pc:sldMk cId="1336352168" sldId="277"/>
            <ac:spMk id="37" creationId="{486C8B9B-03DE-4315-FFE4-733A525C403C}"/>
          </ac:spMkLst>
        </pc:spChg>
        <pc:spChg chg="add del mod ord replST">
          <ac:chgData name="Joelle Brehm" userId="a518f54c-6985-42c0-8041-2bb16a414839" providerId="ADAL" clId="{E88466E7-2243-47F6-9EAE-9BF9DD0649AD}" dt="2024-04-04T21:06:38.607" v="36218"/>
          <ac:spMkLst>
            <pc:docMk/>
            <pc:sldMk cId="1336352168" sldId="277"/>
            <ac:spMk id="38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09:41.360" v="36432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E88466E7-2243-47F6-9EAE-9BF9DD0649AD}" dt="2024-04-04T21:09:41.360" v="36433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E88466E7-2243-47F6-9EAE-9BF9DD0649AD}" dt="2024-04-04T21:09:41.360" v="36435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E88466E7-2243-47F6-9EAE-9BF9DD0649AD}" dt="2024-04-04T21:09:41.361" v="36436"/>
          <ac:spMkLst>
            <pc:docMk/>
            <pc:sldMk cId="1336352168" sldId="277"/>
            <ac:spMk id="42" creationId="{04656030-ED65-550D-E841-3EC7F85E35CF}"/>
          </ac:spMkLst>
        </pc:spChg>
        <pc:spChg chg="del mod">
          <ac:chgData name="Joelle Brehm" userId="a518f54c-6985-42c0-8041-2bb16a414839" providerId="ADAL" clId="{E88466E7-2243-47F6-9EAE-9BF9DD0649AD}" dt="2024-04-04T21:06:38.541" v="36152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E88466E7-2243-47F6-9EAE-9BF9DD0649AD}" dt="2024-04-04T21:09:41.360" v="36434"/>
          <ac:spMkLst>
            <pc:docMk/>
            <pc:sldMk cId="1336352168" sldId="277"/>
            <ac:spMk id="44" creationId="{948C7430-EE17-A200-FEA6-849EEC95829A}"/>
          </ac:spMkLst>
        </pc:spChg>
        <pc:spChg chg="mod">
          <ac:chgData name="Joelle Brehm" userId="a518f54c-6985-42c0-8041-2bb16a414839" providerId="ADAL" clId="{E88466E7-2243-47F6-9EAE-9BF9DD0649AD}" dt="2024-04-04T21:09:41.361" v="36439"/>
          <ac:spMkLst>
            <pc:docMk/>
            <pc:sldMk cId="1336352168" sldId="277"/>
            <ac:spMk id="45" creationId="{D04E5C9A-B84D-E68D-0174-8A803F9459C0}"/>
          </ac:spMkLst>
        </pc:spChg>
        <pc:spChg chg="mod">
          <ac:chgData name="Joelle Brehm" userId="a518f54c-6985-42c0-8041-2bb16a414839" providerId="ADAL" clId="{E88466E7-2243-47F6-9EAE-9BF9DD0649AD}" dt="2024-04-04T21:09:41.361" v="36437"/>
          <ac:spMkLst>
            <pc:docMk/>
            <pc:sldMk cId="1336352168" sldId="277"/>
            <ac:spMk id="46" creationId="{F7A7DC41-8925-BEE0-D237-2FE7B5C8A67F}"/>
          </ac:spMkLst>
        </pc:spChg>
        <pc:spChg chg="mod">
          <ac:chgData name="Joelle Brehm" userId="a518f54c-6985-42c0-8041-2bb16a414839" providerId="ADAL" clId="{E88466E7-2243-47F6-9EAE-9BF9DD0649AD}" dt="2024-04-04T21:09:41.362" v="36440"/>
          <ac:spMkLst>
            <pc:docMk/>
            <pc:sldMk cId="1336352168" sldId="277"/>
            <ac:spMk id="47" creationId="{AE18A661-20DA-E8A0-77A0-CA2C637605AF}"/>
          </ac:spMkLst>
        </pc:spChg>
        <pc:spChg chg="add del mod ord replST">
          <ac:chgData name="Joelle Brehm" userId="a518f54c-6985-42c0-8041-2bb16a414839" providerId="ADAL" clId="{E88466E7-2243-47F6-9EAE-9BF9DD0649AD}" dt="2024-04-04T21:09:41.328" v="36391"/>
          <ac:spMkLst>
            <pc:docMk/>
            <pc:sldMk cId="1336352168" sldId="277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1:06:35.843" v="36149"/>
          <ac:spMkLst>
            <pc:docMk/>
            <pc:sldMk cId="1336352168" sldId="277"/>
            <ac:spMk id="50" creationId="{7E52211E-5C77-5DBF-0744-9DA82918068C}"/>
          </ac:spMkLst>
        </pc:spChg>
        <pc:spChg chg="add del mod modVis">
          <ac:chgData name="Joelle Brehm" userId="a518f54c-6985-42c0-8041-2bb16a414839" providerId="ADAL" clId="{E88466E7-2243-47F6-9EAE-9BF9DD0649AD}" dt="2024-04-04T21:06:38.682" v="36335"/>
          <ac:spMkLst>
            <pc:docMk/>
            <pc:sldMk cId="1336352168" sldId="277"/>
            <ac:spMk id="52" creationId="{33F7643E-BD33-8577-5772-472279C0DDBF}"/>
          </ac:spMkLst>
        </pc:spChg>
        <pc:spChg chg="add del mod modVis">
          <ac:chgData name="Joelle Brehm" userId="a518f54c-6985-42c0-8041-2bb16a414839" providerId="ADAL" clId="{E88466E7-2243-47F6-9EAE-9BF9DD0649AD}" dt="2024-04-04T21:09:41.371" v="36472"/>
          <ac:spMkLst>
            <pc:docMk/>
            <pc:sldMk cId="1336352168" sldId="277"/>
            <ac:spMk id="54" creationId="{9D3A8F41-FA35-9680-BE9A-C58FC4820396}"/>
          </ac:spMkLst>
        </pc:spChg>
        <pc:spChg chg="mod ord">
          <ac:chgData name="Joelle Brehm" userId="a518f54c-6985-42c0-8041-2bb16a414839" providerId="ADAL" clId="{E88466E7-2243-47F6-9EAE-9BF9DD0649AD}" dt="2024-04-04T21:09:41.369" v="36466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E88466E7-2243-47F6-9EAE-9BF9DD0649AD}" dt="2024-04-04T21:09:41.363" v="36445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09:41.364" v="36447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1:09:41.364" v="36449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09:41.365" v="36451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09:41.366" v="36453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09:41.366" v="36455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09:41.367" v="36458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09:41.367" v="36459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09:41.368" v="36460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09:41.368" v="36461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09:41.368" v="36462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1:09:41.398" v="36474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09:41.353" v="36407"/>
          <ac:graphicFrameMkLst>
            <pc:docMk/>
            <pc:sldMk cId="1336352168" sldId="277"/>
            <ac:graphicFrameMk id="8" creationId="{A07860F7-5604-DC8E-25EB-C19B9F1208F7}"/>
          </ac:graphicFrameMkLst>
        </pc:graphicFrameChg>
        <pc:graphicFrameChg chg="del">
          <ac:chgData name="Joelle Brehm" userId="a518f54c-6985-42c0-8041-2bb16a414839" providerId="ADAL" clId="{E88466E7-2243-47F6-9EAE-9BF9DD0649AD}" dt="2024-04-04T21:02:56.381" v="35005"/>
          <ac:graphicFrameMkLst>
            <pc:docMk/>
            <pc:sldMk cId="1336352168" sldId="277"/>
            <ac:graphicFrameMk id="9" creationId="{D7D2B156-7515-973C-0CB4-361018BFB1C8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09:41.367" v="36457"/>
          <ac:graphicFrameMkLst>
            <pc:docMk/>
            <pc:sldMk cId="1336352168" sldId="277"/>
            <ac:graphicFrameMk id="10" creationId="{001D37F5-DBF7-B851-FC96-C13BAF319927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06:25.844" v="35406"/>
          <ac:graphicFrameMkLst>
            <pc:docMk/>
            <pc:sldMk cId="1336352168" sldId="277"/>
            <ac:graphicFrameMk id="35" creationId="{5575BB88-54AB-DA26-5017-0B6B173D237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06:35.785" v="36054"/>
          <ac:graphicFrameMkLst>
            <pc:docMk/>
            <pc:sldMk cId="1336352168" sldId="277"/>
            <ac:graphicFrameMk id="49" creationId="{077E8C9A-204D-33E1-00D7-DCB28DA1560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06:38.625" v="36254"/>
          <ac:graphicFrameMkLst>
            <pc:docMk/>
            <pc:sldMk cId="1336352168" sldId="277"/>
            <ac:graphicFrameMk id="51" creationId="{DE7E0B97-8FD7-5608-13A9-F831AE0B8223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09:41.329" v="36393"/>
          <ac:graphicFrameMkLst>
            <pc:docMk/>
            <pc:sldMk cId="1336352168" sldId="277"/>
            <ac:graphicFrameMk id="53" creationId="{44207F0C-46E4-0415-25CE-55C021E7823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09:41.359" v="36431"/>
          <ac:graphicFrameMkLst>
            <pc:docMk/>
            <pc:sldMk cId="1336352168" sldId="277"/>
            <ac:graphicFrameMk id="55" creationId="{F6FBF6C8-E5F6-9EFC-36AA-99DBEB794C5B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06:33.847" v="35881"/>
          <ac:graphicFrameMkLst>
            <pc:docMk/>
            <pc:sldMk cId="1336352168" sldId="277"/>
            <ac:graphicFrameMk id="57" creationId="{1E446440-AF74-AAC1-9225-50E5E4705146}"/>
          </ac:graphicFrameMkLst>
        </pc:graphicFrameChg>
        <pc:picChg chg="add mod ord">
          <ac:chgData name="Joelle Brehm" userId="a518f54c-6985-42c0-8041-2bb16a414839" providerId="ADAL" clId="{E88466E7-2243-47F6-9EAE-9BF9DD0649AD}" dt="2024-04-04T21:09:41.351" v="36401"/>
          <ac:picMkLst>
            <pc:docMk/>
            <pc:sldMk cId="1336352168" sldId="277"/>
            <ac:picMk id="3" creationId="{DAE43EAF-428A-41B4-7B23-AA337D945E9A}"/>
          </ac:picMkLst>
        </pc:picChg>
        <pc:picChg chg="del mod ord">
          <ac:chgData name="Joelle Brehm" userId="a518f54c-6985-42c0-8041-2bb16a414839" providerId="ADAL" clId="{E88466E7-2243-47F6-9EAE-9BF9DD0649AD}" dt="2024-04-04T21:03:14.799" v="35177" actId="478"/>
          <ac:picMkLst>
            <pc:docMk/>
            <pc:sldMk cId="1336352168" sldId="277"/>
            <ac:picMk id="10" creationId="{0903DD1C-60C2-1CDD-C42E-CE5964511C5B}"/>
          </ac:picMkLst>
        </pc:picChg>
        <pc:picChg chg="add del mod ord">
          <ac:chgData name="Joelle Brehm" userId="a518f54c-6985-42c0-8041-2bb16a414839" providerId="ADAL" clId="{E88466E7-2243-47F6-9EAE-9BF9DD0649AD}" dt="2024-04-04T21:06:16.926" v="35289" actId="478"/>
          <ac:picMkLst>
            <pc:docMk/>
            <pc:sldMk cId="1336352168" sldId="277"/>
            <ac:picMk id="31" creationId="{1332C0B9-2221-4468-7D54-9E51C1C3CA06}"/>
          </ac:picMkLst>
        </pc:picChg>
        <pc:picChg chg="mod ord">
          <ac:chgData name="Joelle Brehm" userId="a518f54c-6985-42c0-8041-2bb16a414839" providerId="ADAL" clId="{E88466E7-2243-47F6-9EAE-9BF9DD0649AD}" dt="2024-04-04T21:09:41.369" v="36464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09:41.352" v="36405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10:57.163" v="38446"/>
        <pc:sldMkLst>
          <pc:docMk/>
          <pc:sldMk cId="1379386497" sldId="278"/>
        </pc:sldMkLst>
        <pc:spChg chg="mod ord">
          <ac:chgData name="Joelle Brehm" userId="a518f54c-6985-42c0-8041-2bb16a414839" providerId="ADAL" clId="{E88466E7-2243-47F6-9EAE-9BF9DD0649AD}" dt="2024-04-04T21:10:57.147" v="38440"/>
          <ac:spMkLst>
            <pc:docMk/>
            <pc:sldMk cId="1379386497" sldId="278"/>
            <ac:spMk id="2" creationId="{F45C2660-F634-4943-BD78-279946171050}"/>
          </ac:spMkLst>
        </pc:spChg>
        <pc:spChg chg="add del mod">
          <ac:chgData name="Joelle Brehm" userId="a518f54c-6985-42c0-8041-2bb16a414839" providerId="ADAL" clId="{E88466E7-2243-47F6-9EAE-9BF9DD0649AD}" dt="2024-04-04T21:09:45.959" v="36475" actId="478"/>
          <ac:spMkLst>
            <pc:docMk/>
            <pc:sldMk cId="1379386497" sldId="278"/>
            <ac:spMk id="3" creationId="{EEAB3BEF-27BD-1B20-0BF0-05A4DF3F1825}"/>
          </ac:spMkLst>
        </pc:spChg>
        <pc:spChg chg="add del mod modVis">
          <ac:chgData name="Joelle Brehm" userId="a518f54c-6985-42c0-8041-2bb16a414839" providerId="ADAL" clId="{E88466E7-2243-47F6-9EAE-9BF9DD0649AD}" dt="2024-04-04T21:10:05.502" v="36696"/>
          <ac:spMkLst>
            <pc:docMk/>
            <pc:sldMk cId="1379386497" sldId="278"/>
            <ac:spMk id="5" creationId="{D0C5C7F5-B732-DFE1-5FEC-4F9FAD264917}"/>
          </ac:spMkLst>
        </pc:spChg>
        <pc:spChg chg="mod ord">
          <ac:chgData name="Joelle Brehm" userId="a518f54c-6985-42c0-8041-2bb16a414839" providerId="ADAL" clId="{E88466E7-2243-47F6-9EAE-9BF9DD0649AD}" dt="2024-04-04T21:10:57.127" v="38375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10:57.130" v="38386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10:57.129" v="38382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10:57.129" v="38383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10:57.128" v="38380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10:57.128" v="38381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10:57.129" v="38384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10:57.130" v="38385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10:57.130" v="38387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10:57.130" v="38388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10:57.131" v="38389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10:57.131" v="38390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10:57.131" v="38391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10:57.132" v="38393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10:57.132" v="38394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10:57.133" v="38396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10:57.132" v="38395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10:57.133" v="38398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10:57.134" v="38399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10:57.133" v="38397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10:57.134" v="38401"/>
          <ac:spMkLst>
            <pc:docMk/>
            <pc:sldMk cId="1379386497" sldId="27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04T21:10:33.070" v="36996"/>
          <ac:spMkLst>
            <pc:docMk/>
            <pc:sldMk cId="1379386497" sldId="278"/>
            <ac:spMk id="31" creationId="{70CF9293-3E06-CA58-4746-22B09998DE32}"/>
          </ac:spMkLst>
        </pc:spChg>
        <pc:spChg chg="mod">
          <ac:chgData name="Joelle Brehm" userId="a518f54c-6985-42c0-8041-2bb16a414839" providerId="ADAL" clId="{E88466E7-2243-47F6-9EAE-9BF9DD0649AD}" dt="2024-04-04T21:10:57.137" v="38410"/>
          <ac:spMkLst>
            <pc:docMk/>
            <pc:sldMk cId="1379386497" sldId="278"/>
            <ac:spMk id="33" creationId="{D9441170-0215-A7D1-2B94-1AA18159DA2E}"/>
          </ac:spMkLst>
        </pc:spChg>
        <pc:spChg chg="mod">
          <ac:chgData name="Joelle Brehm" userId="a518f54c-6985-42c0-8041-2bb16a414839" providerId="ADAL" clId="{E88466E7-2243-47F6-9EAE-9BF9DD0649AD}" dt="2024-04-04T21:10:57.138" v="38413"/>
          <ac:spMkLst>
            <pc:docMk/>
            <pc:sldMk cId="1379386497" sldId="278"/>
            <ac:spMk id="34" creationId="{EA2B09D6-B9E2-E57B-C9D8-F46E7FE20D58}"/>
          </ac:spMkLst>
        </pc:spChg>
        <pc:spChg chg="add del mod modVis">
          <ac:chgData name="Joelle Brehm" userId="a518f54c-6985-42c0-8041-2bb16a414839" providerId="ADAL" clId="{E88466E7-2243-47F6-9EAE-9BF9DD0649AD}" dt="2024-04-04T21:10:37.995" v="37120"/>
          <ac:spMkLst>
            <pc:docMk/>
            <pc:sldMk cId="1379386497" sldId="278"/>
            <ac:spMk id="36" creationId="{265CE6EA-4D6B-41CC-8ADF-B5E2904F4E61}"/>
          </ac:spMkLst>
        </pc:spChg>
        <pc:spChg chg="mod">
          <ac:chgData name="Joelle Brehm" userId="a518f54c-6985-42c0-8041-2bb16a414839" providerId="ADAL" clId="{E88466E7-2243-47F6-9EAE-9BF9DD0649AD}" dt="2024-04-04T21:10:57.145" v="38432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E88466E7-2243-47F6-9EAE-9BF9DD0649AD}" dt="2024-04-04T21:10:57.146" v="38434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E88466E7-2243-47F6-9EAE-9BF9DD0649AD}" dt="2024-04-04T21:10:57.136" v="38408"/>
          <ac:spMkLst>
            <pc:docMk/>
            <pc:sldMk cId="1379386497" sldId="278"/>
            <ac:spMk id="41" creationId="{2CE2D9E3-933C-589B-9FDF-AD85A36D3F72}"/>
          </ac:spMkLst>
        </pc:spChg>
        <pc:spChg chg="mod">
          <ac:chgData name="Joelle Brehm" userId="a518f54c-6985-42c0-8041-2bb16a414839" providerId="ADAL" clId="{E88466E7-2243-47F6-9EAE-9BF9DD0649AD}" dt="2024-04-04T21:10:57.137" v="38411"/>
          <ac:spMkLst>
            <pc:docMk/>
            <pc:sldMk cId="1379386497" sldId="278"/>
            <ac:spMk id="42" creationId="{0660EA24-A2FF-39AF-6D53-5A6B463F1F4A}"/>
          </ac:spMkLst>
        </pc:spChg>
        <pc:spChg chg="mod">
          <ac:chgData name="Joelle Brehm" userId="a518f54c-6985-42c0-8041-2bb16a414839" providerId="ADAL" clId="{E88466E7-2243-47F6-9EAE-9BF9DD0649AD}" dt="2024-04-04T21:10:57.136" v="38406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E88466E7-2243-47F6-9EAE-9BF9DD0649AD}" dt="2024-04-04T21:10:57.135" v="38404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E88466E7-2243-47F6-9EAE-9BF9DD0649AD}" dt="2024-04-04T21:10:57.137" v="38409"/>
          <ac:spMkLst>
            <pc:docMk/>
            <pc:sldMk cId="1379386497" sldId="278"/>
            <ac:spMk id="45" creationId="{905B75A0-9675-8F59-A2F9-EC525ACC9D40}"/>
          </ac:spMkLst>
        </pc:spChg>
        <pc:spChg chg="del mod">
          <ac:chgData name="Joelle Brehm" userId="a518f54c-6985-42c0-8041-2bb16a414839" providerId="ADAL" clId="{E88466E7-2243-47F6-9EAE-9BF9DD0649AD}" dt="2024-04-04T21:10:51.892" v="37910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E88466E7-2243-47F6-9EAE-9BF9DD0649AD}" dt="2024-04-04T21:10:57.136" v="38407"/>
          <ac:spMkLst>
            <pc:docMk/>
            <pc:sldMk cId="1379386497" sldId="278"/>
            <ac:spMk id="47" creationId="{6057FFE7-9F54-EBDD-8215-FE17C631267E}"/>
          </ac:spMkLst>
        </pc:spChg>
        <pc:spChg chg="mod">
          <ac:chgData name="Joelle Brehm" userId="a518f54c-6985-42c0-8041-2bb16a414839" providerId="ADAL" clId="{E88466E7-2243-47F6-9EAE-9BF9DD0649AD}" dt="2024-04-04T21:10:57.139" v="38414"/>
          <ac:spMkLst>
            <pc:docMk/>
            <pc:sldMk cId="1379386497" sldId="278"/>
            <ac:spMk id="50" creationId="{2F9838F6-DFD8-CCFE-5224-76EEBBD31C18}"/>
          </ac:spMkLst>
        </pc:spChg>
        <pc:spChg chg="add mod replST">
          <ac:chgData name="Joelle Brehm" userId="a518f54c-6985-42c0-8041-2bb16a414839" providerId="ADAL" clId="{E88466E7-2243-47F6-9EAE-9BF9DD0649AD}" dt="2024-04-04T21:10:57.139" v="38415"/>
          <ac:spMkLst>
            <pc:docMk/>
            <pc:sldMk cId="1379386497" sldId="278"/>
            <ac:spMk id="51" creationId="{23535B3B-E79F-0E25-8796-C4FD41FB3DBF}"/>
          </ac:spMkLst>
        </pc:spChg>
        <pc:spChg chg="mod">
          <ac:chgData name="Joelle Brehm" userId="a518f54c-6985-42c0-8041-2bb16a414839" providerId="ADAL" clId="{E88466E7-2243-47F6-9EAE-9BF9DD0649AD}" dt="2024-04-04T21:10:57.138" v="38412"/>
          <ac:spMkLst>
            <pc:docMk/>
            <pc:sldMk cId="1379386497" sldId="278"/>
            <ac:spMk id="52" creationId="{5F99AA82-A56C-0B31-0714-9B89A2D90005}"/>
          </ac:spMkLst>
        </pc:spChg>
        <pc:spChg chg="add del mod modVis">
          <ac:chgData name="Joelle Brehm" userId="a518f54c-6985-42c0-8041-2bb16a414839" providerId="ADAL" clId="{E88466E7-2243-47F6-9EAE-9BF9DD0649AD}" dt="2024-04-04T21:10:47.248" v="37736"/>
          <ac:spMkLst>
            <pc:docMk/>
            <pc:sldMk cId="1379386497" sldId="278"/>
            <ac:spMk id="53" creationId="{7408873A-150F-12E0-C702-7B252B08EBD7}"/>
          </ac:spMkLst>
        </pc:spChg>
        <pc:spChg chg="add del mod ord replST">
          <ac:chgData name="Joelle Brehm" userId="a518f54c-6985-42c0-8041-2bb16a414839" providerId="ADAL" clId="{E88466E7-2243-47F6-9EAE-9BF9DD0649AD}" dt="2024-04-04T21:10:55.097" v="38226"/>
          <ac:spMkLst>
            <pc:docMk/>
            <pc:sldMk cId="1379386497" sldId="278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1:10:49.111" v="37907"/>
          <ac:spMkLst>
            <pc:docMk/>
            <pc:sldMk cId="1379386497" sldId="278"/>
            <ac:spMk id="56" creationId="{2BB810B7-E867-FA89-5E05-8FF5F71E3072}"/>
          </ac:spMkLst>
        </pc:spChg>
        <pc:spChg chg="mod ord">
          <ac:chgData name="Joelle Brehm" userId="a518f54c-6985-42c0-8041-2bb16a414839" providerId="ADAL" clId="{E88466E7-2243-47F6-9EAE-9BF9DD0649AD}" dt="2024-04-04T21:10:57.147" v="38438"/>
          <ac:spMkLst>
            <pc:docMk/>
            <pc:sldMk cId="1379386497" sldId="278"/>
            <ac:spMk id="58" creationId="{78B81F80-FD88-43AD-B1EA-9D49D321CFA2}"/>
          </ac:spMkLst>
        </pc:spChg>
        <pc:spChg chg="add del mod modVis">
          <ac:chgData name="Joelle Brehm" userId="a518f54c-6985-42c0-8041-2bb16a414839" providerId="ADAL" clId="{E88466E7-2243-47F6-9EAE-9BF9DD0649AD}" dt="2024-04-04T21:10:52.133" v="38171"/>
          <ac:spMkLst>
            <pc:docMk/>
            <pc:sldMk cId="1379386497" sldId="278"/>
            <ac:spMk id="59" creationId="{A92A0230-CF04-D582-290C-BC486A6F2922}"/>
          </ac:spMkLst>
        </pc:spChg>
        <pc:spChg chg="mod">
          <ac:chgData name="Joelle Brehm" userId="a518f54c-6985-42c0-8041-2bb16a414839" providerId="ADAL" clId="{E88466E7-2243-47F6-9EAE-9BF9DD0649AD}" dt="2024-04-04T21:10:57.135" v="38405"/>
          <ac:spMkLst>
            <pc:docMk/>
            <pc:sldMk cId="1379386497" sldId="278"/>
            <ac:spMk id="60" creationId="{2B15A064-F539-2DBC-4751-EC9AD27E414F}"/>
          </ac:spMkLst>
        </pc:spChg>
        <pc:spChg chg="add del mod ord replST">
          <ac:chgData name="Joelle Brehm" userId="a518f54c-6985-42c0-8041-2bb16a414839" providerId="ADAL" clId="{E88466E7-2243-47F6-9EAE-9BF9DD0649AD}" dt="2024-04-04T21:10:57.104" v="38363"/>
          <ac:spMkLst>
            <pc:docMk/>
            <pc:sldMk cId="1379386497" sldId="278"/>
            <ac:spMk id="61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1:10:55.149" v="38309"/>
          <ac:spMkLst>
            <pc:docMk/>
            <pc:sldMk cId="1379386497" sldId="278"/>
            <ac:spMk id="64" creationId="{07D5AF5C-37EF-0ECF-2919-9460D7D7AC1E}"/>
          </ac:spMkLst>
        </pc:spChg>
        <pc:spChg chg="add del mod modVis">
          <ac:chgData name="Joelle Brehm" userId="a518f54c-6985-42c0-8041-2bb16a414839" providerId="ADAL" clId="{E88466E7-2243-47F6-9EAE-9BF9DD0649AD}" dt="2024-04-04T21:10:57.150" v="38444"/>
          <ac:spMkLst>
            <pc:docMk/>
            <pc:sldMk cId="1379386497" sldId="278"/>
            <ac:spMk id="66" creationId="{4D8F1841-0DC4-EC24-58F1-CB85F741742D}"/>
          </ac:spMkLst>
        </pc:spChg>
        <pc:spChg chg="mod ord">
          <ac:chgData name="Joelle Brehm" userId="a518f54c-6985-42c0-8041-2bb16a414839" providerId="ADAL" clId="{E88466E7-2243-47F6-9EAE-9BF9DD0649AD}" dt="2024-04-04T21:10:57.140" v="38417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10:57.141" v="38419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1:10:57.141" v="38421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10:57.142" v="38423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10:57.143" v="38425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10:57.143" v="38427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10:57.144" v="38430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0:57.145" v="38431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0:57.145" v="38433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E88466E7-2243-47F6-9EAE-9BF9DD0649AD}" dt="2024-04-04T21:10:57.163" v="38446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0:57.128" v="38379"/>
          <ac:graphicFrameMkLst>
            <pc:docMk/>
            <pc:sldMk cId="1379386497" sldId="278"/>
            <ac:graphicFrameMk id="8" creationId="{EE092C46-E5B0-3BAA-CBB0-378B970885C5}"/>
          </ac:graphicFrameMkLst>
        </pc:graphicFrameChg>
        <pc:graphicFrameChg chg="del">
          <ac:chgData name="Joelle Brehm" userId="a518f54c-6985-42c0-8041-2bb16a414839" providerId="ADAL" clId="{E88466E7-2243-47F6-9EAE-9BF9DD0649AD}" dt="2024-04-04T21:10:05.435" v="36615"/>
          <ac:graphicFrameMkLst>
            <pc:docMk/>
            <pc:sldMk cId="1379386497" sldId="278"/>
            <ac:graphicFrameMk id="10" creationId="{3E0E91C4-A37D-A3E4-C8DB-7B5A233B20C4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0:37.942" v="37041"/>
          <ac:graphicFrameMkLst>
            <pc:docMk/>
            <pc:sldMk cId="1379386497" sldId="278"/>
            <ac:graphicFrameMk id="32" creationId="{C3AE5492-25AA-BCC1-9EF8-723E61C863C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0:39.976" v="37142"/>
          <ac:graphicFrameMkLst>
            <pc:docMk/>
            <pc:sldMk cId="1379386497" sldId="278"/>
            <ac:graphicFrameMk id="37" creationId="{78696104-E9B3-D77A-8BB3-0057F82EDE0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0:41.999" v="37241"/>
          <ac:graphicFrameMkLst>
            <pc:docMk/>
            <pc:sldMk cId="1379386497" sldId="278"/>
            <ac:graphicFrameMk id="40" creationId="{3247EF4B-3E43-E3B7-3C5A-0DA8D2EBBD6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0:57.144" v="38429"/>
          <ac:graphicFrameMkLst>
            <pc:docMk/>
            <pc:sldMk cId="1379386497" sldId="278"/>
            <ac:graphicFrameMk id="48" creationId="{B48338A0-65C4-05FC-7C60-DE515703A8C3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0:33.015" v="36917"/>
          <ac:graphicFrameMkLst>
            <pc:docMk/>
            <pc:sldMk cId="1379386497" sldId="278"/>
            <ac:graphicFrameMk id="49" creationId="{C5E1FD64-C9D7-1FA2-DA99-3CF6A05917B3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0:49.039" v="37814"/>
          <ac:graphicFrameMkLst>
            <pc:docMk/>
            <pc:sldMk cId="1379386497" sldId="278"/>
            <ac:graphicFrameMk id="55" creationId="{F0E778A0-CD54-1BC6-05B1-46AA311CF970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0:52.062" v="38079"/>
          <ac:graphicFrameMkLst>
            <pc:docMk/>
            <pc:sldMk cId="1379386497" sldId="278"/>
            <ac:graphicFrameMk id="57" creationId="{F4D6F818-402B-3BFC-A4F2-AEF9F36E0CB3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0:55.098" v="38228"/>
          <ac:graphicFrameMkLst>
            <pc:docMk/>
            <pc:sldMk cId="1379386497" sldId="278"/>
            <ac:graphicFrameMk id="62" creationId="{80F95824-ACB2-BBF3-C6FE-B419D654A467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0:47.190" v="37648"/>
          <ac:graphicFrameMkLst>
            <pc:docMk/>
            <pc:sldMk cId="1379386497" sldId="278"/>
            <ac:graphicFrameMk id="63" creationId="{E529F938-C49B-E583-74C2-B3789012376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0:57.105" v="38365"/>
          <ac:graphicFrameMkLst>
            <pc:docMk/>
            <pc:sldMk cId="1379386497" sldId="278"/>
            <ac:graphicFrameMk id="65" creationId="{E35A6444-4921-A60C-BCA6-231E06923C8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0:57.135" v="38403"/>
          <ac:graphicFrameMkLst>
            <pc:docMk/>
            <pc:sldMk cId="1379386497" sldId="278"/>
            <ac:graphicFrameMk id="67" creationId="{DF576658-137F-F7A9-2A99-0E86C7D124A8}"/>
          </ac:graphicFrameMkLst>
        </pc:graphicFrameChg>
        <pc:picChg chg="add mod ord">
          <ac:chgData name="Joelle Brehm" userId="a518f54c-6985-42c0-8041-2bb16a414839" providerId="ADAL" clId="{E88466E7-2243-47F6-9EAE-9BF9DD0649AD}" dt="2024-04-04T21:10:57.126" v="38373"/>
          <ac:picMkLst>
            <pc:docMk/>
            <pc:sldMk cId="1379386497" sldId="278"/>
            <ac:picMk id="9" creationId="{080C4662-CE4B-46D4-BAFA-DAECA47E060B}"/>
          </ac:picMkLst>
        </pc:picChg>
        <pc:picChg chg="del mod ord">
          <ac:chgData name="Joelle Brehm" userId="a518f54c-6985-42c0-8041-2bb16a414839" providerId="ADAL" clId="{E88466E7-2243-47F6-9EAE-9BF9DD0649AD}" dt="2024-04-04T21:10:24.343" v="36788" actId="478"/>
          <ac:picMkLst>
            <pc:docMk/>
            <pc:sldMk cId="1379386497" sldId="278"/>
            <ac:picMk id="35" creationId="{0C032298-55E2-3784-5CC0-2A44BAE3A966}"/>
          </ac:picMkLst>
        </pc:picChg>
        <pc:picChg chg="mod ord">
          <ac:chgData name="Joelle Brehm" userId="a518f54c-6985-42c0-8041-2bb16a414839" providerId="ADAL" clId="{E88466E7-2243-47F6-9EAE-9BF9DD0649AD}" dt="2024-04-04T21:10:57.146" v="38436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10:57.127" v="38377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12:08.702" v="40135"/>
        <pc:sldMkLst>
          <pc:docMk/>
          <pc:sldMk cId="1917659360" sldId="279"/>
        </pc:sldMkLst>
        <pc:spChg chg="add del mod">
          <ac:chgData name="Joelle Brehm" userId="a518f54c-6985-42c0-8041-2bb16a414839" providerId="ADAL" clId="{E88466E7-2243-47F6-9EAE-9BF9DD0649AD}" dt="2024-04-04T21:11:07.824" v="38447" actId="478"/>
          <ac:spMkLst>
            <pc:docMk/>
            <pc:sldMk cId="1917659360" sldId="279"/>
            <ac:spMk id="2" creationId="{53483F4E-607F-C9AA-37E1-B5306196E40C}"/>
          </ac:spMkLst>
        </pc:spChg>
        <pc:spChg chg="mod ord">
          <ac:chgData name="Joelle Brehm" userId="a518f54c-6985-42c0-8041-2bb16a414839" providerId="ADAL" clId="{E88466E7-2243-47F6-9EAE-9BF9DD0649AD}" dt="2024-04-04T21:12:08.681" v="40129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E88466E7-2243-47F6-9EAE-9BF9DD0649AD}" dt="2024-04-04T21:11:19.349" v="38674"/>
          <ac:spMkLst>
            <pc:docMk/>
            <pc:sldMk cId="1917659360" sldId="279"/>
            <ac:spMk id="5" creationId="{56B5BD86-EE56-2D23-F9A7-FCA477D4D059}"/>
          </ac:spMkLst>
        </pc:spChg>
        <pc:spChg chg="mod ord">
          <ac:chgData name="Joelle Brehm" userId="a518f54c-6985-42c0-8041-2bb16a414839" providerId="ADAL" clId="{E88466E7-2243-47F6-9EAE-9BF9DD0649AD}" dt="2024-04-04T21:12:08.659" v="40064"/>
          <ac:spMkLst>
            <pc:docMk/>
            <pc:sldMk cId="1917659360" sldId="27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1:11:46.189" v="38957"/>
          <ac:spMkLst>
            <pc:docMk/>
            <pc:sldMk cId="1917659360" sldId="279"/>
            <ac:spMk id="10" creationId="{A85B6A27-F830-B7E1-6E42-515478338644}"/>
          </ac:spMkLst>
        </pc:spChg>
        <pc:spChg chg="mod">
          <ac:chgData name="Joelle Brehm" userId="a518f54c-6985-42c0-8041-2bb16a414839" providerId="ADAL" clId="{E88466E7-2243-47F6-9EAE-9BF9DD0649AD}" dt="2024-04-04T21:12:08.663" v="40075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12:08.661" v="40071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12:08.662" v="40072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12:08.661" v="40069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12:08.661" v="40070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12:08.662" v="40073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12:08.662" v="40074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12:08.663" v="40076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12:08.663" v="40077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12:08.663" v="40078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12:08.664" v="40079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12:08.664" v="40080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12:08.665" v="40082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12:08.665" v="40083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12:08.666" v="40085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12:08.666" v="40084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12:08.667" v="40087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12:08.668" v="40088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12:08.667" v="40086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12:08.668" v="40090"/>
          <ac:spMkLst>
            <pc:docMk/>
            <pc:sldMk cId="1917659360" sldId="279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1:12:08.671" v="40099"/>
          <ac:spMkLst>
            <pc:docMk/>
            <pc:sldMk cId="1917659360" sldId="279"/>
            <ac:spMk id="33" creationId="{5E0420EB-DE56-49B0-A849-5880286E1551}"/>
          </ac:spMkLst>
        </pc:spChg>
        <pc:spChg chg="add mod replST">
          <ac:chgData name="Joelle Brehm" userId="a518f54c-6985-42c0-8041-2bb16a414839" providerId="ADAL" clId="{E88466E7-2243-47F6-9EAE-9BF9DD0649AD}" dt="2024-04-04T21:12:08.673" v="40104"/>
          <ac:spMkLst>
            <pc:docMk/>
            <pc:sldMk cId="1917659360" sldId="279"/>
            <ac:spMk id="36" creationId="{8103A5F0-95D9-711D-A304-DD7A19A26538}"/>
          </ac:spMkLst>
        </pc:spChg>
        <pc:spChg chg="mod">
          <ac:chgData name="Joelle Brehm" userId="a518f54c-6985-42c0-8041-2bb16a414839" providerId="ADAL" clId="{E88466E7-2243-47F6-9EAE-9BF9DD0649AD}" dt="2024-04-04T21:12:08.672" v="40102"/>
          <ac:spMkLst>
            <pc:docMk/>
            <pc:sldMk cId="1917659360" sldId="279"/>
            <ac:spMk id="37" creationId="{96F8B877-95CC-EC95-D7ED-C1509F06C966}"/>
          </ac:spMkLst>
        </pc:spChg>
        <pc:spChg chg="mod">
          <ac:chgData name="Joelle Brehm" userId="a518f54c-6985-42c0-8041-2bb16a414839" providerId="ADAL" clId="{E88466E7-2243-47F6-9EAE-9BF9DD0649AD}" dt="2024-04-04T21:12:08.669" v="40093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E88466E7-2243-47F6-9EAE-9BF9DD0649AD}" dt="2024-04-04T21:12:08.671" v="40100"/>
          <ac:spMkLst>
            <pc:docMk/>
            <pc:sldMk cId="1917659360" sldId="279"/>
            <ac:spMk id="39" creationId="{D6233669-6C61-F88A-CA74-14C4A4F6BEAC}"/>
          </ac:spMkLst>
        </pc:spChg>
        <pc:spChg chg="del mod">
          <ac:chgData name="Joelle Brehm" userId="a518f54c-6985-42c0-8041-2bb16a414839" providerId="ADAL" clId="{E88466E7-2243-47F6-9EAE-9BF9DD0649AD}" dt="2024-04-04T21:12:00.400" v="39595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E88466E7-2243-47F6-9EAE-9BF9DD0649AD}" dt="2024-04-04T21:12:08.671" v="40098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E88466E7-2243-47F6-9EAE-9BF9DD0649AD}" dt="2024-04-04T21:12:08.670" v="40096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E88466E7-2243-47F6-9EAE-9BF9DD0649AD}" dt="2024-04-04T21:12:08.670" v="40097"/>
          <ac:spMkLst>
            <pc:docMk/>
            <pc:sldMk cId="1917659360" sldId="279"/>
            <ac:spMk id="43" creationId="{BBDFBA71-A567-2AC1-EC82-8D2F9B910F5F}"/>
          </ac:spMkLst>
        </pc:spChg>
        <pc:spChg chg="mod">
          <ac:chgData name="Joelle Brehm" userId="a518f54c-6985-42c0-8041-2bb16a414839" providerId="ADAL" clId="{E88466E7-2243-47F6-9EAE-9BF9DD0649AD}" dt="2024-04-04T21:12:08.672" v="40103"/>
          <ac:spMkLst>
            <pc:docMk/>
            <pc:sldMk cId="1917659360" sldId="279"/>
            <ac:spMk id="44" creationId="{D9982BA9-8ABD-F151-A1B4-F84D132FC1D8}"/>
          </ac:spMkLst>
        </pc:spChg>
        <pc:spChg chg="add del mod modVis">
          <ac:chgData name="Joelle Brehm" userId="a518f54c-6985-42c0-8041-2bb16a414839" providerId="ADAL" clId="{E88466E7-2243-47F6-9EAE-9BF9DD0649AD}" dt="2024-04-04T21:11:53.583" v="39417"/>
          <ac:spMkLst>
            <pc:docMk/>
            <pc:sldMk cId="1917659360" sldId="279"/>
            <ac:spMk id="45" creationId="{D66AE32B-D7D9-06F8-CCDE-4EC36877CE9F}"/>
          </ac:spMkLst>
        </pc:spChg>
        <pc:spChg chg="mod">
          <ac:chgData name="Joelle Brehm" userId="a518f54c-6985-42c0-8041-2bb16a414839" providerId="ADAL" clId="{E88466E7-2243-47F6-9EAE-9BF9DD0649AD}" dt="2024-04-04T21:12:08.670" v="40094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E88466E7-2243-47F6-9EAE-9BF9DD0649AD}" dt="2024-04-04T21:12:08.670" v="40095"/>
          <ac:spMkLst>
            <pc:docMk/>
            <pc:sldMk cId="1917659360" sldId="279"/>
            <ac:spMk id="47" creationId="{698A62C7-0861-3196-719C-E48F5560BE43}"/>
          </ac:spMkLst>
        </pc:spChg>
        <pc:spChg chg="add del mod ord replST">
          <ac:chgData name="Joelle Brehm" userId="a518f54c-6985-42c0-8041-2bb16a414839" providerId="ADAL" clId="{E88466E7-2243-47F6-9EAE-9BF9DD0649AD}" dt="2024-04-04T21:12:05.544" v="39913"/>
          <ac:spMkLst>
            <pc:docMk/>
            <pc:sldMk cId="1917659360" sldId="279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1:11:56.862" v="39592"/>
          <ac:spMkLst>
            <pc:docMk/>
            <pc:sldMk cId="1917659360" sldId="279"/>
            <ac:spMk id="50" creationId="{F3EFCA94-69C1-BD86-A027-F2FB4B40D698}"/>
          </ac:spMkLst>
        </pc:spChg>
        <pc:spChg chg="mod">
          <ac:chgData name="Joelle Brehm" userId="a518f54c-6985-42c0-8041-2bb16a414839" providerId="ADAL" clId="{E88466E7-2243-47F6-9EAE-9BF9DD0649AD}" dt="2024-04-04T21:12:08.671" v="40101"/>
          <ac:spMkLst>
            <pc:docMk/>
            <pc:sldMk cId="1917659360" sldId="279"/>
            <ac:spMk id="51" creationId="{11756A47-3371-3050-1674-DA5C63D5DA78}"/>
          </ac:spMkLst>
        </pc:spChg>
        <pc:spChg chg="add del mod modVis">
          <ac:chgData name="Joelle Brehm" userId="a518f54c-6985-42c0-8041-2bb16a414839" providerId="ADAL" clId="{E88466E7-2243-47F6-9EAE-9BF9DD0649AD}" dt="2024-04-04T21:12:00.626" v="39856"/>
          <ac:spMkLst>
            <pc:docMk/>
            <pc:sldMk cId="1917659360" sldId="279"/>
            <ac:spMk id="53" creationId="{74A8AF87-BB18-7C3B-9346-B9500AA06F26}"/>
          </ac:spMkLst>
        </pc:spChg>
        <pc:spChg chg="add del mod ord replST">
          <ac:chgData name="Joelle Brehm" userId="a518f54c-6985-42c0-8041-2bb16a414839" providerId="ADAL" clId="{E88466E7-2243-47F6-9EAE-9BF9DD0649AD}" dt="2024-04-04T21:12:08.630" v="40052"/>
          <ac:spMkLst>
            <pc:docMk/>
            <pc:sldMk cId="1917659360" sldId="279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1:12:05.587" v="39996"/>
          <ac:spMkLst>
            <pc:docMk/>
            <pc:sldMk cId="1917659360" sldId="279"/>
            <ac:spMk id="56" creationId="{92313374-BE8F-5BA8-58A2-AF28F2BF5FAA}"/>
          </ac:spMkLst>
        </pc:spChg>
        <pc:spChg chg="mod ord">
          <ac:chgData name="Joelle Brehm" userId="a518f54c-6985-42c0-8041-2bb16a414839" providerId="ADAL" clId="{E88466E7-2243-47F6-9EAE-9BF9DD0649AD}" dt="2024-04-04T21:12:08.680" v="40127"/>
          <ac:spMkLst>
            <pc:docMk/>
            <pc:sldMk cId="1917659360" sldId="279"/>
            <ac:spMk id="58" creationId="{C2B29D16-5A5D-43B3-B972-0B57287E081A}"/>
          </ac:spMkLst>
        </pc:spChg>
        <pc:spChg chg="add del mod modVis">
          <ac:chgData name="Joelle Brehm" userId="a518f54c-6985-42c0-8041-2bb16a414839" providerId="ADAL" clId="{E88466E7-2243-47F6-9EAE-9BF9DD0649AD}" dt="2024-04-04T21:12:08.682" v="40133"/>
          <ac:spMkLst>
            <pc:docMk/>
            <pc:sldMk cId="1917659360" sldId="279"/>
            <ac:spMk id="60" creationId="{FF1B53D9-7050-1639-A8B5-233C609AC8BF}"/>
          </ac:spMkLst>
        </pc:spChg>
        <pc:spChg chg="mod ord">
          <ac:chgData name="Joelle Brehm" userId="a518f54c-6985-42c0-8041-2bb16a414839" providerId="ADAL" clId="{E88466E7-2243-47F6-9EAE-9BF9DD0649AD}" dt="2024-04-04T21:12:08.673" v="40106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12:08.674" v="40108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1:12:08.675" v="40110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12:08.675" v="40112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12:08.676" v="40114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12:08.677" v="40116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12:08.678" v="40119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2:08.678" v="40120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2:08.678" v="40121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12:08.679" v="40122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12:08.679" v="40123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1:12:08.702" v="40135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2:08.660" v="40068"/>
          <ac:graphicFrameMkLst>
            <pc:docMk/>
            <pc:sldMk cId="1917659360" sldId="279"/>
            <ac:graphicFrameMk id="8" creationId="{E616D429-2A43-EC47-A9B4-A15B6A93803F}"/>
          </ac:graphicFrameMkLst>
        </pc:graphicFrameChg>
        <pc:graphicFrameChg chg="del">
          <ac:chgData name="Joelle Brehm" userId="a518f54c-6985-42c0-8041-2bb16a414839" providerId="ADAL" clId="{E88466E7-2243-47F6-9EAE-9BF9DD0649AD}" dt="2024-04-04T21:11:19.278" v="38593"/>
          <ac:graphicFrameMkLst>
            <pc:docMk/>
            <pc:sldMk cId="1917659360" sldId="279"/>
            <ac:graphicFrameMk id="31" creationId="{05533D3F-1D12-8C01-6228-DA50508CE762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2:08.677" v="40118"/>
          <ac:graphicFrameMkLst>
            <pc:docMk/>
            <pc:sldMk cId="1917659360" sldId="279"/>
            <ac:graphicFrameMk id="34" creationId="{23E93A20-CDDD-5916-6E10-8CD0E8B9B1D3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1:46.113" v="38878"/>
          <ac:graphicFrameMkLst>
            <pc:docMk/>
            <pc:sldMk cId="1917659360" sldId="279"/>
            <ac:graphicFrameMk id="35" creationId="{B1A3FB5F-6082-CF28-DD3A-1AFD3358DF9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1:56.778" v="39499"/>
          <ac:graphicFrameMkLst>
            <pc:docMk/>
            <pc:sldMk cId="1917659360" sldId="279"/>
            <ac:graphicFrameMk id="49" creationId="{1540C853-B0A2-D84E-D54C-999880D0656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2:00.560" v="39762"/>
          <ac:graphicFrameMkLst>
            <pc:docMk/>
            <pc:sldMk cId="1917659360" sldId="279"/>
            <ac:graphicFrameMk id="52" creationId="{0E9750CD-72FA-21B2-678F-40D09000CFF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2:05.546" v="39915"/>
          <ac:graphicFrameMkLst>
            <pc:docMk/>
            <pc:sldMk cId="1917659360" sldId="279"/>
            <ac:graphicFrameMk id="55" creationId="{0E94E426-5725-91BC-9E72-FA4A2BDE3791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1:53.523" v="39329"/>
          <ac:graphicFrameMkLst>
            <pc:docMk/>
            <pc:sldMk cId="1917659360" sldId="279"/>
            <ac:graphicFrameMk id="57" creationId="{E9AD924F-B65F-8F39-483D-0A4D5DE8241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2:08.633" v="40054"/>
          <ac:graphicFrameMkLst>
            <pc:docMk/>
            <pc:sldMk cId="1917659360" sldId="279"/>
            <ac:graphicFrameMk id="59" creationId="{7D6B1E87-B219-CE2E-6D38-64AA16FAA6D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12:08.669" v="40092"/>
          <ac:graphicFrameMkLst>
            <pc:docMk/>
            <pc:sldMk cId="1917659360" sldId="279"/>
            <ac:graphicFrameMk id="61" creationId="{16275846-A7A2-84CC-5B39-64F0064BC881}"/>
          </ac:graphicFrameMkLst>
        </pc:graphicFrameChg>
        <pc:picChg chg="add mod ord">
          <ac:chgData name="Joelle Brehm" userId="a518f54c-6985-42c0-8041-2bb16a414839" providerId="ADAL" clId="{E88466E7-2243-47F6-9EAE-9BF9DD0649AD}" dt="2024-04-04T21:12:08.658" v="40062"/>
          <ac:picMkLst>
            <pc:docMk/>
            <pc:sldMk cId="1917659360" sldId="279"/>
            <ac:picMk id="9" creationId="{280E4A7D-D678-FA8E-F024-8312F6E8F135}"/>
          </ac:picMkLst>
        </pc:picChg>
        <pc:picChg chg="del mod ord">
          <ac:chgData name="Joelle Brehm" userId="a518f54c-6985-42c0-8041-2bb16a414839" providerId="ADAL" clId="{E88466E7-2243-47F6-9EAE-9BF9DD0649AD}" dt="2024-04-04T21:11:35.845" v="38763" actId="478"/>
          <ac:picMkLst>
            <pc:docMk/>
            <pc:sldMk cId="1917659360" sldId="279"/>
            <ac:picMk id="32" creationId="{E7847343-92F8-3A4B-6D56-FE80345B6A65}"/>
          </ac:picMkLst>
        </pc:picChg>
        <pc:picChg chg="mod ord">
          <ac:chgData name="Joelle Brehm" userId="a518f54c-6985-42c0-8041-2bb16a414839" providerId="ADAL" clId="{E88466E7-2243-47F6-9EAE-9BF9DD0649AD}" dt="2024-04-04T21:12:08.679" v="40125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12:08.660" v="40066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20:45.159" v="44360"/>
        <pc:sldMkLst>
          <pc:docMk/>
          <pc:sldMk cId="168389892" sldId="281"/>
        </pc:sldMkLst>
        <pc:spChg chg="mod ord">
          <ac:chgData name="Joelle Brehm" userId="a518f54c-6985-42c0-8041-2bb16a414839" providerId="ADAL" clId="{E88466E7-2243-47F6-9EAE-9BF9DD0649AD}" dt="2024-04-04T21:20:45.142" v="44354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E88466E7-2243-47F6-9EAE-9BF9DD0649AD}" dt="2024-04-04T21:19:47.264" v="42943" actId="478"/>
          <ac:spMkLst>
            <pc:docMk/>
            <pc:sldMk cId="168389892" sldId="281"/>
            <ac:spMk id="3" creationId="{347888B5-689D-573E-87AC-5FEAA8E3A007}"/>
          </ac:spMkLst>
        </pc:spChg>
        <pc:spChg chg="add del mod modVis">
          <ac:chgData name="Joelle Brehm" userId="a518f54c-6985-42c0-8041-2bb16a414839" providerId="ADAL" clId="{E88466E7-2243-47F6-9EAE-9BF9DD0649AD}" dt="2024-04-04T21:20:01.027" v="43192"/>
          <ac:spMkLst>
            <pc:docMk/>
            <pc:sldMk cId="168389892" sldId="281"/>
            <ac:spMk id="5" creationId="{BF8094FF-A8A3-A554-77F9-3D9268C061FF}"/>
          </ac:spMkLst>
        </pc:spChg>
        <pc:spChg chg="mod ord">
          <ac:chgData name="Joelle Brehm" userId="a518f54c-6985-42c0-8041-2bb16a414839" providerId="ADAL" clId="{E88466E7-2243-47F6-9EAE-9BF9DD0649AD}" dt="2024-04-04T21:20:45.115" v="44266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20:45.130" v="44314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E88466E7-2243-47F6-9EAE-9BF9DD0649AD}" dt="2024-04-04T21:20:45.119" v="44277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20:45.117" v="44273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20:45.118" v="44274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20:45.117" v="44271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20:45.117" v="44272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20:45.118" v="44275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20:45.118" v="44276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20:45.119" v="44278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20:45.119" v="44279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20:45.119" v="44280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20:45.120" v="44281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20:45.120" v="44282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20:45.121" v="44284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20:45.122" v="44287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20:45.122" v="44289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20:45.122" v="44288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20:45.124" v="44292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20:45.124" v="44293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20:45.124" v="44291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20:45.125" v="44295"/>
          <ac:spMkLst>
            <pc:docMk/>
            <pc:sldMk cId="168389892" sldId="281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04T21:20:33.829" v="43511"/>
          <ac:spMkLst>
            <pc:docMk/>
            <pc:sldMk cId="168389892" sldId="281"/>
            <ac:spMk id="33" creationId="{17A95B3F-1634-DC14-BF1C-B200FDBC3520}"/>
          </ac:spMkLst>
        </pc:spChg>
        <pc:spChg chg="mod">
          <ac:chgData name="Joelle Brehm" userId="a518f54c-6985-42c0-8041-2bb16a414839" providerId="ADAL" clId="{E88466E7-2243-47F6-9EAE-9BF9DD0649AD}" dt="2024-04-04T21:20:45.131" v="44318"/>
          <ac:spMkLst>
            <pc:docMk/>
            <pc:sldMk cId="168389892" sldId="281"/>
            <ac:spMk id="34" creationId="{0E8E46D7-D2A7-7EA2-D456-4F5AC1475AED}"/>
          </ac:spMkLst>
        </pc:spChg>
        <pc:spChg chg="mod ord">
          <ac:chgData name="Joelle Brehm" userId="a518f54c-6985-42c0-8041-2bb16a414839" providerId="ADAL" clId="{E88466E7-2243-47F6-9EAE-9BF9DD0649AD}" dt="2024-04-04T21:20:45.121" v="44286"/>
          <ac:spMkLst>
            <pc:docMk/>
            <pc:sldMk cId="168389892" sldId="281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E88466E7-2243-47F6-9EAE-9BF9DD0649AD}" dt="2024-04-04T21:20:45.134" v="44327"/>
          <ac:spMkLst>
            <pc:docMk/>
            <pc:sldMk cId="168389892" sldId="281"/>
            <ac:spMk id="38" creationId="{DD8BB25F-BD9F-9AAE-9C2C-A41E6EB967DA}"/>
          </ac:spMkLst>
        </pc:spChg>
        <pc:spChg chg="add mod replST">
          <ac:chgData name="Joelle Brehm" userId="a518f54c-6985-42c0-8041-2bb16a414839" providerId="ADAL" clId="{E88466E7-2243-47F6-9EAE-9BF9DD0649AD}" dt="2024-04-04T21:20:45.135" v="44328"/>
          <ac:spMkLst>
            <pc:docMk/>
            <pc:sldMk cId="168389892" sldId="281"/>
            <ac:spMk id="39" creationId="{76E9BD3F-3196-C7FB-42C5-10B4F07669D2}"/>
          </ac:spMkLst>
        </pc:spChg>
        <pc:spChg chg="mod">
          <ac:chgData name="Joelle Brehm" userId="a518f54c-6985-42c0-8041-2bb16a414839" providerId="ADAL" clId="{E88466E7-2243-47F6-9EAE-9BF9DD0649AD}" dt="2024-04-04T21:20:45.133" v="44324"/>
          <ac:spMkLst>
            <pc:docMk/>
            <pc:sldMk cId="168389892" sldId="281"/>
            <ac:spMk id="40" creationId="{7541989C-2D24-7D6C-C2DA-7AF85BAB9B44}"/>
          </ac:spMkLst>
        </pc:spChg>
        <pc:spChg chg="mod">
          <ac:chgData name="Joelle Brehm" userId="a518f54c-6985-42c0-8041-2bb16a414839" providerId="ADAL" clId="{E88466E7-2243-47F6-9EAE-9BF9DD0649AD}" dt="2024-04-04T21:20:45.134" v="44326"/>
          <ac:spMkLst>
            <pc:docMk/>
            <pc:sldMk cId="168389892" sldId="281"/>
            <ac:spMk id="41" creationId="{1DFF5D5D-181E-ABF3-623A-26EAF3684297}"/>
          </ac:spMkLst>
        </pc:spChg>
        <pc:spChg chg="mod">
          <ac:chgData name="Joelle Brehm" userId="a518f54c-6985-42c0-8041-2bb16a414839" providerId="ADAL" clId="{E88466E7-2243-47F6-9EAE-9BF9DD0649AD}" dt="2024-04-04T21:20:45.133" v="44322"/>
          <ac:spMkLst>
            <pc:docMk/>
            <pc:sldMk cId="168389892" sldId="281"/>
            <ac:spMk id="42" creationId="{B52EB065-62EB-A990-E2D9-9703B327E3FC}"/>
          </ac:spMkLst>
        </pc:spChg>
        <pc:spChg chg="add del mod modVis">
          <ac:chgData name="Joelle Brehm" userId="a518f54c-6985-42c0-8041-2bb16a414839" providerId="ADAL" clId="{E88466E7-2243-47F6-9EAE-9BF9DD0649AD}" dt="2024-04-04T21:20:40.757" v="43904"/>
          <ac:spMkLst>
            <pc:docMk/>
            <pc:sldMk cId="168389892" sldId="281"/>
            <ac:spMk id="43" creationId="{AB470178-FD06-427C-6AB6-1BFD211A93A2}"/>
          </ac:spMkLst>
        </pc:spChg>
        <pc:spChg chg="mod">
          <ac:chgData name="Joelle Brehm" userId="a518f54c-6985-42c0-8041-2bb16a414839" providerId="ADAL" clId="{E88466E7-2243-47F6-9EAE-9BF9DD0649AD}" dt="2024-04-04T21:20:45.126" v="44299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32" v="44320"/>
          <ac:spMkLst>
            <pc:docMk/>
            <pc:sldMk cId="168389892" sldId="281"/>
            <ac:spMk id="45" creationId="{B489755F-21EB-39D7-16FB-197494E2C1A4}"/>
          </ac:spMkLst>
        </pc:spChg>
        <pc:spChg chg="mod">
          <ac:chgData name="Joelle Brehm" userId="a518f54c-6985-42c0-8041-2bb16a414839" providerId="ADAL" clId="{E88466E7-2243-47F6-9EAE-9BF9DD0649AD}" dt="2024-04-04T21:20:45.131" v="44317"/>
          <ac:spMkLst>
            <pc:docMk/>
            <pc:sldMk cId="168389892" sldId="281"/>
            <ac:spMk id="46" creationId="{D7E2D47E-9249-E731-F2B0-9D4421FC27B7}"/>
          </ac:spMkLst>
        </pc:spChg>
        <pc:spChg chg="mod">
          <ac:chgData name="Joelle Brehm" userId="a518f54c-6985-42c0-8041-2bb16a414839" providerId="ADAL" clId="{E88466E7-2243-47F6-9EAE-9BF9DD0649AD}" dt="2024-04-04T21:20:45.132" v="44319"/>
          <ac:spMkLst>
            <pc:docMk/>
            <pc:sldMk cId="168389892" sldId="281"/>
            <ac:spMk id="47" creationId="{C9F7A368-91BD-AFB9-D004-F672E6C15DDD}"/>
          </ac:spMkLst>
        </pc:spChg>
        <pc:spChg chg="mod">
          <ac:chgData name="Joelle Brehm" userId="a518f54c-6985-42c0-8041-2bb16a414839" providerId="ADAL" clId="{E88466E7-2243-47F6-9EAE-9BF9DD0649AD}" dt="2024-04-04T21:20:45.135" v="44329"/>
          <ac:spMkLst>
            <pc:docMk/>
            <pc:sldMk cId="168389892" sldId="281"/>
            <ac:spMk id="49" creationId="{C06AD811-F54D-296F-21A9-ACC2CBDA832A}"/>
          </ac:spMkLst>
        </pc:spChg>
        <pc:spChg chg="mod">
          <ac:chgData name="Joelle Brehm" userId="a518f54c-6985-42c0-8041-2bb16a414839" providerId="ADAL" clId="{E88466E7-2243-47F6-9EAE-9BF9DD0649AD}" dt="2024-04-04T21:20:45.132" v="44321"/>
          <ac:spMkLst>
            <pc:docMk/>
            <pc:sldMk cId="168389892" sldId="281"/>
            <ac:spMk id="50" creationId="{05A0C844-F372-941D-CC72-DA0AD120D666}"/>
          </ac:spMkLst>
        </pc:spChg>
        <pc:spChg chg="mod">
          <ac:chgData name="Joelle Brehm" userId="a518f54c-6985-42c0-8041-2bb16a414839" providerId="ADAL" clId="{E88466E7-2243-47F6-9EAE-9BF9DD0649AD}" dt="2024-04-04T21:20:45.129" v="44311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E88466E7-2243-47F6-9EAE-9BF9DD0649AD}" dt="2024-04-04T21:20:45.128" v="44309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E88466E7-2243-47F6-9EAE-9BF9DD0649AD}" dt="2024-04-04T21:20:45.128" v="44308"/>
          <ac:spMkLst>
            <pc:docMk/>
            <pc:sldMk cId="168389892" sldId="281"/>
            <ac:spMk id="53" creationId="{DF60D68E-A8E9-4219-0821-2BF8FE4E0626}"/>
          </ac:spMkLst>
        </pc:spChg>
        <pc:spChg chg="del mod">
          <ac:chgData name="Joelle Brehm" userId="a518f54c-6985-42c0-8041-2bb16a414839" providerId="ADAL" clId="{E88466E7-2243-47F6-9EAE-9BF9DD0649AD}" dt="2024-04-04T21:20:44.979" v="44115"/>
          <ac:spMkLst>
            <pc:docMk/>
            <pc:sldMk cId="168389892" sldId="281"/>
            <ac:spMk id="54" creationId="{622603CE-58AD-807F-F76A-AA9426112C20}"/>
          </ac:spMkLst>
        </pc:spChg>
        <pc:spChg chg="mod">
          <ac:chgData name="Joelle Brehm" userId="a518f54c-6985-42c0-8041-2bb16a414839" providerId="ADAL" clId="{E88466E7-2243-47F6-9EAE-9BF9DD0649AD}" dt="2024-04-04T21:20:45.133" v="44325"/>
          <ac:spMkLst>
            <pc:docMk/>
            <pc:sldMk cId="168389892" sldId="281"/>
            <ac:spMk id="55" creationId="{69B837B8-0C6A-4C0B-DC88-D4DF05732D64}"/>
          </ac:spMkLst>
        </pc:spChg>
        <pc:spChg chg="del mod">
          <ac:chgData name="Joelle Brehm" userId="a518f54c-6985-42c0-8041-2bb16a414839" providerId="ADAL" clId="{E88466E7-2243-47F6-9EAE-9BF9DD0649AD}" dt="2024-04-04T21:20:44.978" v="44114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E88466E7-2243-47F6-9EAE-9BF9DD0649AD}" dt="2024-04-04T21:20:45.128" v="44307"/>
          <ac:spMkLst>
            <pc:docMk/>
            <pc:sldMk cId="168389892" sldId="281"/>
            <ac:spMk id="57" creationId="{C5C40907-46F2-01D7-4DFC-21E722FD6F82}"/>
          </ac:spMkLst>
        </pc:spChg>
        <pc:spChg chg="mod">
          <ac:chgData name="Joelle Brehm" userId="a518f54c-6985-42c0-8041-2bb16a414839" providerId="ADAL" clId="{E88466E7-2243-47F6-9EAE-9BF9DD0649AD}" dt="2024-04-04T21:20:45.133" v="44323"/>
          <ac:spMkLst>
            <pc:docMk/>
            <pc:sldMk cId="168389892" sldId="281"/>
            <ac:spMk id="58" creationId="{0FB3C4FB-481D-A94A-711B-D751B148E790}"/>
          </ac:spMkLst>
        </pc:spChg>
        <pc:spChg chg="mod">
          <ac:chgData name="Joelle Brehm" userId="a518f54c-6985-42c0-8041-2bb16a414839" providerId="ADAL" clId="{E88466E7-2243-47F6-9EAE-9BF9DD0649AD}" dt="2024-04-04T21:20:45.129" v="44310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E88466E7-2243-47F6-9EAE-9BF9DD0649AD}" dt="2024-04-04T21:20:45.128" v="44306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E88466E7-2243-47F6-9EAE-9BF9DD0649AD}" dt="2024-04-04T21:20:45.131" v="44316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E88466E7-2243-47F6-9EAE-9BF9DD0649AD}" dt="2024-04-04T21:20:45.130" v="44313"/>
          <ac:spMkLst>
            <pc:docMk/>
            <pc:sldMk cId="168389892" sldId="281"/>
            <ac:spMk id="62" creationId="{DE7D5BF8-193E-8278-7BAE-2D4FE573EB09}"/>
          </ac:spMkLst>
        </pc:spChg>
        <pc:spChg chg="mod">
          <ac:chgData name="Joelle Brehm" userId="a518f54c-6985-42c0-8041-2bb16a414839" providerId="ADAL" clId="{E88466E7-2243-47F6-9EAE-9BF9DD0649AD}" dt="2024-04-04T21:20:45.130" v="44315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E88466E7-2243-47F6-9EAE-9BF9DD0649AD}" dt="2024-04-04T21:20:43.098" v="44111"/>
          <ac:spMkLst>
            <pc:docMk/>
            <pc:sldMk cId="168389892" sldId="281"/>
            <ac:spMk id="64" creationId="{C0EF9662-33F3-BE19-B0C5-80800F7BF6B3}"/>
          </ac:spMkLst>
        </pc:spChg>
        <pc:spChg chg="add del mod modVis">
          <ac:chgData name="Joelle Brehm" userId="a518f54c-6985-42c0-8041-2bb16a414839" providerId="ADAL" clId="{E88466E7-2243-47F6-9EAE-9BF9DD0649AD}" dt="2024-04-04T21:20:45.143" v="44358"/>
          <ac:spMkLst>
            <pc:docMk/>
            <pc:sldMk cId="168389892" sldId="281"/>
            <ac:spMk id="66" creationId="{26E60DEB-9E24-0914-4047-BF31306C5EBF}"/>
          </ac:spMkLst>
        </pc:spChg>
        <pc:spChg chg="mod">
          <ac:chgData name="Joelle Brehm" userId="a518f54c-6985-42c0-8041-2bb16a414839" providerId="ADAL" clId="{E88466E7-2243-47F6-9EAE-9BF9DD0649AD}" dt="2024-04-04T21:20:45.129" v="44312"/>
          <ac:spMkLst>
            <pc:docMk/>
            <pc:sldMk cId="168389892" sldId="281"/>
            <ac:spMk id="67" creationId="{7E34EA90-F698-215B-99E3-B598F96FF491}"/>
          </ac:spMkLst>
        </pc:spChg>
        <pc:spChg chg="mod">
          <ac:chgData name="Joelle Brehm" userId="a518f54c-6985-42c0-8041-2bb16a414839" providerId="ADAL" clId="{E88466E7-2243-47F6-9EAE-9BF9DD0649AD}" dt="2024-04-04T21:20:45.125" v="44298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22" v="44290"/>
          <ac:spMkLst>
            <pc:docMk/>
            <pc:sldMk cId="168389892" sldId="281"/>
            <ac:spMk id="74" creationId="{1E5392BC-349C-45B4-8F81-52F83DA74F43}"/>
          </ac:spMkLst>
        </pc:spChg>
        <pc:spChg chg="mod">
          <ac:chgData name="Joelle Brehm" userId="a518f54c-6985-42c0-8041-2bb16a414839" providerId="ADAL" clId="{E88466E7-2243-47F6-9EAE-9BF9DD0649AD}" dt="2024-04-04T21:20:45.126" v="44300"/>
          <ac:spMkLst>
            <pc:docMk/>
            <pc:sldMk cId="168389892" sldId="281"/>
            <ac:spMk id="7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26" v="44301"/>
          <ac:spMkLst>
            <pc:docMk/>
            <pc:sldMk cId="168389892" sldId="281"/>
            <ac:spMk id="7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27" v="44302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0:45.136" v="44331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20:45.137" v="44333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E88466E7-2243-47F6-9EAE-9BF9DD0649AD}" dt="2024-04-04T21:20:45.127" v="44303"/>
          <ac:spMkLst>
            <pc:docMk/>
            <pc:sldMk cId="168389892" sldId="281"/>
            <ac:spMk id="8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27" v="44305"/>
          <ac:spMkLst>
            <pc:docMk/>
            <pc:sldMk cId="168389892" sldId="281"/>
            <ac:spMk id="8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27" v="44304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0:45.137" v="44335"/>
          <ac:spMkLst>
            <pc:docMk/>
            <pc:sldMk cId="168389892" sldId="28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20:45.138" v="44337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20:45.138" v="44339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20:45.139" v="44341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20:45.140" v="44344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40" v="44345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40" v="44346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0:45.140" v="44347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20:45.141" v="44348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1:20:45.159" v="44360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1:20:00.946" v="43084"/>
          <ac:graphicFrameMkLst>
            <pc:docMk/>
            <pc:sldMk cId="168389892" sldId="281"/>
            <ac:graphicFrameMk id="8" creationId="{82D724AC-38F1-BAB6-9903-66AA6D95CC4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0:45.116" v="44270"/>
          <ac:graphicFrameMkLst>
            <pc:docMk/>
            <pc:sldMk cId="168389892" sldId="281"/>
            <ac:graphicFrameMk id="10" creationId="{0A7708BD-07F1-70B5-12D6-57E02135486C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0:45.139" v="44343"/>
          <ac:graphicFrameMkLst>
            <pc:docMk/>
            <pc:sldMk cId="168389892" sldId="281"/>
            <ac:graphicFrameMk id="35" creationId="{A360550F-A3AD-7635-5AE5-4EA3E262B55C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0:33.774" v="43409"/>
          <ac:graphicFrameMkLst>
            <pc:docMk/>
            <pc:sldMk cId="168389892" sldId="281"/>
            <ac:graphicFrameMk id="36" creationId="{005081CA-8433-A687-EB1A-2D29F58687D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0:43.037" v="44007"/>
          <ac:graphicFrameMkLst>
            <pc:docMk/>
            <pc:sldMk cId="168389892" sldId="281"/>
            <ac:graphicFrameMk id="48" creationId="{043503D6-8391-F90F-585B-54C49D14578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0:45.089" v="44256"/>
          <ac:graphicFrameMkLst>
            <pc:docMk/>
            <pc:sldMk cId="168389892" sldId="281"/>
            <ac:graphicFrameMk id="65" creationId="{2F703DC5-E9B0-A395-F38D-65B255FF74C9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0:45.125" v="44297"/>
          <ac:graphicFrameMkLst>
            <pc:docMk/>
            <pc:sldMk cId="168389892" sldId="281"/>
            <ac:graphicFrameMk id="68" creationId="{5BA08DF5-C5BD-0221-5121-9DA4606D0F1D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0:40.693" v="43800"/>
          <ac:graphicFrameMkLst>
            <pc:docMk/>
            <pc:sldMk cId="168389892" sldId="281"/>
            <ac:graphicFrameMk id="83" creationId="{43CE3669-152E-70BE-8895-725D4408B670}"/>
          </ac:graphicFrameMkLst>
        </pc:graphicFrameChg>
        <pc:picChg chg="del mod ord">
          <ac:chgData name="Joelle Brehm" userId="a518f54c-6985-42c0-8041-2bb16a414839" providerId="ADAL" clId="{E88466E7-2243-47F6-9EAE-9BF9DD0649AD}" dt="2024-04-04T21:20:16.038" v="43305" actId="478"/>
          <ac:picMkLst>
            <pc:docMk/>
            <pc:sldMk cId="168389892" sldId="281"/>
            <ac:picMk id="31" creationId="{AEB32563-9E91-74B3-86AE-7ED1945BC1E8}"/>
          </ac:picMkLst>
        </pc:picChg>
        <pc:picChg chg="add mod ord">
          <ac:chgData name="Joelle Brehm" userId="a518f54c-6985-42c0-8041-2bb16a414839" providerId="ADAL" clId="{E88466E7-2243-47F6-9EAE-9BF9DD0649AD}" dt="2024-04-04T21:20:45.114" v="44264"/>
          <ac:picMkLst>
            <pc:docMk/>
            <pc:sldMk cId="168389892" sldId="281"/>
            <ac:picMk id="32" creationId="{B396E783-B5B7-7A61-FA59-FD3D61CE0317}"/>
          </ac:picMkLst>
        </pc:picChg>
        <pc:picChg chg="mod ord">
          <ac:chgData name="Joelle Brehm" userId="a518f54c-6985-42c0-8041-2bb16a414839" providerId="ADAL" clId="{E88466E7-2243-47F6-9EAE-9BF9DD0649AD}" dt="2024-04-04T21:20:45.142" v="44352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E88466E7-2243-47F6-9EAE-9BF9DD0649AD}" dt="2024-04-04T21:20:45.141" v="44350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20:45.115" v="44268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21:39.595" v="46013"/>
        <pc:sldMkLst>
          <pc:docMk/>
          <pc:sldMk cId="3564961532" sldId="282"/>
        </pc:sldMkLst>
        <pc:spChg chg="mod ord">
          <ac:chgData name="Joelle Brehm" userId="a518f54c-6985-42c0-8041-2bb16a414839" providerId="ADAL" clId="{E88466E7-2243-47F6-9EAE-9BF9DD0649AD}" dt="2024-04-04T21:21:39.579" v="46007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E88466E7-2243-47F6-9EAE-9BF9DD0649AD}" dt="2024-04-04T21:20:55.903" v="44361" actId="478"/>
          <ac:spMkLst>
            <pc:docMk/>
            <pc:sldMk cId="3564961532" sldId="282"/>
            <ac:spMk id="3" creationId="{CF28DBC1-1DAA-F961-0814-C9743D073C93}"/>
          </ac:spMkLst>
        </pc:spChg>
        <pc:spChg chg="add del mod modVis">
          <ac:chgData name="Joelle Brehm" userId="a518f54c-6985-42c0-8041-2bb16a414839" providerId="ADAL" clId="{E88466E7-2243-47F6-9EAE-9BF9DD0649AD}" dt="2024-04-04T21:20:59.032" v="44605"/>
          <ac:spMkLst>
            <pc:docMk/>
            <pc:sldMk cId="3564961532" sldId="282"/>
            <ac:spMk id="5" creationId="{CE9FA477-683E-2EDC-C59D-40F0D0F714A7}"/>
          </ac:spMkLst>
        </pc:spChg>
        <pc:spChg chg="mod ord">
          <ac:chgData name="Joelle Brehm" userId="a518f54c-6985-42c0-8041-2bb16a414839" providerId="ADAL" clId="{E88466E7-2243-47F6-9EAE-9BF9DD0649AD}" dt="2024-04-04T21:21:39.554" v="45920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21:39.557" v="45931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21:39.556" v="45927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21:39.556" v="45928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21:39.556" v="45925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21:39.556" v="45926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21:39.557" v="45929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21:39.557" v="45930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21:39.558" v="45932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21:39.558" v="45933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21:39.558" v="45934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21:39.558" v="45935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21:39.558" v="45936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21:39.559" v="45938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21:39.560" v="45941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21:39.560" v="45943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21:39.560" v="45942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21:39.561" v="45946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21:39.562" v="45947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21:39.561" v="45945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21:39.563" v="45949"/>
          <ac:spMkLst>
            <pc:docMk/>
            <pc:sldMk cId="3564961532" sldId="282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04T21:21:23.173" v="44961"/>
          <ac:spMkLst>
            <pc:docMk/>
            <pc:sldMk cId="3564961532" sldId="282"/>
            <ac:spMk id="31" creationId="{A98A79B9-E5B7-CA45-D9E2-7E38914F45AB}"/>
          </ac:spMkLst>
        </pc:spChg>
        <pc:spChg chg="mod">
          <ac:chgData name="Joelle Brehm" userId="a518f54c-6985-42c0-8041-2bb16a414839" providerId="ADAL" clId="{E88466E7-2243-47F6-9EAE-9BF9DD0649AD}" dt="2024-04-04T21:21:39.570" v="45972"/>
          <ac:spMkLst>
            <pc:docMk/>
            <pc:sldMk cId="3564961532" sldId="282"/>
            <ac:spMk id="34" creationId="{5449B49A-6F6A-898A-2D6E-3B98A8E86022}"/>
          </ac:spMkLst>
        </pc:spChg>
        <pc:spChg chg="mod">
          <ac:chgData name="Joelle Brehm" userId="a518f54c-6985-42c0-8041-2bb16a414839" providerId="ADAL" clId="{E88466E7-2243-47F6-9EAE-9BF9DD0649AD}" dt="2024-04-04T21:21:39.571" v="45976"/>
          <ac:spMkLst>
            <pc:docMk/>
            <pc:sldMk cId="3564961532" sldId="282"/>
            <ac:spMk id="35" creationId="{1817EC5B-9379-1D20-DF3E-54BFCC2A61DC}"/>
          </ac:spMkLst>
        </pc:spChg>
        <pc:spChg chg="add mod replST">
          <ac:chgData name="Joelle Brehm" userId="a518f54c-6985-42c0-8041-2bb16a414839" providerId="ADAL" clId="{E88466E7-2243-47F6-9EAE-9BF9DD0649AD}" dt="2024-04-04T21:21:39.572" v="45981"/>
          <ac:spMkLst>
            <pc:docMk/>
            <pc:sldMk cId="3564961532" sldId="282"/>
            <ac:spMk id="36" creationId="{A6EE1690-E3E9-6350-2322-BDA0204B8882}"/>
          </ac:spMkLst>
        </pc:spChg>
        <pc:spChg chg="mod ord">
          <ac:chgData name="Joelle Brehm" userId="a518f54c-6985-42c0-8041-2bb16a414839" providerId="ADAL" clId="{E88466E7-2243-47F6-9EAE-9BF9DD0649AD}" dt="2024-04-04T21:21:39.559" v="45940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E88466E7-2243-47F6-9EAE-9BF9DD0649AD}" dt="2024-04-04T21:21:39.570" v="45974"/>
          <ac:spMkLst>
            <pc:docMk/>
            <pc:sldMk cId="3564961532" sldId="282"/>
            <ac:spMk id="38" creationId="{CC249A73-3953-259C-3458-D4FAFD8A9D0B}"/>
          </ac:spMkLst>
        </pc:spChg>
        <pc:spChg chg="mod">
          <ac:chgData name="Joelle Brehm" userId="a518f54c-6985-42c0-8041-2bb16a414839" providerId="ADAL" clId="{E88466E7-2243-47F6-9EAE-9BF9DD0649AD}" dt="2024-04-04T21:21:39.570" v="45973"/>
          <ac:spMkLst>
            <pc:docMk/>
            <pc:sldMk cId="3564961532" sldId="282"/>
            <ac:spMk id="39" creationId="{CEC7EE6E-A856-A6AD-4F8A-2BEBB154E0B8}"/>
          </ac:spMkLst>
        </pc:spChg>
        <pc:spChg chg="mod">
          <ac:chgData name="Joelle Brehm" userId="a518f54c-6985-42c0-8041-2bb16a414839" providerId="ADAL" clId="{E88466E7-2243-47F6-9EAE-9BF9DD0649AD}" dt="2024-04-04T21:21:39.571" v="45975"/>
          <ac:spMkLst>
            <pc:docMk/>
            <pc:sldMk cId="3564961532" sldId="282"/>
            <ac:spMk id="40" creationId="{8BE1E6AE-AB78-C64F-A6DE-9570C6DA172C}"/>
          </ac:spMkLst>
        </pc:spChg>
        <pc:spChg chg="add mod replST">
          <ac:chgData name="Joelle Brehm" userId="a518f54c-6985-42c0-8041-2bb16a414839" providerId="ADAL" clId="{E88466E7-2243-47F6-9EAE-9BF9DD0649AD}" dt="2024-04-04T21:21:39.572" v="45982"/>
          <ac:spMkLst>
            <pc:docMk/>
            <pc:sldMk cId="3564961532" sldId="282"/>
            <ac:spMk id="41" creationId="{F525DBE4-0057-174B-F5BC-F712011610C5}"/>
          </ac:spMkLst>
        </pc:spChg>
        <pc:spChg chg="mod">
          <ac:chgData name="Joelle Brehm" userId="a518f54c-6985-42c0-8041-2bb16a414839" providerId="ADAL" clId="{E88466E7-2243-47F6-9EAE-9BF9DD0649AD}" dt="2024-04-04T21:21:39.571" v="45978"/>
          <ac:spMkLst>
            <pc:docMk/>
            <pc:sldMk cId="3564961532" sldId="282"/>
            <ac:spMk id="42" creationId="{2E0459C3-4123-A318-EFC4-EB93D8840E71}"/>
          </ac:spMkLst>
        </pc:spChg>
        <pc:spChg chg="mod">
          <ac:chgData name="Joelle Brehm" userId="a518f54c-6985-42c0-8041-2bb16a414839" providerId="ADAL" clId="{E88466E7-2243-47F6-9EAE-9BF9DD0649AD}" dt="2024-04-04T21:21:39.571" v="45977"/>
          <ac:spMkLst>
            <pc:docMk/>
            <pc:sldMk cId="3564961532" sldId="282"/>
            <ac:spMk id="43" creationId="{56265422-1A09-1EDC-EA11-A10E73964C50}"/>
          </ac:spMkLst>
        </pc:spChg>
        <pc:spChg chg="mod">
          <ac:chgData name="Joelle Brehm" userId="a518f54c-6985-42c0-8041-2bb16a414839" providerId="ADAL" clId="{E88466E7-2243-47F6-9EAE-9BF9DD0649AD}" dt="2024-04-04T21:21:39.572" v="45980"/>
          <ac:spMkLst>
            <pc:docMk/>
            <pc:sldMk cId="3564961532" sldId="282"/>
            <ac:spMk id="45" creationId="{07309B7F-9064-1EE3-BDEE-E8D418366AAA}"/>
          </ac:spMkLst>
        </pc:spChg>
        <pc:spChg chg="add del mod modVis">
          <ac:chgData name="Joelle Brehm" userId="a518f54c-6985-42c0-8041-2bb16a414839" providerId="ADAL" clId="{E88466E7-2243-47F6-9EAE-9BF9DD0649AD}" dt="2024-04-04T21:21:29.233" v="45356"/>
          <ac:spMkLst>
            <pc:docMk/>
            <pc:sldMk cId="3564961532" sldId="282"/>
            <ac:spMk id="46" creationId="{F63944CD-A99C-5478-6551-BBC7E537221A}"/>
          </ac:spMkLst>
        </pc:spChg>
        <pc:spChg chg="mod">
          <ac:chgData name="Joelle Brehm" userId="a518f54c-6985-42c0-8041-2bb16a414839" providerId="ADAL" clId="{E88466E7-2243-47F6-9EAE-9BF9DD0649AD}" dt="2024-04-04T21:21:39.569" v="45971"/>
          <ac:spMkLst>
            <pc:docMk/>
            <pc:sldMk cId="3564961532" sldId="282"/>
            <ac:spMk id="47" creationId="{38F805B2-3D74-F0ED-4C65-55D891954B72}"/>
          </ac:spMkLst>
        </pc:spChg>
        <pc:spChg chg="mod">
          <ac:chgData name="Joelle Brehm" userId="a518f54c-6985-42c0-8041-2bb16a414839" providerId="ADAL" clId="{E88466E7-2243-47F6-9EAE-9BF9DD0649AD}" dt="2024-04-04T21:21:39.567" v="45964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E88466E7-2243-47F6-9EAE-9BF9DD0649AD}" dt="2024-04-04T21:21:39.567" v="45963"/>
          <ac:spMkLst>
            <pc:docMk/>
            <pc:sldMk cId="3564961532" sldId="282"/>
            <ac:spMk id="49" creationId="{3033D612-1447-43C8-A9AD-7D6333587F77}"/>
          </ac:spMkLst>
        </pc:spChg>
        <pc:spChg chg="del mod">
          <ac:chgData name="Joelle Brehm" userId="a518f54c-6985-42c0-8041-2bb16a414839" providerId="ADAL" clId="{E88466E7-2243-47F6-9EAE-9BF9DD0649AD}" dt="2024-04-04T21:21:34.955" v="45571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E88466E7-2243-47F6-9EAE-9BF9DD0649AD}" dt="2024-04-04T21:21:39.568" v="45968"/>
          <ac:spMkLst>
            <pc:docMk/>
            <pc:sldMk cId="3564961532" sldId="282"/>
            <ac:spMk id="51" creationId="{7D7C884D-D57C-725C-5AC2-3935B0668B1E}"/>
          </ac:spMkLst>
        </pc:spChg>
        <pc:spChg chg="del mod">
          <ac:chgData name="Joelle Brehm" userId="a518f54c-6985-42c0-8041-2bb16a414839" providerId="ADAL" clId="{E88466E7-2243-47F6-9EAE-9BF9DD0649AD}" dt="2024-04-04T21:21:34.955" v="45570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E88466E7-2243-47F6-9EAE-9BF9DD0649AD}" dt="2024-04-04T21:21:39.566" v="45960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E88466E7-2243-47F6-9EAE-9BF9DD0649AD}" dt="2024-04-04T21:21:39.569" v="45970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E88466E7-2243-47F6-9EAE-9BF9DD0649AD}" dt="2024-04-04T21:21:39.568" v="45966"/>
          <ac:spMkLst>
            <pc:docMk/>
            <pc:sldMk cId="3564961532" sldId="282"/>
            <ac:spMk id="55" creationId="{63EF832D-C460-84B8-6136-051E0B959067}"/>
          </ac:spMkLst>
        </pc:spChg>
        <pc:spChg chg="mod ord">
          <ac:chgData name="Joelle Brehm" userId="a518f54c-6985-42c0-8041-2bb16a414839" providerId="ADAL" clId="{E88466E7-2243-47F6-9EAE-9BF9DD0649AD}" dt="2024-04-04T21:21:39.566" v="45959"/>
          <ac:spMkLst>
            <pc:docMk/>
            <pc:sldMk cId="3564961532" sldId="282"/>
            <ac:spMk id="56" creationId="{524D0E2B-EC88-5451-10B4-9BAED81D2D7E}"/>
          </ac:spMkLst>
        </pc:spChg>
        <pc:spChg chg="mod">
          <ac:chgData name="Joelle Brehm" userId="a518f54c-6985-42c0-8041-2bb16a414839" providerId="ADAL" clId="{E88466E7-2243-47F6-9EAE-9BF9DD0649AD}" dt="2024-04-04T21:21:39.568" v="45967"/>
          <ac:spMkLst>
            <pc:docMk/>
            <pc:sldMk cId="3564961532" sldId="282"/>
            <ac:spMk id="57" creationId="{6C3836C5-4B8F-D1FF-D868-DEBFC10CBCF3}"/>
          </ac:spMkLst>
        </pc:spChg>
        <pc:spChg chg="mod">
          <ac:chgData name="Joelle Brehm" userId="a518f54c-6985-42c0-8041-2bb16a414839" providerId="ADAL" clId="{E88466E7-2243-47F6-9EAE-9BF9DD0649AD}" dt="2024-04-04T21:21:39.569" v="45969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E88466E7-2243-47F6-9EAE-9BF9DD0649AD}" dt="2024-04-04T21:21:39.568" v="45965"/>
          <ac:spMkLst>
            <pc:docMk/>
            <pc:sldMk cId="3564961532" sldId="282"/>
            <ac:spMk id="59" creationId="{59620921-9E96-B42F-E10D-70C8E9A97CC5}"/>
          </ac:spMkLst>
        </pc:spChg>
        <pc:spChg chg="mod">
          <ac:chgData name="Joelle Brehm" userId="a518f54c-6985-42c0-8041-2bb16a414839" providerId="ADAL" clId="{E88466E7-2243-47F6-9EAE-9BF9DD0649AD}" dt="2024-04-04T21:21:39.572" v="45979"/>
          <ac:spMkLst>
            <pc:docMk/>
            <pc:sldMk cId="3564961532" sldId="282"/>
            <ac:spMk id="61" creationId="{60D0F41E-5C01-F137-E99D-B9D246AC5A92}"/>
          </ac:spMkLst>
        </pc:spChg>
        <pc:spChg chg="mod">
          <ac:chgData name="Joelle Brehm" userId="a518f54c-6985-42c0-8041-2bb16a414839" providerId="ADAL" clId="{E88466E7-2243-47F6-9EAE-9BF9DD0649AD}" dt="2024-04-04T21:21:39.567" v="45962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E88466E7-2243-47F6-9EAE-9BF9DD0649AD}" dt="2024-04-04T21:21:32.803" v="45567"/>
          <ac:spMkLst>
            <pc:docMk/>
            <pc:sldMk cId="3564961532" sldId="282"/>
            <ac:spMk id="63" creationId="{2B8A2FBD-82E2-B1E7-F191-E02F15C24665}"/>
          </ac:spMkLst>
        </pc:spChg>
        <pc:spChg chg="add del mod modVis">
          <ac:chgData name="Joelle Brehm" userId="a518f54c-6985-42c0-8041-2bb16a414839" providerId="ADAL" clId="{E88466E7-2243-47F6-9EAE-9BF9DD0649AD}" dt="2024-04-04T21:21:35.165" v="45821"/>
          <ac:spMkLst>
            <pc:docMk/>
            <pc:sldMk cId="3564961532" sldId="282"/>
            <ac:spMk id="65" creationId="{8FC55C29-6561-D05C-EEE1-A3E1FDFC4304}"/>
          </ac:spMkLst>
        </pc:spChg>
        <pc:spChg chg="mod">
          <ac:chgData name="Joelle Brehm" userId="a518f54c-6985-42c0-8041-2bb16a414839" providerId="ADAL" clId="{E88466E7-2243-47F6-9EAE-9BF9DD0649AD}" dt="2024-04-04T21:21:39.567" v="45961"/>
          <ac:spMkLst>
            <pc:docMk/>
            <pc:sldMk cId="3564961532" sldId="282"/>
            <ac:spMk id="66" creationId="{C4A33F4F-7FD9-EA78-EDDC-D0E322FB3032}"/>
          </ac:spMkLst>
        </pc:spChg>
        <pc:spChg chg="add del mod modVis">
          <ac:chgData name="Joelle Brehm" userId="a518f54c-6985-42c0-8041-2bb16a414839" providerId="ADAL" clId="{E88466E7-2243-47F6-9EAE-9BF9DD0649AD}" dt="2024-04-04T21:21:39.580" v="46011"/>
          <ac:spMkLst>
            <pc:docMk/>
            <pc:sldMk cId="3564961532" sldId="282"/>
            <ac:spMk id="69" creationId="{F3E1BD27-0E2A-6003-A86D-869AC85D3548}"/>
          </ac:spMkLst>
        </pc:spChg>
        <pc:spChg chg="mod">
          <ac:chgData name="Joelle Brehm" userId="a518f54c-6985-42c0-8041-2bb16a414839" providerId="ADAL" clId="{E88466E7-2243-47F6-9EAE-9BF9DD0649AD}" dt="2024-04-04T21:21:39.560" v="45944"/>
          <ac:spMkLst>
            <pc:docMk/>
            <pc:sldMk cId="3564961532" sldId="282"/>
            <ac:spMk id="74" creationId="{1E5392BC-349C-45B4-8F81-52F83DA74F43}"/>
          </ac:spMkLst>
        </pc:spChg>
        <pc:spChg chg="mod">
          <ac:chgData name="Joelle Brehm" userId="a518f54c-6985-42c0-8041-2bb16a414839" providerId="ADAL" clId="{E88466E7-2243-47F6-9EAE-9BF9DD0649AD}" dt="2024-04-04T21:21:39.564" v="45952"/>
          <ac:spMkLst>
            <pc:docMk/>
            <pc:sldMk cId="3564961532" sldId="282"/>
            <ac:spMk id="7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1:39.564" v="45953"/>
          <ac:spMkLst>
            <pc:docMk/>
            <pc:sldMk cId="3564961532" sldId="282"/>
            <ac:spMk id="7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1:39.573" v="45984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21:39.574" v="45986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1:21:39.578" v="46005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E88466E7-2243-47F6-9EAE-9BF9DD0649AD}" dt="2024-04-04T21:21:39.565" v="45957"/>
          <ac:spMkLst>
            <pc:docMk/>
            <pc:sldMk cId="3564961532" sldId="282"/>
            <ac:spMk id="9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1:39.574" v="45988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E88466E7-2243-47F6-9EAE-9BF9DD0649AD}" dt="2024-04-04T21:21:39.565" v="45955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1:39.574" v="45990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21:39.575" v="45992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21:39.575" v="45994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21:39.564" v="45954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1:39.565" v="45956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1:39.566" v="45958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1:39.576" v="45997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1:39.576" v="45998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1:39.577" v="45999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1:39.577" v="46000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21:39.577" v="46001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1:21:39.595" v="46013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1:39.555" v="45924"/>
          <ac:graphicFrameMkLst>
            <pc:docMk/>
            <pc:sldMk cId="3564961532" sldId="282"/>
            <ac:graphicFrameMk id="8" creationId="{19923580-FADA-1350-FC6A-F73158282D97}"/>
          </ac:graphicFrameMkLst>
        </pc:graphicFrameChg>
        <pc:graphicFrameChg chg="del">
          <ac:chgData name="Joelle Brehm" userId="a518f54c-6985-42c0-8041-2bb16a414839" providerId="ADAL" clId="{E88466E7-2243-47F6-9EAE-9BF9DD0649AD}" dt="2024-04-04T21:20:58.947" v="44498"/>
          <ac:graphicFrameMkLst>
            <pc:docMk/>
            <pc:sldMk cId="3564961532" sldId="282"/>
            <ac:graphicFrameMk id="9" creationId="{30D98F85-B102-BD5F-345A-8616D1CAB904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1:39.576" v="45996"/>
          <ac:graphicFrameMkLst>
            <pc:docMk/>
            <pc:sldMk cId="3564961532" sldId="282"/>
            <ac:graphicFrameMk id="33" creationId="{5EBE850B-9B78-ABC4-D1C7-35ED81876806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1:23.110" v="44860"/>
          <ac:graphicFrameMkLst>
            <pc:docMk/>
            <pc:sldMk cId="3564961532" sldId="282"/>
            <ac:graphicFrameMk id="44" creationId="{0C1E68ED-0F6D-6D69-C681-2AA847F3696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1:32.744" v="45464"/>
          <ac:graphicFrameMkLst>
            <pc:docMk/>
            <pc:sldMk cId="3564961532" sldId="282"/>
            <ac:graphicFrameMk id="60" creationId="{2DFD63BD-FF01-AE4A-3359-672C2BB4430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1:35.088" v="45719"/>
          <ac:graphicFrameMkLst>
            <pc:docMk/>
            <pc:sldMk cId="3564961532" sldId="282"/>
            <ac:graphicFrameMk id="64" creationId="{CAE953BF-DBF4-BA1F-F377-CA85EC23947C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1:29.165" v="45253"/>
          <ac:graphicFrameMkLst>
            <pc:docMk/>
            <pc:sldMk cId="3564961532" sldId="282"/>
            <ac:graphicFrameMk id="67" creationId="{C3FE8B2B-0139-F88A-54FF-481DBAD98D15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1:39.533" v="45910"/>
          <ac:graphicFrameMkLst>
            <pc:docMk/>
            <pc:sldMk cId="3564961532" sldId="282"/>
            <ac:graphicFrameMk id="68" creationId="{19DB7D34-03A3-01E3-98DB-3400219A981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1:39.564" v="45951"/>
          <ac:graphicFrameMkLst>
            <pc:docMk/>
            <pc:sldMk cId="3564961532" sldId="282"/>
            <ac:graphicFrameMk id="70" creationId="{65294D68-EEE5-18E3-C02D-3EE821ABC992}"/>
          </ac:graphicFrameMkLst>
        </pc:graphicFrameChg>
        <pc:picChg chg="add mod ord">
          <ac:chgData name="Joelle Brehm" userId="a518f54c-6985-42c0-8041-2bb16a414839" providerId="ADAL" clId="{E88466E7-2243-47F6-9EAE-9BF9DD0649AD}" dt="2024-04-04T21:21:39.554" v="45918"/>
          <ac:picMkLst>
            <pc:docMk/>
            <pc:sldMk cId="3564961532" sldId="282"/>
            <ac:picMk id="10" creationId="{F919F1D0-50E2-9D2E-19FD-A00B71B6AA68}"/>
          </ac:picMkLst>
        </pc:picChg>
        <pc:picChg chg="del mod ord">
          <ac:chgData name="Joelle Brehm" userId="a518f54c-6985-42c0-8041-2bb16a414839" providerId="ADAL" clId="{E88466E7-2243-47F6-9EAE-9BF9DD0649AD}" dt="2024-04-04T21:21:13.814" v="44715" actId="478"/>
          <ac:picMkLst>
            <pc:docMk/>
            <pc:sldMk cId="3564961532" sldId="282"/>
            <ac:picMk id="32" creationId="{29BD9977-1BEB-437E-CF1F-9766898A6BBE}"/>
          </ac:picMkLst>
        </pc:picChg>
        <pc:picChg chg="mod ord">
          <ac:chgData name="Joelle Brehm" userId="a518f54c-6985-42c0-8041-2bb16a414839" providerId="ADAL" clId="{E88466E7-2243-47F6-9EAE-9BF9DD0649AD}" dt="2024-04-04T21:21:39.578" v="46003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21:39.555" v="45922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23:41.530" v="47771"/>
        <pc:sldMkLst>
          <pc:docMk/>
          <pc:sldMk cId="2958919186" sldId="284"/>
        </pc:sldMkLst>
        <pc:spChg chg="mod ord">
          <ac:chgData name="Joelle Brehm" userId="a518f54c-6985-42c0-8041-2bb16a414839" providerId="ADAL" clId="{E88466E7-2243-47F6-9EAE-9BF9DD0649AD}" dt="2024-04-04T21:23:41.514" v="47765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E88466E7-2243-47F6-9EAE-9BF9DD0649AD}" dt="2024-04-04T21:22:38.544" v="46014" actId="478"/>
          <ac:spMkLst>
            <pc:docMk/>
            <pc:sldMk cId="2958919186" sldId="284"/>
            <ac:spMk id="3" creationId="{7B455F34-F061-2630-DAB0-3581EF21A54E}"/>
          </ac:spMkLst>
        </pc:spChg>
        <pc:spChg chg="add del mod modVis">
          <ac:chgData name="Joelle Brehm" userId="a518f54c-6985-42c0-8041-2bb16a414839" providerId="ADAL" clId="{E88466E7-2243-47F6-9EAE-9BF9DD0649AD}" dt="2024-04-04T21:22:52.004" v="46251"/>
          <ac:spMkLst>
            <pc:docMk/>
            <pc:sldMk cId="2958919186" sldId="284"/>
            <ac:spMk id="5" creationId="{2A7CD197-7DBB-8EFE-FA98-FF31E9396025}"/>
          </ac:spMkLst>
        </pc:spChg>
        <pc:spChg chg="mod ord">
          <ac:chgData name="Joelle Brehm" userId="a518f54c-6985-42c0-8041-2bb16a414839" providerId="ADAL" clId="{E88466E7-2243-47F6-9EAE-9BF9DD0649AD}" dt="2024-04-04T21:23:41.491" v="47679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23:41.504" v="47730"/>
          <ac:spMkLst>
            <pc:docMk/>
            <pc:sldMk cId="2958919186" sldId="284"/>
            <ac:spMk id="10" creationId="{9719655D-B1E7-347B-4560-8C174CD823A0}"/>
          </ac:spMkLst>
        </pc:spChg>
        <pc:spChg chg="mod">
          <ac:chgData name="Joelle Brehm" userId="a518f54c-6985-42c0-8041-2bb16a414839" providerId="ADAL" clId="{E88466E7-2243-47F6-9EAE-9BF9DD0649AD}" dt="2024-04-04T21:23:41.495" v="47690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23:41.493" v="47686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23:41.493" v="47687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23:41.493" v="47684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23:41.493" v="47685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23:41.493" v="47688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23:41.493" v="47689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23:41.495" v="47691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23:41.495" v="47692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23:41.495" v="47693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23:41.496" v="47694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23:41.496" v="47695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23:41.496" v="47697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23:41.496" v="47700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23:41.497" v="47702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23:41.497" v="47701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23:41.498" v="47705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23:41.498" v="47706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23:41.497" v="47704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23:41.498" v="47708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1:23:41.504" v="47729"/>
          <ac:spMkLst>
            <pc:docMk/>
            <pc:sldMk cId="2958919186" sldId="284"/>
            <ac:spMk id="32" creationId="{A7F15473-C481-F557-18F4-5334C151E8F4}"/>
          </ac:spMkLst>
        </pc:spChg>
        <pc:spChg chg="add del mod modVis">
          <ac:chgData name="Joelle Brehm" userId="a518f54c-6985-42c0-8041-2bb16a414839" providerId="ADAL" clId="{E88466E7-2243-47F6-9EAE-9BF9DD0649AD}" dt="2024-04-04T21:23:15.940" v="46559"/>
          <ac:spMkLst>
            <pc:docMk/>
            <pc:sldMk cId="2958919186" sldId="284"/>
            <ac:spMk id="35" creationId="{A42B9E96-07F0-17E2-ED68-DC43C51E3A68}"/>
          </ac:spMkLst>
        </pc:spChg>
        <pc:spChg chg="mod">
          <ac:chgData name="Joelle Brehm" userId="a518f54c-6985-42c0-8041-2bb16a414839" providerId="ADAL" clId="{E88466E7-2243-47F6-9EAE-9BF9DD0649AD}" dt="2024-04-04T21:23:41.506" v="47738"/>
          <ac:spMkLst>
            <pc:docMk/>
            <pc:sldMk cId="2958919186" sldId="284"/>
            <ac:spMk id="36" creationId="{ABC0E037-21BF-BF4A-687C-480525152A9F}"/>
          </ac:spMkLst>
        </pc:spChg>
        <pc:spChg chg="mod ord">
          <ac:chgData name="Joelle Brehm" userId="a518f54c-6985-42c0-8041-2bb16a414839" providerId="ADAL" clId="{E88466E7-2243-47F6-9EAE-9BF9DD0649AD}" dt="2024-04-04T21:23:41.496" v="47699"/>
          <ac:spMkLst>
            <pc:docMk/>
            <pc:sldMk cId="2958919186" sldId="284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E88466E7-2243-47F6-9EAE-9BF9DD0649AD}" dt="2024-04-04T21:23:41.507" v="47739"/>
          <ac:spMkLst>
            <pc:docMk/>
            <pc:sldMk cId="2958919186" sldId="284"/>
            <ac:spMk id="39" creationId="{C3C5C1D5-CE05-04AD-6FA1-CD8C07C66479}"/>
          </ac:spMkLst>
        </pc:spChg>
        <pc:spChg chg="add mod ord replST">
          <ac:chgData name="Joelle Brehm" userId="a518f54c-6985-42c0-8041-2bb16a414839" providerId="ADAL" clId="{E88466E7-2243-47F6-9EAE-9BF9DD0649AD}" dt="2024-04-04T21:23:41.507" v="47740"/>
          <ac:spMkLst>
            <pc:docMk/>
            <pc:sldMk cId="2958919186" sldId="284"/>
            <ac:spMk id="40" creationId="{B642CE0C-57AA-72C5-417D-5CBB363DC160}"/>
          </ac:spMkLst>
        </pc:spChg>
        <pc:spChg chg="add del mod modVis">
          <ac:chgData name="Joelle Brehm" userId="a518f54c-6985-42c0-8041-2bb16a414839" providerId="ADAL" clId="{E88466E7-2243-47F6-9EAE-9BF9DD0649AD}" dt="2024-04-04T21:23:21.529" v="46947"/>
          <ac:spMkLst>
            <pc:docMk/>
            <pc:sldMk cId="2958919186" sldId="284"/>
            <ac:spMk id="41" creationId="{DD063427-583F-A15B-515D-088342365CA4}"/>
          </ac:spMkLst>
        </pc:spChg>
        <pc:spChg chg="mod">
          <ac:chgData name="Joelle Brehm" userId="a518f54c-6985-42c0-8041-2bb16a414839" providerId="ADAL" clId="{E88466E7-2243-47F6-9EAE-9BF9DD0649AD}" dt="2024-04-04T21:23:41.503" v="47726"/>
          <ac:spMkLst>
            <pc:docMk/>
            <pc:sldMk cId="2958919186" sldId="284"/>
            <ac:spMk id="42" creationId="{907D7408-F4BF-634D-C4A3-6AB144A133E9}"/>
          </ac:spMkLst>
        </pc:spChg>
        <pc:spChg chg="mod">
          <ac:chgData name="Joelle Brehm" userId="a518f54c-6985-42c0-8041-2bb16a414839" providerId="ADAL" clId="{E88466E7-2243-47F6-9EAE-9BF9DD0649AD}" dt="2024-04-04T21:23:41.505" v="47734"/>
          <ac:spMkLst>
            <pc:docMk/>
            <pc:sldMk cId="2958919186" sldId="284"/>
            <ac:spMk id="43" creationId="{AE3E702C-DACE-F774-74FA-59D2669929E7}"/>
          </ac:spMkLst>
        </pc:spChg>
        <pc:spChg chg="mod">
          <ac:chgData name="Joelle Brehm" userId="a518f54c-6985-42c0-8041-2bb16a414839" providerId="ADAL" clId="{E88466E7-2243-47F6-9EAE-9BF9DD0649AD}" dt="2024-04-04T21:23:41.503" v="47725"/>
          <ac:spMkLst>
            <pc:docMk/>
            <pc:sldMk cId="2958919186" sldId="284"/>
            <ac:spMk id="44" creationId="{77917790-2F42-F887-E684-5C13E341F164}"/>
          </ac:spMkLst>
        </pc:spChg>
        <pc:spChg chg="mod">
          <ac:chgData name="Joelle Brehm" userId="a518f54c-6985-42c0-8041-2bb16a414839" providerId="ADAL" clId="{E88466E7-2243-47F6-9EAE-9BF9DD0649AD}" dt="2024-04-04T21:23:41.506" v="47736"/>
          <ac:spMkLst>
            <pc:docMk/>
            <pc:sldMk cId="2958919186" sldId="284"/>
            <ac:spMk id="45" creationId="{69B55197-3E95-C76B-28EA-C92C39CE202B}"/>
          </ac:spMkLst>
        </pc:spChg>
        <pc:spChg chg="mod">
          <ac:chgData name="Joelle Brehm" userId="a518f54c-6985-42c0-8041-2bb16a414839" providerId="ADAL" clId="{E88466E7-2243-47F6-9EAE-9BF9DD0649AD}" dt="2024-04-04T21:23:41.506" v="47735"/>
          <ac:spMkLst>
            <pc:docMk/>
            <pc:sldMk cId="2958919186" sldId="284"/>
            <ac:spMk id="46" creationId="{11FBAC96-1BE5-4DA8-D741-A6923EFB5B15}"/>
          </ac:spMkLst>
        </pc:spChg>
        <pc:spChg chg="mod">
          <ac:chgData name="Joelle Brehm" userId="a518f54c-6985-42c0-8041-2bb16a414839" providerId="ADAL" clId="{E88466E7-2243-47F6-9EAE-9BF9DD0649AD}" dt="2024-04-04T21:23:41.502" v="47721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E88466E7-2243-47F6-9EAE-9BF9DD0649AD}" dt="2024-04-04T21:23:41.504" v="47728"/>
          <ac:spMkLst>
            <pc:docMk/>
            <pc:sldMk cId="2958919186" sldId="284"/>
            <ac:spMk id="48" creationId="{5D20D0D7-37CC-29AE-8F09-41EE1C3042D6}"/>
          </ac:spMkLst>
        </pc:spChg>
        <pc:spChg chg="mod">
          <ac:chgData name="Joelle Brehm" userId="a518f54c-6985-42c0-8041-2bb16a414839" providerId="ADAL" clId="{E88466E7-2243-47F6-9EAE-9BF9DD0649AD}" dt="2024-04-04T21:23:41.505" v="47732"/>
          <ac:spMkLst>
            <pc:docMk/>
            <pc:sldMk cId="2958919186" sldId="284"/>
            <ac:spMk id="49" creationId="{CB11A0CB-368B-A60B-EDC1-4AB20B197FE5}"/>
          </ac:spMkLst>
        </pc:spChg>
        <pc:spChg chg="mod">
          <ac:chgData name="Joelle Brehm" userId="a518f54c-6985-42c0-8041-2bb16a414839" providerId="ADAL" clId="{E88466E7-2243-47F6-9EAE-9BF9DD0649AD}" dt="2024-04-04T21:23:41.505" v="47731"/>
          <ac:spMkLst>
            <pc:docMk/>
            <pc:sldMk cId="2958919186" sldId="284"/>
            <ac:spMk id="50" creationId="{2C405B0B-A40D-DA13-F823-C48F9BB223C3}"/>
          </ac:spMkLst>
        </pc:spChg>
        <pc:spChg chg="mod">
          <ac:chgData name="Joelle Brehm" userId="a518f54c-6985-42c0-8041-2bb16a414839" providerId="ADAL" clId="{E88466E7-2243-47F6-9EAE-9BF9DD0649AD}" dt="2024-04-04T21:23:41.504" v="47727"/>
          <ac:spMkLst>
            <pc:docMk/>
            <pc:sldMk cId="2958919186" sldId="284"/>
            <ac:spMk id="51" creationId="{5919439C-F2E5-38EE-454C-6197DCE4A0B6}"/>
          </ac:spMkLst>
        </pc:spChg>
        <pc:spChg chg="del mod">
          <ac:chgData name="Joelle Brehm" userId="a518f54c-6985-42c0-8041-2bb16a414839" providerId="ADAL" clId="{E88466E7-2243-47F6-9EAE-9BF9DD0649AD}" dt="2024-04-04T21:23:26.099" v="47155"/>
          <ac:spMkLst>
            <pc:docMk/>
            <pc:sldMk cId="2958919186" sldId="284"/>
            <ac:spMk id="52" creationId="{6E4409F8-DCE2-073E-9CE6-5DBB74FB2660}"/>
          </ac:spMkLst>
        </pc:spChg>
        <pc:spChg chg="del mod">
          <ac:chgData name="Joelle Brehm" userId="a518f54c-6985-42c0-8041-2bb16a414839" providerId="ADAL" clId="{E88466E7-2243-47F6-9EAE-9BF9DD0649AD}" dt="2024-04-04T21:23:26.098" v="47154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E88466E7-2243-47F6-9EAE-9BF9DD0649AD}" dt="2024-04-04T21:23:41.503" v="47724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E88466E7-2243-47F6-9EAE-9BF9DD0649AD}" dt="2024-04-04T21:23:41.502" v="47723"/>
          <ac:spMkLst>
            <pc:docMk/>
            <pc:sldMk cId="2958919186" sldId="284"/>
            <ac:spMk id="55" creationId="{2BAA32C5-1C92-8614-2678-B94A36FCDC54}"/>
          </ac:spMkLst>
        </pc:spChg>
        <pc:spChg chg="mod">
          <ac:chgData name="Joelle Brehm" userId="a518f54c-6985-42c0-8041-2bb16a414839" providerId="ADAL" clId="{E88466E7-2243-47F6-9EAE-9BF9DD0649AD}" dt="2024-04-04T21:23:41.505" v="47733"/>
          <ac:spMkLst>
            <pc:docMk/>
            <pc:sldMk cId="2958919186" sldId="284"/>
            <ac:spMk id="56" creationId="{FDC4214A-9C7D-E50B-B2D6-A8DDC8950E22}"/>
          </ac:spMkLst>
        </pc:spChg>
        <pc:spChg chg="mod">
          <ac:chgData name="Joelle Brehm" userId="a518f54c-6985-42c0-8041-2bb16a414839" providerId="ADAL" clId="{E88466E7-2243-47F6-9EAE-9BF9DD0649AD}" dt="2024-04-04T21:23:41.502" v="47720"/>
          <ac:spMkLst>
            <pc:docMk/>
            <pc:sldMk cId="2958919186" sldId="284"/>
            <ac:spMk id="58" creationId="{1FE8095F-70AA-80E7-5AB4-793D17F07A13}"/>
          </ac:spMkLst>
        </pc:spChg>
        <pc:spChg chg="mod">
          <ac:chgData name="Joelle Brehm" userId="a518f54c-6985-42c0-8041-2bb16a414839" providerId="ADAL" clId="{E88466E7-2243-47F6-9EAE-9BF9DD0649AD}" dt="2024-04-04T21:23:41.506" v="47737"/>
          <ac:spMkLst>
            <pc:docMk/>
            <pc:sldMk cId="2958919186" sldId="284"/>
            <ac:spMk id="59" creationId="{A08BBCC9-3F12-9CFB-81E3-A06659BDF559}"/>
          </ac:spMkLst>
        </pc:spChg>
        <pc:spChg chg="mod">
          <ac:chgData name="Joelle Brehm" userId="a518f54c-6985-42c0-8041-2bb16a414839" providerId="ADAL" clId="{E88466E7-2243-47F6-9EAE-9BF9DD0649AD}" dt="2024-04-04T21:23:41.501" v="47718"/>
          <ac:spMkLst>
            <pc:docMk/>
            <pc:sldMk cId="2958919186" sldId="284"/>
            <ac:spMk id="60" creationId="{8759D603-88B6-A9D6-C425-741AE5AD2811}"/>
          </ac:spMkLst>
        </pc:spChg>
        <pc:spChg chg="mod ord">
          <ac:chgData name="Joelle Brehm" userId="a518f54c-6985-42c0-8041-2bb16a414839" providerId="ADAL" clId="{E88466E7-2243-47F6-9EAE-9BF9DD0649AD}" dt="2024-04-04T21:23:41.501" v="47717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E88466E7-2243-47F6-9EAE-9BF9DD0649AD}" dt="2024-04-04T21:23:23.994" v="47151"/>
          <ac:spMkLst>
            <pc:docMk/>
            <pc:sldMk cId="2958919186" sldId="284"/>
            <ac:spMk id="62" creationId="{6A657540-EC45-3272-92A2-E33EAF6D10D4}"/>
          </ac:spMkLst>
        </pc:spChg>
        <pc:spChg chg="mod">
          <ac:chgData name="Joelle Brehm" userId="a518f54c-6985-42c0-8041-2bb16a414839" providerId="ADAL" clId="{E88466E7-2243-47F6-9EAE-9BF9DD0649AD}" dt="2024-04-04T21:23:41.501" v="47719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E88466E7-2243-47F6-9EAE-9BF9DD0649AD}" dt="2024-04-04T21:23:26.300" v="47398"/>
          <ac:spMkLst>
            <pc:docMk/>
            <pc:sldMk cId="2958919186" sldId="284"/>
            <ac:spMk id="65" creationId="{75043107-EA29-E77D-30CB-25ABEC4700D7}"/>
          </ac:spMkLst>
        </pc:spChg>
        <pc:spChg chg="add del mod modVis">
          <ac:chgData name="Joelle Brehm" userId="a518f54c-6985-42c0-8041-2bb16a414839" providerId="ADAL" clId="{E88466E7-2243-47F6-9EAE-9BF9DD0649AD}" dt="2024-04-04T21:23:39.629" v="47583"/>
          <ac:spMkLst>
            <pc:docMk/>
            <pc:sldMk cId="2958919186" sldId="284"/>
            <ac:spMk id="67" creationId="{57AABE76-DF1B-86B1-48B1-F99B3202F58D}"/>
          </ac:spMkLst>
        </pc:spChg>
        <pc:spChg chg="mod">
          <ac:chgData name="Joelle Brehm" userId="a518f54c-6985-42c0-8041-2bb16a414839" providerId="ADAL" clId="{E88466E7-2243-47F6-9EAE-9BF9DD0649AD}" dt="2024-04-04T21:23:41.500" v="47712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3:41.500" v="47713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3:41.500" v="47715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3:41.501" v="47716"/>
          <ac:spMkLst>
            <pc:docMk/>
            <pc:sldMk cId="2958919186" sldId="284"/>
            <ac:spMk id="71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3:41.497" v="47703"/>
          <ac:spMkLst>
            <pc:docMk/>
            <pc:sldMk cId="2958919186" sldId="284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E88466E7-2243-47F6-9EAE-9BF9DD0649AD}" dt="2024-04-04T21:23:41.515" v="47769"/>
          <ac:spMkLst>
            <pc:docMk/>
            <pc:sldMk cId="2958919186" sldId="284"/>
            <ac:spMk id="75" creationId="{BB05A139-E39D-3743-4546-8007D0B82BFA}"/>
          </ac:spMkLst>
        </pc:spChg>
        <pc:spChg chg="mod">
          <ac:chgData name="Joelle Brehm" userId="a518f54c-6985-42c0-8041-2bb16a414839" providerId="ADAL" clId="{E88466E7-2243-47F6-9EAE-9BF9DD0649AD}" dt="2024-04-04T21:23:41.502" v="47722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E88466E7-2243-47F6-9EAE-9BF9DD0649AD}" dt="2024-04-04T21:23:41.507" v="47742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23:41.508" v="47744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E88466E7-2243-47F6-9EAE-9BF9DD0649AD}" dt="2024-04-04T21:23:41.499" v="47711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3:41.513" v="47763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E88466E7-2243-47F6-9EAE-9BF9DD0649AD}" dt="2024-04-04T21:23:41.509" v="47746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23:41.509" v="47748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23:41.510" v="47750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23:41.510" v="47752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23:41.512" v="47755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3:41.512" v="47756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3:41.512" v="47757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3:41.513" v="47758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23:41.513" v="47759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E88466E7-2243-47F6-9EAE-9BF9DD0649AD}" dt="2024-04-04T21:23:41.500" v="47714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E88466E7-2243-47F6-9EAE-9BF9DD0649AD}" dt="2024-04-04T21:23:41.530" v="47771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1:22:51.928" v="46145"/>
          <ac:graphicFrameMkLst>
            <pc:docMk/>
            <pc:sldMk cId="2958919186" sldId="284"/>
            <ac:graphicFrameMk id="8" creationId="{CEC18DF0-C7E4-A92F-17A1-7EA7B9DBBA00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3:41.493" v="47683"/>
          <ac:graphicFrameMkLst>
            <pc:docMk/>
            <pc:sldMk cId="2958919186" sldId="284"/>
            <ac:graphicFrameMk id="31" creationId="{FA8B1C22-FAD5-7CCD-2DF0-65B049D9C2E7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3:15.887" v="46459"/>
          <ac:graphicFrameMkLst>
            <pc:docMk/>
            <pc:sldMk cId="2958919186" sldId="284"/>
            <ac:graphicFrameMk id="33" creationId="{DCF22CC6-8259-10C8-3931-BF5FE057171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3:41.511" v="47754"/>
          <ac:graphicFrameMkLst>
            <pc:docMk/>
            <pc:sldMk cId="2958919186" sldId="284"/>
            <ac:graphicFrameMk id="38" creationId="{F95ADE6D-FF95-E726-0034-EE9215CF70D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3:23.935" v="47048"/>
          <ac:graphicFrameMkLst>
            <pc:docMk/>
            <pc:sldMk cId="2958919186" sldId="284"/>
            <ac:graphicFrameMk id="57" creationId="{2D1E1366-634D-39E5-70DC-C95AC35548C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3:26.231" v="47296"/>
          <ac:graphicFrameMkLst>
            <pc:docMk/>
            <pc:sldMk cId="2958919186" sldId="284"/>
            <ac:graphicFrameMk id="63" creationId="{B355BBAE-8113-9324-C8DC-99F9BCB2825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3:39.581" v="47482"/>
          <ac:graphicFrameMkLst>
            <pc:docMk/>
            <pc:sldMk cId="2958919186" sldId="284"/>
            <ac:graphicFrameMk id="66" creationId="{C41C4B4B-8543-499D-A642-0B29F2A750F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3:41.470" v="47669"/>
          <ac:graphicFrameMkLst>
            <pc:docMk/>
            <pc:sldMk cId="2958919186" sldId="284"/>
            <ac:graphicFrameMk id="72" creationId="{18DB7D89-7447-A4B8-8503-E1C36782A21D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3:21.461" v="46844"/>
          <ac:graphicFrameMkLst>
            <pc:docMk/>
            <pc:sldMk cId="2958919186" sldId="284"/>
            <ac:graphicFrameMk id="73" creationId="{9975B402-1704-DC92-7C4C-FD00FC76019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3:41.499" v="47710"/>
          <ac:graphicFrameMkLst>
            <pc:docMk/>
            <pc:sldMk cId="2958919186" sldId="284"/>
            <ac:graphicFrameMk id="77" creationId="{8985F9D0-7783-3373-AF97-382455B84687}"/>
          </ac:graphicFrameMkLst>
        </pc:graphicFrameChg>
        <pc:picChg chg="del mod ord">
          <ac:chgData name="Joelle Brehm" userId="a518f54c-6985-42c0-8041-2bb16a414839" providerId="ADAL" clId="{E88466E7-2243-47F6-9EAE-9BF9DD0649AD}" dt="2024-04-04T21:23:07.311" v="46360" actId="478"/>
          <ac:picMkLst>
            <pc:docMk/>
            <pc:sldMk cId="2958919186" sldId="284"/>
            <ac:picMk id="9" creationId="{9FE787A0-CD96-5DC5-312D-F8A60341C608}"/>
          </ac:picMkLst>
        </pc:picChg>
        <pc:picChg chg="add mod ord">
          <ac:chgData name="Joelle Brehm" userId="a518f54c-6985-42c0-8041-2bb16a414839" providerId="ADAL" clId="{E88466E7-2243-47F6-9EAE-9BF9DD0649AD}" dt="2024-04-04T21:23:41.490" v="47677"/>
          <ac:picMkLst>
            <pc:docMk/>
            <pc:sldMk cId="2958919186" sldId="284"/>
            <ac:picMk id="34" creationId="{1D1426D0-12D3-A6EB-EB87-61141B9B4479}"/>
          </ac:picMkLst>
        </pc:picChg>
        <pc:picChg chg="mod ord">
          <ac:chgData name="Joelle Brehm" userId="a518f54c-6985-42c0-8041-2bb16a414839" providerId="ADAL" clId="{E88466E7-2243-47F6-9EAE-9BF9DD0649AD}" dt="2024-04-04T21:23:41.513" v="47761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23:41.491" v="47681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25:29.360" v="51027"/>
        <pc:sldMkLst>
          <pc:docMk/>
          <pc:sldMk cId="3959601197" sldId="285"/>
        </pc:sldMkLst>
        <pc:spChg chg="mod ord">
          <ac:chgData name="Joelle Brehm" userId="a518f54c-6985-42c0-8041-2bb16a414839" providerId="ADAL" clId="{E88466E7-2243-47F6-9EAE-9BF9DD0649AD}" dt="2024-04-04T21:25:29.341" v="51021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E88466E7-2243-47F6-9EAE-9BF9DD0649AD}" dt="2024-04-04T21:23:45.428" v="47772" actId="478"/>
          <ac:spMkLst>
            <pc:docMk/>
            <pc:sldMk cId="3959601197" sldId="285"/>
            <ac:spMk id="3" creationId="{5B0249BB-C737-3655-F54B-108FF9B23CE7}"/>
          </ac:spMkLst>
        </pc:spChg>
        <pc:spChg chg="add del mod modVis">
          <ac:chgData name="Joelle Brehm" userId="a518f54c-6985-42c0-8041-2bb16a414839" providerId="ADAL" clId="{E88466E7-2243-47F6-9EAE-9BF9DD0649AD}" dt="2024-04-04T21:23:54.819" v="47993"/>
          <ac:spMkLst>
            <pc:docMk/>
            <pc:sldMk cId="3959601197" sldId="285"/>
            <ac:spMk id="5" creationId="{1F075050-B592-FDAC-5486-0025ADEC48A5}"/>
          </ac:spMkLst>
        </pc:spChg>
        <pc:spChg chg="mod ord">
          <ac:chgData name="Joelle Brehm" userId="a518f54c-6985-42c0-8041-2bb16a414839" providerId="ADAL" clId="{E88466E7-2243-47F6-9EAE-9BF9DD0649AD}" dt="2024-04-04T21:25:29.324" v="50953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25:29.327" v="50964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25:29.326" v="50960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25:29.326" v="50961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25:29.326" v="50958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25:29.326" v="50959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25:29.327" v="50962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25:29.327" v="50963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25:29.328" v="50965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25:29.328" v="50966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25:29.328" v="50967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25:29.328" v="50968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25:29.329" v="50969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25:29.329" v="50971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25:29.330" v="50974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25:29.330" v="50976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25:29.330" v="50975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25:29.331" v="50979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25:29.331" v="50980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25:29.331" v="50978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25:29.332" v="50982"/>
          <ac:spMkLst>
            <pc:docMk/>
            <pc:sldMk cId="3959601197" sldId="28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04T21:24:19.647" v="48286"/>
          <ac:spMkLst>
            <pc:docMk/>
            <pc:sldMk cId="3959601197" sldId="285"/>
            <ac:spMk id="32" creationId="{BA32BB96-943F-6DCE-2E2A-5F8D21EFEFC1}"/>
          </ac:spMkLst>
        </pc:spChg>
        <pc:spChg chg="del mod">
          <ac:chgData name="Joelle Brehm" userId="a518f54c-6985-42c0-8041-2bb16a414839" providerId="ADAL" clId="{E88466E7-2243-47F6-9EAE-9BF9DD0649AD}" dt="2024-04-04T21:24:33.369" v="49839"/>
          <ac:spMkLst>
            <pc:docMk/>
            <pc:sldMk cId="3959601197" sldId="285"/>
            <ac:spMk id="33" creationId="{5E6D8718-1100-5B0D-03C4-984A1480256E}"/>
          </ac:spMkLst>
        </pc:spChg>
        <pc:spChg chg="add del mod replST">
          <ac:chgData name="Joelle Brehm" userId="a518f54c-6985-42c0-8041-2bb16a414839" providerId="ADAL" clId="{E88466E7-2243-47F6-9EAE-9BF9DD0649AD}" dt="2024-04-04T21:24:33.370" v="49844"/>
          <ac:spMkLst>
            <pc:docMk/>
            <pc:sldMk cId="3959601197" sldId="285"/>
            <ac:spMk id="36" creationId="{6FBF5418-A6F5-A5CD-A6FF-D6A60FD5ACAD}"/>
          </ac:spMkLst>
        </pc:spChg>
        <pc:spChg chg="mod ord">
          <ac:chgData name="Joelle Brehm" userId="a518f54c-6985-42c0-8041-2bb16a414839" providerId="ADAL" clId="{E88466E7-2243-47F6-9EAE-9BF9DD0649AD}" dt="2024-04-04T21:25:29.330" v="50973"/>
          <ac:spMkLst>
            <pc:docMk/>
            <pc:sldMk cId="3959601197" sldId="285"/>
            <ac:spMk id="37" creationId="{6E6D97FF-E2E0-42EA-A83A-C3DF9F3514AE}"/>
          </ac:spMkLst>
        </pc:spChg>
        <pc:spChg chg="del mod">
          <ac:chgData name="Joelle Brehm" userId="a518f54c-6985-42c0-8041-2bb16a414839" providerId="ADAL" clId="{E88466E7-2243-47F6-9EAE-9BF9DD0649AD}" dt="2024-04-04T21:24:33.368" v="49838"/>
          <ac:spMkLst>
            <pc:docMk/>
            <pc:sldMk cId="3959601197" sldId="285"/>
            <ac:spMk id="38" creationId="{2FB404D9-C000-431B-6310-4B69B0746585}"/>
          </ac:spMkLst>
        </pc:spChg>
        <pc:spChg chg="del mod">
          <ac:chgData name="Joelle Brehm" userId="a518f54c-6985-42c0-8041-2bb16a414839" providerId="ADAL" clId="{E88466E7-2243-47F6-9EAE-9BF9DD0649AD}" dt="2024-04-04T21:24:33.367" v="49835"/>
          <ac:spMkLst>
            <pc:docMk/>
            <pc:sldMk cId="3959601197" sldId="285"/>
            <ac:spMk id="39" creationId="{49E3BF94-A3A3-6D9E-A640-936C4D588482}"/>
          </ac:spMkLst>
        </pc:spChg>
        <pc:spChg chg="del mod">
          <ac:chgData name="Joelle Brehm" userId="a518f54c-6985-42c0-8041-2bb16a414839" providerId="ADAL" clId="{E88466E7-2243-47F6-9EAE-9BF9DD0649AD}" dt="2024-04-04T21:24:33.368" v="49836"/>
          <ac:spMkLst>
            <pc:docMk/>
            <pc:sldMk cId="3959601197" sldId="285"/>
            <ac:spMk id="40" creationId="{EA599A54-45AC-0837-D7C5-3771AA871AAD}"/>
          </ac:spMkLst>
        </pc:spChg>
        <pc:spChg chg="del mod">
          <ac:chgData name="Joelle Brehm" userId="a518f54c-6985-42c0-8041-2bb16a414839" providerId="ADAL" clId="{E88466E7-2243-47F6-9EAE-9BF9DD0649AD}" dt="2024-04-04T21:24:33.368" v="49837"/>
          <ac:spMkLst>
            <pc:docMk/>
            <pc:sldMk cId="3959601197" sldId="285"/>
            <ac:spMk id="41" creationId="{EEDF60F4-83FD-2158-5CFE-740630E662A0}"/>
          </ac:spMkLst>
        </pc:spChg>
        <pc:spChg chg="del mod">
          <ac:chgData name="Joelle Brehm" userId="a518f54c-6985-42c0-8041-2bb16a414839" providerId="ADAL" clId="{E88466E7-2243-47F6-9EAE-9BF9DD0649AD}" dt="2024-04-04T21:24:33.367" v="49833"/>
          <ac:spMkLst>
            <pc:docMk/>
            <pc:sldMk cId="3959601197" sldId="285"/>
            <ac:spMk id="42" creationId="{4E3A90E0-E736-41A1-6C28-222246D5C0B8}"/>
          </ac:spMkLst>
        </pc:spChg>
        <pc:spChg chg="del mod">
          <ac:chgData name="Joelle Brehm" userId="a518f54c-6985-42c0-8041-2bb16a414839" providerId="ADAL" clId="{E88466E7-2243-47F6-9EAE-9BF9DD0649AD}" dt="2024-04-04T21:24:32.443" v="49193"/>
          <ac:spMkLst>
            <pc:docMk/>
            <pc:sldMk cId="3959601197" sldId="285"/>
            <ac:spMk id="43" creationId="{7A0654C5-E72A-A91E-A2D8-90D96122F7D7}"/>
          </ac:spMkLst>
        </pc:spChg>
        <pc:spChg chg="del mod">
          <ac:chgData name="Joelle Brehm" userId="a518f54c-6985-42c0-8041-2bb16a414839" providerId="ADAL" clId="{E88466E7-2243-47F6-9EAE-9BF9DD0649AD}" dt="2024-04-04T21:24:33.370" v="49842"/>
          <ac:spMkLst>
            <pc:docMk/>
            <pc:sldMk cId="3959601197" sldId="285"/>
            <ac:spMk id="44" creationId="{08D2944B-2820-1365-ABAF-E434AEED3E90}"/>
          </ac:spMkLst>
        </pc:spChg>
        <pc:spChg chg="del mod">
          <ac:chgData name="Joelle Brehm" userId="a518f54c-6985-42c0-8041-2bb16a414839" providerId="ADAL" clId="{E88466E7-2243-47F6-9EAE-9BF9DD0649AD}" dt="2024-04-04T21:24:27.847" v="48750"/>
          <ac:spMkLst>
            <pc:docMk/>
            <pc:sldMk cId="3959601197" sldId="285"/>
            <ac:spMk id="45" creationId="{626370B0-7EF7-184B-51C9-15EF29D50944}"/>
          </ac:spMkLst>
        </pc:spChg>
        <pc:spChg chg="del mod">
          <ac:chgData name="Joelle Brehm" userId="a518f54c-6985-42c0-8041-2bb16a414839" providerId="ADAL" clId="{E88466E7-2243-47F6-9EAE-9BF9DD0649AD}" dt="2024-04-04T21:24:33.369" v="49840"/>
          <ac:spMkLst>
            <pc:docMk/>
            <pc:sldMk cId="3959601197" sldId="285"/>
            <ac:spMk id="46" creationId="{529E40B7-0A04-6402-DEF9-2538E4023CED}"/>
          </ac:spMkLst>
        </pc:spChg>
        <pc:spChg chg="del mod">
          <ac:chgData name="Joelle Brehm" userId="a518f54c-6985-42c0-8041-2bb16a414839" providerId="ADAL" clId="{E88466E7-2243-47F6-9EAE-9BF9DD0649AD}" dt="2024-04-04T21:24:33.367" v="49834"/>
          <ac:spMkLst>
            <pc:docMk/>
            <pc:sldMk cId="3959601197" sldId="285"/>
            <ac:spMk id="47" creationId="{E68B1E78-8D9D-3E69-597C-1E05491CF1D5}"/>
          </ac:spMkLst>
        </pc:spChg>
        <pc:spChg chg="del mod">
          <ac:chgData name="Joelle Brehm" userId="a518f54c-6985-42c0-8041-2bb16a414839" providerId="ADAL" clId="{E88466E7-2243-47F6-9EAE-9BF9DD0649AD}" dt="2024-04-04T21:24:33.369" v="49841"/>
          <ac:spMkLst>
            <pc:docMk/>
            <pc:sldMk cId="3959601197" sldId="285"/>
            <ac:spMk id="48" creationId="{18ADE8BA-F709-3681-1C70-126B3A4F130F}"/>
          </ac:spMkLst>
        </pc:spChg>
        <pc:spChg chg="add del mod modVis">
          <ac:chgData name="Joelle Brehm" userId="a518f54c-6985-42c0-8041-2bb16a414839" providerId="ADAL" clId="{E88466E7-2243-47F6-9EAE-9BF9DD0649AD}" dt="2024-04-04T21:24:25.984" v="48694"/>
          <ac:spMkLst>
            <pc:docMk/>
            <pc:sldMk cId="3959601197" sldId="285"/>
            <ac:spMk id="49" creationId="{DCCF06FE-F710-03C6-885E-F18FBF8AA190}"/>
          </ac:spMkLst>
        </pc:spChg>
        <pc:spChg chg="add del mod modVis">
          <ac:chgData name="Joelle Brehm" userId="a518f54c-6985-42c0-8041-2bb16a414839" providerId="ADAL" clId="{E88466E7-2243-47F6-9EAE-9BF9DD0649AD}" dt="2024-04-04T21:24:27.916" v="48835"/>
          <ac:spMkLst>
            <pc:docMk/>
            <pc:sldMk cId="3959601197" sldId="285"/>
            <ac:spMk id="51" creationId="{B3C0A375-F89C-1D8B-3FA9-FA236B0F9D41}"/>
          </ac:spMkLst>
        </pc:spChg>
        <pc:spChg chg="add del mod replST">
          <ac:chgData name="Joelle Brehm" userId="a518f54c-6985-42c0-8041-2bb16a414839" providerId="ADAL" clId="{E88466E7-2243-47F6-9EAE-9BF9DD0649AD}" dt="2024-04-04T21:24:33.370" v="49843"/>
          <ac:spMkLst>
            <pc:docMk/>
            <pc:sldMk cId="3959601197" sldId="285"/>
            <ac:spMk id="53" creationId="{447C2CB3-CA86-F184-543F-B7498F771E60}"/>
          </ac:spMkLst>
        </pc:spChg>
        <pc:spChg chg="add del mod modVis">
          <ac:chgData name="Joelle Brehm" userId="a518f54c-6985-42c0-8041-2bb16a414839" providerId="ADAL" clId="{E88466E7-2243-47F6-9EAE-9BF9DD0649AD}" dt="2024-04-04T21:24:28.933" v="49014"/>
          <ac:spMkLst>
            <pc:docMk/>
            <pc:sldMk cId="3959601197" sldId="285"/>
            <ac:spMk id="55" creationId="{34280E4A-1460-327E-730A-DC53B6D7EA7C}"/>
          </ac:spMkLst>
        </pc:spChg>
        <pc:spChg chg="add del mod modVis">
          <ac:chgData name="Joelle Brehm" userId="a518f54c-6985-42c0-8041-2bb16a414839" providerId="ADAL" clId="{E88466E7-2243-47F6-9EAE-9BF9DD0649AD}" dt="2024-04-04T21:24:30.355" v="49190"/>
          <ac:spMkLst>
            <pc:docMk/>
            <pc:sldMk cId="3959601197" sldId="285"/>
            <ac:spMk id="57" creationId="{D902293D-C811-3821-699E-6532152D158F}"/>
          </ac:spMkLst>
        </pc:spChg>
        <pc:spChg chg="add del mod modVis">
          <ac:chgData name="Joelle Brehm" userId="a518f54c-6985-42c0-8041-2bb16a414839" providerId="ADAL" clId="{E88466E7-2243-47F6-9EAE-9BF9DD0649AD}" dt="2024-04-04T21:24:33.437" v="49948"/>
          <ac:spMkLst>
            <pc:docMk/>
            <pc:sldMk cId="3959601197" sldId="285"/>
            <ac:spMk id="59" creationId="{6FF23A61-6751-7C9A-12DA-A3EFF11DB98E}"/>
          </ac:spMkLst>
        </pc:spChg>
        <pc:spChg chg="add del mod replST">
          <ac:chgData name="Joelle Brehm" userId="a518f54c-6985-42c0-8041-2bb16a414839" providerId="ADAL" clId="{E88466E7-2243-47F6-9EAE-9BF9DD0649AD}" dt="2024-04-04T21:25:24.634" v="49969"/>
          <ac:spMkLst>
            <pc:docMk/>
            <pc:sldMk cId="3959601197" sldId="285"/>
            <ac:spMk id="60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1:25:24.633" v="49966"/>
          <ac:spMkLst>
            <pc:docMk/>
            <pc:sldMk cId="3959601197" sldId="285"/>
            <ac:spMk id="61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1:25:24.632" v="49963"/>
          <ac:spMkLst>
            <pc:docMk/>
            <pc:sldMk cId="3959601197" sldId="285"/>
            <ac:spMk id="62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1:25:24.632" v="49960"/>
          <ac:spMkLst>
            <pc:docMk/>
            <pc:sldMk cId="3959601197" sldId="285"/>
            <ac:spMk id="63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1:25:24.630" v="49957"/>
          <ac:spMkLst>
            <pc:docMk/>
            <pc:sldMk cId="3959601197" sldId="285"/>
            <ac:spMk id="64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1:25:24.629" v="49954"/>
          <ac:spMkLst>
            <pc:docMk/>
            <pc:sldMk cId="3959601197" sldId="285"/>
            <ac:spMk id="65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21:25:24.626" v="49951"/>
          <ac:spMkLst>
            <pc:docMk/>
            <pc:sldMk cId="3959601197" sldId="285"/>
            <ac:spMk id="6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5:29.331" v="50977"/>
          <ac:spMkLst>
            <pc:docMk/>
            <pc:sldMk cId="3959601197" sldId="285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E88466E7-2243-47F6-9EAE-9BF9DD0649AD}" dt="2024-04-04T21:25:25.847" v="50884"/>
          <ac:spMkLst>
            <pc:docMk/>
            <pc:sldMk cId="3959601197" sldId="285"/>
            <ac:spMk id="76" creationId="{62605FDA-0E64-EA35-55DA-45A501F9D4BA}"/>
          </ac:spMkLst>
        </pc:spChg>
        <pc:spChg chg="add mod replST">
          <ac:chgData name="Joelle Brehm" userId="a518f54c-6985-42c0-8041-2bb16a414839" providerId="ADAL" clId="{E88466E7-2243-47F6-9EAE-9BF9DD0649AD}" dt="2024-04-04T21:25:29.332" v="50985"/>
          <ac:spMkLst>
            <pc:docMk/>
            <pc:sldMk cId="3959601197" sldId="285"/>
            <ac:spMk id="7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5:29.336" v="50998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25:29.336" v="51000"/>
          <ac:spMkLst>
            <pc:docMk/>
            <pc:sldMk cId="3959601197" sldId="285"/>
            <ac:spMk id="79" creationId="{F1476AC4-694B-4D83-BFD8-8DCAA4BB1923}"/>
          </ac:spMkLst>
        </pc:spChg>
        <pc:spChg chg="add mod replST">
          <ac:chgData name="Joelle Brehm" userId="a518f54c-6985-42c0-8041-2bb16a414839" providerId="ADAL" clId="{E88466E7-2243-47F6-9EAE-9BF9DD0649AD}" dt="2024-04-04T21:25:29.333" v="50986"/>
          <ac:spMkLst>
            <pc:docMk/>
            <pc:sldMk cId="3959601197" sldId="285"/>
            <ac:spMk id="80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3" v="50987"/>
          <ac:spMkLst>
            <pc:docMk/>
            <pc:sldMk cId="3959601197" sldId="285"/>
            <ac:spMk id="81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3" v="50988"/>
          <ac:spMkLst>
            <pc:docMk/>
            <pc:sldMk cId="3959601197" sldId="285"/>
            <ac:spMk id="82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4" v="50989"/>
          <ac:spMkLst>
            <pc:docMk/>
            <pc:sldMk cId="3959601197" sldId="285"/>
            <ac:spMk id="83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4" v="50990"/>
          <ac:spMkLst>
            <pc:docMk/>
            <pc:sldMk cId="3959601197" sldId="285"/>
            <ac:spMk id="84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4" v="50991"/>
          <ac:spMkLst>
            <pc:docMk/>
            <pc:sldMk cId="3959601197" sldId="285"/>
            <ac:spMk id="85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4" v="50992"/>
          <ac:spMkLst>
            <pc:docMk/>
            <pc:sldMk cId="3959601197" sldId="285"/>
            <ac:spMk id="86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5" v="50993"/>
          <ac:spMkLst>
            <pc:docMk/>
            <pc:sldMk cId="3959601197" sldId="285"/>
            <ac:spMk id="87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5" v="50994"/>
          <ac:spMkLst>
            <pc:docMk/>
            <pc:sldMk cId="3959601197" sldId="285"/>
            <ac:spMk id="88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5" v="50995"/>
          <ac:spMkLst>
            <pc:docMk/>
            <pc:sldMk cId="3959601197" sldId="285"/>
            <ac:spMk id="89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21:25:29.335" v="50996"/>
          <ac:spMkLst>
            <pc:docMk/>
            <pc:sldMk cId="3959601197" sldId="285"/>
            <ac:spMk id="90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5:29.341" v="51019"/>
          <ac:spMkLst>
            <pc:docMk/>
            <pc:sldMk cId="3959601197" sldId="285"/>
            <ac:spMk id="91" creationId="{E5B40C5A-BDC3-4853-8F1F-9DB30A643AB0}"/>
          </ac:spMkLst>
        </pc:spChg>
        <pc:spChg chg="add del mod ord replST">
          <ac:chgData name="Joelle Brehm" userId="a518f54c-6985-42c0-8041-2bb16a414839" providerId="ADAL" clId="{E88466E7-2243-47F6-9EAE-9BF9DD0649AD}" dt="2024-04-04T21:25:29.301" v="50941"/>
          <ac:spMkLst>
            <pc:docMk/>
            <pc:sldMk cId="3959601197" sldId="285"/>
            <ac:spMk id="92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1:25:29.343" v="51025"/>
          <ac:spMkLst>
            <pc:docMk/>
            <pc:sldMk cId="3959601197" sldId="285"/>
            <ac:spMk id="94" creationId="{8D2DADE4-4C5F-8597-7037-D4AA506A6E57}"/>
          </ac:spMkLst>
        </pc:spChg>
        <pc:spChg chg="mod ord">
          <ac:chgData name="Joelle Brehm" userId="a518f54c-6985-42c0-8041-2bb16a414839" providerId="ADAL" clId="{E88466E7-2243-47F6-9EAE-9BF9DD0649AD}" dt="2024-04-04T21:25:29.338" v="51002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25:29.338" v="51004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25:29.338" v="51006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25:29.338" v="51008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25:29.339" v="51011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5:29.339" v="51012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5:29.339" v="51013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5:29.339" v="51014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25:29.340" v="51015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1:25:29.360" v="51027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1:23:54.762" v="47907"/>
          <ac:graphicFrameMkLst>
            <pc:docMk/>
            <pc:sldMk cId="3959601197" sldId="285"/>
            <ac:graphicFrameMk id="8" creationId="{055CD024-FE48-05A8-E761-E00DCB74919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5:29.325" v="50957"/>
          <ac:graphicFrameMkLst>
            <pc:docMk/>
            <pc:sldMk cId="3959601197" sldId="285"/>
            <ac:graphicFrameMk id="9" creationId="{ECCDC47F-9965-BC5E-7C51-E6D6D562C5F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5:29.338" v="51010"/>
          <ac:graphicFrameMkLst>
            <pc:docMk/>
            <pc:sldMk cId="3959601197" sldId="285"/>
            <ac:graphicFrameMk id="34" creationId="{7CD522B0-EE21-1411-DF5E-BF3D1E1ACA5D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4:19.585" v="48204"/>
          <ac:graphicFrameMkLst>
            <pc:docMk/>
            <pc:sldMk cId="3959601197" sldId="285"/>
            <ac:graphicFrameMk id="35" creationId="{F86EAB29-2D88-F75A-0513-541E68F0C1C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4:27.853" v="48753"/>
          <ac:graphicFrameMkLst>
            <pc:docMk/>
            <pc:sldMk cId="3959601197" sldId="285"/>
            <ac:graphicFrameMk id="50" creationId="{FA599AE4-8E7B-6836-D4ED-802A2D5E3DE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4:28.856" v="48920"/>
          <ac:graphicFrameMkLst>
            <pc:docMk/>
            <pc:sldMk cId="3959601197" sldId="285"/>
            <ac:graphicFrameMk id="52" creationId="{8A23BE54-8518-48A3-0EE2-08D09B29178D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4:25.920" v="48600"/>
          <ac:graphicFrameMkLst>
            <pc:docMk/>
            <pc:sldMk cId="3959601197" sldId="285"/>
            <ac:graphicFrameMk id="54" creationId="{EC38C7BA-08C7-3029-49D5-0F5AA2A076A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4:30.263" v="49096"/>
          <ac:graphicFrameMkLst>
            <pc:docMk/>
            <pc:sldMk cId="3959601197" sldId="285"/>
            <ac:graphicFrameMk id="56" creationId="{2C9871B6-2665-4AA7-5782-59F76390C00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4:33.371" v="49846"/>
          <ac:graphicFrameMkLst>
            <pc:docMk/>
            <pc:sldMk cId="3959601197" sldId="285"/>
            <ac:graphicFrameMk id="58" creationId="{E33427A6-1B5B-B0EC-82DF-1CB8EEBCD45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5:25.777" v="50789"/>
          <ac:graphicFrameMkLst>
            <pc:docMk/>
            <pc:sldMk cId="3959601197" sldId="285"/>
            <ac:graphicFrameMk id="75" creationId="{27862DB6-0CFE-9AD0-941B-40B05576005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5:29.302" v="50943"/>
          <ac:graphicFrameMkLst>
            <pc:docMk/>
            <pc:sldMk cId="3959601197" sldId="285"/>
            <ac:graphicFrameMk id="93" creationId="{F8D7F885-A7EE-6E8B-B403-324538B3179D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5:29.332" v="50984"/>
          <ac:graphicFrameMkLst>
            <pc:docMk/>
            <pc:sldMk cId="3959601197" sldId="285"/>
            <ac:graphicFrameMk id="95" creationId="{6E660F9B-1C05-5ACA-C216-69F93F4C0B15}"/>
          </ac:graphicFrameMkLst>
        </pc:graphicFrameChg>
        <pc:picChg chg="del mod ord">
          <ac:chgData name="Joelle Brehm" userId="a518f54c-6985-42c0-8041-2bb16a414839" providerId="ADAL" clId="{E88466E7-2243-47F6-9EAE-9BF9DD0649AD}" dt="2024-04-04T21:24:11.855" v="48086" actId="478"/>
          <ac:picMkLst>
            <pc:docMk/>
            <pc:sldMk cId="3959601197" sldId="285"/>
            <ac:picMk id="10" creationId="{96613C84-CDBF-8486-F45F-D78C729285A2}"/>
          </ac:picMkLst>
        </pc:picChg>
        <pc:picChg chg="add mod ord">
          <ac:chgData name="Joelle Brehm" userId="a518f54c-6985-42c0-8041-2bb16a414839" providerId="ADAL" clId="{E88466E7-2243-47F6-9EAE-9BF9DD0649AD}" dt="2024-04-04T21:25:29.324" v="50951"/>
          <ac:picMkLst>
            <pc:docMk/>
            <pc:sldMk cId="3959601197" sldId="285"/>
            <ac:picMk id="31" creationId="{0CF01AE1-B20A-D342-5E85-B19CBBB5D163}"/>
          </ac:picMkLst>
        </pc:picChg>
        <pc:picChg chg="mod ord">
          <ac:chgData name="Joelle Brehm" userId="a518f54c-6985-42c0-8041-2bb16a414839" providerId="ADAL" clId="{E88466E7-2243-47F6-9EAE-9BF9DD0649AD}" dt="2024-04-04T21:25:29.340" v="51017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25:29.325" v="50955"/>
          <ac:cxnSpMkLst>
            <pc:docMk/>
            <pc:sldMk cId="3959601197" sldId="285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E88466E7-2243-47F6-9EAE-9BF9DD0649AD}" dt="2024-04-04T21:25:24.635" v="49971"/>
          <ac:cxnSpMkLst>
            <pc:docMk/>
            <pc:sldMk cId="3959601197" sldId="285"/>
            <ac:cxnSpMk id="67" creationId="{DDC14E15-506A-9DD1-C394-BD66FB278B58}"/>
          </ac:cxnSpMkLst>
        </pc:cxnChg>
        <pc:cxnChg chg="add del mod ord replST">
          <ac:chgData name="Joelle Brehm" userId="a518f54c-6985-42c0-8041-2bb16a414839" providerId="ADAL" clId="{E88466E7-2243-47F6-9EAE-9BF9DD0649AD}" dt="2024-04-04T21:25:24.634" v="49968"/>
          <ac:cxnSpMkLst>
            <pc:docMk/>
            <pc:sldMk cId="3959601197" sldId="285"/>
            <ac:cxnSpMk id="68" creationId="{02EF360F-27D8-6F84-B1CF-6F68DCD1E603}"/>
          </ac:cxnSpMkLst>
        </pc:cxnChg>
        <pc:cxnChg chg="add del mod ord replST">
          <ac:chgData name="Joelle Brehm" userId="a518f54c-6985-42c0-8041-2bb16a414839" providerId="ADAL" clId="{E88466E7-2243-47F6-9EAE-9BF9DD0649AD}" dt="2024-04-04T21:25:24.633" v="49965"/>
          <ac:cxnSpMkLst>
            <pc:docMk/>
            <pc:sldMk cId="3959601197" sldId="285"/>
            <ac:cxnSpMk id="69" creationId="{E2E4BB5E-8575-CA55-4C1E-9F8C30B81D3F}"/>
          </ac:cxnSpMkLst>
        </pc:cxnChg>
        <pc:cxnChg chg="add del mod ord replST">
          <ac:chgData name="Joelle Brehm" userId="a518f54c-6985-42c0-8041-2bb16a414839" providerId="ADAL" clId="{E88466E7-2243-47F6-9EAE-9BF9DD0649AD}" dt="2024-04-04T21:25:24.632" v="49962"/>
          <ac:cxnSpMkLst>
            <pc:docMk/>
            <pc:sldMk cId="3959601197" sldId="285"/>
            <ac:cxnSpMk id="70" creationId="{2D07C6BC-5ECF-6210-9FF3-D28DC3023245}"/>
          </ac:cxnSpMkLst>
        </pc:cxnChg>
        <pc:cxnChg chg="add del mod ord replST">
          <ac:chgData name="Joelle Brehm" userId="a518f54c-6985-42c0-8041-2bb16a414839" providerId="ADAL" clId="{E88466E7-2243-47F6-9EAE-9BF9DD0649AD}" dt="2024-04-04T21:25:24.631" v="49959"/>
          <ac:cxnSpMkLst>
            <pc:docMk/>
            <pc:sldMk cId="3959601197" sldId="285"/>
            <ac:cxnSpMk id="71" creationId="{82577AA0-9FD5-434E-994D-00254475563F}"/>
          </ac:cxnSpMkLst>
        </pc:cxnChg>
        <pc:cxnChg chg="add del mod ord replST">
          <ac:chgData name="Joelle Brehm" userId="a518f54c-6985-42c0-8041-2bb16a414839" providerId="ADAL" clId="{E88466E7-2243-47F6-9EAE-9BF9DD0649AD}" dt="2024-04-04T21:25:24.630" v="49956"/>
          <ac:cxnSpMkLst>
            <pc:docMk/>
            <pc:sldMk cId="3959601197" sldId="285"/>
            <ac:cxnSpMk id="72" creationId="{74F62DB8-B233-4A3C-D70C-88416FAC758B}"/>
          </ac:cxnSpMkLst>
        </pc:cxnChg>
        <pc:cxnChg chg="add del mod ord replST">
          <ac:chgData name="Joelle Brehm" userId="a518f54c-6985-42c0-8041-2bb16a414839" providerId="ADAL" clId="{E88466E7-2243-47F6-9EAE-9BF9DD0649AD}" dt="2024-04-04T21:25:24.629" v="49953"/>
          <ac:cxnSpMkLst>
            <pc:docMk/>
            <pc:sldMk cId="3959601197" sldId="285"/>
            <ac:cxnSpMk id="73" creationId="{E760784C-816F-B81F-B23F-4EB8C03D7429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26:15.075" v="52295"/>
        <pc:sldMkLst>
          <pc:docMk/>
          <pc:sldMk cId="3093897313" sldId="286"/>
        </pc:sldMkLst>
        <pc:spChg chg="mod ord">
          <ac:chgData name="Joelle Brehm" userId="a518f54c-6985-42c0-8041-2bb16a414839" providerId="ADAL" clId="{E88466E7-2243-47F6-9EAE-9BF9DD0649AD}" dt="2024-04-04T21:26:15.041" v="52289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E88466E7-2243-47F6-9EAE-9BF9DD0649AD}" dt="2024-04-04T21:25:33.466" v="51028" actId="478"/>
          <ac:spMkLst>
            <pc:docMk/>
            <pc:sldMk cId="3093897313" sldId="286"/>
            <ac:spMk id="3" creationId="{3EB81E3E-3F53-2BDC-65AD-F8467011699E}"/>
          </ac:spMkLst>
        </pc:spChg>
        <pc:spChg chg="add del mod modVis">
          <ac:chgData name="Joelle Brehm" userId="a518f54c-6985-42c0-8041-2bb16a414839" providerId="ADAL" clId="{E88466E7-2243-47F6-9EAE-9BF9DD0649AD}" dt="2024-04-04T21:25:43.602" v="51253"/>
          <ac:spMkLst>
            <pc:docMk/>
            <pc:sldMk cId="3093897313" sldId="286"/>
            <ac:spMk id="5" creationId="{AAD54DB1-17AE-C8D6-878C-4E38ADDD672C}"/>
          </ac:spMkLst>
        </pc:spChg>
        <pc:spChg chg="mod ord">
          <ac:chgData name="Joelle Brehm" userId="a518f54c-6985-42c0-8041-2bb16a414839" providerId="ADAL" clId="{E88466E7-2243-47F6-9EAE-9BF9DD0649AD}" dt="2024-04-04T21:26:14.987" v="52221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26:14.996" v="52232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26:14.993" v="52228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26:14.994" v="52229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26:14.991" v="52226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26:14.992" v="52227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26:14.994" v="52230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26:14.995" v="52231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26:14.997" v="52233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26:14.998" v="52234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26:14.998" v="52235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26:14.999" v="52236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26:15" v="52237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26:15.002" v="52239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26:15.005" v="52242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26:15.007" v="52244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26:15.006" v="52243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26:15.009" v="52247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26:15.010" v="52248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26:15.008" v="52246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26:15.011" v="52250"/>
          <ac:spMkLst>
            <pc:docMk/>
            <pc:sldMk cId="3093897313" sldId="286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04T21:26:05.307" v="51558"/>
          <ac:spMkLst>
            <pc:docMk/>
            <pc:sldMk cId="3093897313" sldId="286"/>
            <ac:spMk id="32" creationId="{BFA2B51A-2AD8-ADDA-80FF-52D307EFF681}"/>
          </ac:spMkLst>
        </pc:spChg>
        <pc:spChg chg="add mod replST">
          <ac:chgData name="Joelle Brehm" userId="a518f54c-6985-42c0-8041-2bb16a414839" providerId="ADAL" clId="{E88466E7-2243-47F6-9EAE-9BF9DD0649AD}" dt="2024-04-04T21:26:15.021" v="52264"/>
          <ac:spMkLst>
            <pc:docMk/>
            <pc:sldMk cId="3093897313" sldId="286"/>
            <ac:spMk id="34" creationId="{E8B05699-9D2D-AAA6-547E-BF477A243B71}"/>
          </ac:spMkLst>
        </pc:spChg>
        <pc:spChg chg="add del mod modVis">
          <ac:chgData name="Joelle Brehm" userId="a518f54c-6985-42c0-8041-2bb16a414839" providerId="ADAL" clId="{E88466E7-2243-47F6-9EAE-9BF9DD0649AD}" dt="2024-04-04T21:26:10.685" v="51939"/>
          <ac:spMkLst>
            <pc:docMk/>
            <pc:sldMk cId="3093897313" sldId="286"/>
            <ac:spMk id="35" creationId="{E1A0838B-2C65-2E70-66B1-639300330319}"/>
          </ac:spMkLst>
        </pc:spChg>
        <pc:spChg chg="mod ord">
          <ac:chgData name="Joelle Brehm" userId="a518f54c-6985-42c0-8041-2bb16a414839" providerId="ADAL" clId="{E88466E7-2243-47F6-9EAE-9BF9DD0649AD}" dt="2024-04-04T21:26:15.004" v="52241"/>
          <ac:spMkLst>
            <pc:docMk/>
            <pc:sldMk cId="3093897313" sldId="286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E88466E7-2243-47F6-9EAE-9BF9DD0649AD}" dt="2024-04-04T21:26:13.857" v="52113"/>
          <ac:spMkLst>
            <pc:docMk/>
            <pc:sldMk cId="3093897313" sldId="286"/>
            <ac:spMk id="39" creationId="{724ED2C7-41E5-A6D4-2268-C2CC0C9A64F8}"/>
          </ac:spMkLst>
        </pc:spChg>
        <pc:spChg chg="add del mod modVis">
          <ac:chgData name="Joelle Brehm" userId="a518f54c-6985-42c0-8041-2bb16a414839" providerId="ADAL" clId="{E88466E7-2243-47F6-9EAE-9BF9DD0649AD}" dt="2024-04-04T21:26:15.044" v="52293"/>
          <ac:spMkLst>
            <pc:docMk/>
            <pc:sldMk cId="3093897313" sldId="286"/>
            <ac:spMk id="41" creationId="{4F5FAC30-535A-E7AE-5EE8-B55C3D1C61D7}"/>
          </ac:spMkLst>
        </pc:spChg>
        <pc:spChg chg="del mod">
          <ac:chgData name="Joelle Brehm" userId="a518f54c-6985-42c0-8041-2bb16a414839" providerId="ADAL" clId="{E88466E7-2243-47F6-9EAE-9BF9DD0649AD}" dt="2024-04-04T21:26:14.742" v="52116"/>
          <ac:spMkLst>
            <pc:docMk/>
            <pc:sldMk cId="3093897313" sldId="286"/>
            <ac:spMk id="7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07" v="52245"/>
          <ac:spMkLst>
            <pc:docMk/>
            <pc:sldMk cId="3093897313" sldId="286"/>
            <ac:spMk id="74" creationId="{1E5392BC-349C-45B4-8F81-52F83DA74F43}"/>
          </ac:spMkLst>
        </pc:spChg>
        <pc:spChg chg="mod">
          <ac:chgData name="Joelle Brehm" userId="a518f54c-6985-42c0-8041-2bb16a414839" providerId="ADAL" clId="{E88466E7-2243-47F6-9EAE-9BF9DD0649AD}" dt="2024-04-04T21:26:15.014" v="52253"/>
          <ac:spMkLst>
            <pc:docMk/>
            <pc:sldMk cId="3093897313" sldId="286"/>
            <ac:spMk id="7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15" v="52254"/>
          <ac:spMkLst>
            <pc:docMk/>
            <pc:sldMk cId="3093897313" sldId="286"/>
            <ac:spMk id="7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16" v="52255"/>
          <ac:spMkLst>
            <pc:docMk/>
            <pc:sldMk cId="3093897313" sldId="286"/>
            <ac:spMk id="7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6:15.022" v="52266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26:15.024" v="52268"/>
          <ac:spMkLst>
            <pc:docMk/>
            <pc:sldMk cId="3093897313" sldId="286"/>
            <ac:spMk id="79" creationId="{F1476AC4-694B-4D83-BFD8-8DCAA4BB1923}"/>
          </ac:spMkLst>
        </pc:spChg>
        <pc:spChg chg="mod">
          <ac:chgData name="Joelle Brehm" userId="a518f54c-6985-42c0-8041-2bb16a414839" providerId="ADAL" clId="{E88466E7-2243-47F6-9EAE-9BF9DD0649AD}" dt="2024-04-04T21:26:15.016" v="52256"/>
          <ac:spMkLst>
            <pc:docMk/>
            <pc:sldMk cId="3093897313" sldId="286"/>
            <ac:spMk id="80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17" v="52257"/>
          <ac:spMkLst>
            <pc:docMk/>
            <pc:sldMk cId="3093897313" sldId="286"/>
            <ac:spMk id="81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18" v="52258"/>
          <ac:spMkLst>
            <pc:docMk/>
            <pc:sldMk cId="3093897313" sldId="286"/>
            <ac:spMk id="82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19" v="52259"/>
          <ac:spMkLst>
            <pc:docMk/>
            <pc:sldMk cId="3093897313" sldId="286"/>
            <ac:spMk id="8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19" v="52260"/>
          <ac:spMkLst>
            <pc:docMk/>
            <pc:sldMk cId="3093897313" sldId="286"/>
            <ac:spMk id="84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20" v="52261"/>
          <ac:spMkLst>
            <pc:docMk/>
            <pc:sldMk cId="3093897313" sldId="286"/>
            <ac:spMk id="8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20" v="52262"/>
          <ac:spMkLst>
            <pc:docMk/>
            <pc:sldMk cId="3093897313" sldId="286"/>
            <ac:spMk id="8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21" v="52263"/>
          <ac:spMkLst>
            <pc:docMk/>
            <pc:sldMk cId="3093897313" sldId="286"/>
            <ac:spMk id="8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21:26:15.040" v="52287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E88466E7-2243-47F6-9EAE-9BF9DD0649AD}" dt="2024-04-04T21:26:15.026" v="52270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26:15.028" v="52272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26:15.030" v="52274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26:15.032" v="52276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26:15.035" v="52279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35" v="52280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36" v="52281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26:15.036" v="52282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26:15.037" v="52283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1:26:15.075" v="52295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1:25:43.544" v="51167"/>
          <ac:graphicFrameMkLst>
            <pc:docMk/>
            <pc:sldMk cId="3093897313" sldId="286"/>
            <ac:graphicFrameMk id="8" creationId="{0E9946AD-D68D-5F4B-D17C-8BE5FCFD5874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6:14.990" v="52225"/>
          <ac:graphicFrameMkLst>
            <pc:docMk/>
            <pc:sldMk cId="3093897313" sldId="286"/>
            <ac:graphicFrameMk id="10" creationId="{A740ADE8-CAA9-8AE2-9000-6F10039CEBF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6:15.033" v="52278"/>
          <ac:graphicFrameMkLst>
            <pc:docMk/>
            <pc:sldMk cId="3093897313" sldId="286"/>
            <ac:graphicFrameMk id="33" creationId="{932EB751-AA68-BD4F-A3B5-D4A285709AD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6:13.749" v="52017"/>
          <ac:graphicFrameMkLst>
            <pc:docMk/>
            <pc:sldMk cId="3093897313" sldId="286"/>
            <ac:graphicFrameMk id="36" creationId="{162846F2-F1E0-D2DC-B00D-32A33867C1EA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6:05.238" v="51476"/>
          <ac:graphicFrameMkLst>
            <pc:docMk/>
            <pc:sldMk cId="3093897313" sldId="286"/>
            <ac:graphicFrameMk id="38" creationId="{9DE5AA66-A33D-685B-4D81-42B82949974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6:14.925" v="52211"/>
          <ac:graphicFrameMkLst>
            <pc:docMk/>
            <pc:sldMk cId="3093897313" sldId="286"/>
            <ac:graphicFrameMk id="40" creationId="{0E207C30-0282-70AC-AAFC-6694ADE8FC4C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26:15.013" v="52252"/>
          <ac:graphicFrameMkLst>
            <pc:docMk/>
            <pc:sldMk cId="3093897313" sldId="286"/>
            <ac:graphicFrameMk id="42" creationId="{5FDF86ED-83D9-00CF-454A-2CB293AB3FD4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6:10.628" v="51848"/>
          <ac:graphicFrameMkLst>
            <pc:docMk/>
            <pc:sldMk cId="3093897313" sldId="286"/>
            <ac:graphicFrameMk id="88" creationId="{CED02B43-11F3-B9C0-2C68-9D9A0368AC9B}"/>
          </ac:graphicFrameMkLst>
        </pc:graphicFrameChg>
        <pc:picChg chg="del mod ord">
          <ac:chgData name="Joelle Brehm" userId="a518f54c-6985-42c0-8041-2bb16a414839" providerId="ADAL" clId="{E88466E7-2243-47F6-9EAE-9BF9DD0649AD}" dt="2024-04-04T21:25:57.134" v="51349" actId="478"/>
          <ac:picMkLst>
            <pc:docMk/>
            <pc:sldMk cId="3093897313" sldId="286"/>
            <ac:picMk id="9" creationId="{A42CCAF3-BBD7-06E1-E600-6744E8589F99}"/>
          </ac:picMkLst>
        </pc:picChg>
        <pc:picChg chg="add mod ord">
          <ac:chgData name="Joelle Brehm" userId="a518f54c-6985-42c0-8041-2bb16a414839" providerId="ADAL" clId="{E88466E7-2243-47F6-9EAE-9BF9DD0649AD}" dt="2024-04-04T21:26:14.985" v="52219"/>
          <ac:picMkLst>
            <pc:docMk/>
            <pc:sldMk cId="3093897313" sldId="286"/>
            <ac:picMk id="31" creationId="{7FF0BF4B-1741-A390-0289-A7890B167D5E}"/>
          </ac:picMkLst>
        </pc:picChg>
        <pc:picChg chg="mod ord">
          <ac:chgData name="Joelle Brehm" userId="a518f54c-6985-42c0-8041-2bb16a414839" providerId="ADAL" clId="{E88466E7-2243-47F6-9EAE-9BF9DD0649AD}" dt="2024-04-04T21:26:15.038" v="52285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26:14.989" v="52223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34:30.832" v="53709"/>
        <pc:sldMkLst>
          <pc:docMk/>
          <pc:sldMk cId="1459118046" sldId="288"/>
        </pc:sldMkLst>
        <pc:spChg chg="mod ord">
          <ac:chgData name="Joelle Brehm" userId="a518f54c-6985-42c0-8041-2bb16a414839" providerId="ADAL" clId="{E88466E7-2243-47F6-9EAE-9BF9DD0649AD}" dt="2024-04-04T21:34:30.799" v="53673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E88466E7-2243-47F6-9EAE-9BF9DD0649AD}" dt="2024-04-04T21:26:28.076" v="52296" actId="478"/>
          <ac:spMkLst>
            <pc:docMk/>
            <pc:sldMk cId="1459118046" sldId="288"/>
            <ac:spMk id="3" creationId="{268C62D1-EBF4-FB57-7210-D94A8410FAB1}"/>
          </ac:spMkLst>
        </pc:spChg>
        <pc:spChg chg="add del mod modVis">
          <ac:chgData name="Joelle Brehm" userId="a518f54c-6985-42c0-8041-2bb16a414839" providerId="ADAL" clId="{E88466E7-2243-47F6-9EAE-9BF9DD0649AD}" dt="2024-04-04T21:26:38.098" v="52517"/>
          <ac:spMkLst>
            <pc:docMk/>
            <pc:sldMk cId="1459118046" sldId="288"/>
            <ac:spMk id="5" creationId="{7B4C9824-95DF-41CC-AFA1-EDC9895D40B0}"/>
          </ac:spMkLst>
        </pc:spChg>
        <pc:spChg chg="mod ord">
          <ac:chgData name="Joelle Brehm" userId="a518f54c-6985-42c0-8041-2bb16a414839" providerId="ADAL" clId="{E88466E7-2243-47F6-9EAE-9BF9DD0649AD}" dt="2024-04-04T21:34:30.787" v="53635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1:34:30.791" v="53649"/>
          <ac:spMkLst>
            <pc:docMk/>
            <pc:sldMk cId="1459118046" sldId="288"/>
            <ac:spMk id="10" creationId="{F330FDA5-01AA-960D-FADC-74B8E7D526E8}"/>
          </ac:spMkLst>
        </pc:spChg>
        <pc:spChg chg="add del mod modVis">
          <ac:chgData name="Joelle Brehm" userId="a518f54c-6985-42c0-8041-2bb16a414839" providerId="ADAL" clId="{E88466E7-2243-47F6-9EAE-9BF9DD0649AD}" dt="2024-04-04T21:26:58.475" v="52817"/>
          <ac:spMkLst>
            <pc:docMk/>
            <pc:sldMk cId="1459118046" sldId="288"/>
            <ac:spMk id="13" creationId="{378CEC15-51BC-52F4-26B4-8D444593F6F4}"/>
          </ac:spMkLst>
        </pc:spChg>
        <pc:spChg chg="mod">
          <ac:chgData name="Joelle Brehm" userId="a518f54c-6985-42c0-8041-2bb16a414839" providerId="ADAL" clId="{E88466E7-2243-47F6-9EAE-9BF9DD0649AD}" dt="2024-04-04T21:34:30.791" v="53650"/>
          <ac:spMkLst>
            <pc:docMk/>
            <pc:sldMk cId="1459118046" sldId="288"/>
            <ac:spMk id="15" creationId="{D494E85D-4F3D-3204-35FB-2E48C65A19C6}"/>
          </ac:spMkLst>
        </pc:spChg>
        <pc:spChg chg="mod">
          <ac:chgData name="Joelle Brehm" userId="a518f54c-6985-42c0-8041-2bb16a414839" providerId="ADAL" clId="{E88466E7-2243-47F6-9EAE-9BF9DD0649AD}" dt="2024-04-04T21:34:30.792" v="53653"/>
          <ac:spMkLst>
            <pc:docMk/>
            <pc:sldMk cId="1459118046" sldId="288"/>
            <ac:spMk id="17" creationId="{94023B31-D9C1-DAA3-4E90-5B42F38D372E}"/>
          </ac:spMkLst>
        </pc:spChg>
        <pc:spChg chg="mod">
          <ac:chgData name="Joelle Brehm" userId="a518f54c-6985-42c0-8041-2bb16a414839" providerId="ADAL" clId="{E88466E7-2243-47F6-9EAE-9BF9DD0649AD}" dt="2024-04-04T21:34:30.790" v="53647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E88466E7-2243-47F6-9EAE-9BF9DD0649AD}" dt="2024-04-04T21:34:30.792" v="53654"/>
          <ac:spMkLst>
            <pc:docMk/>
            <pc:sldMk cId="1459118046" sldId="288"/>
            <ac:spMk id="19" creationId="{684E5AE1-0CDA-4B7F-EC64-FB8D1F43ECBE}"/>
          </ac:spMkLst>
        </pc:spChg>
        <pc:spChg chg="mod">
          <ac:chgData name="Joelle Brehm" userId="a518f54c-6985-42c0-8041-2bb16a414839" providerId="ADAL" clId="{E88466E7-2243-47F6-9EAE-9BF9DD0649AD}" dt="2024-04-04T21:34:30.791" v="53648"/>
          <ac:spMkLst>
            <pc:docMk/>
            <pc:sldMk cId="1459118046" sldId="288"/>
            <ac:spMk id="20" creationId="{1E04F6C7-C5CE-0639-E6EE-4EA6F2501082}"/>
          </ac:spMkLst>
        </pc:spChg>
        <pc:spChg chg="del mod">
          <ac:chgData name="Joelle Brehm" userId="a518f54c-6985-42c0-8041-2bb16a414839" providerId="ADAL" clId="{E88466E7-2243-47F6-9EAE-9BF9DD0649AD}" dt="2024-04-04T21:27:14.582" v="53386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E88466E7-2243-47F6-9EAE-9BF9DD0649AD}" dt="2024-04-04T21:34:30.790" v="53646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E88466E7-2243-47F6-9EAE-9BF9DD0649AD}" dt="2024-04-04T21:34:30.788" v="53639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34:30.790" v="53644"/>
          <ac:spMkLst>
            <pc:docMk/>
            <pc:sldMk cId="1459118046" sldId="288"/>
            <ac:spMk id="24" creationId="{C635EC53-592F-A2D5-EF91-370516B08014}"/>
          </ac:spMkLst>
        </pc:spChg>
        <pc:spChg chg="add mod replST">
          <ac:chgData name="Joelle Brehm" userId="a518f54c-6985-42c0-8041-2bb16a414839" providerId="ADAL" clId="{E88466E7-2243-47F6-9EAE-9BF9DD0649AD}" dt="2024-04-04T21:34:30.792" v="53655"/>
          <ac:spMkLst>
            <pc:docMk/>
            <pc:sldMk cId="1459118046" sldId="288"/>
            <ac:spMk id="25" creationId="{2104038D-F815-C2E8-FDBB-6EE2838F6910}"/>
          </ac:spMkLst>
        </pc:spChg>
        <pc:spChg chg="mod">
          <ac:chgData name="Joelle Brehm" userId="a518f54c-6985-42c0-8041-2bb16a414839" providerId="ADAL" clId="{E88466E7-2243-47F6-9EAE-9BF9DD0649AD}" dt="2024-04-04T21:34:30.792" v="53651"/>
          <ac:spMkLst>
            <pc:docMk/>
            <pc:sldMk cId="1459118046" sldId="288"/>
            <ac:spMk id="26" creationId="{F420E5CB-3D9D-458C-56DF-AF2792018047}"/>
          </ac:spMkLst>
        </pc:spChg>
        <pc:spChg chg="add del mod modVis">
          <ac:chgData name="Joelle Brehm" userId="a518f54c-6985-42c0-8041-2bb16a414839" providerId="ADAL" clId="{E88466E7-2243-47F6-9EAE-9BF9DD0649AD}" dt="2024-04-04T21:27:07.949" v="53207"/>
          <ac:spMkLst>
            <pc:docMk/>
            <pc:sldMk cId="1459118046" sldId="288"/>
            <ac:spMk id="27" creationId="{253E7D52-B314-6BAE-C40C-D97DFB527C8D}"/>
          </ac:spMkLst>
        </pc:spChg>
        <pc:spChg chg="mod">
          <ac:chgData name="Joelle Brehm" userId="a518f54c-6985-42c0-8041-2bb16a414839" providerId="ADAL" clId="{E88466E7-2243-47F6-9EAE-9BF9DD0649AD}" dt="2024-04-04T21:34:30.792" v="53652"/>
          <ac:spMkLst>
            <pc:docMk/>
            <pc:sldMk cId="1459118046" sldId="288"/>
            <ac:spMk id="29" creationId="{540439B0-A678-8AD6-C88E-52118F5A08A3}"/>
          </ac:spMkLst>
        </pc:spChg>
        <pc:spChg chg="mod ord">
          <ac:chgData name="Joelle Brehm" userId="a518f54c-6985-42c0-8041-2bb16a414839" providerId="ADAL" clId="{E88466E7-2243-47F6-9EAE-9BF9DD0649AD}" dt="2024-04-04T21:34:30.789" v="53641"/>
          <ac:spMkLst>
            <pc:docMk/>
            <pc:sldMk cId="1459118046" sldId="28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04T21:27:10.851" v="53383"/>
          <ac:spMkLst>
            <pc:docMk/>
            <pc:sldMk cId="1459118046" sldId="288"/>
            <ac:spMk id="31" creationId="{DDE2A771-611C-1162-63E1-36C5A8EFF41F}"/>
          </ac:spMkLst>
        </pc:spChg>
        <pc:spChg chg="mod">
          <ac:chgData name="Joelle Brehm" userId="a518f54c-6985-42c0-8041-2bb16a414839" providerId="ADAL" clId="{E88466E7-2243-47F6-9EAE-9BF9DD0649AD}" dt="2024-04-04T21:34:30.790" v="53645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E88466E7-2243-47F6-9EAE-9BF9DD0649AD}" dt="2024-04-04T21:27:14.706" v="53567"/>
          <ac:spMkLst>
            <pc:docMk/>
            <pc:sldMk cId="1459118046" sldId="288"/>
            <ac:spMk id="34" creationId="{283FB936-952A-F631-36E8-A6EB305EEC57}"/>
          </ac:spMkLst>
        </pc:spChg>
        <pc:spChg chg="mod">
          <ac:chgData name="Joelle Brehm" userId="a518f54c-6985-42c0-8041-2bb16a414839" providerId="ADAL" clId="{E88466E7-2243-47F6-9EAE-9BF9DD0649AD}" dt="2024-04-04T21:34:30.807" v="53703"/>
          <ac:spMkLst>
            <pc:docMk/>
            <pc:sldMk cId="1459118046" sldId="288"/>
            <ac:spMk id="35" creationId="{6B934B86-5715-3E83-5B96-BD8EBE06A322}"/>
          </ac:spMkLst>
        </pc:spChg>
        <pc:spChg chg="add del mod modVis">
          <ac:chgData name="Joelle Brehm" userId="a518f54c-6985-42c0-8041-2bb16a414839" providerId="ADAL" clId="{E88466E7-2243-47F6-9EAE-9BF9DD0649AD}" dt="2024-04-04T21:34:30.809" v="53707"/>
          <ac:spMkLst>
            <pc:docMk/>
            <pc:sldMk cId="1459118046" sldId="288"/>
            <ac:spMk id="37" creationId="{A494FEC7-43A7-0082-9F0F-6109EB6FB67B}"/>
          </ac:spMkLst>
        </pc:spChg>
        <pc:spChg chg="mod ord">
          <ac:chgData name="Joelle Brehm" userId="a518f54c-6985-42c0-8041-2bb16a414839" providerId="ADAL" clId="{E88466E7-2243-47F6-9EAE-9BF9DD0649AD}" dt="2024-04-04T21:34:30.793" v="53657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34:30.793" v="53659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E88466E7-2243-47F6-9EAE-9BF9DD0649AD}" dt="2024-04-04T21:34:30.804" v="53687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E88466E7-2243-47F6-9EAE-9BF9DD0649AD}" dt="2024-04-04T21:34:30.801" v="53676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E88466E7-2243-47F6-9EAE-9BF9DD0649AD}" dt="2024-04-04T21:34:30.796" v="53671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E88466E7-2243-47F6-9EAE-9BF9DD0649AD}" dt="2024-04-04T21:34:30.802" v="53682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E88466E7-2243-47F6-9EAE-9BF9DD0649AD}" dt="2024-04-04T21:34:30.801" v="53677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E88466E7-2243-47F6-9EAE-9BF9DD0649AD}" dt="2024-04-04T21:34:30.802" v="53681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E88466E7-2243-47F6-9EAE-9BF9DD0649AD}" dt="2024-04-04T21:34:30.794" v="53661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E88466E7-2243-47F6-9EAE-9BF9DD0649AD}" dt="2024-04-04T21:34:30.801" v="53678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E88466E7-2243-47F6-9EAE-9BF9DD0649AD}" dt="2024-04-04T21:34:30.801" v="53679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E88466E7-2243-47F6-9EAE-9BF9DD0649AD}" dt="2024-04-04T21:34:30.803" v="53683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E88466E7-2243-47F6-9EAE-9BF9DD0649AD}" dt="2024-04-04T21:34:30.802" v="53680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E88466E7-2243-47F6-9EAE-9BF9DD0649AD}" dt="2024-04-04T21:34:30.803" v="53684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E88466E7-2243-47F6-9EAE-9BF9DD0649AD}" dt="2024-04-04T21:34:30.803" v="53685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E88466E7-2243-47F6-9EAE-9BF9DD0649AD}" dt="2024-04-04T21:34:30.803" v="53686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E88466E7-2243-47F6-9EAE-9BF9DD0649AD}" dt="2024-04-04T21:34:30.794" v="53663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34:30.795" v="53665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34:30.795" v="53667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34:30.805" v="53692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E88466E7-2243-47F6-9EAE-9BF9DD0649AD}" dt="2024-04-04T21:34:30.805" v="53691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E88466E7-2243-47F6-9EAE-9BF9DD0649AD}" dt="2024-04-04T21:34:30.804" v="53690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E88466E7-2243-47F6-9EAE-9BF9DD0649AD}" dt="2024-04-04T21:34:30.804" v="53689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E88466E7-2243-47F6-9EAE-9BF9DD0649AD}" dt="2024-04-04T21:34:30.806" v="53696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E88466E7-2243-47F6-9EAE-9BF9DD0649AD}" dt="2024-04-04T21:34:30.805" v="53694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E88466E7-2243-47F6-9EAE-9BF9DD0649AD}" dt="2024-04-04T21:34:30.805" v="53693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E88466E7-2243-47F6-9EAE-9BF9DD0649AD}" dt="2024-04-04T21:34:30.806" v="53695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E88466E7-2243-47F6-9EAE-9BF9DD0649AD}" dt="2024-04-04T21:34:30.807" v="53701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E88466E7-2243-47F6-9EAE-9BF9DD0649AD}" dt="2024-04-04T21:34:30.807" v="53700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E88466E7-2243-47F6-9EAE-9BF9DD0649AD}" dt="2024-04-04T21:34:30.806" v="53699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E88466E7-2243-47F6-9EAE-9BF9DD0649AD}" dt="2024-04-04T21:34:30.807" v="53702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E88466E7-2243-47F6-9EAE-9BF9DD0649AD}" dt="2024-04-04T21:34:30.832" v="53709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34:30.800" v="53675"/>
          <ac:graphicFrameMkLst>
            <pc:docMk/>
            <pc:sldMk cId="1459118046" sldId="288"/>
            <ac:graphicFrameMk id="8" creationId="{20674225-61DA-90E9-42B2-943E1E1C521C}"/>
          </ac:graphicFrameMkLst>
        </pc:graphicFrameChg>
        <pc:graphicFrameChg chg="del">
          <ac:chgData name="Joelle Brehm" userId="a518f54c-6985-42c0-8041-2bb16a414839" providerId="ADAL" clId="{E88466E7-2243-47F6-9EAE-9BF9DD0649AD}" dt="2024-04-04T21:26:38.044" v="52431"/>
          <ac:graphicFrameMkLst>
            <pc:docMk/>
            <pc:sldMk cId="1459118046" sldId="288"/>
            <ac:graphicFrameMk id="11" creationId="{21971FD0-A6FB-7C03-F5AA-564E66B66472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6:58.412" v="52735"/>
          <ac:graphicFrameMkLst>
            <pc:docMk/>
            <pc:sldMk cId="1459118046" sldId="288"/>
            <ac:graphicFrameMk id="14" creationId="{01EAAA68-681A-40AE-C449-2BD67ABCA59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34:30.806" v="53698"/>
          <ac:graphicFrameMkLst>
            <pc:docMk/>
            <pc:sldMk cId="1459118046" sldId="288"/>
            <ac:graphicFrameMk id="16" creationId="{A3FE0EDB-7FDD-2D5D-207A-72DE7D3052D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7:10.793" v="53289"/>
          <ac:graphicFrameMkLst>
            <pc:docMk/>
            <pc:sldMk cId="1459118046" sldId="288"/>
            <ac:graphicFrameMk id="28" creationId="{80240113-CA0F-A832-D779-4264C99D4EC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27:14.665" v="53485"/>
          <ac:graphicFrameMkLst>
            <pc:docMk/>
            <pc:sldMk cId="1459118046" sldId="288"/>
            <ac:graphicFrameMk id="33" creationId="{1310E949-8B81-F8BD-8802-57AC35D47B7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34:30.755" v="53625"/>
          <ac:graphicFrameMkLst>
            <pc:docMk/>
            <pc:sldMk cId="1459118046" sldId="288"/>
            <ac:graphicFrameMk id="36" creationId="{F1460D69-27FF-6737-BFC9-5A84E0A21714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27:07.876" v="53118"/>
          <ac:graphicFrameMkLst>
            <pc:docMk/>
            <pc:sldMk cId="1459118046" sldId="288"/>
            <ac:graphicFrameMk id="38" creationId="{C92C05D6-4755-9A89-7446-DE661E5C9422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34:30.789" v="53643"/>
          <ac:graphicFrameMkLst>
            <pc:docMk/>
            <pc:sldMk cId="1459118046" sldId="288"/>
            <ac:graphicFrameMk id="39" creationId="{D84DB3AF-9CE3-B2C3-54F7-097344A2CC41}"/>
          </ac:graphicFrameMkLst>
        </pc:graphicFrameChg>
        <pc:picChg chg="add mod ord">
          <ac:chgData name="Joelle Brehm" userId="a518f54c-6985-42c0-8041-2bb16a414839" providerId="ADAL" clId="{E88466E7-2243-47F6-9EAE-9BF9DD0649AD}" dt="2024-04-04T21:34:30.786" v="53633"/>
          <ac:picMkLst>
            <pc:docMk/>
            <pc:sldMk cId="1459118046" sldId="288"/>
            <ac:picMk id="9" creationId="{6BA97D15-06F3-C569-0F61-2DE75F95523C}"/>
          </ac:picMkLst>
        </pc:picChg>
        <pc:picChg chg="del mod ord">
          <ac:chgData name="Joelle Brehm" userId="a518f54c-6985-42c0-8041-2bb16a414839" providerId="ADAL" clId="{E88466E7-2243-47F6-9EAE-9BF9DD0649AD}" dt="2024-04-04T21:26:51.052" v="52608" actId="478"/>
          <ac:picMkLst>
            <pc:docMk/>
            <pc:sldMk cId="1459118046" sldId="288"/>
            <ac:picMk id="12" creationId="{FBF54E31-686E-5928-65CC-B5DCC83E05D2}"/>
          </ac:picMkLst>
        </pc:picChg>
        <pc:picChg chg="mod ord">
          <ac:chgData name="Joelle Brehm" userId="a518f54c-6985-42c0-8041-2bb16a414839" providerId="ADAL" clId="{E88466E7-2243-47F6-9EAE-9BF9DD0649AD}" dt="2024-04-04T21:34:30.796" v="53669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34:30.788" v="53637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1:35:37.920" v="55025"/>
        <pc:sldMkLst>
          <pc:docMk/>
          <pc:sldMk cId="10849840" sldId="290"/>
        </pc:sldMkLst>
        <pc:spChg chg="add del mod">
          <ac:chgData name="Joelle Brehm" userId="a518f54c-6985-42c0-8041-2bb16a414839" providerId="ADAL" clId="{E88466E7-2243-47F6-9EAE-9BF9DD0649AD}" dt="2024-04-04T21:34:47.958" v="53710" actId="478"/>
          <ac:spMkLst>
            <pc:docMk/>
            <pc:sldMk cId="10849840" sldId="290"/>
            <ac:spMk id="2" creationId="{AD90858B-8CCD-8FE7-5E9A-13948A2CC4E9}"/>
          </ac:spMkLst>
        </pc:spChg>
        <pc:spChg chg="mod ord">
          <ac:chgData name="Joelle Brehm" userId="a518f54c-6985-42c0-8041-2bb16a414839" providerId="ADAL" clId="{E88466E7-2243-47F6-9EAE-9BF9DD0649AD}" dt="2024-04-04T21:35:37.905" v="55021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E88466E7-2243-47F6-9EAE-9BF9DD0649AD}" dt="2024-04-04T21:35:37.896" v="54986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E88466E7-2243-47F6-9EAE-9BF9DD0649AD}" dt="2024-04-04T21:35:37.886" v="54953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88466E7-2243-47F6-9EAE-9BF9DD0649AD}" dt="2024-04-04T21:34:51.472" v="53933"/>
          <ac:spMkLst>
            <pc:docMk/>
            <pc:sldMk cId="10849840" sldId="290"/>
            <ac:spMk id="8" creationId="{2EDA1DD0-F30A-76F4-BDC4-F67DBE0A26D7}"/>
          </ac:spMkLst>
        </pc:spChg>
        <pc:spChg chg="mod">
          <ac:chgData name="Joelle Brehm" userId="a518f54c-6985-42c0-8041-2bb16a414839" providerId="ADAL" clId="{E88466E7-2243-47F6-9EAE-9BF9DD0649AD}" dt="2024-04-04T21:35:37.889" v="54964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1:35:37.888" v="54960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1:35:37.888" v="54961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1:35:37.887" v="54958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1:35:37.888" v="54959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1:35:37.888" v="54962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1:35:37.889" v="54963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1:35:37.889" v="54965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1:35:37.890" v="54966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1:35:37.890" v="54967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1:35:37.890" v="54968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1:35:37.891" v="54969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1:35:37.891" v="54971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1:35:37.892" v="54974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1:35:37.893" v="54976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1:35:37.892" v="54975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1:35:37.894" v="54979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1:35:37.894" v="54980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1:35:37.893" v="54978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1:35:37.894" v="54982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1:35:37.897" v="54991"/>
          <ac:spMkLst>
            <pc:docMk/>
            <pc:sldMk cId="10849840" sldId="290"/>
            <ac:spMk id="32" creationId="{6EC9F26A-A939-514C-7EDB-F425DFFD4036}"/>
          </ac:spMkLst>
        </pc:spChg>
        <pc:spChg chg="mod">
          <ac:chgData name="Joelle Brehm" userId="a518f54c-6985-42c0-8041-2bb16a414839" providerId="ADAL" clId="{E88466E7-2243-47F6-9EAE-9BF9DD0649AD}" dt="2024-04-04T21:35:37.896" v="54987"/>
          <ac:spMkLst>
            <pc:docMk/>
            <pc:sldMk cId="10849840" sldId="290"/>
            <ac:spMk id="33" creationId="{A55B1EF4-73C4-D584-0203-A74707EA08E2}"/>
          </ac:spMkLst>
        </pc:spChg>
        <pc:spChg chg="add mod replST">
          <ac:chgData name="Joelle Brehm" userId="a518f54c-6985-42c0-8041-2bb16a414839" providerId="ADAL" clId="{E88466E7-2243-47F6-9EAE-9BF9DD0649AD}" dt="2024-04-04T21:35:37.898" v="54996"/>
          <ac:spMkLst>
            <pc:docMk/>
            <pc:sldMk cId="10849840" sldId="290"/>
            <ac:spMk id="35" creationId="{5068F9AC-303B-0780-2965-4D483BEE31B5}"/>
          </ac:spMkLst>
        </pc:spChg>
        <pc:spChg chg="add del mod modVis">
          <ac:chgData name="Joelle Brehm" userId="a518f54c-6985-42c0-8041-2bb16a414839" providerId="ADAL" clId="{E88466E7-2243-47F6-9EAE-9BF9DD0649AD}" dt="2024-04-04T21:35:21.411" v="54390"/>
          <ac:spMkLst>
            <pc:docMk/>
            <pc:sldMk cId="10849840" sldId="290"/>
            <ac:spMk id="36" creationId="{5033FCFB-06C8-DB5A-F2B1-BF66DFFB2249}"/>
          </ac:spMkLst>
        </pc:spChg>
        <pc:spChg chg="mod ord">
          <ac:chgData name="Joelle Brehm" userId="a518f54c-6985-42c0-8041-2bb16a414839" providerId="ADAL" clId="{E88466E7-2243-47F6-9EAE-9BF9DD0649AD}" dt="2024-04-04T21:35:37.892" v="54973"/>
          <ac:spMkLst>
            <pc:docMk/>
            <pc:sldMk cId="10849840" sldId="290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E88466E7-2243-47F6-9EAE-9BF9DD0649AD}" dt="2024-04-04T21:35:23.623" v="54528"/>
          <ac:spMkLst>
            <pc:docMk/>
            <pc:sldMk cId="10849840" sldId="290"/>
            <ac:spMk id="39" creationId="{20AE7E8C-868C-ACDC-7555-62B574457F18}"/>
          </ac:spMkLst>
        </pc:spChg>
        <pc:spChg chg="mod">
          <ac:chgData name="Joelle Brehm" userId="a518f54c-6985-42c0-8041-2bb16a414839" providerId="ADAL" clId="{E88466E7-2243-47F6-9EAE-9BF9DD0649AD}" dt="2024-04-04T21:35:37.898" v="54994"/>
          <ac:spMkLst>
            <pc:docMk/>
            <pc:sldMk cId="10849840" sldId="290"/>
            <ac:spMk id="40" creationId="{A1E94C84-A04D-D474-C19C-53F6E4D29899}"/>
          </ac:spMkLst>
        </pc:spChg>
        <pc:spChg chg="mod">
          <ac:chgData name="Joelle Brehm" userId="a518f54c-6985-42c0-8041-2bb16a414839" providerId="ADAL" clId="{E88466E7-2243-47F6-9EAE-9BF9DD0649AD}" dt="2024-04-04T21:35:37.896" v="54988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E88466E7-2243-47F6-9EAE-9BF9DD0649AD}" dt="2024-04-04T21:35:37.896" v="54989"/>
          <ac:spMkLst>
            <pc:docMk/>
            <pc:sldMk cId="10849840" sldId="290"/>
            <ac:spMk id="43" creationId="{B4549873-B512-7DDE-B1A6-410BF7445AA4}"/>
          </ac:spMkLst>
        </pc:spChg>
        <pc:spChg chg="del mod">
          <ac:chgData name="Joelle Brehm" userId="a518f54c-6985-42c0-8041-2bb16a414839" providerId="ADAL" clId="{E88466E7-2243-47F6-9EAE-9BF9DD0649AD}" dt="2024-04-04T21:35:26.116" v="54531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E88466E7-2243-47F6-9EAE-9BF9DD0649AD}" dt="2024-04-04T21:35:37.897" v="54992"/>
          <ac:spMkLst>
            <pc:docMk/>
            <pc:sldMk cId="10849840" sldId="290"/>
            <ac:spMk id="45" creationId="{552BD52A-8984-63D8-5FA9-87FE57296EC3}"/>
          </ac:spMkLst>
        </pc:spChg>
        <pc:spChg chg="mod">
          <ac:chgData name="Joelle Brehm" userId="a518f54c-6985-42c0-8041-2bb16a414839" providerId="ADAL" clId="{E88466E7-2243-47F6-9EAE-9BF9DD0649AD}" dt="2024-04-04T21:35:37.895" v="54985"/>
          <ac:spMkLst>
            <pc:docMk/>
            <pc:sldMk cId="10849840" sldId="290"/>
            <ac:spMk id="46" creationId="{3E1C433A-5376-E641-B9A1-4367058A9B7F}"/>
          </ac:spMkLst>
        </pc:spChg>
        <pc:spChg chg="mod">
          <ac:chgData name="Joelle Brehm" userId="a518f54c-6985-42c0-8041-2bb16a414839" providerId="ADAL" clId="{E88466E7-2243-47F6-9EAE-9BF9DD0649AD}" dt="2024-04-04T21:35:37.896" v="54990"/>
          <ac:spMkLst>
            <pc:docMk/>
            <pc:sldMk cId="10849840" sldId="290"/>
            <ac:spMk id="47" creationId="{0E162DBF-E60F-A83B-56A5-E40D4E5B4D77}"/>
          </ac:spMkLst>
        </pc:spChg>
        <pc:spChg chg="add del mod modVis">
          <ac:chgData name="Joelle Brehm" userId="a518f54c-6985-42c0-8041-2bb16a414839" providerId="ADAL" clId="{E88466E7-2243-47F6-9EAE-9BF9DD0649AD}" dt="2024-04-04T21:35:26.265" v="54708"/>
          <ac:spMkLst>
            <pc:docMk/>
            <pc:sldMk cId="10849840" sldId="290"/>
            <ac:spMk id="48" creationId="{314CEAAC-77A1-2668-21A2-87A320FCE688}"/>
          </ac:spMkLst>
        </pc:spChg>
        <pc:spChg chg="mod">
          <ac:chgData name="Joelle Brehm" userId="a518f54c-6985-42c0-8041-2bb16a414839" providerId="ADAL" clId="{E88466E7-2243-47F6-9EAE-9BF9DD0649AD}" dt="2024-04-04T21:35:37.898" v="54995"/>
          <ac:spMkLst>
            <pc:docMk/>
            <pc:sldMk cId="10849840" sldId="290"/>
            <ac:spMk id="50" creationId="{449B00ED-3776-83CB-F1FD-BD8553FCA5FB}"/>
          </ac:spMkLst>
        </pc:spChg>
        <pc:spChg chg="mod">
          <ac:chgData name="Joelle Brehm" userId="a518f54c-6985-42c0-8041-2bb16a414839" providerId="ADAL" clId="{E88466E7-2243-47F6-9EAE-9BF9DD0649AD}" dt="2024-04-04T21:35:37.897" v="54993"/>
          <ac:spMkLst>
            <pc:docMk/>
            <pc:sldMk cId="10849840" sldId="290"/>
            <ac:spMk id="52" creationId="{DC96C436-B81F-F984-27FA-D181BC415FF2}"/>
          </ac:spMkLst>
        </pc:spChg>
        <pc:spChg chg="add del mod modVis">
          <ac:chgData name="Joelle Brehm" userId="a518f54c-6985-42c0-8041-2bb16a414839" providerId="ADAL" clId="{E88466E7-2243-47F6-9EAE-9BF9DD0649AD}" dt="2024-04-04T21:35:34.629" v="54920"/>
          <ac:spMkLst>
            <pc:docMk/>
            <pc:sldMk cId="10849840" sldId="290"/>
            <ac:spMk id="53" creationId="{A92E6A88-E22E-597A-A95A-184DFB1C6142}"/>
          </ac:spMkLst>
        </pc:spChg>
        <pc:spChg chg="mod ord">
          <ac:chgData name="Joelle Brehm" userId="a518f54c-6985-42c0-8041-2bb16a414839" providerId="ADAL" clId="{E88466E7-2243-47F6-9EAE-9BF9DD0649AD}" dt="2024-04-04T21:35:37.904" v="55019"/>
          <ac:spMkLst>
            <pc:docMk/>
            <pc:sldMk cId="10849840" sldId="290"/>
            <ac:spMk id="60" creationId="{AB5689A7-20F6-4DF1-88AE-FB8557333BFB}"/>
          </ac:spMkLst>
        </pc:spChg>
        <pc:spChg chg="mod">
          <ac:chgData name="Joelle Brehm" userId="a518f54c-6985-42c0-8041-2bb16a414839" providerId="ADAL" clId="{E88466E7-2243-47F6-9EAE-9BF9DD0649AD}" dt="2024-04-04T21:35:37.893" v="54977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E88466E7-2243-47F6-9EAE-9BF9DD0649AD}" dt="2024-04-04T21:35:37.899" v="54998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1:35:37.899" v="55000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1:35:37.900" v="55002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1:35:37.900" v="55004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1:35:37.901" v="55006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1:35:37.901" v="55008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1:35:37.902" v="55011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35:37.902" v="55012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35:37.903" v="55013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1:35:37.903" v="55014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1:35:37.903" v="55015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1:35:37.920" v="55025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88466E7-2243-47F6-9EAE-9BF9DD0649AD}" dt="2024-04-04T21:34:51.396" v="53845"/>
          <ac:graphicFrameMkLst>
            <pc:docMk/>
            <pc:sldMk cId="10849840" sldId="290"/>
            <ac:graphicFrameMk id="9" creationId="{E7895EC9-C5DC-A15C-BD87-C48A0B22C5A9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35:37.887" v="54957"/>
          <ac:graphicFrameMkLst>
            <pc:docMk/>
            <pc:sldMk cId="10849840" sldId="290"/>
            <ac:graphicFrameMk id="31" creationId="{316298B2-676E-B597-A957-C48960785AA4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35:23.560" v="54445"/>
          <ac:graphicFrameMkLst>
            <pc:docMk/>
            <pc:sldMk cId="10849840" sldId="290"/>
            <ac:graphicFrameMk id="38" creationId="{F167520C-944C-6427-EBA0-3903E2C4650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35:26.205" v="54626"/>
          <ac:graphicFrameMkLst>
            <pc:docMk/>
            <pc:sldMk cId="10849840" sldId="290"/>
            <ac:graphicFrameMk id="41" creationId="{B293D766-ECE1-DB74-11FA-39ECD7F5D5B7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35:34.565" v="54838"/>
          <ac:graphicFrameMkLst>
            <pc:docMk/>
            <pc:sldMk cId="10849840" sldId="290"/>
            <ac:graphicFrameMk id="49" creationId="{A392C421-6D65-0FF4-77DA-66BE180B8A36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35:37.895" v="54984"/>
          <ac:graphicFrameMkLst>
            <pc:docMk/>
            <pc:sldMk cId="10849840" sldId="290"/>
            <ac:graphicFrameMk id="51" creationId="{EF581E39-63E1-BA56-2188-16A6E7D6846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35:37.858" v="54943"/>
          <ac:graphicFrameMkLst>
            <pc:docMk/>
            <pc:sldMk cId="10849840" sldId="290"/>
            <ac:graphicFrameMk id="54" creationId="{17389F19-00BF-E00E-DB7A-C0815819B612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1:35:37.902" v="55010"/>
          <ac:graphicFrameMkLst>
            <pc:docMk/>
            <pc:sldMk cId="10849840" sldId="290"/>
            <ac:graphicFrameMk id="55" creationId="{03E68A7B-5723-A5C8-A38E-622ECB9096E2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35:21.342" v="54303"/>
          <ac:graphicFrameMkLst>
            <pc:docMk/>
            <pc:sldMk cId="10849840" sldId="290"/>
            <ac:graphicFrameMk id="57" creationId="{58AA25D2-7E07-4656-824A-DE2ACB81B3B3}"/>
          </ac:graphicFrameMkLst>
        </pc:graphicFrameChg>
        <pc:picChg chg="del mod ord">
          <ac:chgData name="Joelle Brehm" userId="a518f54c-6985-42c0-8041-2bb16a414839" providerId="ADAL" clId="{E88466E7-2243-47F6-9EAE-9BF9DD0649AD}" dt="2024-04-04T21:35:13.885" v="54023" actId="478"/>
          <ac:picMkLst>
            <pc:docMk/>
            <pc:sldMk cId="10849840" sldId="290"/>
            <ac:picMk id="10" creationId="{C0C51D56-48D1-ECF6-964A-BA463EC15D5C}"/>
          </ac:picMkLst>
        </pc:picChg>
        <pc:picChg chg="add mod ord">
          <ac:chgData name="Joelle Brehm" userId="a518f54c-6985-42c0-8041-2bb16a414839" providerId="ADAL" clId="{E88466E7-2243-47F6-9EAE-9BF9DD0649AD}" dt="2024-04-04T21:35:37.886" v="54951"/>
          <ac:picMkLst>
            <pc:docMk/>
            <pc:sldMk cId="10849840" sldId="290"/>
            <ac:picMk id="34" creationId="{1BFD03C4-373E-C955-20BB-4CB8A82A716B}"/>
          </ac:picMkLst>
        </pc:picChg>
        <pc:picChg chg="mod ord">
          <ac:chgData name="Joelle Brehm" userId="a518f54c-6985-42c0-8041-2bb16a414839" providerId="ADAL" clId="{E88466E7-2243-47F6-9EAE-9BF9DD0649AD}" dt="2024-04-04T21:35:37.904" v="55017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1:35:37.886" v="54955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22:15:23.046" v="58103"/>
        <pc:sldMkLst>
          <pc:docMk/>
          <pc:sldMk cId="996393659" sldId="291"/>
        </pc:sldMkLst>
        <pc:spChg chg="mod ord">
          <ac:chgData name="Joelle Brehm" userId="a518f54c-6985-42c0-8041-2bb16a414839" providerId="ADAL" clId="{E88466E7-2243-47F6-9EAE-9BF9DD0649AD}" dt="2024-04-04T22:15:23.030" v="58097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E88466E7-2243-47F6-9EAE-9BF9DD0649AD}" dt="2024-04-04T22:12:12.110" v="56623" actId="478"/>
          <ac:spMkLst>
            <pc:docMk/>
            <pc:sldMk cId="996393659" sldId="291"/>
            <ac:spMk id="3" creationId="{FBB81E6F-8C8C-0EA0-2749-FD5B39059972}"/>
          </ac:spMkLst>
        </pc:spChg>
        <pc:spChg chg="add del mod modVis">
          <ac:chgData name="Joelle Brehm" userId="a518f54c-6985-42c0-8041-2bb16a414839" providerId="ADAL" clId="{E88466E7-2243-47F6-9EAE-9BF9DD0649AD}" dt="2024-04-04T22:12:15.590" v="56850"/>
          <ac:spMkLst>
            <pc:docMk/>
            <pc:sldMk cId="996393659" sldId="291"/>
            <ac:spMk id="5" creationId="{143F9568-678C-2572-DD13-970E4D479BB0}"/>
          </ac:spMkLst>
        </pc:spChg>
        <pc:spChg chg="mod ord">
          <ac:chgData name="Joelle Brehm" userId="a518f54c-6985-42c0-8041-2bb16a414839" providerId="ADAL" clId="{E88466E7-2243-47F6-9EAE-9BF9DD0649AD}" dt="2024-04-04T22:15:23.011" v="58029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04T22:15:23.014" v="58040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04T22:15:23.013" v="58036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04T22:15:23.013" v="58037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04T22:15:23.013" v="58034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04T22:15:23.013" v="58035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04T22:15:23.014" v="58038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04T22:15:23.014" v="58039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04T22:15:23.014" v="58041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04T22:15:23.015" v="58042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04T22:15:23.015" v="58043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04T22:15:23.015" v="58044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04T22:15:23.016" v="58045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04T22:15:23.016" v="58047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04T22:15:23.017" v="58050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04T22:15:23.017" v="58052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04T22:15:23.017" v="58051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04T22:15:23.018" v="58055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04T22:15:23.018" v="58056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04T22:15:23.018" v="58054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04T22:15:23.020" v="58058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E88466E7-2243-47F6-9EAE-9BF9DD0649AD}" dt="2024-04-04T22:15:23.022" v="58067"/>
          <ac:spMkLst>
            <pc:docMk/>
            <pc:sldMk cId="996393659" sldId="291"/>
            <ac:spMk id="32" creationId="{27A91E20-CA24-9C21-342D-ABA565F5471B}"/>
          </ac:spMkLst>
        </pc:spChg>
        <pc:spChg chg="mod">
          <ac:chgData name="Joelle Brehm" userId="a518f54c-6985-42c0-8041-2bb16a414839" providerId="ADAL" clId="{E88466E7-2243-47F6-9EAE-9BF9DD0649AD}" dt="2024-04-04T22:15:23.023" v="58070"/>
          <ac:spMkLst>
            <pc:docMk/>
            <pc:sldMk cId="996393659" sldId="291"/>
            <ac:spMk id="33" creationId="{CB5C8FD5-055D-6A27-CF2F-C337C198975F}"/>
          </ac:spMkLst>
        </pc:spChg>
        <pc:spChg chg="mod">
          <ac:chgData name="Joelle Brehm" userId="a518f54c-6985-42c0-8041-2bb16a414839" providerId="ADAL" clId="{E88466E7-2243-47F6-9EAE-9BF9DD0649AD}" dt="2024-04-04T22:15:23.023" v="58071"/>
          <ac:spMkLst>
            <pc:docMk/>
            <pc:sldMk cId="996393659" sldId="291"/>
            <ac:spMk id="36" creationId="{A69784E3-14C3-52CF-6613-6D8ECE4E8A6A}"/>
          </ac:spMkLst>
        </pc:spChg>
        <pc:spChg chg="mod ord">
          <ac:chgData name="Joelle Brehm" userId="a518f54c-6985-42c0-8041-2bb16a414839" providerId="ADAL" clId="{E88466E7-2243-47F6-9EAE-9BF9DD0649AD}" dt="2024-04-04T22:15:23.017" v="58049"/>
          <ac:spMkLst>
            <pc:docMk/>
            <pc:sldMk cId="996393659" sldId="291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E88466E7-2243-47F6-9EAE-9BF9DD0649AD}" dt="2024-04-04T22:13:12.644" v="57153"/>
          <ac:spMkLst>
            <pc:docMk/>
            <pc:sldMk cId="996393659" sldId="291"/>
            <ac:spMk id="38" creationId="{68C14F01-EE1E-A4D7-8771-7FFFD7CB7924}"/>
          </ac:spMkLst>
        </pc:spChg>
        <pc:spChg chg="mod">
          <ac:chgData name="Joelle Brehm" userId="a518f54c-6985-42c0-8041-2bb16a414839" providerId="ADAL" clId="{E88466E7-2243-47F6-9EAE-9BF9DD0649AD}" dt="2024-04-04T22:15:23.021" v="58062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E88466E7-2243-47F6-9EAE-9BF9DD0649AD}" dt="2024-04-04T22:15:23.021" v="58063"/>
          <ac:spMkLst>
            <pc:docMk/>
            <pc:sldMk cId="996393659" sldId="291"/>
            <ac:spMk id="41" creationId="{99EE3A94-95FB-03C1-2179-11BFF50F2502}"/>
          </ac:spMkLst>
        </pc:spChg>
        <pc:spChg chg="del mod">
          <ac:chgData name="Joelle Brehm" userId="a518f54c-6985-42c0-8041-2bb16a414839" providerId="ADAL" clId="{E88466E7-2243-47F6-9EAE-9BF9DD0649AD}" dt="2024-04-04T22:13:23.037" v="57788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E88466E7-2243-47F6-9EAE-9BF9DD0649AD}" dt="2024-04-04T22:15:23.021" v="58064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E88466E7-2243-47F6-9EAE-9BF9DD0649AD}" dt="2024-04-04T22:15:23.020" v="58061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E88466E7-2243-47F6-9EAE-9BF9DD0649AD}" dt="2024-04-04T22:15:23.022" v="58065"/>
          <ac:spMkLst>
            <pc:docMk/>
            <pc:sldMk cId="996393659" sldId="291"/>
            <ac:spMk id="45" creationId="{7A6869B6-C6F2-DDAD-D4B2-6D5DE21E6DC6}"/>
          </ac:spMkLst>
        </pc:spChg>
        <pc:spChg chg="mod">
          <ac:chgData name="Joelle Brehm" userId="a518f54c-6985-42c0-8041-2bb16a414839" providerId="ADAL" clId="{E88466E7-2243-47F6-9EAE-9BF9DD0649AD}" dt="2024-04-04T22:15:23.023" v="58069"/>
          <ac:spMkLst>
            <pc:docMk/>
            <pc:sldMk cId="996393659" sldId="291"/>
            <ac:spMk id="46" creationId="{70F395A2-745A-564E-6009-C9A72EA00DA6}"/>
          </ac:spMkLst>
        </pc:spChg>
        <pc:spChg chg="mod">
          <ac:chgData name="Joelle Brehm" userId="a518f54c-6985-42c0-8041-2bb16a414839" providerId="ADAL" clId="{E88466E7-2243-47F6-9EAE-9BF9DD0649AD}" dt="2024-04-04T22:15:23.022" v="58066"/>
          <ac:spMkLst>
            <pc:docMk/>
            <pc:sldMk cId="996393659" sldId="291"/>
            <ac:spMk id="47" creationId="{954547EF-AD33-B12C-24C3-BC43A057FE8B}"/>
          </ac:spMkLst>
        </pc:spChg>
        <pc:spChg chg="add mod replST">
          <ac:chgData name="Joelle Brehm" userId="a518f54c-6985-42c0-8041-2bb16a414839" providerId="ADAL" clId="{E88466E7-2243-47F6-9EAE-9BF9DD0649AD}" dt="2024-04-04T22:15:23.024" v="58072"/>
          <ac:spMkLst>
            <pc:docMk/>
            <pc:sldMk cId="996393659" sldId="291"/>
            <ac:spMk id="48" creationId="{2701738F-C238-836B-D9DE-4987A0F33EEC}"/>
          </ac:spMkLst>
        </pc:spChg>
        <pc:spChg chg="add del mod modVis">
          <ac:chgData name="Joelle Brehm" userId="a518f54c-6985-42c0-8041-2bb16a414839" providerId="ADAL" clId="{E88466E7-2243-47F6-9EAE-9BF9DD0649AD}" dt="2024-04-04T22:13:18.489" v="57610"/>
          <ac:spMkLst>
            <pc:docMk/>
            <pc:sldMk cId="996393659" sldId="291"/>
            <ac:spMk id="49" creationId="{318C29FD-3A0A-A3F8-1A00-1CB756E044DB}"/>
          </ac:spMkLst>
        </pc:spChg>
        <pc:spChg chg="add del mod ord replST">
          <ac:chgData name="Joelle Brehm" userId="a518f54c-6985-42c0-8041-2bb16a414839" providerId="ADAL" clId="{E88466E7-2243-47F6-9EAE-9BF9DD0649AD}" dt="2024-04-04T22:15:22.985" v="58017"/>
          <ac:spMkLst>
            <pc:docMk/>
            <pc:sldMk cId="996393659" sldId="291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22:13:20.971" v="57785"/>
          <ac:spMkLst>
            <pc:docMk/>
            <pc:sldMk cId="996393659" sldId="291"/>
            <ac:spMk id="52" creationId="{46CC128A-0B3E-71CF-E740-E4DD957C0B1E}"/>
          </ac:spMkLst>
        </pc:spChg>
        <pc:spChg chg="mod">
          <ac:chgData name="Joelle Brehm" userId="a518f54c-6985-42c0-8041-2bb16a414839" providerId="ADAL" clId="{E88466E7-2243-47F6-9EAE-9BF9DD0649AD}" dt="2024-04-04T22:15:23.023" v="58068"/>
          <ac:spMkLst>
            <pc:docMk/>
            <pc:sldMk cId="996393659" sldId="291"/>
            <ac:spMk id="53" creationId="{BBEFF6A7-9912-F6A1-9F12-1B2BB6B5B810}"/>
          </ac:spMkLst>
        </pc:spChg>
        <pc:spChg chg="add del mod modVis">
          <ac:chgData name="Joelle Brehm" userId="a518f54c-6985-42c0-8041-2bb16a414839" providerId="ADAL" clId="{E88466E7-2243-47F6-9EAE-9BF9DD0649AD}" dt="2024-04-04T22:13:23.372" v="57966"/>
          <ac:spMkLst>
            <pc:docMk/>
            <pc:sldMk cId="996393659" sldId="291"/>
            <ac:spMk id="56" creationId="{33066ECC-E1C0-5D0E-418D-C491611EB9A0}"/>
          </ac:spMkLst>
        </pc:spChg>
        <pc:spChg chg="add del mod modVis">
          <ac:chgData name="Joelle Brehm" userId="a518f54c-6985-42c0-8041-2bb16a414839" providerId="ADAL" clId="{E88466E7-2243-47F6-9EAE-9BF9DD0649AD}" dt="2024-04-04T22:15:23.031" v="58101"/>
          <ac:spMkLst>
            <pc:docMk/>
            <pc:sldMk cId="996393659" sldId="291"/>
            <ac:spMk id="58" creationId="{0D392D16-DB8D-EB30-B73E-9C02271EC596}"/>
          </ac:spMkLst>
        </pc:spChg>
        <pc:spChg chg="mod">
          <ac:chgData name="Joelle Brehm" userId="a518f54c-6985-42c0-8041-2bb16a414839" providerId="ADAL" clId="{E88466E7-2243-47F6-9EAE-9BF9DD0649AD}" dt="2024-04-04T22:15:23.018" v="58053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E88466E7-2243-47F6-9EAE-9BF9DD0649AD}" dt="2024-04-04T22:15:23.024" v="58074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04T22:15:23.025" v="58076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E88466E7-2243-47F6-9EAE-9BF9DD0649AD}" dt="2024-04-04T22:15:23.029" v="58095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E88466E7-2243-47F6-9EAE-9BF9DD0649AD}" dt="2024-04-04T22:15:23.025" v="58078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88466E7-2243-47F6-9EAE-9BF9DD0649AD}" dt="2024-04-04T22:15:23.026" v="58080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04T22:15:23.026" v="58082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04T22:15:23.026" v="58084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E88466E7-2243-47F6-9EAE-9BF9DD0649AD}" dt="2024-04-04T22:15:23.027" v="58087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2:15:23.027" v="58088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2:15:23.028" v="58089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22:15:23.028" v="58090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04T22:15:23.028" v="58091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04T22:15:23.046" v="58103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2:15:23.012" v="58033"/>
          <ac:graphicFrameMkLst>
            <pc:docMk/>
            <pc:sldMk cId="996393659" sldId="291"/>
            <ac:graphicFrameMk id="8" creationId="{7C09CCFD-808A-13C2-E006-358B94EDEB0A}"/>
          </ac:graphicFrameMkLst>
        </pc:graphicFrameChg>
        <pc:graphicFrameChg chg="del">
          <ac:chgData name="Joelle Brehm" userId="a518f54c-6985-42c0-8041-2bb16a414839" providerId="ADAL" clId="{E88466E7-2243-47F6-9EAE-9BF9DD0649AD}" dt="2024-04-04T22:12:15.480" v="56762"/>
          <ac:graphicFrameMkLst>
            <pc:docMk/>
            <pc:sldMk cId="996393659" sldId="291"/>
            <ac:graphicFrameMk id="9" creationId="{2F49221F-A7D9-1CE3-EA20-42A252D4501E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2:13:12.545" v="57071"/>
          <ac:graphicFrameMkLst>
            <pc:docMk/>
            <pc:sldMk cId="996393659" sldId="291"/>
            <ac:graphicFrameMk id="35" creationId="{9E058F99-F009-A389-D2F1-C98A30356C30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2:15:23.027" v="58086"/>
          <ac:graphicFrameMkLst>
            <pc:docMk/>
            <pc:sldMk cId="996393659" sldId="291"/>
            <ac:graphicFrameMk id="39" creationId="{8F8AAB69-9EE9-DE06-31BA-0ABC4374044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3:20.867" v="57687"/>
          <ac:graphicFrameMkLst>
            <pc:docMk/>
            <pc:sldMk cId="996393659" sldId="291"/>
            <ac:graphicFrameMk id="51" creationId="{A93C362F-C2E7-AC1B-EF24-79832DC06E53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3:23.216" v="57882"/>
          <ac:graphicFrameMkLst>
            <pc:docMk/>
            <pc:sldMk cId="996393659" sldId="291"/>
            <ac:graphicFrameMk id="54" creationId="{C3C1763F-E791-8060-D570-F9FD93F78770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2:13:18.420" v="57512"/>
          <ac:graphicFrameMkLst>
            <pc:docMk/>
            <pc:sldMk cId="996393659" sldId="291"/>
            <ac:graphicFrameMk id="55" creationId="{17A3AAFD-7FAA-06B3-E549-E270EB82DEC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5:22.987" v="58019"/>
          <ac:graphicFrameMkLst>
            <pc:docMk/>
            <pc:sldMk cId="996393659" sldId="291"/>
            <ac:graphicFrameMk id="57" creationId="{B6AF316D-0D48-8C62-BFDC-0FBE8DD0B0A8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22:15:23.020" v="58060"/>
          <ac:graphicFrameMkLst>
            <pc:docMk/>
            <pc:sldMk cId="996393659" sldId="291"/>
            <ac:graphicFrameMk id="59" creationId="{A58426F4-7C88-75DF-6DF5-0C0C9D1E7C23}"/>
          </ac:graphicFrameMkLst>
        </pc:graphicFrameChg>
        <pc:picChg chg="del mod ord">
          <ac:chgData name="Joelle Brehm" userId="a518f54c-6985-42c0-8041-2bb16a414839" providerId="ADAL" clId="{E88466E7-2243-47F6-9EAE-9BF9DD0649AD}" dt="2024-04-04T22:12:54.592" v="56953" actId="478"/>
          <ac:picMkLst>
            <pc:docMk/>
            <pc:sldMk cId="996393659" sldId="291"/>
            <ac:picMk id="10" creationId="{7E38899A-D7AB-E70F-315C-CE90296609B7}"/>
          </ac:picMkLst>
        </pc:picChg>
        <pc:picChg chg="add del mod">
          <ac:chgData name="Joelle Brehm" userId="a518f54c-6985-42c0-8041-2bb16a414839" providerId="ADAL" clId="{E88466E7-2243-47F6-9EAE-9BF9DD0649AD}" dt="2024-04-04T22:12:38.014" v="56866" actId="478"/>
          <ac:picMkLst>
            <pc:docMk/>
            <pc:sldMk cId="996393659" sldId="291"/>
            <ac:picMk id="31" creationId="{3EAD314D-C32F-34E9-0920-371BB214ED2A}"/>
          </ac:picMkLst>
        </pc:picChg>
        <pc:picChg chg="add mod ord">
          <ac:chgData name="Joelle Brehm" userId="a518f54c-6985-42c0-8041-2bb16a414839" providerId="ADAL" clId="{E88466E7-2243-47F6-9EAE-9BF9DD0649AD}" dt="2024-04-04T22:15:23.011" v="58027"/>
          <ac:picMkLst>
            <pc:docMk/>
            <pc:sldMk cId="996393659" sldId="291"/>
            <ac:picMk id="34" creationId="{6360D14E-6AF5-7243-6CFA-54052EA156B2}"/>
          </ac:picMkLst>
        </pc:picChg>
        <pc:picChg chg="mod ord">
          <ac:chgData name="Joelle Brehm" userId="a518f54c-6985-42c0-8041-2bb16a414839" providerId="ADAL" clId="{E88466E7-2243-47F6-9EAE-9BF9DD0649AD}" dt="2024-04-04T22:15:23.029" v="58093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04T22:15:23.012" v="58031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22T22:12:35.615" v="81535" actId="1076"/>
        <pc:sldMkLst>
          <pc:docMk/>
          <pc:sldMk cId="3635637425" sldId="292"/>
        </pc:sldMkLst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2" creationId="{9445A78E-5217-4459-B540-57B5B2359A2E}"/>
          </ac:spMkLst>
        </pc:spChg>
        <pc:spChg chg="add mod replST">
          <ac:chgData name="Joelle Brehm" userId="a518f54c-6985-42c0-8041-2bb16a414839" providerId="ADAL" clId="{E88466E7-2243-47F6-9EAE-9BF9DD0649AD}" dt="2024-04-22T22:08:17.211" v="78801"/>
          <ac:spMkLst>
            <pc:docMk/>
            <pc:sldMk cId="3635637425" sldId="292"/>
            <ac:spMk id="3" creationId="{95DE2247-C717-D4B0-ADD7-109C38113258}"/>
          </ac:spMkLst>
        </pc:spChg>
        <pc:spChg chg="add del mod">
          <ac:chgData name="Joelle Brehm" userId="a518f54c-6985-42c0-8041-2bb16a414839" providerId="ADAL" clId="{E88466E7-2243-47F6-9EAE-9BF9DD0649AD}" dt="2024-04-04T22:11:02.782" v="55026" actId="478"/>
          <ac:spMkLst>
            <pc:docMk/>
            <pc:sldMk cId="3635637425" sldId="292"/>
            <ac:spMk id="3" creationId="{C1422B4A-F862-D371-B6BC-93A27ECD654B}"/>
          </ac:spMkLst>
        </pc:spChg>
        <pc:spChg chg="add del mod modVis">
          <ac:chgData name="Joelle Brehm" userId="a518f54c-6985-42c0-8041-2bb16a414839" providerId="ADAL" clId="{E88466E7-2243-47F6-9EAE-9BF9DD0649AD}" dt="2024-04-22T22:08:17.211" v="78801"/>
          <ac:spMkLst>
            <pc:docMk/>
            <pc:sldMk cId="3635637425" sldId="292"/>
            <ac:spMk id="5" creationId="{18F79577-8DD7-87D1-DF91-6DFA8D1C422B}"/>
          </ac:spMkLst>
        </pc:spChg>
        <pc:spChg chg="add del mod modVis">
          <ac:chgData name="Joelle Brehm" userId="a518f54c-6985-42c0-8041-2bb16a414839" providerId="ADAL" clId="{E88466E7-2243-47F6-9EAE-9BF9DD0649AD}" dt="2024-04-04T22:11:16.050" v="55245"/>
          <ac:spMkLst>
            <pc:docMk/>
            <pc:sldMk cId="3635637425" sldId="292"/>
            <ac:spMk id="5" creationId="{486B9FFF-F7D4-C171-967E-61B815A573BD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E88466E7-2243-47F6-9EAE-9BF9DD0649AD}" dt="2024-04-22T22:09:08.501" v="81272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E88466E7-2243-47F6-9EAE-9BF9DD0649AD}" dt="2024-04-22T22:09:08.511" v="81288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E88466E7-2243-47F6-9EAE-9BF9DD0649AD}" dt="2024-04-22T22:09:08.511" v="81290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E88466E7-2243-47F6-9EAE-9BF9DD0649AD}" dt="2024-04-22T22:09:08.511" v="81289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E88466E7-2243-47F6-9EAE-9BF9DD0649AD}" dt="2024-04-22T22:09:08.511" v="81293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E88466E7-2243-47F6-9EAE-9BF9DD0649AD}" dt="2024-04-22T22:09:08.511" v="81294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E88466E7-2243-47F6-9EAE-9BF9DD0649AD}" dt="2024-04-22T22:09:08.511" v="81292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88466E7-2243-47F6-9EAE-9BF9DD0649AD}" dt="2024-04-22T22:08:14.207" v="78535"/>
          <ac:spMkLst>
            <pc:docMk/>
            <pc:sldMk cId="3635637425" sldId="292"/>
            <ac:spMk id="31" creationId="{53BF1D0B-81F8-5C61-7B5C-DCA52C178868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32" creationId="{8F9B02F6-DAE6-BC87-0735-690A0C269FE9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33" creationId="{FC0BC779-DB08-9C64-2173-284503839894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34" creationId="{1A89A7DF-5840-E927-8D60-C325BD6C6D3A}"/>
          </ac:spMkLst>
        </pc:spChg>
        <pc:spChg chg="add del mod modVis">
          <ac:chgData name="Joelle Brehm" userId="a518f54c-6985-42c0-8041-2bb16a414839" providerId="ADAL" clId="{E88466E7-2243-47F6-9EAE-9BF9DD0649AD}" dt="2024-04-04T22:11:38.377" v="55518"/>
          <ac:spMkLst>
            <pc:docMk/>
            <pc:sldMk cId="3635637425" sldId="292"/>
            <ac:spMk id="35" creationId="{4680825B-A6E7-0449-9EAF-24F262DD4482}"/>
          </ac:spMkLst>
        </pc:spChg>
        <pc:spChg chg="add del mod modVis">
          <ac:chgData name="Joelle Brehm" userId="a518f54c-6985-42c0-8041-2bb16a414839" providerId="ADAL" clId="{E88466E7-2243-47F6-9EAE-9BF9DD0649AD}" dt="2024-04-22T22:08:11.776" v="78454"/>
          <ac:spMkLst>
            <pc:docMk/>
            <pc:sldMk cId="3635637425" sldId="292"/>
            <ac:spMk id="36" creationId="{85818E05-D754-DAED-8CEA-241022C8EAD1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E88466E7-2243-47F6-9EAE-9BF9DD0649AD}" dt="2024-04-04T22:11:46.310" v="55646"/>
          <ac:spMkLst>
            <pc:docMk/>
            <pc:sldMk cId="3635637425" sldId="292"/>
            <ac:spMk id="38" creationId="{DD490490-F637-9497-5BB7-13C4940EDA6D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41" creationId="{CAD662BE-DA77-C496-2C1F-D8B2218DD0E5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43" creationId="{0678EC5A-40D8-D6EA-5861-4AE5E575DE63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44" creationId="{32CB6A39-3BAE-FC69-9E00-4DE7E8B048E3}"/>
          </ac:spMkLst>
        </pc:spChg>
        <pc:spChg chg="del mod">
          <ac:chgData name="Joelle Brehm" userId="a518f54c-6985-42c0-8041-2bb16a414839" providerId="ADAL" clId="{E88466E7-2243-47F6-9EAE-9BF9DD0649AD}" dt="2024-04-04T22:11:57.817" v="56299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45" creationId="{A417CFF4-2744-C952-9C9F-69606D981D63}"/>
          </ac:spMkLst>
        </pc:spChg>
        <pc:spChg chg="add del mod">
          <ac:chgData name="Joelle Brehm" userId="a518f54c-6985-42c0-8041-2bb16a414839" providerId="ADAL" clId="{E88466E7-2243-47F6-9EAE-9BF9DD0649AD}" dt="2024-04-22T22:09:08.516" v="81299"/>
          <ac:spMkLst>
            <pc:docMk/>
            <pc:sldMk cId="3635637425" sldId="292"/>
            <ac:spMk id="46" creationId="{38D3D6F2-A854-D543-7C6D-CB3894DB11AC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47" creationId="{23D31415-4B44-8B3E-05F2-6373D86735DA}"/>
          </ac:spMkLst>
        </pc:spChg>
        <pc:spChg chg="add mod replST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48" creationId="{17326811-6623-0C6F-CD08-2B764DF4E600}"/>
          </ac:spMkLst>
        </pc:spChg>
        <pc:spChg chg="mod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49" creationId="{C2AC46DF-8DB5-4BF7-F270-6657C4B8CE44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0" creationId="{19CEA2B3-6C4C-3EB6-9A9F-1627175A1775}"/>
          </ac:spMkLst>
        </pc:spChg>
        <pc:spChg chg="add del mod modVis">
          <ac:chgData name="Joelle Brehm" userId="a518f54c-6985-42c0-8041-2bb16a414839" providerId="ADAL" clId="{E88466E7-2243-47F6-9EAE-9BF9DD0649AD}" dt="2024-04-04T22:11:52.525" v="56119"/>
          <ac:spMkLst>
            <pc:docMk/>
            <pc:sldMk cId="3635637425" sldId="292"/>
            <ac:spMk id="50" creationId="{73EBDFCA-BB1C-71D0-42BA-77A8613E8197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1" creationId="{7407D862-3404-A892-EF20-76B16973F357}"/>
          </ac:spMkLst>
        </pc:spChg>
        <pc:spChg chg="add del mod ord replST">
          <ac:chgData name="Joelle Brehm" userId="a518f54c-6985-42c0-8041-2bb16a414839" providerId="ADAL" clId="{E88466E7-2243-47F6-9EAE-9BF9DD0649AD}" dt="2024-04-04T22:12:01.044" v="56536"/>
          <ac:spMkLst>
            <pc:docMk/>
            <pc:sldMk cId="3635637425" sldId="292"/>
            <ac:spMk id="52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2" creationId="{AEFF2492-8908-DBA7-157D-0CB1745594C2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3" creationId="{6529375B-8C4E-FF5C-4A51-D4296CE637EB}"/>
          </ac:spMkLst>
        </pc:spChg>
        <pc:spChg chg="add del mod modVis">
          <ac:chgData name="Joelle Brehm" userId="a518f54c-6985-42c0-8041-2bb16a414839" providerId="ADAL" clId="{E88466E7-2243-47F6-9EAE-9BF9DD0649AD}" dt="2024-04-04T22:11:55.097" v="56296"/>
          <ac:spMkLst>
            <pc:docMk/>
            <pc:sldMk cId="3635637425" sldId="292"/>
            <ac:spMk id="54" creationId="{13A649A6-1A29-4E56-BFF0-D9BFCA26B89F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4" creationId="{E0C6E4C6-E291-3BB2-C0A1-495B33049613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5" creationId="{284E21DA-7BC5-C281-DC21-7E95B3C1753E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6" creationId="{37B84B76-3981-B9DA-2C88-789C87A4F11C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7" creationId="{1A16DF2C-E80C-2151-950C-661D4877735D}"/>
          </ac:spMkLst>
        </pc:spChg>
        <pc:spChg chg="add del mod modVis">
          <ac:chgData name="Joelle Brehm" userId="a518f54c-6985-42c0-8041-2bb16a414839" providerId="ADAL" clId="{E88466E7-2243-47F6-9EAE-9BF9DD0649AD}" dt="2024-04-04T22:11:57.989" v="56483"/>
          <ac:spMkLst>
            <pc:docMk/>
            <pc:sldMk cId="3635637425" sldId="292"/>
            <ac:spMk id="57" creationId="{60D1D9D0-24D6-3AA8-5A0B-4E7D97BE2A94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8" creationId="{92927CE6-5B49-B8BB-AFA6-C62943F8DF37}"/>
          </ac:spMkLst>
        </pc:spChg>
        <pc:spChg chg="add del mod modVis">
          <ac:chgData name="Joelle Brehm" userId="a518f54c-6985-42c0-8041-2bb16a414839" providerId="ADAL" clId="{E88466E7-2243-47F6-9EAE-9BF9DD0649AD}" dt="2024-04-04T22:12:01.098" v="56620"/>
          <ac:spMkLst>
            <pc:docMk/>
            <pc:sldMk cId="3635637425" sldId="292"/>
            <ac:spMk id="59" creationId="{0713C2DF-284E-78DC-11D4-EC3E6163390C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59" creationId="{33AD81B8-2320-2D7E-7072-8A535A3723E0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60" creationId="{8AFF754E-1785-41DB-892C-A30765DCA565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2" creationId="{B125C311-465F-4AC5-EB84-B5381EDA3605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3" creationId="{ECAE7723-298F-FE7A-CD1A-F2E81AE9828A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4" creationId="{11EDED4D-D21C-B4E3-CB44-2028B14C2C1B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5" creationId="{2B920B9A-7B20-7EB6-754A-8DA1B0B20117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6" creationId="{DBD65C56-D4C9-9A39-588B-54DE33072D24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7" creationId="{5B0A404D-FFE5-E719-104B-CE211CD83858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8" creationId="{79A17AA7-567B-FEA2-5069-B1FE8054A105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69" creationId="{2EF8E60F-A5F0-E0F1-71DA-4851BC61124A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70" creationId="{DC6EE00E-24A2-1AC8-973B-F57E08250D73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71" creationId="{0A491886-14FF-44BD-156D-0665138316FA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72" creationId="{AFF5AA7B-9E38-476F-CB06-52F7F55B8AFD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73" creationId="{6D06321C-ABA9-6B7B-B9C3-61830933E7A0}"/>
          </ac:spMkLst>
        </pc:spChg>
        <pc:spChg chg="mod">
          <ac:chgData name="Joelle Brehm" userId="a518f54c-6985-42c0-8041-2bb16a414839" providerId="ADAL" clId="{E88466E7-2243-47F6-9EAE-9BF9DD0649AD}" dt="2024-04-22T22:09:08.511" v="81291"/>
          <ac:spMkLst>
            <pc:docMk/>
            <pc:sldMk cId="3635637425" sldId="292"/>
            <ac:spMk id="74" creationId="{1E5392BC-349C-45B4-8F81-52F83DA74F43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75" creationId="{A8B503D9-1C1C-E48D-9786-8F44DF773B62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76" creationId="{18E30065-1772-DAA2-A980-F0ED07865417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77" creationId="{09A8ED41-3E61-AD2A-CDB6-0D1C49B145E8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79" creationId="{F1476AC4-694B-4D83-BFD8-8DCAA4BB1923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0" creationId="{F0787269-6D5B-80F8-CAB3-6B1E87C3B313}"/>
          </ac:spMkLst>
        </pc:spChg>
        <pc:spChg chg="add mod rep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1" creationId="{B6747C1F-C5B7-F3C2-91E6-DAC8880D7AF6}"/>
          </ac:spMkLst>
        </pc:spChg>
        <pc:spChg chg="add del mod modVis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2" creationId="{8F8E2681-C795-CDC3-2D37-2376E6423032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3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4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5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6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7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8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89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0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1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2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3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4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5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6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7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8" creationId="{7CAA3B95-4C78-4122-BECA-B5FB0F3F3764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99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00" creationId="{8B5667AB-609C-4AEA-83B3-24E395C8F420}"/>
          </ac:spMkLst>
        </pc:spChg>
        <pc:spChg chg="add mod ord replST delST">
          <ac:chgData name="Joelle Brehm" userId="a518f54c-6985-42c0-8041-2bb16a414839" providerId="ADAL" clId="{E88466E7-2243-47F6-9EAE-9BF9DD0649AD}" dt="2024-04-22T22:08:11.321" v="78394"/>
          <ac:spMkLst>
            <pc:docMk/>
            <pc:sldMk cId="3635637425" sldId="292"/>
            <ac:spMk id="101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10" creationId="{76D5A471-E342-4112-9B61-678EA0C3F282}"/>
          </ac:spMkLst>
        </pc:spChg>
        <pc:spChg chg="add del mod modVis">
          <ac:chgData name="Joelle Brehm" userId="a518f54c-6985-42c0-8041-2bb16a414839" providerId="ADAL" clId="{E88466E7-2243-47F6-9EAE-9BF9DD0649AD}" dt="2024-04-22T22:08:20.462" v="79198"/>
          <ac:spMkLst>
            <pc:docMk/>
            <pc:sldMk cId="3635637425" sldId="292"/>
            <ac:spMk id="121" creationId="{64BB0AE5-623E-9C9C-D071-17F6DAABE74D}"/>
          </ac:spMkLst>
        </pc:spChg>
        <pc:spChg chg="add del mod replST">
          <ac:chgData name="Joelle Brehm" userId="a518f54c-6985-42c0-8041-2bb16a414839" providerId="ADAL" clId="{E88466E7-2243-47F6-9EAE-9BF9DD0649AD}" dt="2024-04-22T22:08:24.836" v="79250"/>
          <ac:spMkLst>
            <pc:docMk/>
            <pc:sldMk cId="3635637425" sldId="292"/>
            <ac:spMk id="122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22T22:08:24.913" v="79334"/>
          <ac:spMkLst>
            <pc:docMk/>
            <pc:sldMk cId="3635637425" sldId="292"/>
            <ac:spMk id="124" creationId="{3C1AE502-D020-967C-677F-426A183CC0EB}"/>
          </ac:spMkLst>
        </pc:spChg>
        <pc:spChg chg="add del mod modVis">
          <ac:chgData name="Joelle Brehm" userId="a518f54c-6985-42c0-8041-2bb16a414839" providerId="ADAL" clId="{E88466E7-2243-47F6-9EAE-9BF9DD0649AD}" dt="2024-04-22T22:08:27.680" v="79468"/>
          <ac:spMkLst>
            <pc:docMk/>
            <pc:sldMk cId="3635637425" sldId="292"/>
            <ac:spMk id="126" creationId="{424A4432-EEF2-D70F-D2CE-68B56C545786}"/>
          </ac:spMkLst>
        </pc:spChg>
        <pc:spChg chg="add del mod modVis">
          <ac:chgData name="Joelle Brehm" userId="a518f54c-6985-42c0-8041-2bb16a414839" providerId="ADAL" clId="{E88466E7-2243-47F6-9EAE-9BF9DD0649AD}" dt="2024-04-22T22:08:30.552" v="79602"/>
          <ac:spMkLst>
            <pc:docMk/>
            <pc:sldMk cId="3635637425" sldId="292"/>
            <ac:spMk id="128" creationId="{A12935E5-38B7-3E92-3170-2ACE0CE3DBE4}"/>
          </ac:spMkLst>
        </pc:spChg>
        <pc:spChg chg="add del mod modVis">
          <ac:chgData name="Joelle Brehm" userId="a518f54c-6985-42c0-8041-2bb16a414839" providerId="ADAL" clId="{E88466E7-2243-47F6-9EAE-9BF9DD0649AD}" dt="2024-04-22T22:08:33.716" v="79736"/>
          <ac:spMkLst>
            <pc:docMk/>
            <pc:sldMk cId="3635637425" sldId="292"/>
            <ac:spMk id="130" creationId="{056B4374-2182-3822-7CFF-970E00C1D8C0}"/>
          </ac:spMkLst>
        </pc:spChg>
        <pc:spChg chg="add del mod modVis">
          <ac:chgData name="Joelle Brehm" userId="a518f54c-6985-42c0-8041-2bb16a414839" providerId="ADAL" clId="{E88466E7-2243-47F6-9EAE-9BF9DD0649AD}" dt="2024-04-22T22:08:36.217" v="79887"/>
          <ac:spMkLst>
            <pc:docMk/>
            <pc:sldMk cId="3635637425" sldId="292"/>
            <ac:spMk id="132" creationId="{6DF5BBE9-634F-CE86-7810-43F43F3B7ABA}"/>
          </ac:spMkLst>
        </pc:spChg>
        <pc:spChg chg="mod">
          <ac:chgData name="Joelle Brehm" userId="a518f54c-6985-42c0-8041-2bb16a414839" providerId="ADAL" clId="{E88466E7-2243-47F6-9EAE-9BF9DD0649AD}" dt="2024-04-22T22:09:08.527" v="81325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22T22:09:08.528" v="81326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22T22:09:08.528" v="81327"/>
          <ac:spMkLst>
            <pc:docMk/>
            <pc:sldMk cId="3635637425" sldId="292"/>
            <ac:spMk id="136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22T22:08:44.642" v="80023"/>
          <ac:spMkLst>
            <pc:docMk/>
            <pc:sldMk cId="3635637425" sldId="292"/>
            <ac:spMk id="138" creationId="{F7BCDE7A-E653-2240-8E90-F5106A403A5D}"/>
          </ac:spMkLst>
        </pc:spChg>
        <pc:spChg chg="add del mod modVis">
          <ac:chgData name="Joelle Brehm" userId="a518f54c-6985-42c0-8041-2bb16a414839" providerId="ADAL" clId="{E88466E7-2243-47F6-9EAE-9BF9DD0649AD}" dt="2024-04-22T22:08:47.801" v="80236"/>
          <ac:spMkLst>
            <pc:docMk/>
            <pc:sldMk cId="3635637425" sldId="292"/>
            <ac:spMk id="140" creationId="{639DC0FC-C542-E9F9-78CC-FA13545D391A}"/>
          </ac:spMkLst>
        </pc:spChg>
        <pc:spChg chg="add del mod replST">
          <ac:chgData name="Joelle Brehm" userId="a518f54c-6985-42c0-8041-2bb16a414839" providerId="ADAL" clId="{E88466E7-2243-47F6-9EAE-9BF9DD0649AD}" dt="2024-04-22T22:08:58.501" v="80857"/>
          <ac:spMkLst>
            <pc:docMk/>
            <pc:sldMk cId="3635637425" sldId="292"/>
            <ac:spMk id="141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22T22:08:52.743" v="80625" actId="962"/>
          <ac:spMkLst>
            <pc:docMk/>
            <pc:sldMk cId="3635637425" sldId="292"/>
            <ac:spMk id="143" creationId="{0E0625DA-0D90-0B4B-2F0E-A8352230AD00}"/>
          </ac:spMkLst>
        </pc:spChg>
        <pc:spChg chg="add del mod modVis">
          <ac:chgData name="Joelle Brehm" userId="a518f54c-6985-42c0-8041-2bb16a414839" providerId="ADAL" clId="{E88466E7-2243-47F6-9EAE-9BF9DD0649AD}" dt="2024-04-22T22:08:52.696" v="80569" actId="962"/>
          <ac:spMkLst>
            <pc:docMk/>
            <pc:sldMk cId="3635637425" sldId="292"/>
            <ac:spMk id="145" creationId="{4A912E42-AE50-A663-3303-D8418AFD6625}"/>
          </ac:spMkLst>
        </pc:spChg>
        <pc:spChg chg="add del mod modVis">
          <ac:chgData name="Joelle Brehm" userId="a518f54c-6985-42c0-8041-2bb16a414839" providerId="ADAL" clId="{E88466E7-2243-47F6-9EAE-9BF9DD0649AD}" dt="2024-04-22T22:08:58.601" v="80954"/>
          <ac:spMkLst>
            <pc:docMk/>
            <pc:sldMk cId="3635637425" sldId="292"/>
            <ac:spMk id="147" creationId="{68230585-DA47-4DDD-33BE-342C4CADD815}"/>
          </ac:spMkLst>
        </pc:spChg>
        <pc:spChg chg="add del mod modVis">
          <ac:chgData name="Joelle Brehm" userId="a518f54c-6985-42c0-8041-2bb16a414839" providerId="ADAL" clId="{E88466E7-2243-47F6-9EAE-9BF9DD0649AD}" dt="2024-04-22T22:09:11.362" v="81531"/>
          <ac:spMkLst>
            <pc:docMk/>
            <pc:sldMk cId="3635637425" sldId="292"/>
            <ac:spMk id="149" creationId="{0DA07468-47BB-4A99-8411-4BC97808CCB7}"/>
          </ac:spMkLst>
        </pc:spChg>
        <pc:spChg chg="add del mod modVis">
          <ac:chgData name="Joelle Brehm" userId="a518f54c-6985-42c0-8041-2bb16a414839" providerId="ADAL" clId="{E88466E7-2243-47F6-9EAE-9BF9DD0649AD}" dt="2024-04-22T22:09:10.239" v="81398"/>
          <ac:spMkLst>
            <pc:docMk/>
            <pc:sldMk cId="3635637425" sldId="292"/>
            <ac:spMk id="151" creationId="{DF4B4188-4BBC-F8E5-C67E-10F0C42E4E6D}"/>
          </ac:spMkLst>
        </pc:spChg>
        <pc:spChg chg="mod">
          <ac:chgData name="Joelle Brehm" userId="a518f54c-6985-42c0-8041-2bb16a414839" providerId="ADAL" clId="{E88466E7-2243-47F6-9EAE-9BF9DD0649AD}" dt="2024-04-22T22:09:08.528" v="81328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E88466E7-2243-47F6-9EAE-9BF9DD0649AD}" dt="2024-04-22T22:09:08.530" v="81329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88466E7-2243-47F6-9EAE-9BF9DD0649AD}" dt="2024-04-22T22:09:11.362" v="81533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9:11.362" v="81531"/>
          <ac:graphicFrameMkLst>
            <pc:docMk/>
            <pc:sldMk cId="3635637425" sldId="292"/>
            <ac:graphicFrameMk id="8" creationId="{6BDCE70D-967C-0434-A614-F0B7524FCC11}"/>
          </ac:graphicFrameMkLst>
        </pc:graphicFrameChg>
        <pc:graphicFrameChg chg="del">
          <ac:chgData name="Joelle Brehm" userId="a518f54c-6985-42c0-8041-2bb16a414839" providerId="ADAL" clId="{E88466E7-2243-47F6-9EAE-9BF9DD0649AD}" dt="2024-04-04T22:11:15.903" v="55159"/>
          <ac:graphicFrameMkLst>
            <pc:docMk/>
            <pc:sldMk cId="3635637425" sldId="292"/>
            <ac:graphicFrameMk id="9" creationId="{4242B773-52FB-C80A-9820-085442CF433F}"/>
          </ac:graphicFrameMkLst>
        </pc:graphicFrameChg>
        <pc:graphicFrameChg chg="add del mod ord replST delST">
          <ac:chgData name="Joelle Brehm" userId="a518f54c-6985-42c0-8041-2bb16a414839" providerId="ADAL" clId="{E88466E7-2243-47F6-9EAE-9BF9DD0649AD}" dt="2024-04-22T22:08:17.211" v="78801"/>
          <ac:graphicFrameMkLst>
            <pc:docMk/>
            <pc:sldMk cId="3635637425" sldId="292"/>
            <ac:graphicFrameMk id="9" creationId="{6667DE8B-26E6-92C3-E73D-FA8166ED8B4B}"/>
          </ac:graphicFrameMkLst>
        </pc:graphicFrameChg>
        <pc:graphicFrameChg chg="add del mod ord replST delST">
          <ac:chgData name="Joelle Brehm" userId="a518f54c-6985-42c0-8041-2bb16a414839" providerId="ADAL" clId="{E88466E7-2243-47F6-9EAE-9BF9DD0649AD}" dt="2024-04-22T22:08:14.207" v="78535"/>
          <ac:graphicFrameMkLst>
            <pc:docMk/>
            <pc:sldMk cId="3635637425" sldId="292"/>
            <ac:graphicFrameMk id="35" creationId="{3C73842F-8D29-A763-E9FA-F090CC510404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1:46.245" v="55564"/>
          <ac:graphicFrameMkLst>
            <pc:docMk/>
            <pc:sldMk cId="3635637425" sldId="292"/>
            <ac:graphicFrameMk id="36" creationId="{F830D176-B9FC-3108-00AE-7F64622695BC}"/>
          </ac:graphicFrameMkLst>
        </pc:graphicFrameChg>
        <pc:graphicFrameChg chg="add del mod ord replST delST">
          <ac:chgData name="Joelle Brehm" userId="a518f54c-6985-42c0-8041-2bb16a414839" providerId="ADAL" clId="{E88466E7-2243-47F6-9EAE-9BF9DD0649AD}" dt="2024-04-22T22:08:11.776" v="78454"/>
          <ac:graphicFrameMkLst>
            <pc:docMk/>
            <pc:sldMk cId="3635637425" sldId="292"/>
            <ac:graphicFrameMk id="38" creationId="{B76A17EB-6F50-5A99-1AE6-562B88437DF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22T22:09:11.362" v="81531"/>
          <ac:graphicFrameMkLst>
            <pc:docMk/>
            <pc:sldMk cId="3635637425" sldId="292"/>
            <ac:graphicFrameMk id="42" creationId="{CF59C0C8-DA85-3617-7456-02E198EF0AC9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2:11:52.458" v="56021"/>
          <ac:graphicFrameMkLst>
            <pc:docMk/>
            <pc:sldMk cId="3635637425" sldId="292"/>
            <ac:graphicFrameMk id="51" creationId="{257291E9-0F90-B940-AA5C-099D2DDC491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1:55.028" v="56198"/>
          <ac:graphicFrameMkLst>
            <pc:docMk/>
            <pc:sldMk cId="3635637425" sldId="292"/>
            <ac:graphicFrameMk id="53" creationId="{62DAEBDB-5FC8-6DD6-128B-C831C94483F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1:57.934" v="56399"/>
          <ac:graphicFrameMkLst>
            <pc:docMk/>
            <pc:sldMk cId="3635637425" sldId="292"/>
            <ac:graphicFrameMk id="55" creationId="{09BAB606-A2AB-93EF-7484-AA5FC4433CB9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2:11:38.298" v="55436"/>
          <ac:graphicFrameMkLst>
            <pc:docMk/>
            <pc:sldMk cId="3635637425" sldId="292"/>
            <ac:graphicFrameMk id="56" creationId="{E5C63175-1D82-926A-FDCF-24811E9A16E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2:01.045" v="56538"/>
          <ac:graphicFrameMkLst>
            <pc:docMk/>
            <pc:sldMk cId="3635637425" sldId="292"/>
            <ac:graphicFrameMk id="58" creationId="{C4CC181B-9291-C41E-71A5-FAD38FF9007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20.377" v="79102"/>
          <ac:graphicFrameMkLst>
            <pc:docMk/>
            <pc:sldMk cId="3635637425" sldId="292"/>
            <ac:graphicFrameMk id="61" creationId="{A399E22B-090F-0D72-FDB4-816A42006E54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22T22:08:11.321" v="78394"/>
          <ac:graphicFrameMkLst>
            <pc:docMk/>
            <pc:sldMk cId="3635637425" sldId="292"/>
            <ac:graphicFrameMk id="120" creationId="{41A6EB71-B942-E5BB-3331-0163C72AD96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24.836" v="79252"/>
          <ac:graphicFrameMkLst>
            <pc:docMk/>
            <pc:sldMk cId="3635637425" sldId="292"/>
            <ac:graphicFrameMk id="123" creationId="{80707CA8-BB72-79C5-3264-F4B09FD87F3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27.615" v="79386"/>
          <ac:graphicFrameMkLst>
            <pc:docMk/>
            <pc:sldMk cId="3635637425" sldId="292"/>
            <ac:graphicFrameMk id="125" creationId="{1A44AA01-CE6C-2CEC-5239-5585C821EC0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30.504" v="79520"/>
          <ac:graphicFrameMkLst>
            <pc:docMk/>
            <pc:sldMk cId="3635637425" sldId="292"/>
            <ac:graphicFrameMk id="127" creationId="{84EEDEBE-4A42-0776-FA4C-FEB683EB4D1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33.634" v="79654"/>
          <ac:graphicFrameMkLst>
            <pc:docMk/>
            <pc:sldMk cId="3635637425" sldId="292"/>
            <ac:graphicFrameMk id="129" creationId="{AF071AAE-ACA0-C597-BD5B-A42249C84200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36.130" v="79803"/>
          <ac:graphicFrameMkLst>
            <pc:docMk/>
            <pc:sldMk cId="3635637425" sldId="292"/>
            <ac:graphicFrameMk id="131" creationId="{68BBEBA2-111E-2A47-3FE0-01F2A00E8E4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44.579" v="79941"/>
          <ac:graphicFrameMkLst>
            <pc:docMk/>
            <pc:sldMk cId="3635637425" sldId="292"/>
            <ac:graphicFrameMk id="137" creationId="{E709001B-DBF7-D4F0-A5B9-4DB7C3E7DB75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47.721" v="80140"/>
          <ac:graphicFrameMkLst>
            <pc:docMk/>
            <pc:sldMk cId="3635637425" sldId="292"/>
            <ac:graphicFrameMk id="139" creationId="{EA7F8348-E305-9DFC-68CE-BAF735211E0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8:58.501" v="80859"/>
          <ac:graphicFrameMkLst>
            <pc:docMk/>
            <pc:sldMk cId="3635637425" sldId="292"/>
            <ac:graphicFrameMk id="142" creationId="{2BE0F2C3-FC13-AF0C-6923-6308D488BD66}"/>
          </ac:graphicFrameMkLst>
        </pc:graphicFrameChg>
        <pc:graphicFrameChg chg="add del mod ord replST delST">
          <ac:chgData name="Joelle Brehm" userId="a518f54c-6985-42c0-8041-2bb16a414839" providerId="ADAL" clId="{E88466E7-2243-47F6-9EAE-9BF9DD0649AD}" dt="2024-04-22T22:08:52.711" v="80594" actId="1076"/>
          <ac:graphicFrameMkLst>
            <pc:docMk/>
            <pc:sldMk cId="3635637425" sldId="292"/>
            <ac:graphicFrameMk id="144" creationId="{2BD64669-6EB6-25AA-584F-029C72F97CD3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22T22:08:52.664" v="80538" actId="1076"/>
          <ac:graphicFrameMkLst>
            <pc:docMk/>
            <pc:sldMk cId="3635637425" sldId="292"/>
            <ac:graphicFrameMk id="146" creationId="{6A0F2105-8928-4A82-0A2A-7681891E9A24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22T22:09:11.362" v="81531"/>
          <ac:graphicFrameMkLst>
            <pc:docMk/>
            <pc:sldMk cId="3635637425" sldId="292"/>
            <ac:graphicFrameMk id="148" creationId="{6307384F-F428-EDB3-BFB9-C2B3AB515E17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22T22:09:11.362" v="81531"/>
          <ac:graphicFrameMkLst>
            <pc:docMk/>
            <pc:sldMk cId="3635637425" sldId="292"/>
            <ac:graphicFrameMk id="150" creationId="{6EB9E1D0-D09E-A401-B5F8-57E6C17CEA85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22T22:09:10.239" v="81398"/>
          <ac:graphicFrameMkLst>
            <pc:docMk/>
            <pc:sldMk cId="3635637425" sldId="292"/>
            <ac:graphicFrameMk id="152" creationId="{D2013A9B-9839-5133-C526-4FCD2BAE3082}"/>
          </ac:graphicFrameMkLst>
        </pc:graphicFrameChg>
        <pc:picChg chg="add mod ord">
          <ac:chgData name="Joelle Brehm" userId="a518f54c-6985-42c0-8041-2bb16a414839" providerId="ADAL" clId="{E88466E7-2243-47F6-9EAE-9BF9DD0649AD}" dt="2024-04-22T22:12:35.615" v="81535" actId="1076"/>
          <ac:picMkLst>
            <pc:docMk/>
            <pc:sldMk cId="3635637425" sldId="292"/>
            <ac:picMk id="10" creationId="{80E47554-C153-BC7A-09F0-37413CF7DD47}"/>
          </ac:picMkLst>
        </pc:picChg>
        <pc:picChg chg="del mod ord">
          <ac:chgData name="Joelle Brehm" userId="a518f54c-6985-42c0-8041-2bb16a414839" providerId="ADAL" clId="{E88466E7-2243-47F6-9EAE-9BF9DD0649AD}" dt="2024-04-04T22:11:30.520" v="55332" actId="478"/>
          <ac:picMkLst>
            <pc:docMk/>
            <pc:sldMk cId="3635637425" sldId="292"/>
            <ac:picMk id="31" creationId="{8EE05E45-CDAD-2477-0B22-5D3E0D4B5A8E}"/>
          </ac:picMkLst>
        </pc:picChg>
        <pc:picChg chg="mod ord">
          <ac:chgData name="Joelle Brehm" userId="a518f54c-6985-42c0-8041-2bb16a414839" providerId="ADAL" clId="{E88466E7-2243-47F6-9EAE-9BF9DD0649AD}" dt="2024-04-22T22:09:11.362" v="81531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88466E7-2243-47F6-9EAE-9BF9DD0649AD}" dt="2024-04-22T22:09:11.362" v="81531"/>
          <ac:cxnSpMkLst>
            <pc:docMk/>
            <pc:sldMk cId="3635637425" sldId="292"/>
            <ac:cxnSpMk id="7" creationId="{81C3ADD2-FBA2-4990-9325-1C3084F656B8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02" creationId="{8B98B864-7CA6-73D2-7F73-34463BE47E84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03" creationId="{002BE700-FA0D-E804-38FE-BAD9B877BF4F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04" creationId="{D5DE4251-A676-CB49-E341-59C0DDDA7257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05" creationId="{C8AAB486-04A8-651E-1883-814F055175C4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06" creationId="{907E1420-34E1-7078-674A-701786051C36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07" creationId="{D53664A0-099C-3801-AF46-1E5AE5E94DD3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1" creationId="{CF23D2C4-B764-8D0B-A982-F2B078A8339C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2" creationId="{7260C94A-ACCD-0CCC-5B7E-012D7E790EE8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3" creationId="{78414C8A-0FAE-A535-FAB4-8514BBAADEF4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4" creationId="{2F5DD69F-5C93-2954-EB6A-E66BC3128F79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5" creationId="{0B1008C8-31E4-FBF7-83A0-880567B0A8BF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6" creationId="{E47594D6-5778-6AE0-15E8-A714A5ED78C1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7" creationId="{31F0F01F-5A4F-AA35-610C-1CAEC731143A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8" creationId="{502C3839-E70A-2BF0-008A-EE1222F11DEA}"/>
          </ac:cxnSpMkLst>
        </pc:cxnChg>
        <pc:cxnChg chg="add mod ord replST delST">
          <ac:chgData name="Joelle Brehm" userId="a518f54c-6985-42c0-8041-2bb16a414839" providerId="ADAL" clId="{E88466E7-2243-47F6-9EAE-9BF9DD0649AD}" dt="2024-04-22T22:08:11.321" v="78394"/>
          <ac:cxnSpMkLst>
            <pc:docMk/>
            <pc:sldMk cId="3635637425" sldId="292"/>
            <ac:cxnSpMk id="119" creationId="{E18AC926-3D51-DBB8-54BD-ADEDA82CFFFE}"/>
          </ac:cxnSpMkLst>
        </pc:cxnChg>
        <pc:cxnChg chg="add del mod ord replST">
          <ac:chgData name="Joelle Brehm" userId="a518f54c-6985-42c0-8041-2bb16a414839" providerId="ADAL" clId="{E88466E7-2243-47F6-9EAE-9BF9DD0649AD}" dt="2024-04-22T22:08:44.579" v="79939"/>
          <ac:cxnSpMkLst>
            <pc:docMk/>
            <pc:sldMk cId="3635637425" sldId="292"/>
            <ac:cxnSpMk id="134" creationId="{59A952E9-2F0E-47FA-F99C-7E43615BF4DE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10T15:21:29.925" v="63783"/>
        <pc:sldMkLst>
          <pc:docMk/>
          <pc:sldMk cId="4143996880" sldId="293"/>
        </pc:sldMkLst>
        <pc:spChg chg="mod ord">
          <ac:chgData name="Joelle Brehm" userId="a518f54c-6985-42c0-8041-2bb16a414839" providerId="ADAL" clId="{E88466E7-2243-47F6-9EAE-9BF9DD0649AD}" dt="2024-04-10T15:21:29.891" v="63775"/>
          <ac:spMkLst>
            <pc:docMk/>
            <pc:sldMk cId="4143996880" sldId="293"/>
            <ac:spMk id="2" creationId="{01E014B2-1FBF-48C6-9093-6CFE20AFFCCE}"/>
          </ac:spMkLst>
        </pc:spChg>
        <pc:spChg chg="mod ord">
          <ac:chgData name="Joelle Brehm" userId="a518f54c-6985-42c0-8041-2bb16a414839" providerId="ADAL" clId="{E88466E7-2243-47F6-9EAE-9BF9DD0649AD}" dt="2024-04-10T15:21:29.876" v="63750"/>
          <ac:spMkLst>
            <pc:docMk/>
            <pc:sldMk cId="4143996880" sldId="29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E88466E7-2243-47F6-9EAE-9BF9DD0649AD}" dt="2024-04-10T15:21:29.894" v="63781"/>
          <ac:spMkLst>
            <pc:docMk/>
            <pc:sldMk cId="4143996880" sldId="293"/>
            <ac:spMk id="6" creationId="{908BCACD-0AA8-F448-5B44-EBEF2F55D310}"/>
          </ac:spMkLst>
        </pc:spChg>
        <pc:spChg chg="add del mod ord">
          <ac:chgData name="Joelle Brehm" userId="a518f54c-6985-42c0-8041-2bb16a414839" providerId="ADAL" clId="{E88466E7-2243-47F6-9EAE-9BF9DD0649AD}" dt="2024-04-10T15:10:43.805" v="63481" actId="478"/>
          <ac:spMkLst>
            <pc:docMk/>
            <pc:sldMk cId="4143996880" sldId="293"/>
            <ac:spMk id="6" creationId="{CDF782B2-0C77-BCF9-9AB9-B64D3897EEB4}"/>
          </ac:spMkLst>
        </pc:spChg>
        <pc:spChg chg="mod ord">
          <ac:chgData name="Joelle Brehm" userId="a518f54c-6985-42c0-8041-2bb16a414839" providerId="ADAL" clId="{E88466E7-2243-47F6-9EAE-9BF9DD0649AD}" dt="2024-04-10T15:21:29.891" v="63777"/>
          <ac:spMkLst>
            <pc:docMk/>
            <pc:sldMk cId="4143996880" sldId="293"/>
            <ac:spMk id="7" creationId="{4565A035-FE13-20EE-FA55-3EF1907FA676}"/>
          </ac:spMkLst>
        </pc:spChg>
        <pc:spChg chg="mod">
          <ac:chgData name="Joelle Brehm" userId="a518f54c-6985-42c0-8041-2bb16a414839" providerId="ADAL" clId="{E88466E7-2243-47F6-9EAE-9BF9DD0649AD}" dt="2024-04-10T15:21:29.881" v="63759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E88466E7-2243-47F6-9EAE-9BF9DD0649AD}" dt="2024-04-10T15:21:29.879" v="63755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E88466E7-2243-47F6-9EAE-9BF9DD0649AD}" dt="2024-04-10T15:21:29.877" v="63753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E88466E7-2243-47F6-9EAE-9BF9DD0649AD}" dt="2024-04-10T15:21:29.878" v="63754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E88466E7-2243-47F6-9EAE-9BF9DD0649AD}" dt="2024-04-10T15:21:29.879" v="63756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E88466E7-2243-47F6-9EAE-9BF9DD0649AD}" dt="2024-04-10T15:21:29.883" v="63762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E88466E7-2243-47F6-9EAE-9BF9DD0649AD}" dt="2024-04-10T15:21:29.880" v="63757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E88466E7-2243-47F6-9EAE-9BF9DD0649AD}" dt="2024-04-10T15:21:29.882" v="63760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E88466E7-2243-47F6-9EAE-9BF9DD0649AD}" dt="2024-04-10T15:21:29.881" v="63758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E88466E7-2243-47F6-9EAE-9BF9DD0649AD}" dt="2024-04-10T15:21:29.882" v="63761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E88466E7-2243-47F6-9EAE-9BF9DD0649AD}" dt="2024-04-10T15:21:29.884" v="63763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E88466E7-2243-47F6-9EAE-9BF9DD0649AD}" dt="2024-04-10T15:21:29.884" v="63764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E88466E7-2243-47F6-9EAE-9BF9DD0649AD}" dt="2024-04-10T15:21:29.885" v="63766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E88466E7-2243-47F6-9EAE-9BF9DD0649AD}" dt="2024-04-10T15:21:29.886" v="63768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E88466E7-2243-47F6-9EAE-9BF9DD0649AD}" dt="2024-04-03T22:11:38.957" v="756"/>
          <ac:spMkLst>
            <pc:docMk/>
            <pc:sldMk cId="4143996880" sldId="293"/>
            <ac:spMk id="24" creationId="{DDE78F7A-9F4F-3032-E2F0-52DD7B326931}"/>
          </ac:spMkLst>
        </pc:spChg>
        <pc:spChg chg="mod ord">
          <ac:chgData name="Joelle Brehm" userId="a518f54c-6985-42c0-8041-2bb16a414839" providerId="ADAL" clId="{E88466E7-2243-47F6-9EAE-9BF9DD0649AD}" dt="2024-04-10T15:21:29.887" v="63770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E88466E7-2243-47F6-9EAE-9BF9DD0649AD}" dt="2024-04-10T15:21:29.888" v="63772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E88466E7-2243-47F6-9EAE-9BF9DD0649AD}" dt="2024-04-10T15:21:29.925" v="63783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3T22:11:38.919" v="713"/>
          <ac:graphicFrameMkLst>
            <pc:docMk/>
            <pc:sldMk cId="4143996880" sldId="293"/>
            <ac:graphicFrameMk id="22" creationId="{2CD83285-C523-6FDC-3BC3-E0BB203B7354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21:29.877" v="63752"/>
          <ac:graphicFrameMkLst>
            <pc:docMk/>
            <pc:sldMk cId="4143996880" sldId="293"/>
            <ac:graphicFrameMk id="24" creationId="{92F26A34-9F9E-19CD-A790-ECFFC93489F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1:29.836" v="63738"/>
          <ac:graphicFrameMkLst>
            <pc:docMk/>
            <pc:sldMk cId="4143996880" sldId="293"/>
            <ac:graphicFrameMk id="25" creationId="{6DC6FEF5-CBD1-E915-208E-45FF188EDE4C}"/>
          </ac:graphicFrameMkLst>
        </pc:graphicFrameChg>
        <pc:picChg chg="add del mod ord">
          <ac:chgData name="Joelle Brehm" userId="a518f54c-6985-42c0-8041-2bb16a414839" providerId="ADAL" clId="{E88466E7-2243-47F6-9EAE-9BF9DD0649AD}" dt="2024-04-10T15:10:41.167" v="63480" actId="478"/>
          <ac:picMkLst>
            <pc:docMk/>
            <pc:sldMk cId="4143996880" sldId="293"/>
            <ac:picMk id="3" creationId="{95AA6BAE-1D2D-F82C-9FA3-543FF7D62A1D}"/>
          </ac:picMkLst>
        </pc:picChg>
        <pc:picChg chg="add mod ord">
          <ac:chgData name="Joelle Brehm" userId="a518f54c-6985-42c0-8041-2bb16a414839" providerId="ADAL" clId="{E88466E7-2243-47F6-9EAE-9BF9DD0649AD}" dt="2024-04-10T15:21:29.874" v="63746"/>
          <ac:picMkLst>
            <pc:docMk/>
            <pc:sldMk cId="4143996880" sldId="293"/>
            <ac:picMk id="3" creationId="{9B11BCD5-BEF9-2061-41CD-8FEE02DFC75B}"/>
          </ac:picMkLst>
        </pc:picChg>
        <pc:picChg chg="add del mod">
          <ac:chgData name="Joelle Brehm" userId="a518f54c-6985-42c0-8041-2bb16a414839" providerId="ADAL" clId="{E88466E7-2243-47F6-9EAE-9BF9DD0649AD}" dt="2024-04-10T15:13:43.708" v="63487" actId="478"/>
          <ac:picMkLst>
            <pc:docMk/>
            <pc:sldMk cId="4143996880" sldId="293"/>
            <ac:picMk id="3" creationId="{BBD68839-64CD-C31F-1AA6-954BA2924B2B}"/>
          </ac:picMkLst>
        </pc:picChg>
        <pc:picChg chg="del mod ord">
          <ac:chgData name="Joelle Brehm" userId="a518f54c-6985-42c0-8041-2bb16a414839" providerId="ADAL" clId="{E88466E7-2243-47F6-9EAE-9BF9DD0649AD}" dt="2024-04-03T22:14:16.108" v="808" actId="478"/>
          <ac:picMkLst>
            <pc:docMk/>
            <pc:sldMk cId="4143996880" sldId="293"/>
            <ac:picMk id="6" creationId="{4C261C3F-9AE0-CB99-79F0-DA8D76F4627E}"/>
          </ac:picMkLst>
        </pc:picChg>
        <pc:picChg chg="add del mod ord">
          <ac:chgData name="Joelle Brehm" userId="a518f54c-6985-42c0-8041-2bb16a414839" providerId="ADAL" clId="{E88466E7-2243-47F6-9EAE-9BF9DD0649AD}" dt="2024-04-10T15:21:16.306" v="63531" actId="478"/>
          <ac:picMkLst>
            <pc:docMk/>
            <pc:sldMk cId="4143996880" sldId="293"/>
            <ac:picMk id="22" creationId="{C12F0A38-C2C2-7AA0-3FB8-34E546789BEB}"/>
          </ac:picMkLst>
        </pc:picChg>
        <pc:picChg chg="del mod ord">
          <ac:chgData name="Joelle Brehm" userId="a518f54c-6985-42c0-8041-2bb16a414839" providerId="ADAL" clId="{E88466E7-2243-47F6-9EAE-9BF9DD0649AD}" dt="2024-04-03T22:05:33.925" v="505" actId="478"/>
          <ac:picMkLst>
            <pc:docMk/>
            <pc:sldMk cId="4143996880" sldId="293"/>
            <ac:picMk id="23" creationId="{1590F1F0-E00A-91F5-BC6E-F302284D3B81}"/>
          </ac:picMkLst>
        </pc:picChg>
        <pc:picChg chg="add mod ord">
          <ac:chgData name="Joelle Brehm" userId="a518f54c-6985-42c0-8041-2bb16a414839" providerId="ADAL" clId="{E88466E7-2243-47F6-9EAE-9BF9DD0649AD}" dt="2024-04-10T15:21:29.875" v="63748"/>
          <ac:picMkLst>
            <pc:docMk/>
            <pc:sldMk cId="4143996880" sldId="293"/>
            <ac:picMk id="23" creationId="{B13D46A7-4602-2E01-4BC1-376A1530D703}"/>
          </ac:picMkLst>
        </pc:picChg>
        <pc:picChg chg="add del mod">
          <ac:chgData name="Joelle Brehm" userId="a518f54c-6985-42c0-8041-2bb16a414839" providerId="ADAL" clId="{E88466E7-2243-47F6-9EAE-9BF9DD0649AD}" dt="2024-04-10T15:11:05.419" v="63484" actId="478"/>
          <ac:picMkLst>
            <pc:docMk/>
            <pc:sldMk cId="4143996880" sldId="293"/>
            <ac:picMk id="24" creationId="{A01EBF78-FFD5-27BC-F769-462782FD85A9}"/>
          </ac:picMkLst>
        </pc:picChg>
        <pc:picChg chg="add del mod">
          <ac:chgData name="Joelle Brehm" userId="a518f54c-6985-42c0-8041-2bb16a414839" providerId="ADAL" clId="{E88466E7-2243-47F6-9EAE-9BF9DD0649AD}" dt="2024-04-03T22:12:20.761" v="762" actId="478"/>
          <ac:picMkLst>
            <pc:docMk/>
            <pc:sldMk cId="4143996880" sldId="293"/>
            <ac:picMk id="26" creationId="{D8794406-29F1-6636-B06E-8EF7E0B043B7}"/>
          </ac:picMkLst>
        </pc:picChg>
        <pc:picChg chg="mod">
          <ac:chgData name="Joelle Brehm" userId="a518f54c-6985-42c0-8041-2bb16a414839" providerId="ADAL" clId="{E88466E7-2243-47F6-9EAE-9BF9DD0649AD}" dt="2024-04-10T15:21:29.889" v="63773"/>
          <ac:picMkLst>
            <pc:docMk/>
            <pc:sldMk cId="4143996880" sldId="293"/>
            <ac:picMk id="4102" creationId="{F65C5540-5DEB-43C2-92ED-6CE11E7350FD}"/>
          </ac:picMkLst>
        </pc:picChg>
      </pc:sldChg>
      <pc:sldChg chg="modSp mod">
        <pc:chgData name="Joelle Brehm" userId="a518f54c-6985-42c0-8041-2bb16a414839" providerId="ADAL" clId="{E88466E7-2243-47F6-9EAE-9BF9DD0649AD}" dt="2024-04-10T16:06:05.928" v="73325" actId="20577"/>
        <pc:sldMkLst>
          <pc:docMk/>
          <pc:sldMk cId="1958469684" sldId="294"/>
        </pc:sldMkLst>
        <pc:spChg chg="mod">
          <ac:chgData name="Joelle Brehm" userId="a518f54c-6985-42c0-8041-2bb16a414839" providerId="ADAL" clId="{E88466E7-2243-47F6-9EAE-9BF9DD0649AD}" dt="2024-04-10T16:05:31.832" v="73295" actId="554"/>
          <ac:spMkLst>
            <pc:docMk/>
            <pc:sldMk cId="1958469684" sldId="294"/>
            <ac:spMk id="7" creationId="{51E2C65D-B485-4A8E-B9D3-B9B0B3778A68}"/>
          </ac:spMkLst>
        </pc:spChg>
        <pc:spChg chg="mod">
          <ac:chgData name="Joelle Brehm" userId="a518f54c-6985-42c0-8041-2bb16a414839" providerId="ADAL" clId="{E88466E7-2243-47F6-9EAE-9BF9DD0649AD}" dt="2024-04-10T16:06:05.928" v="73325" actId="20577"/>
          <ac:spMkLst>
            <pc:docMk/>
            <pc:sldMk cId="1958469684" sldId="294"/>
            <ac:spMk id="9" creationId="{69B02446-E7CD-4AE5-9EF3-A1D1E490EA5B}"/>
          </ac:spMkLst>
        </pc:spChg>
      </pc:sldChg>
      <pc:sldChg chg="addSp delSp modSp mod">
        <pc:chgData name="Joelle Brehm" userId="a518f54c-6985-42c0-8041-2bb16a414839" providerId="ADAL" clId="{E88466E7-2243-47F6-9EAE-9BF9DD0649AD}" dt="2024-04-04T16:13:32.301" v="10886" actId="478"/>
        <pc:sldMkLst>
          <pc:docMk/>
          <pc:sldMk cId="77660323" sldId="295"/>
        </pc:sldMkLst>
        <pc:spChg chg="add del mod">
          <ac:chgData name="Joelle Brehm" userId="a518f54c-6985-42c0-8041-2bb16a414839" providerId="ADAL" clId="{E88466E7-2243-47F6-9EAE-9BF9DD0649AD}" dt="2024-04-04T16:11:09.921" v="809" actId="478"/>
          <ac:spMkLst>
            <pc:docMk/>
            <pc:sldMk cId="77660323" sldId="295"/>
            <ac:spMk id="2" creationId="{D27F9455-E54E-3785-F639-0154DA68A851}"/>
          </ac:spMkLst>
        </pc:spChg>
        <pc:spChg chg="mod ord">
          <ac:chgData name="Joelle Brehm" userId="a518f54c-6985-42c0-8041-2bb16a414839" providerId="ADAL" clId="{E88466E7-2243-47F6-9EAE-9BF9DD0649AD}" dt="2024-04-04T16:13:30.281" v="10774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E88466E7-2243-47F6-9EAE-9BF9DD0649AD}" dt="2024-04-04T16:13:30.281" v="10794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E88466E7-2243-47F6-9EAE-9BF9DD0649AD}" dt="2024-04-04T16:13:30.281" v="10795"/>
          <ac:spMkLst>
            <pc:docMk/>
            <pc:sldMk cId="77660323" sldId="295"/>
            <ac:spMk id="7" creationId="{AC248985-01B4-CD8C-E025-DF4D35603919}"/>
          </ac:spMkLst>
        </pc:spChg>
        <pc:spChg chg="mod">
          <ac:chgData name="Joelle Brehm" userId="a518f54c-6985-42c0-8041-2bb16a414839" providerId="ADAL" clId="{E88466E7-2243-47F6-9EAE-9BF9DD0649AD}" dt="2024-04-04T16:13:30.281" v="10799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E88466E7-2243-47F6-9EAE-9BF9DD0649AD}" dt="2024-04-04T16:13:30.281" v="10798"/>
          <ac:spMkLst>
            <pc:docMk/>
            <pc:sldMk cId="77660323" sldId="295"/>
            <ac:spMk id="9" creationId="{5B920F75-31B6-8B4B-7E2C-665E8C04F047}"/>
          </ac:spMkLst>
        </pc:spChg>
        <pc:spChg chg="mod">
          <ac:chgData name="Joelle Brehm" userId="a518f54c-6985-42c0-8041-2bb16a414839" providerId="ADAL" clId="{E88466E7-2243-47F6-9EAE-9BF9DD0649AD}" dt="2024-04-04T16:13:30.281" v="10800"/>
          <ac:spMkLst>
            <pc:docMk/>
            <pc:sldMk cId="77660323" sldId="295"/>
            <ac:spMk id="10" creationId="{99AAF5F5-7487-DDF7-D317-1B4F799ACEB6}"/>
          </ac:spMkLst>
        </pc:spChg>
        <pc:spChg chg="mod">
          <ac:chgData name="Joelle Brehm" userId="a518f54c-6985-42c0-8041-2bb16a414839" providerId="ADAL" clId="{E88466E7-2243-47F6-9EAE-9BF9DD0649AD}" dt="2024-04-04T16:13:30.281" v="10797"/>
          <ac:spMkLst>
            <pc:docMk/>
            <pc:sldMk cId="77660323" sldId="295"/>
            <ac:spMk id="11" creationId="{4D142ECA-E2D8-9285-6C24-1D82A2038821}"/>
          </ac:spMkLst>
        </pc:spChg>
        <pc:spChg chg="mod">
          <ac:chgData name="Joelle Brehm" userId="a518f54c-6985-42c0-8041-2bb16a414839" providerId="ADAL" clId="{E88466E7-2243-47F6-9EAE-9BF9DD0649AD}" dt="2024-04-04T16:13:30.281" v="10801"/>
          <ac:spMkLst>
            <pc:docMk/>
            <pc:sldMk cId="77660323" sldId="295"/>
            <ac:spMk id="12" creationId="{9794817C-34B2-68B8-0BC6-DDDED5C00595}"/>
          </ac:spMkLst>
        </pc:spChg>
        <pc:spChg chg="mod">
          <ac:chgData name="Joelle Brehm" userId="a518f54c-6985-42c0-8041-2bb16a414839" providerId="ADAL" clId="{E88466E7-2243-47F6-9EAE-9BF9DD0649AD}" dt="2024-04-04T16:13:30.281" v="10802"/>
          <ac:spMkLst>
            <pc:docMk/>
            <pc:sldMk cId="77660323" sldId="295"/>
            <ac:spMk id="13" creationId="{806F2968-42A3-483A-337A-D0AE86BE93FB}"/>
          </ac:spMkLst>
        </pc:spChg>
        <pc:spChg chg="mod">
          <ac:chgData name="Joelle Brehm" userId="a518f54c-6985-42c0-8041-2bb16a414839" providerId="ADAL" clId="{E88466E7-2243-47F6-9EAE-9BF9DD0649AD}" dt="2024-04-04T16:13:30.281" v="10803"/>
          <ac:spMkLst>
            <pc:docMk/>
            <pc:sldMk cId="77660323" sldId="295"/>
            <ac:spMk id="14" creationId="{0C8E4B72-72C6-60A2-4BA2-FBC70AE3CCF2}"/>
          </ac:spMkLst>
        </pc:spChg>
        <pc:spChg chg="del mod">
          <ac:chgData name="Joelle Brehm" userId="a518f54c-6985-42c0-8041-2bb16a414839" providerId="ADAL" clId="{E88466E7-2243-47F6-9EAE-9BF9DD0649AD}" dt="2024-04-04T16:11:37.411" v="2763"/>
          <ac:spMkLst>
            <pc:docMk/>
            <pc:sldMk cId="77660323" sldId="295"/>
            <ac:spMk id="15" creationId="{27258EE9-1FF7-FE0C-8AAD-1E026430A115}"/>
          </ac:spMkLst>
        </pc:spChg>
        <pc:spChg chg="del mod">
          <ac:chgData name="Joelle Brehm" userId="a518f54c-6985-42c0-8041-2bb16a414839" providerId="ADAL" clId="{E88466E7-2243-47F6-9EAE-9BF9DD0649AD}" dt="2024-04-04T16:11:37.411" v="2764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E88466E7-2243-47F6-9EAE-9BF9DD0649AD}" dt="2024-04-04T16:13:30.281" v="10796"/>
          <ac:spMkLst>
            <pc:docMk/>
            <pc:sldMk cId="77660323" sldId="295"/>
            <ac:spMk id="17" creationId="{521229FB-0801-C7EF-5E13-8F0309A61A17}"/>
          </ac:spMkLst>
        </pc:spChg>
        <pc:spChg chg="add mod replST">
          <ac:chgData name="Joelle Brehm" userId="a518f54c-6985-42c0-8041-2bb16a414839" providerId="ADAL" clId="{E88466E7-2243-47F6-9EAE-9BF9DD0649AD}" dt="2024-04-04T16:13:30.296" v="10805"/>
          <ac:spMkLst>
            <pc:docMk/>
            <pc:sldMk cId="77660323" sldId="295"/>
            <ac:spMk id="18" creationId="{900F32F0-5773-0038-DB6B-BB38F63C4BEE}"/>
          </ac:spMkLst>
        </pc:spChg>
        <pc:spChg chg="mod">
          <ac:chgData name="Joelle Brehm" userId="a518f54c-6985-42c0-8041-2bb16a414839" providerId="ADAL" clId="{E88466E7-2243-47F6-9EAE-9BF9DD0649AD}" dt="2024-04-04T16:13:30.281" v="10804"/>
          <ac:spMkLst>
            <pc:docMk/>
            <pc:sldMk cId="77660323" sldId="295"/>
            <ac:spMk id="19" creationId="{E532CFC3-942F-0097-1AFF-537E14B8E55A}"/>
          </ac:spMkLst>
        </pc:spChg>
        <pc:spChg chg="add del mod modVis">
          <ac:chgData name="Joelle Brehm" userId="a518f54c-6985-42c0-8041-2bb16a414839" providerId="ADAL" clId="{E88466E7-2243-47F6-9EAE-9BF9DD0649AD}" dt="2024-04-04T16:11:16.665" v="1188"/>
          <ac:spMkLst>
            <pc:docMk/>
            <pc:sldMk cId="77660323" sldId="295"/>
            <ac:spMk id="20" creationId="{9ACF9DD2-688A-298B-8911-3C22FDBB6FEA}"/>
          </ac:spMkLst>
        </pc:spChg>
        <pc:spChg chg="add del mod modVis">
          <ac:chgData name="Joelle Brehm" userId="a518f54c-6985-42c0-8041-2bb16a414839" providerId="ADAL" clId="{E88466E7-2243-47F6-9EAE-9BF9DD0649AD}" dt="2024-04-04T16:11:18.390" v="1453"/>
          <ac:spMkLst>
            <pc:docMk/>
            <pc:sldMk cId="77660323" sldId="295"/>
            <ac:spMk id="22" creationId="{7ACBA3A4-ABF2-EDBF-225D-092101D6B95E}"/>
          </ac:spMkLst>
        </pc:spChg>
        <pc:spChg chg="mod">
          <ac:chgData name="Joelle Brehm" userId="a518f54c-6985-42c0-8041-2bb16a414839" providerId="ADAL" clId="{E88466E7-2243-47F6-9EAE-9BF9DD0649AD}" dt="2024-04-04T16:13:30.281" v="10789"/>
          <ac:spMkLst>
            <pc:docMk/>
            <pc:sldMk cId="77660323" sldId="295"/>
            <ac:spMk id="24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49.751" v="4555"/>
          <ac:spMkLst>
            <pc:docMk/>
            <pc:sldMk cId="77660323" sldId="295"/>
            <ac:spMk id="25" creationId="{6DC07032-6758-7576-40F7-7ED141F5C6D9}"/>
          </ac:spMkLst>
        </pc:spChg>
        <pc:spChg chg="del mod">
          <ac:chgData name="Joelle Brehm" userId="a518f54c-6985-42c0-8041-2bb16a414839" providerId="ADAL" clId="{E88466E7-2243-47F6-9EAE-9BF9DD0649AD}" dt="2024-04-04T16:11:37.426" v="2765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E88466E7-2243-47F6-9EAE-9BF9DD0649AD}" dt="2024-04-04T16:13:30.281" v="10791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6:13:30.281" v="10793"/>
          <ac:spMkLst>
            <pc:docMk/>
            <pc:sldMk cId="77660323" sldId="295"/>
            <ac:spMk id="28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37.426" v="2772"/>
          <ac:spMkLst>
            <pc:docMk/>
            <pc:sldMk cId="77660323" sldId="295"/>
            <ac:spMk id="29" creationId="{C91EE372-B381-84BD-F7CD-1CD5DBB058DB}"/>
          </ac:spMkLst>
        </pc:spChg>
        <pc:spChg chg="del mod">
          <ac:chgData name="Joelle Brehm" userId="a518f54c-6985-42c0-8041-2bb16a414839" providerId="ADAL" clId="{E88466E7-2243-47F6-9EAE-9BF9DD0649AD}" dt="2024-04-04T16:11:37.426" v="2766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E88466E7-2243-47F6-9EAE-9BF9DD0649AD}" dt="2024-04-04T16:13:30.296" v="10822"/>
          <ac:spMkLst>
            <pc:docMk/>
            <pc:sldMk cId="77660323" sldId="295"/>
            <ac:spMk id="31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37.426" v="2771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E88466E7-2243-47F6-9EAE-9BF9DD0649AD}" dt="2024-04-04T16:13:30.296" v="10823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16:11:25.410" v="1692"/>
          <ac:spMkLst>
            <pc:docMk/>
            <pc:sldMk cId="77660323" sldId="295"/>
            <ac:spMk id="34" creationId="{5C1E8C89-8A26-C83F-E317-114ABBA9391B}"/>
          </ac:spMkLst>
        </pc:spChg>
        <pc:spChg chg="del mod">
          <ac:chgData name="Joelle Brehm" userId="a518f54c-6985-42c0-8041-2bb16a414839" providerId="ADAL" clId="{E88466E7-2243-47F6-9EAE-9BF9DD0649AD}" dt="2024-04-04T16:11:37.426" v="2776"/>
          <ac:spMkLst>
            <pc:docMk/>
            <pc:sldMk cId="77660323" sldId="295"/>
            <ac:spMk id="35" creationId="{87059D8F-0431-2794-789F-F4FE79555058}"/>
          </ac:spMkLst>
        </pc:spChg>
        <pc:spChg chg="add del mod replST">
          <ac:chgData name="Joelle Brehm" userId="a518f54c-6985-42c0-8041-2bb16a414839" providerId="ADAL" clId="{E88466E7-2243-47F6-9EAE-9BF9DD0649AD}" dt="2024-04-04T16:11:37.426" v="2778"/>
          <ac:spMkLst>
            <pc:docMk/>
            <pc:sldMk cId="77660323" sldId="295"/>
            <ac:spMk id="37" creationId="{FF155641-79DE-27C4-A95B-7B28D4157337}"/>
          </ac:spMkLst>
        </pc:spChg>
        <pc:spChg chg="del mod">
          <ac:chgData name="Joelle Brehm" userId="a518f54c-6985-42c0-8041-2bb16a414839" providerId="ADAL" clId="{E88466E7-2243-47F6-9EAE-9BF9DD0649AD}" dt="2024-04-04T16:11:37.426" v="2774"/>
          <ac:spMkLst>
            <pc:docMk/>
            <pc:sldMk cId="77660323" sldId="295"/>
            <ac:spMk id="38" creationId="{47920EAE-D678-78D4-5D32-C1B72A6668A0}"/>
          </ac:spMkLst>
        </pc:spChg>
        <pc:spChg chg="mod">
          <ac:chgData name="Joelle Brehm" userId="a518f54c-6985-42c0-8041-2bb16a414839" providerId="ADAL" clId="{E88466E7-2243-47F6-9EAE-9BF9DD0649AD}" dt="2024-04-04T16:13:30.281" v="10787"/>
          <ac:spMkLst>
            <pc:docMk/>
            <pc:sldMk cId="77660323" sldId="295"/>
            <ac:spMk id="39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37.426" v="2777"/>
          <ac:spMkLst>
            <pc:docMk/>
            <pc:sldMk cId="77660323" sldId="295"/>
            <ac:spMk id="41" creationId="{4409CA20-692B-2DF1-691E-7BA9C26509DB}"/>
          </ac:spMkLst>
        </pc:spChg>
        <pc:spChg chg="mod">
          <ac:chgData name="Joelle Brehm" userId="a518f54c-6985-42c0-8041-2bb16a414839" providerId="ADAL" clId="{E88466E7-2243-47F6-9EAE-9BF9DD0649AD}" dt="2024-04-04T16:13:30.296" v="10824"/>
          <ac:spMkLst>
            <pc:docMk/>
            <pc:sldMk cId="77660323" sldId="295"/>
            <ac:spMk id="42" creationId="{A32B7D8C-DAE5-D336-7D31-9ECFB1F6E20C}"/>
          </ac:spMkLst>
        </pc:spChg>
        <pc:spChg chg="del mod">
          <ac:chgData name="Joelle Brehm" userId="a518f54c-6985-42c0-8041-2bb16a414839" providerId="ADAL" clId="{E88466E7-2243-47F6-9EAE-9BF9DD0649AD}" dt="2024-04-04T16:11:49.751" v="4558"/>
          <ac:spMkLst>
            <pc:docMk/>
            <pc:sldMk cId="77660323" sldId="295"/>
            <ac:spMk id="43" creationId="{CB71E880-BE37-7B61-FE93-B2CADB32B81F}"/>
          </ac:spMkLst>
        </pc:spChg>
        <pc:spChg chg="del mod">
          <ac:chgData name="Joelle Brehm" userId="a518f54c-6985-42c0-8041-2bb16a414839" providerId="ADAL" clId="{E88466E7-2243-47F6-9EAE-9BF9DD0649AD}" dt="2024-04-04T16:11:37.426" v="2773"/>
          <ac:spMkLst>
            <pc:docMk/>
            <pc:sldMk cId="77660323" sldId="295"/>
            <ac:spMk id="44" creationId="{DAA4D810-B73F-CB1C-C983-F6E311360F17}"/>
          </ac:spMkLst>
        </pc:spChg>
        <pc:spChg chg="del mod">
          <ac:chgData name="Joelle Brehm" userId="a518f54c-6985-42c0-8041-2bb16a414839" providerId="ADAL" clId="{E88466E7-2243-47F6-9EAE-9BF9DD0649AD}" dt="2024-04-04T16:11:49.751" v="4556"/>
          <ac:spMkLst>
            <pc:docMk/>
            <pc:sldMk cId="77660323" sldId="295"/>
            <ac:spMk id="45" creationId="{7B959589-9B04-0960-03A9-FE10F7C63094}"/>
          </ac:spMkLst>
        </pc:spChg>
        <pc:spChg chg="del mod">
          <ac:chgData name="Joelle Brehm" userId="a518f54c-6985-42c0-8041-2bb16a414839" providerId="ADAL" clId="{E88466E7-2243-47F6-9EAE-9BF9DD0649AD}" dt="2024-04-04T16:11:37.426" v="2775"/>
          <ac:spMkLst>
            <pc:docMk/>
            <pc:sldMk cId="77660323" sldId="295"/>
            <ac:spMk id="46" creationId="{52EC1778-506C-D704-B036-314B2BE12802}"/>
          </ac:spMkLst>
        </pc:spChg>
        <pc:spChg chg="add del mod modVis">
          <ac:chgData name="Joelle Brehm" userId="a518f54c-6985-42c0-8041-2bb16a414839" providerId="ADAL" clId="{E88466E7-2243-47F6-9EAE-9BF9DD0649AD}" dt="2024-04-04T16:11:34.624" v="2142"/>
          <ac:spMkLst>
            <pc:docMk/>
            <pc:sldMk cId="77660323" sldId="295"/>
            <ac:spMk id="47" creationId="{58593AC0-92B4-A213-5094-5FDCE4F9817D}"/>
          </ac:spMkLst>
        </pc:spChg>
        <pc:spChg chg="del mod">
          <ac:chgData name="Joelle Brehm" userId="a518f54c-6985-42c0-8041-2bb16a414839" providerId="ADAL" clId="{E88466E7-2243-47F6-9EAE-9BF9DD0649AD}" dt="2024-04-04T16:11:49.751" v="4554"/>
          <ac:spMkLst>
            <pc:docMk/>
            <pc:sldMk cId="77660323" sldId="295"/>
            <ac:spMk id="48" creationId="{4728F697-F070-C96F-B941-0750AF77863D}"/>
          </ac:spMkLst>
        </pc:spChg>
        <pc:spChg chg="del mod">
          <ac:chgData name="Joelle Brehm" userId="a518f54c-6985-42c0-8041-2bb16a414839" providerId="ADAL" clId="{E88466E7-2243-47F6-9EAE-9BF9DD0649AD}" dt="2024-04-04T16:11:49.751" v="4557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E88466E7-2243-47F6-9EAE-9BF9DD0649AD}" dt="2024-04-04T16:11:37.536" v="2948"/>
          <ac:spMkLst>
            <pc:docMk/>
            <pc:sldMk cId="77660323" sldId="295"/>
            <ac:spMk id="52" creationId="{07AFBA2D-5950-2901-8761-41CFB4914748}"/>
          </ac:spMkLst>
        </pc:spChg>
        <pc:spChg chg="del mod">
          <ac:chgData name="Joelle Brehm" userId="a518f54c-6985-42c0-8041-2bb16a414839" providerId="ADAL" clId="{E88466E7-2243-47F6-9EAE-9BF9DD0649AD}" dt="2024-04-04T16:11:49.751" v="4563"/>
          <ac:spMkLst>
            <pc:docMk/>
            <pc:sldMk cId="77660323" sldId="295"/>
            <ac:spMk id="53" creationId="{5EB6D661-779B-2B02-EA15-90F2D9CEB9D2}"/>
          </ac:spMkLst>
        </pc:spChg>
        <pc:spChg chg="add del mod replST">
          <ac:chgData name="Joelle Brehm" userId="a518f54c-6985-42c0-8041-2bb16a414839" providerId="ADAL" clId="{E88466E7-2243-47F6-9EAE-9BF9DD0649AD}" dt="2024-04-04T16:12:45.557" v="8265"/>
          <ac:spMkLst>
            <pc:docMk/>
            <pc:sldMk cId="77660323" sldId="295"/>
            <ac:spMk id="54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45.557" v="8262"/>
          <ac:spMkLst>
            <pc:docMk/>
            <pc:sldMk cId="77660323" sldId="295"/>
            <ac:spMk id="55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45.557" v="8259"/>
          <ac:spMkLst>
            <pc:docMk/>
            <pc:sldMk cId="77660323" sldId="295"/>
            <ac:spMk id="56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45.557" v="8256"/>
          <ac:spMkLst>
            <pc:docMk/>
            <pc:sldMk cId="77660323" sldId="295"/>
            <ac:spMk id="57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49.751" v="4569"/>
          <ac:spMkLst>
            <pc:docMk/>
            <pc:sldMk cId="77660323" sldId="295"/>
            <ac:spMk id="58" creationId="{C3E93442-7ED4-DBAD-677D-97CD63B5E9C5}"/>
          </ac:spMkLst>
        </pc:spChg>
        <pc:spChg chg="add del mod replST">
          <ac:chgData name="Joelle Brehm" userId="a518f54c-6985-42c0-8041-2bb16a414839" providerId="ADAL" clId="{E88466E7-2243-47F6-9EAE-9BF9DD0649AD}" dt="2024-04-04T16:12:45.557" v="8253"/>
          <ac:spMkLst>
            <pc:docMk/>
            <pc:sldMk cId="77660323" sldId="295"/>
            <ac:spMk id="59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45.557" v="8250"/>
          <ac:spMkLst>
            <pc:docMk/>
            <pc:sldMk cId="77660323" sldId="295"/>
            <ac:spMk id="60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49.751" v="4571"/>
          <ac:spMkLst>
            <pc:docMk/>
            <pc:sldMk cId="77660323" sldId="295"/>
            <ac:spMk id="61" creationId="{2490F22C-9184-A493-0368-DF1074F98757}"/>
          </ac:spMkLst>
        </pc:spChg>
        <pc:spChg chg="add del mod replST">
          <ac:chgData name="Joelle Brehm" userId="a518f54c-6985-42c0-8041-2bb16a414839" providerId="ADAL" clId="{E88466E7-2243-47F6-9EAE-9BF9DD0649AD}" dt="2024-04-04T16:12:45.557" v="8247"/>
          <ac:spMkLst>
            <pc:docMk/>
            <pc:sldMk cId="77660323" sldId="295"/>
            <ac:spMk id="62" creationId="{7CAA3B95-4C78-4122-BECA-B5FB0F3F3764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64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16:12:28.030" v="7320"/>
          <ac:spMkLst>
            <pc:docMk/>
            <pc:sldMk cId="77660323" sldId="295"/>
            <ac:spMk id="66" creationId="{422A568C-C8AA-F1FA-4392-F5FB0EFE0D3A}"/>
          </ac:spMkLst>
        </pc:spChg>
        <pc:spChg chg="add del mod modVis">
          <ac:chgData name="Joelle Brehm" userId="a518f54c-6985-42c0-8041-2bb16a414839" providerId="ADAL" clId="{E88466E7-2243-47F6-9EAE-9BF9DD0649AD}" dt="2024-04-04T16:12:31.204" v="8244"/>
          <ac:spMkLst>
            <pc:docMk/>
            <pc:sldMk cId="77660323" sldId="295"/>
            <ac:spMk id="68" creationId="{79A8591E-B309-E1A6-2A70-44ACB4330A64}"/>
          </ac:spMkLst>
        </pc:spChg>
        <pc:spChg chg="add mod replST">
          <ac:chgData name="Joelle Brehm" userId="a518f54c-6985-42c0-8041-2bb16a414839" providerId="ADAL" clId="{E88466E7-2243-47F6-9EAE-9BF9DD0649AD}" dt="2024-04-04T16:13:30.296" v="10862"/>
          <ac:spMkLst>
            <pc:docMk/>
            <pc:sldMk cId="77660323" sldId="295"/>
            <ac:spMk id="69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63"/>
          <ac:spMkLst>
            <pc:docMk/>
            <pc:sldMk cId="77660323" sldId="295"/>
            <ac:spMk id="70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64"/>
          <ac:spMkLst>
            <pc:docMk/>
            <pc:sldMk cId="77660323" sldId="295"/>
            <ac:spMk id="71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65"/>
          <ac:spMkLst>
            <pc:docMk/>
            <pc:sldMk cId="77660323" sldId="295"/>
            <ac:spMk id="72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66"/>
          <ac:spMkLst>
            <pc:docMk/>
            <pc:sldMk cId="77660323" sldId="295"/>
            <ac:spMk id="73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67"/>
          <ac:spMkLst>
            <pc:docMk/>
            <pc:sldMk cId="77660323" sldId="295"/>
            <ac:spMk id="74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68"/>
          <ac:spMkLst>
            <pc:docMk/>
            <pc:sldMk cId="77660323" sldId="295"/>
            <ac:spMk id="75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69"/>
          <ac:spMkLst>
            <pc:docMk/>
            <pc:sldMk cId="77660323" sldId="295"/>
            <ac:spMk id="76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70"/>
          <ac:spMkLst>
            <pc:docMk/>
            <pc:sldMk cId="77660323" sldId="295"/>
            <ac:spMk id="77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71"/>
          <ac:spMkLst>
            <pc:docMk/>
            <pc:sldMk cId="77660323" sldId="295"/>
            <ac:spMk id="78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72"/>
          <ac:spMkLst>
            <pc:docMk/>
            <pc:sldMk cId="77660323" sldId="295"/>
            <ac:spMk id="79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312" v="10873"/>
          <ac:spMkLst>
            <pc:docMk/>
            <pc:sldMk cId="77660323" sldId="295"/>
            <ac:spMk id="80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4T16:12:46.691" v="9282"/>
          <ac:spMkLst>
            <pc:docMk/>
            <pc:sldMk cId="77660323" sldId="295"/>
            <ac:spMk id="82" creationId="{4E46B921-41DD-208D-20DD-4A4A726017BC}"/>
          </ac:spMkLst>
        </pc:spChg>
        <pc:spChg chg="add mod replST">
          <ac:chgData name="Joelle Brehm" userId="a518f54c-6985-42c0-8041-2bb16a414839" providerId="ADAL" clId="{E88466E7-2243-47F6-9EAE-9BF9DD0649AD}" dt="2024-04-04T16:13:30.296" v="10834"/>
          <ac:spMkLst>
            <pc:docMk/>
            <pc:sldMk cId="77660323" sldId="295"/>
            <ac:spMk id="83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35"/>
          <ac:spMkLst>
            <pc:docMk/>
            <pc:sldMk cId="77660323" sldId="295"/>
            <ac:spMk id="84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36"/>
          <ac:spMkLst>
            <pc:docMk/>
            <pc:sldMk cId="77660323" sldId="295"/>
            <ac:spMk id="85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37"/>
          <ac:spMkLst>
            <pc:docMk/>
            <pc:sldMk cId="77660323" sldId="295"/>
            <ac:spMk id="86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49.084" v="3932"/>
          <ac:spMkLst>
            <pc:docMk/>
            <pc:sldMk cId="77660323" sldId="295"/>
            <ac:spMk id="87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38"/>
          <ac:spMkLst>
            <pc:docMk/>
            <pc:sldMk cId="77660323" sldId="295"/>
            <ac:spMk id="88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39"/>
          <ac:spMkLst>
            <pc:docMk/>
            <pc:sldMk cId="77660323" sldId="295"/>
            <ac:spMk id="89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40"/>
          <ac:spMkLst>
            <pc:docMk/>
            <pc:sldMk cId="77660323" sldId="295"/>
            <ac:spMk id="90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41"/>
          <ac:spMkLst>
            <pc:docMk/>
            <pc:sldMk cId="77660323" sldId="295"/>
            <ac:spMk id="91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42"/>
          <ac:spMkLst>
            <pc:docMk/>
            <pc:sldMk cId="77660323" sldId="295"/>
            <ac:spMk id="92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43"/>
          <ac:spMkLst>
            <pc:docMk/>
            <pc:sldMk cId="77660323" sldId="295"/>
            <ac:spMk id="93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44"/>
          <ac:spMkLst>
            <pc:docMk/>
            <pc:sldMk cId="77660323" sldId="295"/>
            <ac:spMk id="94" creationId="{7CAA3B95-4C78-4122-BECA-B5FB0F3F3764}"/>
          </ac:spMkLst>
        </pc:spChg>
        <pc:spChg chg="add mod replST">
          <ac:chgData name="Joelle Brehm" userId="a518f54c-6985-42c0-8041-2bb16a414839" providerId="ADAL" clId="{E88466E7-2243-47F6-9EAE-9BF9DD0649AD}" dt="2024-04-04T16:13:30.296" v="10845"/>
          <ac:spMkLst>
            <pc:docMk/>
            <pc:sldMk cId="77660323" sldId="295"/>
            <ac:spMk id="95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6:13:30.281" v="10780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E88466E7-2243-47F6-9EAE-9BF9DD0649AD}" dt="2024-04-04T16:13:30.281" v="10782"/>
          <ac:spMkLst>
            <pc:docMk/>
            <pc:sldMk cId="77660323" sldId="295"/>
            <ac:spMk id="97" creationId="{64B2B8D7-E8A8-4757-99A4-69F1EAA48321}"/>
          </ac:spMkLst>
        </pc:spChg>
        <pc:spChg chg="add del mod modVis">
          <ac:chgData name="Joelle Brehm" userId="a518f54c-6985-42c0-8041-2bb16a414839" providerId="ADAL" clId="{E88466E7-2243-47F6-9EAE-9BF9DD0649AD}" dt="2024-04-04T16:12:59.428" v="9862"/>
          <ac:spMkLst>
            <pc:docMk/>
            <pc:sldMk cId="77660323" sldId="295"/>
            <ac:spMk id="100" creationId="{374F33F4-86F8-0753-D129-EB0A887AD3DC}"/>
          </ac:spMkLst>
        </pc:spChg>
        <pc:spChg chg="add del mod modVis">
          <ac:chgData name="Joelle Brehm" userId="a518f54c-6985-42c0-8041-2bb16a414839" providerId="ADAL" clId="{E88466E7-2243-47F6-9EAE-9BF9DD0649AD}" dt="2024-04-04T16:12:58.860" v="9787"/>
          <ac:spMkLst>
            <pc:docMk/>
            <pc:sldMk cId="77660323" sldId="295"/>
            <ac:spMk id="102" creationId="{068CC91C-F592-1202-B0A4-6270AD24C302}"/>
          </ac:spMkLst>
        </pc:spChg>
        <pc:spChg chg="add del mod modVis">
          <ac:chgData name="Joelle Brehm" userId="a518f54c-6985-42c0-8041-2bb16a414839" providerId="ADAL" clId="{E88466E7-2243-47F6-9EAE-9BF9DD0649AD}" dt="2024-04-04T16:13:04.127" v="10315"/>
          <ac:spMkLst>
            <pc:docMk/>
            <pc:sldMk cId="77660323" sldId="295"/>
            <ac:spMk id="104" creationId="{9753B64F-687F-B55C-5047-EF2186C56690}"/>
          </ac:spMkLst>
        </pc:spChg>
        <pc:spChg chg="mod ord">
          <ac:chgData name="Joelle Brehm" userId="a518f54c-6985-42c0-8041-2bb16a414839" providerId="ADAL" clId="{E88466E7-2243-47F6-9EAE-9BF9DD0649AD}" dt="2024-04-04T16:13:30.281" v="10776"/>
          <ac:spMkLst>
            <pc:docMk/>
            <pc:sldMk cId="77660323" sldId="295"/>
            <ac:spMk id="106" creationId="{58013157-8B72-4777-A1DA-B9BACD5A28D4}"/>
          </ac:spMkLst>
        </pc:spChg>
        <pc:spChg chg="add del mod modVis">
          <ac:chgData name="Joelle Brehm" userId="a518f54c-6985-42c0-8041-2bb16a414839" providerId="ADAL" clId="{E88466E7-2243-47F6-9EAE-9BF9DD0649AD}" dt="2024-04-04T16:13:09.065" v="10756"/>
          <ac:spMkLst>
            <pc:docMk/>
            <pc:sldMk cId="77660323" sldId="295"/>
            <ac:spMk id="107" creationId="{0D066364-3063-F586-A321-D45095D3200F}"/>
          </ac:spMkLst>
        </pc:spChg>
        <pc:spChg chg="mod">
          <ac:chgData name="Joelle Brehm" userId="a518f54c-6985-42c0-8041-2bb16a414839" providerId="ADAL" clId="{E88466E7-2243-47F6-9EAE-9BF9DD0649AD}" dt="2024-04-04T16:13:30.281" v="10788"/>
          <ac:spMkLst>
            <pc:docMk/>
            <pc:sldMk cId="77660323" sldId="295"/>
            <ac:spMk id="113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18.200" v="1191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6:13:30.281" v="10790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6:13:30.281" v="10792"/>
          <ac:spMkLst>
            <pc:docMk/>
            <pc:sldMk cId="77660323" sldId="295"/>
            <ac:spMk id="136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6:13:30.281" v="10784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E88466E7-2243-47F6-9EAE-9BF9DD0649AD}" dt="2024-04-04T16:13:30.296" v="10827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E88466E7-2243-47F6-9EAE-9BF9DD0649AD}" dt="2024-04-04T16:13:30.296" v="10852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E88466E7-2243-47F6-9EAE-9BF9DD0649AD}" dt="2024-04-04T16:13:30.296" v="10853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E88466E7-2243-47F6-9EAE-9BF9DD0649AD}" dt="2024-04-04T16:13:30.312" v="10880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E88466E7-2243-47F6-9EAE-9BF9DD0649AD}" dt="2024-04-04T16:13:30.312" v="10881"/>
          <ac:spMkLst>
            <pc:docMk/>
            <pc:sldMk cId="77660323" sldId="295"/>
            <ac:spMk id="402" creationId="{54A50511-8137-91F0-6AA8-1D657EEE3E68}"/>
          </ac:spMkLst>
        </pc:spChg>
        <pc:spChg chg="del mod">
          <ac:chgData name="Joelle Brehm" userId="a518f54c-6985-42c0-8041-2bb16a414839" providerId="ADAL" clId="{E88466E7-2243-47F6-9EAE-9BF9DD0649AD}" dt="2024-04-04T16:11:49.751" v="4570"/>
          <ac:spMkLst>
            <pc:docMk/>
            <pc:sldMk cId="77660323" sldId="295"/>
            <ac:spMk id="450" creationId="{44B69F35-8022-43B2-D33E-C796293293C0}"/>
          </ac:spMkLst>
        </pc:spChg>
        <pc:spChg chg="del mod">
          <ac:chgData name="Joelle Brehm" userId="a518f54c-6985-42c0-8041-2bb16a414839" providerId="ADAL" clId="{E88466E7-2243-47F6-9EAE-9BF9DD0649AD}" dt="2024-04-04T16:11:49.751" v="4576"/>
          <ac:spMkLst>
            <pc:docMk/>
            <pc:sldMk cId="77660323" sldId="295"/>
            <ac:spMk id="452" creationId="{66947D3F-E2AF-4F7C-F30F-029BD637A524}"/>
          </ac:spMkLst>
        </pc:spChg>
        <pc:spChg chg="del mod">
          <ac:chgData name="Joelle Brehm" userId="a518f54c-6985-42c0-8041-2bb16a414839" providerId="ADAL" clId="{E88466E7-2243-47F6-9EAE-9BF9DD0649AD}" dt="2024-04-04T16:11:49.751" v="4564"/>
          <ac:spMkLst>
            <pc:docMk/>
            <pc:sldMk cId="77660323" sldId="295"/>
            <ac:spMk id="458" creationId="{C5443A0C-8372-D652-291B-09D997CCB0D0}"/>
          </ac:spMkLst>
        </pc:spChg>
        <pc:spChg chg="add del mod modVis">
          <ac:chgData name="Joelle Brehm" userId="a518f54c-6985-42c0-8041-2bb16a414839" providerId="ADAL" clId="{E88466E7-2243-47F6-9EAE-9BF9DD0649AD}" dt="2024-04-04T16:11:39.147" v="3200"/>
          <ac:spMkLst>
            <pc:docMk/>
            <pc:sldMk cId="77660323" sldId="295"/>
            <ac:spMk id="460" creationId="{DE716B93-6ED2-7EEF-DADE-3308E582F898}"/>
          </ac:spMkLst>
        </pc:spChg>
        <pc:spChg chg="add del mod modVis">
          <ac:chgData name="Joelle Brehm" userId="a518f54c-6985-42c0-8041-2bb16a414839" providerId="ADAL" clId="{E88466E7-2243-47F6-9EAE-9BF9DD0649AD}" dt="2024-04-04T16:11:40.285" v="3450"/>
          <ac:spMkLst>
            <pc:docMk/>
            <pc:sldMk cId="77660323" sldId="295"/>
            <ac:spMk id="463" creationId="{E3D6889F-D1B8-5B0D-B561-A52C58184C05}"/>
          </ac:spMkLst>
        </pc:spChg>
        <pc:spChg chg="add del mod replST">
          <ac:chgData name="Joelle Brehm" userId="a518f54c-6985-42c0-8041-2bb16a414839" providerId="ADAL" clId="{E88466E7-2243-47F6-9EAE-9BF9DD0649AD}" dt="2024-04-04T16:11:49.751" v="4577"/>
          <ac:spMkLst>
            <pc:docMk/>
            <pc:sldMk cId="77660323" sldId="295"/>
            <ac:spMk id="466" creationId="{CA45AE59-6A5B-FF55-4D4C-F8E74ED65C60}"/>
          </ac:spMkLst>
        </pc:spChg>
        <pc:spChg chg="add del mod modVis">
          <ac:chgData name="Joelle Brehm" userId="a518f54c-6985-42c0-8041-2bb16a414839" providerId="ADAL" clId="{E88466E7-2243-47F6-9EAE-9BF9DD0649AD}" dt="2024-04-04T16:11:47.518" v="3929"/>
          <ac:spMkLst>
            <pc:docMk/>
            <pc:sldMk cId="77660323" sldId="295"/>
            <ac:spMk id="467" creationId="{2F81AAAA-7846-1E44-3827-1EA7F1429FDB}"/>
          </ac:spMkLst>
        </pc:spChg>
        <pc:spChg chg="add del mod modVis">
          <ac:chgData name="Joelle Brehm" userId="a518f54c-6985-42c0-8041-2bb16a414839" providerId="ADAL" clId="{E88466E7-2243-47F6-9EAE-9BF9DD0649AD}" dt="2024-04-04T16:11:49.893" v="4758"/>
          <ac:spMkLst>
            <pc:docMk/>
            <pc:sldMk cId="77660323" sldId="295"/>
            <ac:spMk id="469" creationId="{6353D15A-C94A-0B9A-F761-CB9F282CA143}"/>
          </ac:spMkLst>
        </pc:spChg>
        <pc:spChg chg="add del mod replST">
          <ac:chgData name="Joelle Brehm" userId="a518f54c-6985-42c0-8041-2bb16a414839" providerId="ADAL" clId="{E88466E7-2243-47F6-9EAE-9BF9DD0649AD}" dt="2024-04-04T16:12:30.212" v="7341"/>
          <ac:spMkLst>
            <pc:docMk/>
            <pc:sldMk cId="77660323" sldId="295"/>
            <ac:spMk id="470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30.212" v="7338"/>
          <ac:spMkLst>
            <pc:docMk/>
            <pc:sldMk cId="77660323" sldId="295"/>
            <ac:spMk id="471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30.212" v="7335"/>
          <ac:spMkLst>
            <pc:docMk/>
            <pc:sldMk cId="77660323" sldId="295"/>
            <ac:spMk id="472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30.212" v="7332"/>
          <ac:spMkLst>
            <pc:docMk/>
            <pc:sldMk cId="77660323" sldId="295"/>
            <ac:spMk id="473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30.212" v="7329"/>
          <ac:spMkLst>
            <pc:docMk/>
            <pc:sldMk cId="77660323" sldId="295"/>
            <ac:spMk id="476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30.212" v="7326"/>
          <ac:spMkLst>
            <pc:docMk/>
            <pc:sldMk cId="77660323" sldId="295"/>
            <ac:spMk id="477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04T16:12:30.212" v="7323"/>
          <ac:spMkLst>
            <pc:docMk/>
            <pc:sldMk cId="77660323" sldId="295"/>
            <ac:spMk id="478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6:13:30.296" v="10817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E88466E7-2243-47F6-9EAE-9BF9DD0649AD}" dt="2024-04-04T16:13:30.296" v="10815"/>
          <ac:spMkLst>
            <pc:docMk/>
            <pc:sldMk cId="77660323" sldId="295"/>
            <ac:spMk id="485" creationId="{0E817BE1-E587-06E4-D9FC-07EC7C45C787}"/>
          </ac:spMkLst>
        </pc:spChg>
        <pc:spChg chg="add del mod modVis">
          <ac:chgData name="Joelle Brehm" userId="a518f54c-6985-42c0-8041-2bb16a414839" providerId="ADAL" clId="{E88466E7-2243-47F6-9EAE-9BF9DD0649AD}" dt="2024-04-04T16:11:57.584" v="5023"/>
          <ac:spMkLst>
            <pc:docMk/>
            <pc:sldMk cId="77660323" sldId="295"/>
            <ac:spMk id="489" creationId="{EA005ADC-DA1A-62AD-48FB-998E07EA8CA0}"/>
          </ac:spMkLst>
        </pc:spChg>
        <pc:spChg chg="mod ord">
          <ac:chgData name="Joelle Brehm" userId="a518f54c-6985-42c0-8041-2bb16a414839" providerId="ADAL" clId="{E88466E7-2243-47F6-9EAE-9BF9DD0649AD}" dt="2024-04-04T16:13:30.296" v="10819"/>
          <ac:spMkLst>
            <pc:docMk/>
            <pc:sldMk cId="77660323" sldId="295"/>
            <ac:spMk id="490" creationId="{9C81118A-E471-58E2-D54E-14C43A3A7D15}"/>
          </ac:spMkLst>
        </pc:spChg>
        <pc:spChg chg="add del mod modVis">
          <ac:chgData name="Joelle Brehm" userId="a518f54c-6985-42c0-8041-2bb16a414839" providerId="ADAL" clId="{E88466E7-2243-47F6-9EAE-9BF9DD0649AD}" dt="2024-04-04T16:12:20.972" v="6917"/>
          <ac:spMkLst>
            <pc:docMk/>
            <pc:sldMk cId="77660323" sldId="295"/>
            <ac:spMk id="492" creationId="{AA6AFBB0-BD6A-2344-A558-9329B0360156}"/>
          </ac:spMkLst>
        </pc:spChg>
        <pc:spChg chg="add del mod modVis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494" creationId="{9F8B3D74-CA25-445A-4EBE-735F9828E130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04T16:13:30.296" v="10825"/>
          <ac:spMkLst>
            <pc:docMk/>
            <pc:sldMk cId="77660323" sldId="295"/>
            <ac:spMk id="496" creationId="{FB24F7D5-26C6-DCA1-D822-BCC9573069E9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497" creationId="{7CAA3B95-4C78-4122-BECA-B5FB0F3F3764}"/>
          </ac:spMkLst>
        </pc:spChg>
        <pc:spChg chg="del mod">
          <ac:chgData name="Joelle Brehm" userId="a518f54c-6985-42c0-8041-2bb16a414839" providerId="ADAL" clId="{E88466E7-2243-47F6-9EAE-9BF9DD0649AD}" dt="2024-04-04T16:11:36.737" v="2145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6:13:30.296" v="10821"/>
          <ac:spMkLst>
            <pc:docMk/>
            <pc:sldMk cId="77660323" sldId="295"/>
            <ac:spMk id="500" creationId="{EB9BAD37-7BDE-5D6A-2B4E-2B5A74E8D6D7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01" creationId="{7CAA3B95-4C78-4122-BECA-B5FB0F3F3764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02" creationId="{7CAA3B95-4C78-4122-BECA-B5FB0F3F3764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03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6:13:30.296" v="10851"/>
          <ac:spMkLst>
            <pc:docMk/>
            <pc:sldMk cId="77660323" sldId="295"/>
            <ac:spMk id="504" creationId="{C36E8BD6-8022-E319-F497-214FADCFA676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05" creationId="{7CAA3B95-4C78-4122-BECA-B5FB0F3F3764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06" creationId="{7CAA3B95-4C78-4122-BECA-B5FB0F3F3764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07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4T16:13:30.312" v="10879"/>
          <ac:spMkLst>
            <pc:docMk/>
            <pc:sldMk cId="77660323" sldId="295"/>
            <ac:spMk id="508" creationId="{1A0CE076-C63A-CB72-E6B9-5523E3C2C4DF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09" creationId="{7CAA3B95-4C78-4122-BECA-B5FB0F3F3764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10" creationId="{7CAA3B95-4C78-4122-BECA-B5FB0F3F3764}"/>
          </ac:spMkLst>
        </pc:spChg>
        <pc:spChg chg="add mod replST delST">
          <ac:chgData name="Joelle Brehm" userId="a518f54c-6985-42c0-8041-2bb16a414839" providerId="ADAL" clId="{E88466E7-2243-47F6-9EAE-9BF9DD0649AD}" dt="2024-04-04T16:12:20.476" v="6765"/>
          <ac:spMkLst>
            <pc:docMk/>
            <pc:sldMk cId="77660323" sldId="295"/>
            <ac:spMk id="511" creationId="{7CAA3B95-4C78-4122-BECA-B5FB0F3F3764}"/>
          </ac:spMkLst>
        </pc:spChg>
        <pc:graphicFrameChg chg="mod">
          <ac:chgData name="Joelle Brehm" userId="a518f54c-6985-42c0-8041-2bb16a414839" providerId="ADAL" clId="{E88466E7-2243-47F6-9EAE-9BF9DD0649AD}" dt="2024-04-04T16:13:30.330" v="10885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1:18.280" v="1278"/>
          <ac:graphicFrameMkLst>
            <pc:docMk/>
            <pc:sldMk cId="77660323" sldId="295"/>
            <ac:graphicFrameMk id="21" creationId="{6F413EA7-AC69-C7A6-3E74-CA9CA76940E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1:25.298" v="1517"/>
          <ac:graphicFrameMkLst>
            <pc:docMk/>
            <pc:sldMk cId="77660323" sldId="295"/>
            <ac:graphicFrameMk id="23" creationId="{E7408329-C14A-6F73-39D7-27A88E9C7FDE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6:13:30.281" v="10786"/>
          <ac:graphicFrameMkLst>
            <pc:docMk/>
            <pc:sldMk cId="77660323" sldId="295"/>
            <ac:graphicFrameMk id="36" creationId="{B9E884B0-1F67-D8AC-7FE3-1EBA889B1D06}"/>
          </ac:graphicFrameMkLst>
        </pc:graphicFrameChg>
        <pc:graphicFrameChg chg="del">
          <ac:chgData name="Joelle Brehm" userId="a518f54c-6985-42c0-8041-2bb16a414839" providerId="ADAL" clId="{E88466E7-2243-47F6-9EAE-9BF9DD0649AD}" dt="2024-04-04T16:11:16.526" v="1012"/>
          <ac:graphicFrameMkLst>
            <pc:docMk/>
            <pc:sldMk cId="77660323" sldId="295"/>
            <ac:graphicFrameMk id="40" creationId="{C7D2808F-AD71-C2D2-369D-2D1E5590F15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1:37.426" v="2780"/>
          <ac:graphicFrameMkLst>
            <pc:docMk/>
            <pc:sldMk cId="77660323" sldId="295"/>
            <ac:graphicFrameMk id="51" creationId="{FF7879AC-871E-C2F5-63C1-F0F2127DE002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04T16:12:20.476" v="6765"/>
          <ac:graphicFrameMkLst>
            <pc:docMk/>
            <pc:sldMk cId="77660323" sldId="295"/>
            <ac:graphicFrameMk id="65" creationId="{27C1B0C1-50DD-D47E-B686-9366AA2D513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2:31.108" v="8074"/>
          <ac:graphicFrameMkLst>
            <pc:docMk/>
            <pc:sldMk cId="77660323" sldId="295"/>
            <ac:graphicFrameMk id="67" creationId="{03B87CFE-96A6-67CE-98A2-A2D5050B0BA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3:08.986" v="10625"/>
          <ac:graphicFrameMkLst>
            <pc:docMk/>
            <pc:sldMk cId="77660323" sldId="295"/>
            <ac:graphicFrameMk id="81" creationId="{2C3AAB4A-29F7-15ED-E23B-407B840B7315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3:04.046" v="10186"/>
          <ac:graphicFrameMkLst>
            <pc:docMk/>
            <pc:sldMk cId="77660323" sldId="295"/>
            <ac:graphicFrameMk id="99" creationId="{2A8AF988-04F7-317A-341B-FACA72C568F4}"/>
          </ac:graphicFrameMkLst>
        </pc:graphicFrameChg>
        <pc:graphicFrameChg chg="add del mod ord replST delST">
          <ac:chgData name="Joelle Brehm" userId="a518f54c-6985-42c0-8041-2bb16a414839" providerId="ADAL" clId="{E88466E7-2243-47F6-9EAE-9BF9DD0649AD}" dt="2024-04-04T16:12:59.428" v="9862"/>
          <ac:graphicFrameMkLst>
            <pc:docMk/>
            <pc:sldMk cId="77660323" sldId="295"/>
            <ac:graphicFrameMk id="101" creationId="{3B5900D0-3739-8858-94CA-3BFF54A39F9E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04T16:12:58.860" v="9787"/>
          <ac:graphicFrameMkLst>
            <pc:docMk/>
            <pc:sldMk cId="77660323" sldId="295"/>
            <ac:graphicFrameMk id="103" creationId="{39CB2BF8-2CA2-543B-945F-14F4A30A356C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6:13:30.296" v="10829"/>
          <ac:graphicFrameMkLst>
            <pc:docMk/>
            <pc:sldMk cId="77660323" sldId="295"/>
            <ac:graphicFrameMk id="105" creationId="{2BC518BF-8DDD-7115-5E39-D204F3D3E3B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6:13:30.296" v="10855"/>
          <ac:graphicFrameMkLst>
            <pc:docMk/>
            <pc:sldMk cId="77660323" sldId="295"/>
            <ac:graphicFrameMk id="108" creationId="{DCA0759C-42E2-FB4F-616F-AE68AC27646C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6:11:34.513" v="1986"/>
          <ac:graphicFrameMkLst>
            <pc:docMk/>
            <pc:sldMk cId="77660323" sldId="295"/>
            <ac:graphicFrameMk id="449" creationId="{90A0C085-3D35-2640-6EEE-BA955634202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1:39.068" v="3044"/>
          <ac:graphicFrameMkLst>
            <pc:docMk/>
            <pc:sldMk cId="77660323" sldId="295"/>
            <ac:graphicFrameMk id="459" creationId="{A72A78A4-00C4-9672-1621-8A4B516970F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1:40.203" v="3294"/>
          <ac:graphicFrameMkLst>
            <pc:docMk/>
            <pc:sldMk cId="77660323" sldId="295"/>
            <ac:graphicFrameMk id="462" creationId="{65C5F6B2-A981-B3BD-BDCA-1255C43B8A8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2:46.585" v="9125"/>
          <ac:graphicFrameMkLst>
            <pc:docMk/>
            <pc:sldMk cId="77660323" sldId="295"/>
            <ac:graphicFrameMk id="465" creationId="{E7F2ABE2-7079-5A5D-94DE-1028E83B816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1:49.751" v="4579"/>
          <ac:graphicFrameMkLst>
            <pc:docMk/>
            <pc:sldMk cId="77660323" sldId="295"/>
            <ac:graphicFrameMk id="468" creationId="{1B35471B-989E-6EAE-6C78-094D67E3D6BA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6:11:47.376" v="3762"/>
          <ac:graphicFrameMkLst>
            <pc:docMk/>
            <pc:sldMk cId="77660323" sldId="295"/>
            <ac:graphicFrameMk id="474" creationId="{8B8FBF89-E105-A6F8-2F6E-4F2E41FA478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1:57.430" v="4858"/>
          <ac:graphicFrameMkLst>
            <pc:docMk/>
            <pc:sldMk cId="77660323" sldId="295"/>
            <ac:graphicFrameMk id="488" creationId="{63EF554E-4070-A898-DCBB-C84C53F49F8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6:12:27.927" v="7145"/>
          <ac:graphicFrameMkLst>
            <pc:docMk/>
            <pc:sldMk cId="77660323" sldId="295"/>
            <ac:graphicFrameMk id="491" creationId="{01ED3A37-F159-B010-EDFF-59C1AF345A5C}"/>
          </ac:graphicFrameMkLst>
        </pc:graphicFrameChg>
        <pc:graphicFrameChg chg="add del mod ord replST delST">
          <ac:chgData name="Joelle Brehm" userId="a518f54c-6985-42c0-8041-2bb16a414839" providerId="ADAL" clId="{E88466E7-2243-47F6-9EAE-9BF9DD0649AD}" dt="2024-04-04T16:12:20.972" v="6917"/>
          <ac:graphicFrameMkLst>
            <pc:docMk/>
            <pc:sldMk cId="77660323" sldId="295"/>
            <ac:graphicFrameMk id="493" creationId="{E43842D3-BEC3-39A7-A841-0B1070EB9F3B}"/>
          </ac:graphicFrameMkLst>
        </pc:graphicFrameChg>
        <pc:picChg chg="mod ord">
          <ac:chgData name="Joelle Brehm" userId="a518f54c-6985-42c0-8041-2bb16a414839" providerId="ADAL" clId="{E88466E7-2243-47F6-9EAE-9BF9DD0649AD}" dt="2024-04-04T16:13:30.281" v="10778"/>
          <ac:picMkLst>
            <pc:docMk/>
            <pc:sldMk cId="77660323" sldId="295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E88466E7-2243-47F6-9EAE-9BF9DD0649AD}" dt="2024-04-04T16:13:30.281" v="10770"/>
          <ac:picMkLst>
            <pc:docMk/>
            <pc:sldMk cId="77660323" sldId="295"/>
            <ac:picMk id="109" creationId="{A57174B3-CE71-33B1-9B0C-DA5AD8C8A80A}"/>
          </ac:picMkLst>
        </pc:picChg>
        <pc:picChg chg="del mod ord">
          <ac:chgData name="Joelle Brehm" userId="a518f54c-6985-42c0-8041-2bb16a414839" providerId="ADAL" clId="{E88466E7-2243-47F6-9EAE-9BF9DD0649AD}" dt="2024-04-04T16:13:32.301" v="10886" actId="478"/>
          <ac:picMkLst>
            <pc:docMk/>
            <pc:sldMk cId="77660323" sldId="295"/>
            <ac:picMk id="475" creationId="{63FA607F-A015-CF50-B6B5-914E7843B127}"/>
          </ac:picMkLst>
        </pc:picChg>
        <pc:cxnChg chg="mod ord">
          <ac:chgData name="Joelle Brehm" userId="a518f54c-6985-42c0-8041-2bb16a414839" providerId="ADAL" clId="{E88466E7-2243-47F6-9EAE-9BF9DD0649AD}" dt="2024-04-04T16:13:30.296" v="10833"/>
          <ac:cxnSpMkLst>
            <pc:docMk/>
            <pc:sldMk cId="77660323" sldId="295"/>
            <ac:cxnSpMk id="49" creationId="{A1B8BCA2-A4F6-C735-D36D-75C40207794D}"/>
          </ac:cxnSpMkLst>
        </pc:cxnChg>
        <pc:cxnChg chg="add del mod ord replST">
          <ac:chgData name="Joelle Brehm" userId="a518f54c-6985-42c0-8041-2bb16a414839" providerId="ADAL" clId="{E88466E7-2243-47F6-9EAE-9BF9DD0649AD}" dt="2024-04-04T16:12:45.573" v="8267"/>
          <ac:cxnSpMkLst>
            <pc:docMk/>
            <pc:sldMk cId="77660323" sldId="295"/>
            <ac:cxnSpMk id="63" creationId="{FF6F98B2-D9BF-A9EE-FFD7-DCCE092F4E74}"/>
          </ac:cxnSpMkLst>
        </pc:cxnChg>
        <pc:cxnChg chg="add mod ord replST">
          <ac:chgData name="Joelle Brehm" userId="a518f54c-6985-42c0-8041-2bb16a414839" providerId="ADAL" clId="{E88466E7-2243-47F6-9EAE-9BF9DD0649AD}" dt="2024-04-04T16:13:30.296" v="10831"/>
          <ac:cxnSpMkLst>
            <pc:docMk/>
            <pc:sldMk cId="77660323" sldId="295"/>
            <ac:cxnSpMk id="98" creationId="{55EBBAF7-85A2-D4D3-A027-BAB3761B60CE}"/>
          </ac:cxnSpMkLst>
        </pc:cxnChg>
        <pc:cxnChg chg="mod ord">
          <ac:chgData name="Joelle Brehm" userId="a518f54c-6985-42c0-8041-2bb16a414839" providerId="ADAL" clId="{E88466E7-2243-47F6-9EAE-9BF9DD0649AD}" dt="2024-04-04T16:13:30.296" v="10807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E88466E7-2243-47F6-9EAE-9BF9DD0649AD}" dt="2024-04-04T16:13:30.296" v="10809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E88466E7-2243-47F6-9EAE-9BF9DD0649AD}" dt="2024-04-04T16:13:30.296" v="10811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E88466E7-2243-47F6-9EAE-9BF9DD0649AD}" dt="2024-04-04T16:13:30.296" v="10847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E88466E7-2243-47F6-9EAE-9BF9DD0649AD}" dt="2024-04-04T16:13:30.296" v="10849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E88466E7-2243-47F6-9EAE-9BF9DD0649AD}" dt="2024-04-04T16:13:30.312" v="10875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E88466E7-2243-47F6-9EAE-9BF9DD0649AD}" dt="2024-04-04T16:13:30.312" v="10877"/>
          <ac:cxnSpMkLst>
            <pc:docMk/>
            <pc:sldMk cId="77660323" sldId="295"/>
            <ac:cxnSpMk id="400" creationId="{104028CF-B0A1-3776-0A9E-B2FBBA4E10EC}"/>
          </ac:cxnSpMkLst>
        </pc:cxnChg>
        <pc:cxnChg chg="add del mod ord replST">
          <ac:chgData name="Joelle Brehm" userId="a518f54c-6985-42c0-8041-2bb16a414839" providerId="ADAL" clId="{E88466E7-2243-47F6-9EAE-9BF9DD0649AD}" dt="2024-04-04T16:12:45.557" v="8264"/>
          <ac:cxnSpMkLst>
            <pc:docMk/>
            <pc:sldMk cId="77660323" sldId="295"/>
            <ac:cxnSpMk id="448" creationId="{89E4CB68-46C5-5D2F-946B-62BC56269A82}"/>
          </ac:cxnSpMkLst>
        </pc:cxnChg>
        <pc:cxnChg chg="mod ord">
          <ac:chgData name="Joelle Brehm" userId="a518f54c-6985-42c0-8041-2bb16a414839" providerId="ADAL" clId="{E88466E7-2243-47F6-9EAE-9BF9DD0649AD}" dt="2024-04-04T16:13:30.296" v="10859"/>
          <ac:cxnSpMkLst>
            <pc:docMk/>
            <pc:sldMk cId="77660323" sldId="295"/>
            <ac:cxnSpMk id="451" creationId="{7A172D71-A9C3-9431-7EB5-BE9F63E67BCD}"/>
          </ac:cxnSpMkLst>
        </pc:cxnChg>
        <pc:cxnChg chg="add del mod ord replST">
          <ac:chgData name="Joelle Brehm" userId="a518f54c-6985-42c0-8041-2bb16a414839" providerId="ADAL" clId="{E88466E7-2243-47F6-9EAE-9BF9DD0649AD}" dt="2024-04-04T16:12:45.557" v="8261"/>
          <ac:cxnSpMkLst>
            <pc:docMk/>
            <pc:sldMk cId="77660323" sldId="295"/>
            <ac:cxnSpMk id="453" creationId="{BB54B9EB-9B1E-E513-1F4E-51BB47DB69B3}"/>
          </ac:cxnSpMkLst>
        </pc:cxnChg>
        <pc:cxnChg chg="add del mod ord replST">
          <ac:chgData name="Joelle Brehm" userId="a518f54c-6985-42c0-8041-2bb16a414839" providerId="ADAL" clId="{E88466E7-2243-47F6-9EAE-9BF9DD0649AD}" dt="2024-04-04T16:12:45.557" v="8258"/>
          <ac:cxnSpMkLst>
            <pc:docMk/>
            <pc:sldMk cId="77660323" sldId="295"/>
            <ac:cxnSpMk id="454" creationId="{56F8AD19-89A9-A65D-4D37-7575C4BEFEC5}"/>
          </ac:cxnSpMkLst>
        </pc:cxnChg>
        <pc:cxnChg chg="add del mod ord replST">
          <ac:chgData name="Joelle Brehm" userId="a518f54c-6985-42c0-8041-2bb16a414839" providerId="ADAL" clId="{E88466E7-2243-47F6-9EAE-9BF9DD0649AD}" dt="2024-04-04T16:12:45.557" v="8255"/>
          <ac:cxnSpMkLst>
            <pc:docMk/>
            <pc:sldMk cId="77660323" sldId="295"/>
            <ac:cxnSpMk id="455" creationId="{A32586D5-F490-93F2-B414-84FECBE6D3BF}"/>
          </ac:cxnSpMkLst>
        </pc:cxnChg>
        <pc:cxnChg chg="add del mod ord replST">
          <ac:chgData name="Joelle Brehm" userId="a518f54c-6985-42c0-8041-2bb16a414839" providerId="ADAL" clId="{E88466E7-2243-47F6-9EAE-9BF9DD0649AD}" dt="2024-04-04T16:12:45.557" v="8252"/>
          <ac:cxnSpMkLst>
            <pc:docMk/>
            <pc:sldMk cId="77660323" sldId="295"/>
            <ac:cxnSpMk id="456" creationId="{D10C39D2-0390-2631-DFF5-CBE049032B36}"/>
          </ac:cxnSpMkLst>
        </pc:cxnChg>
        <pc:cxnChg chg="add del mod ord replST">
          <ac:chgData name="Joelle Brehm" userId="a518f54c-6985-42c0-8041-2bb16a414839" providerId="ADAL" clId="{E88466E7-2243-47F6-9EAE-9BF9DD0649AD}" dt="2024-04-04T16:12:45.557" v="8249"/>
          <ac:cxnSpMkLst>
            <pc:docMk/>
            <pc:sldMk cId="77660323" sldId="295"/>
            <ac:cxnSpMk id="457" creationId="{ADEB2C9A-3FC6-D923-C3D2-80B584E1C967}"/>
          </ac:cxnSpMkLst>
        </pc:cxnChg>
        <pc:cxnChg chg="mod ord">
          <ac:chgData name="Joelle Brehm" userId="a518f54c-6985-42c0-8041-2bb16a414839" providerId="ADAL" clId="{E88466E7-2243-47F6-9EAE-9BF9DD0649AD}" dt="2024-04-04T16:13:30.296" v="10857"/>
          <ac:cxnSpMkLst>
            <pc:docMk/>
            <pc:sldMk cId="77660323" sldId="295"/>
            <ac:cxnSpMk id="461" creationId="{A9880E77-89B4-FAF6-9F4F-4692C63B345B}"/>
          </ac:cxnSpMkLst>
        </pc:cxnChg>
        <pc:cxnChg chg="mod ord">
          <ac:chgData name="Joelle Brehm" userId="a518f54c-6985-42c0-8041-2bb16a414839" providerId="ADAL" clId="{E88466E7-2243-47F6-9EAE-9BF9DD0649AD}" dt="2024-04-04T16:13:30.296" v="10861"/>
          <ac:cxnSpMkLst>
            <pc:docMk/>
            <pc:sldMk cId="77660323" sldId="295"/>
            <ac:cxnSpMk id="464" creationId="{8B0C8772-9A41-2CE0-E710-52E090E563DE}"/>
          </ac:cxnSpMkLst>
        </pc:cxnChg>
        <pc:cxnChg chg="add del mod ord replST">
          <ac:chgData name="Joelle Brehm" userId="a518f54c-6985-42c0-8041-2bb16a414839" providerId="ADAL" clId="{E88466E7-2243-47F6-9EAE-9BF9DD0649AD}" dt="2024-04-04T16:12:30.212" v="7343"/>
          <ac:cxnSpMkLst>
            <pc:docMk/>
            <pc:sldMk cId="77660323" sldId="295"/>
            <ac:cxnSpMk id="479" creationId="{38FA10BC-9C53-F804-F49C-02CC7D7C71D0}"/>
          </ac:cxnSpMkLst>
        </pc:cxnChg>
        <pc:cxnChg chg="add del mod ord replST">
          <ac:chgData name="Joelle Brehm" userId="a518f54c-6985-42c0-8041-2bb16a414839" providerId="ADAL" clId="{E88466E7-2243-47F6-9EAE-9BF9DD0649AD}" dt="2024-04-04T16:12:30.212" v="7340"/>
          <ac:cxnSpMkLst>
            <pc:docMk/>
            <pc:sldMk cId="77660323" sldId="295"/>
            <ac:cxnSpMk id="480" creationId="{5E9047EF-CC63-CFF8-E594-90A4BA796440}"/>
          </ac:cxnSpMkLst>
        </pc:cxnChg>
        <pc:cxnChg chg="add del mod ord replST">
          <ac:chgData name="Joelle Brehm" userId="a518f54c-6985-42c0-8041-2bb16a414839" providerId="ADAL" clId="{E88466E7-2243-47F6-9EAE-9BF9DD0649AD}" dt="2024-04-04T16:12:30.212" v="7337"/>
          <ac:cxnSpMkLst>
            <pc:docMk/>
            <pc:sldMk cId="77660323" sldId="295"/>
            <ac:cxnSpMk id="481" creationId="{5BA94516-414F-3466-4DD8-C1585A00CAB4}"/>
          </ac:cxnSpMkLst>
        </pc:cxnChg>
        <pc:cxnChg chg="add del mod ord replST">
          <ac:chgData name="Joelle Brehm" userId="a518f54c-6985-42c0-8041-2bb16a414839" providerId="ADAL" clId="{E88466E7-2243-47F6-9EAE-9BF9DD0649AD}" dt="2024-04-04T16:12:30.212" v="7334"/>
          <ac:cxnSpMkLst>
            <pc:docMk/>
            <pc:sldMk cId="77660323" sldId="295"/>
            <ac:cxnSpMk id="483" creationId="{1A953C63-ADE0-E397-891D-D1CDCCFC0253}"/>
          </ac:cxnSpMkLst>
        </pc:cxnChg>
        <pc:cxnChg chg="add del mod ord replST">
          <ac:chgData name="Joelle Brehm" userId="a518f54c-6985-42c0-8041-2bb16a414839" providerId="ADAL" clId="{E88466E7-2243-47F6-9EAE-9BF9DD0649AD}" dt="2024-04-04T16:12:30.212" v="7331"/>
          <ac:cxnSpMkLst>
            <pc:docMk/>
            <pc:sldMk cId="77660323" sldId="295"/>
            <ac:cxnSpMk id="484" creationId="{D805DE81-5F9A-E878-AF29-C98EDF370E12}"/>
          </ac:cxnSpMkLst>
        </pc:cxnChg>
        <pc:cxnChg chg="add del mod ord replST">
          <ac:chgData name="Joelle Brehm" userId="a518f54c-6985-42c0-8041-2bb16a414839" providerId="ADAL" clId="{E88466E7-2243-47F6-9EAE-9BF9DD0649AD}" dt="2024-04-04T16:12:30.212" v="7328"/>
          <ac:cxnSpMkLst>
            <pc:docMk/>
            <pc:sldMk cId="77660323" sldId="295"/>
            <ac:cxnSpMk id="486" creationId="{92384845-1CFF-69BD-7003-61FC4ACBEEA2}"/>
          </ac:cxnSpMkLst>
        </pc:cxnChg>
        <pc:cxnChg chg="add del mod ord replST">
          <ac:chgData name="Joelle Brehm" userId="a518f54c-6985-42c0-8041-2bb16a414839" providerId="ADAL" clId="{E88466E7-2243-47F6-9EAE-9BF9DD0649AD}" dt="2024-04-04T16:12:30.212" v="7325"/>
          <ac:cxnSpMkLst>
            <pc:docMk/>
            <pc:sldMk cId="77660323" sldId="295"/>
            <ac:cxnSpMk id="487" creationId="{CC2566EF-F826-F25F-2D8F-72D5613AEA6A}"/>
          </ac:cxnSpMkLst>
        </pc:cxnChg>
        <pc:cxnChg chg="mod ord">
          <ac:chgData name="Joelle Brehm" userId="a518f54c-6985-42c0-8041-2bb16a414839" providerId="ADAL" clId="{E88466E7-2243-47F6-9EAE-9BF9DD0649AD}" dt="2024-04-04T16:13:30.296" v="10813"/>
          <ac:cxnSpMkLst>
            <pc:docMk/>
            <pc:sldMk cId="77660323" sldId="295"/>
            <ac:cxnSpMk id="499" creationId="{03F78B4F-B1A0-4DEB-C1BE-2365D8B94D05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7T23:58:20.321" v="59743" actId="313"/>
        <pc:sldMkLst>
          <pc:docMk/>
          <pc:sldMk cId="3184321266" sldId="296"/>
        </pc:sldMkLst>
        <pc:spChg chg="add del mod">
          <ac:chgData name="Joelle Brehm" userId="a518f54c-6985-42c0-8041-2bb16a414839" providerId="ADAL" clId="{E88466E7-2243-47F6-9EAE-9BF9DD0649AD}" dt="2024-04-07T23:49:33.514" v="59310" actId="478"/>
          <ac:spMkLst>
            <pc:docMk/>
            <pc:sldMk cId="3184321266" sldId="296"/>
            <ac:spMk id="2" creationId="{2647DB45-3103-528C-295C-F3367F2B10BC}"/>
          </ac:spMkLst>
        </pc:spChg>
        <pc:spChg chg="mod ord">
          <ac:chgData name="Joelle Brehm" userId="a518f54c-6985-42c0-8041-2bb16a414839" providerId="ADAL" clId="{E88466E7-2243-47F6-9EAE-9BF9DD0649AD}" dt="2024-04-07T23:53:18.423" v="59684"/>
          <ac:spMkLst>
            <pc:docMk/>
            <pc:sldMk cId="3184321266" sldId="296"/>
            <ac:spMk id="3" creationId="{86D6AA5F-2727-5417-09CB-42026894EFF8}"/>
          </ac:spMkLst>
        </pc:spChg>
        <pc:spChg chg="mod ord">
          <ac:chgData name="Joelle Brehm" userId="a518f54c-6985-42c0-8041-2bb16a414839" providerId="ADAL" clId="{E88466E7-2243-47F6-9EAE-9BF9DD0649AD}" dt="2024-04-07T23:53:18.420" v="59677"/>
          <ac:spMkLst>
            <pc:docMk/>
            <pc:sldMk cId="3184321266" sldId="296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E88466E7-2243-47F6-9EAE-9BF9DD0649AD}" dt="2024-04-07T23:49:45.619" v="59365"/>
          <ac:spMkLst>
            <pc:docMk/>
            <pc:sldMk cId="3184321266" sldId="296"/>
            <ac:spMk id="6" creationId="{0285AE63-9488-9AE8-EB97-5E112B83598A}"/>
          </ac:spMkLst>
        </pc:spChg>
        <pc:spChg chg="mod ord">
          <ac:chgData name="Joelle Brehm" userId="a518f54c-6985-42c0-8041-2bb16a414839" providerId="ADAL" clId="{E88466E7-2243-47F6-9EAE-9BF9DD0649AD}" dt="2024-04-07T23:53:18.423" v="59686"/>
          <ac:spMkLst>
            <pc:docMk/>
            <pc:sldMk cId="3184321266" sldId="296"/>
            <ac:spMk id="8" creationId="{C75CB710-EFB8-7D57-0F83-AB63CD63F5E0}"/>
          </ac:spMkLst>
        </pc:spChg>
        <pc:spChg chg="mod">
          <ac:chgData name="Joelle Brehm" userId="a518f54c-6985-42c0-8041-2bb16a414839" providerId="ADAL" clId="{E88466E7-2243-47F6-9EAE-9BF9DD0649AD}" dt="2024-04-07T23:53:18.424" v="59690"/>
          <ac:spMkLst>
            <pc:docMk/>
            <pc:sldMk cId="3184321266" sldId="296"/>
            <ac:spMk id="10" creationId="{ACBE2952-1408-2663-AB1D-8F843E822072}"/>
          </ac:spMkLst>
        </pc:spChg>
        <pc:spChg chg="add del mod modVis">
          <ac:chgData name="Joelle Brehm" userId="a518f54c-6985-42c0-8041-2bb16a414839" providerId="ADAL" clId="{E88466E7-2243-47F6-9EAE-9BF9DD0649AD}" dt="2024-04-07T23:50:05.896" v="59440"/>
          <ac:spMkLst>
            <pc:docMk/>
            <pc:sldMk cId="3184321266" sldId="296"/>
            <ac:spMk id="11" creationId="{BFB5A9E6-9AB1-0AB4-FD6A-F95C89A5E55A}"/>
          </ac:spMkLst>
        </pc:spChg>
        <pc:spChg chg="mod">
          <ac:chgData name="Joelle Brehm" userId="a518f54c-6985-42c0-8041-2bb16a414839" providerId="ADAL" clId="{E88466E7-2243-47F6-9EAE-9BF9DD0649AD}" dt="2024-04-07T23:53:18.424" v="59689"/>
          <ac:spMkLst>
            <pc:docMk/>
            <pc:sldMk cId="3184321266" sldId="296"/>
            <ac:spMk id="14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07T23:50:16.373" v="59507"/>
          <ac:spMkLst>
            <pc:docMk/>
            <pc:sldMk cId="3184321266" sldId="296"/>
            <ac:spMk id="15" creationId="{8D7A81D2-AB41-984A-AFFF-6F788609247B}"/>
          </ac:spMkLst>
        </pc:spChg>
        <pc:spChg chg="add del mod modVis">
          <ac:chgData name="Joelle Brehm" userId="a518f54c-6985-42c0-8041-2bb16a414839" providerId="ADAL" clId="{E88466E7-2243-47F6-9EAE-9BF9DD0649AD}" dt="2024-04-07T23:53:00.437" v="59576"/>
          <ac:spMkLst>
            <pc:docMk/>
            <pc:sldMk cId="3184321266" sldId="296"/>
            <ac:spMk id="17" creationId="{6137FD2D-DBE8-30D5-A3C3-CEA8FD81A2CA}"/>
          </ac:spMkLst>
        </pc:spChg>
        <pc:spChg chg="add del mod modVis">
          <ac:chgData name="Joelle Brehm" userId="a518f54c-6985-42c0-8041-2bb16a414839" providerId="ADAL" clId="{E88466E7-2243-47F6-9EAE-9BF9DD0649AD}" dt="2024-04-07T23:53:04.165" v="59643"/>
          <ac:spMkLst>
            <pc:docMk/>
            <pc:sldMk cId="3184321266" sldId="296"/>
            <ac:spMk id="19" creationId="{33D70DC1-63F9-2034-3BEC-D47D8E9D9EEA}"/>
          </ac:spMkLst>
        </pc:spChg>
        <pc:spChg chg="add del mod modVis">
          <ac:chgData name="Joelle Brehm" userId="a518f54c-6985-42c0-8041-2bb16a414839" providerId="ADAL" clId="{E88466E7-2243-47F6-9EAE-9BF9DD0649AD}" dt="2024-04-07T23:53:18.427" v="59700"/>
          <ac:spMkLst>
            <pc:docMk/>
            <pc:sldMk cId="3184321266" sldId="296"/>
            <ac:spMk id="21" creationId="{B06D81DA-6012-3144-D84F-4262038A0E3B}"/>
          </ac:spMkLst>
        </pc:spChg>
        <pc:spChg chg="mod ord">
          <ac:chgData name="Joelle Brehm" userId="a518f54c-6985-42c0-8041-2bb16a414839" providerId="ADAL" clId="{E88466E7-2243-47F6-9EAE-9BF9DD0649AD}" dt="2024-04-07T23:53:18.421" v="59679"/>
          <ac:spMkLst>
            <pc:docMk/>
            <pc:sldMk cId="3184321266" sldId="296"/>
            <ac:spMk id="96" creationId="{13AC7CFA-23AF-445A-96F6-EA0D2FF657A3}"/>
          </ac:spMkLst>
        </pc:spChg>
        <pc:spChg chg="mod">
          <ac:chgData name="Joelle Brehm" userId="a518f54c-6985-42c0-8041-2bb16a414839" providerId="ADAL" clId="{E88466E7-2243-47F6-9EAE-9BF9DD0649AD}" dt="2024-04-07T23:53:18.425" v="59694"/>
          <ac:spMkLst>
            <pc:docMk/>
            <pc:sldMk cId="3184321266" sldId="296"/>
            <ac:spMk id="190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07T23:53:18.422" v="59681"/>
          <ac:spMkLst>
            <pc:docMk/>
            <pc:sldMk cId="3184321266" sldId="296"/>
            <ac:spMk id="210" creationId="{2DBE4665-8B4A-4508-AC03-BDBC6AA30475}"/>
          </ac:spMkLst>
        </pc:spChg>
        <pc:spChg chg="mod">
          <ac:chgData name="Joelle Brehm" userId="a518f54c-6985-42c0-8041-2bb16a414839" providerId="ADAL" clId="{E88466E7-2243-47F6-9EAE-9BF9DD0649AD}" dt="2024-04-07T23:53:18.425" v="59693"/>
          <ac:spMkLst>
            <pc:docMk/>
            <pc:sldMk cId="3184321266" sldId="296"/>
            <ac:spMk id="1062" creationId="{AAB4FE2D-13B1-774A-33CC-02765FFAA2DA}"/>
          </ac:spMkLst>
        </pc:spChg>
        <pc:spChg chg="mod ord">
          <ac:chgData name="Joelle Brehm" userId="a518f54c-6985-42c0-8041-2bb16a414839" providerId="ADAL" clId="{E88466E7-2243-47F6-9EAE-9BF9DD0649AD}" dt="2024-04-07T23:58:20.321" v="59743" actId="313"/>
          <ac:spMkLst>
            <pc:docMk/>
            <pc:sldMk cId="3184321266" sldId="296"/>
            <ac:spMk id="1065" creationId="{D8CB5779-D0CF-D5F7-B11D-0A8746941D75}"/>
          </ac:spMkLst>
        </pc:spChg>
        <pc:graphicFrameChg chg="mod">
          <ac:chgData name="Joelle Brehm" userId="a518f54c-6985-42c0-8041-2bb16a414839" providerId="ADAL" clId="{E88466E7-2243-47F6-9EAE-9BF9DD0649AD}" dt="2024-04-07T23:53:18.433" v="59702"/>
          <ac:graphicFrameMkLst>
            <pc:docMk/>
            <pc:sldMk cId="3184321266" sldId="296"/>
            <ac:graphicFrameMk id="4" creationId="{13A0D37E-AFD5-48BA-904D-A699E76C02E6}"/>
          </ac:graphicFrameMkLst>
        </pc:graphicFrameChg>
        <pc:graphicFrameChg chg="del">
          <ac:chgData name="Joelle Brehm" userId="a518f54c-6985-42c0-8041-2bb16a414839" providerId="ADAL" clId="{E88466E7-2243-47F6-9EAE-9BF9DD0649AD}" dt="2024-04-07T23:49:45.586" v="59334"/>
          <ac:graphicFrameMkLst>
            <pc:docMk/>
            <pc:sldMk cId="3184321266" sldId="296"/>
            <ac:graphicFrameMk id="7" creationId="{5064592B-37DF-2705-7678-7FF94A58697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7T23:53:18.398" v="59669"/>
          <ac:graphicFrameMkLst>
            <pc:docMk/>
            <pc:sldMk cId="3184321266" sldId="296"/>
            <ac:graphicFrameMk id="9" creationId="{EEC617E2-AF97-96DB-05FE-63CC7BABD54F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7T23:50:16.340" v="59476"/>
          <ac:graphicFrameMkLst>
            <pc:docMk/>
            <pc:sldMk cId="3184321266" sldId="296"/>
            <ac:graphicFrameMk id="12" creationId="{05A0D057-D219-3085-BF2F-EA6383086999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7T23:50:05.866" v="59409"/>
          <ac:graphicFrameMkLst>
            <pc:docMk/>
            <pc:sldMk cId="3184321266" sldId="296"/>
            <ac:graphicFrameMk id="13" creationId="{0DCE691D-F1D3-A59D-26AD-2DFC9A93945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7T23:53:00.411" v="59545"/>
          <ac:graphicFrameMkLst>
            <pc:docMk/>
            <pc:sldMk cId="3184321266" sldId="296"/>
            <ac:graphicFrameMk id="16" creationId="{1ECE92BA-E1F8-F446-D0B9-97B07398B95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7T23:53:04.126" v="59612"/>
          <ac:graphicFrameMkLst>
            <pc:docMk/>
            <pc:sldMk cId="3184321266" sldId="296"/>
            <ac:graphicFrameMk id="18" creationId="{E81784EE-65FC-9341-FBA7-DBA0C0D25E95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7T23:53:18.424" v="59688"/>
          <ac:graphicFrameMkLst>
            <pc:docMk/>
            <pc:sldMk cId="3184321266" sldId="296"/>
            <ac:graphicFrameMk id="20" creationId="{BAB3D433-9C10-957A-88A6-CBB24FDD36B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7T23:53:18.425" v="59692"/>
          <ac:graphicFrameMkLst>
            <pc:docMk/>
            <pc:sldMk cId="3184321266" sldId="296"/>
            <ac:graphicFrameMk id="22" creationId="{A1F84227-3BC9-40D9-4E32-79901854FB54}"/>
          </ac:graphicFrameMkLst>
        </pc:graphicFrameChg>
        <pc:picChg chg="mod">
          <ac:chgData name="Joelle Brehm" userId="a518f54c-6985-42c0-8041-2bb16a414839" providerId="ADAL" clId="{E88466E7-2243-47F6-9EAE-9BF9DD0649AD}" dt="2024-04-07T23:53:18.422" v="59682"/>
          <ac:picMkLst>
            <pc:docMk/>
            <pc:sldMk cId="3184321266" sldId="296"/>
            <ac:picMk id="1026" creationId="{A81E4029-9E9C-E6AC-16A9-5E0666C1EEB4}"/>
          </ac:picMkLst>
        </pc:picChg>
      </pc:sldChg>
      <pc:sldChg chg="addSp delSp modSp mod">
        <pc:chgData name="Joelle Brehm" userId="a518f54c-6985-42c0-8041-2bb16a414839" providerId="ADAL" clId="{E88466E7-2243-47F6-9EAE-9BF9DD0649AD}" dt="2024-04-10T15:24:04.049" v="64962"/>
        <pc:sldMkLst>
          <pc:docMk/>
          <pc:sldMk cId="691181643" sldId="297"/>
        </pc:sldMkLst>
        <pc:spChg chg="add del mod">
          <ac:chgData name="Joelle Brehm" userId="a518f54c-6985-42c0-8041-2bb16a414839" providerId="ADAL" clId="{E88466E7-2243-47F6-9EAE-9BF9DD0649AD}" dt="2024-04-10T15:22:26.923" v="63784" actId="478"/>
          <ac:spMkLst>
            <pc:docMk/>
            <pc:sldMk cId="691181643" sldId="297"/>
            <ac:spMk id="2" creationId="{83ACD951-4E58-E243-D933-E533D7BAEBF4}"/>
          </ac:spMkLst>
        </pc:spChg>
        <pc:spChg chg="add del mod">
          <ac:chgData name="Joelle Brehm" userId="a518f54c-6985-42c0-8041-2bb16a414839" providerId="ADAL" clId="{E88466E7-2243-47F6-9EAE-9BF9DD0649AD}" dt="2024-04-04T21:12:13.678" v="40136" actId="478"/>
          <ac:spMkLst>
            <pc:docMk/>
            <pc:sldMk cId="691181643" sldId="297"/>
            <ac:spMk id="2" creationId="{B3D9EE3F-E49A-FAD1-26CA-B211893A8A18}"/>
          </ac:spMkLst>
        </pc:spChg>
        <pc:spChg chg="mod ord">
          <ac:chgData name="Joelle Brehm" userId="a518f54c-6985-42c0-8041-2bb16a414839" providerId="ADAL" clId="{E88466E7-2243-47F6-9EAE-9BF9DD0649AD}" dt="2024-04-10T15:24:04.015" v="64953"/>
          <ac:spMkLst>
            <pc:docMk/>
            <pc:sldMk cId="691181643" sldId="297"/>
            <ac:spMk id="3" creationId="{E352B70C-7A9D-8F6C-4CE6-D440060FF1E2}"/>
          </ac:spMkLst>
        </pc:spChg>
        <pc:spChg chg="add del mod modVis">
          <ac:chgData name="Joelle Brehm" userId="a518f54c-6985-42c0-8041-2bb16a414839" providerId="ADAL" clId="{E88466E7-2243-47F6-9EAE-9BF9DD0649AD}" dt="2024-04-04T21:12:24.254" v="40339"/>
          <ac:spMkLst>
            <pc:docMk/>
            <pc:sldMk cId="691181643" sldId="297"/>
            <ac:spMk id="5" creationId="{13E40A94-99A0-B520-7506-D04A005007A5}"/>
          </ac:spMkLst>
        </pc:spChg>
        <pc:spChg chg="add del mod modVis">
          <ac:chgData name="Joelle Brehm" userId="a518f54c-6985-42c0-8041-2bb16a414839" providerId="ADAL" clId="{E88466E7-2243-47F6-9EAE-9BF9DD0649AD}" dt="2024-04-10T15:22:38.537" v="63959"/>
          <ac:spMkLst>
            <pc:docMk/>
            <pc:sldMk cId="691181643" sldId="297"/>
            <ac:spMk id="5" creationId="{AC552AA0-F5E9-B974-8872-46888B3A4670}"/>
          </ac:spMkLst>
        </pc:spChg>
        <pc:spChg chg="mod ord">
          <ac:chgData name="Joelle Brehm" userId="a518f54c-6985-42c0-8041-2bb16a414839" providerId="ADAL" clId="{E88466E7-2243-47F6-9EAE-9BF9DD0649AD}" dt="2024-04-10T15:24:03.983" v="64900"/>
          <ac:spMkLst>
            <pc:docMk/>
            <pc:sldMk cId="691181643" sldId="297"/>
            <ac:spMk id="6" creationId="{37144386-4260-17AD-D649-2A9FECFC8E69}"/>
          </ac:spMkLst>
        </pc:spChg>
        <pc:spChg chg="add del mod modVis">
          <ac:chgData name="Joelle Brehm" userId="a518f54c-6985-42c0-8041-2bb16a414839" providerId="ADAL" clId="{E88466E7-2243-47F6-9EAE-9BF9DD0649AD}" dt="2024-04-04T21:12:53.367" v="40586"/>
          <ac:spMkLst>
            <pc:docMk/>
            <pc:sldMk cId="691181643" sldId="297"/>
            <ac:spMk id="10" creationId="{5BC19E99-FAFF-90B6-3BAF-B6F64BF3596F}"/>
          </ac:spMkLst>
        </pc:spChg>
        <pc:spChg chg="mod">
          <ac:chgData name="Joelle Brehm" userId="a518f54c-6985-42c0-8041-2bb16a414839" providerId="ADAL" clId="{E88466E7-2243-47F6-9EAE-9BF9DD0649AD}" dt="2024-04-10T15:24:03.990" v="64911"/>
          <ac:spMkLst>
            <pc:docMk/>
            <pc:sldMk cId="691181643" sldId="297"/>
            <ac:spMk id="11" creationId="{02BF5DC4-7E6B-48A3-B7C3-E226B893962E}"/>
          </ac:spMkLst>
        </pc:spChg>
        <pc:spChg chg="mod">
          <ac:chgData name="Joelle Brehm" userId="a518f54c-6985-42c0-8041-2bb16a414839" providerId="ADAL" clId="{E88466E7-2243-47F6-9EAE-9BF9DD0649AD}" dt="2024-04-10T15:24:03.987" v="64907"/>
          <ac:spMkLst>
            <pc:docMk/>
            <pc:sldMk cId="691181643" sldId="297"/>
            <ac:spMk id="12" creationId="{716ACC36-D399-95B2-BCEC-AE9CB99DD50A}"/>
          </ac:spMkLst>
        </pc:spChg>
        <pc:spChg chg="mod">
          <ac:chgData name="Joelle Brehm" userId="a518f54c-6985-42c0-8041-2bb16a414839" providerId="ADAL" clId="{E88466E7-2243-47F6-9EAE-9BF9DD0649AD}" dt="2024-04-10T15:24:03.988" v="64908"/>
          <ac:spMkLst>
            <pc:docMk/>
            <pc:sldMk cId="691181643" sldId="297"/>
            <ac:spMk id="13" creationId="{AD140D78-FDD5-695F-4A88-47F0D26CD5E1}"/>
          </ac:spMkLst>
        </pc:spChg>
        <pc:spChg chg="mod">
          <ac:chgData name="Joelle Brehm" userId="a518f54c-6985-42c0-8041-2bb16a414839" providerId="ADAL" clId="{E88466E7-2243-47F6-9EAE-9BF9DD0649AD}" dt="2024-04-10T15:24:03.986" v="64905"/>
          <ac:spMkLst>
            <pc:docMk/>
            <pc:sldMk cId="691181643" sldId="297"/>
            <ac:spMk id="14" creationId="{CB87F016-E61D-A5A6-BCE4-6CD0F8DE5D43}"/>
          </ac:spMkLst>
        </pc:spChg>
        <pc:spChg chg="mod">
          <ac:chgData name="Joelle Brehm" userId="a518f54c-6985-42c0-8041-2bb16a414839" providerId="ADAL" clId="{E88466E7-2243-47F6-9EAE-9BF9DD0649AD}" dt="2024-04-10T15:24:03.986" v="64906"/>
          <ac:spMkLst>
            <pc:docMk/>
            <pc:sldMk cId="691181643" sldId="297"/>
            <ac:spMk id="15" creationId="{50B6EFF4-ECF2-D261-34EF-07D689FDB03A}"/>
          </ac:spMkLst>
        </pc:spChg>
        <pc:spChg chg="mod">
          <ac:chgData name="Joelle Brehm" userId="a518f54c-6985-42c0-8041-2bb16a414839" providerId="ADAL" clId="{E88466E7-2243-47F6-9EAE-9BF9DD0649AD}" dt="2024-04-10T15:24:03.989" v="64909"/>
          <ac:spMkLst>
            <pc:docMk/>
            <pc:sldMk cId="691181643" sldId="297"/>
            <ac:spMk id="16" creationId="{D980E975-E330-68EC-477F-60F48A87FAD8}"/>
          </ac:spMkLst>
        </pc:spChg>
        <pc:spChg chg="mod">
          <ac:chgData name="Joelle Brehm" userId="a518f54c-6985-42c0-8041-2bb16a414839" providerId="ADAL" clId="{E88466E7-2243-47F6-9EAE-9BF9DD0649AD}" dt="2024-04-10T15:24:03.989" v="64910"/>
          <ac:spMkLst>
            <pc:docMk/>
            <pc:sldMk cId="691181643" sldId="297"/>
            <ac:spMk id="17" creationId="{D2BBB23C-0446-3CC4-77FA-286CB0F573C2}"/>
          </ac:spMkLst>
        </pc:spChg>
        <pc:spChg chg="mod">
          <ac:chgData name="Joelle Brehm" userId="a518f54c-6985-42c0-8041-2bb16a414839" providerId="ADAL" clId="{E88466E7-2243-47F6-9EAE-9BF9DD0649AD}" dt="2024-04-10T15:24:03.990" v="64912"/>
          <ac:spMkLst>
            <pc:docMk/>
            <pc:sldMk cId="691181643" sldId="297"/>
            <ac:spMk id="18" creationId="{65495921-8928-9A1E-927A-65A293D208C7}"/>
          </ac:spMkLst>
        </pc:spChg>
        <pc:spChg chg="mod">
          <ac:chgData name="Joelle Brehm" userId="a518f54c-6985-42c0-8041-2bb16a414839" providerId="ADAL" clId="{E88466E7-2243-47F6-9EAE-9BF9DD0649AD}" dt="2024-04-10T15:24:03.991" v="64913"/>
          <ac:spMkLst>
            <pc:docMk/>
            <pc:sldMk cId="691181643" sldId="297"/>
            <ac:spMk id="19" creationId="{CF683958-5957-5AC8-1047-E26BACAC97AD}"/>
          </ac:spMkLst>
        </pc:spChg>
        <pc:spChg chg="mod">
          <ac:chgData name="Joelle Brehm" userId="a518f54c-6985-42c0-8041-2bb16a414839" providerId="ADAL" clId="{E88466E7-2243-47F6-9EAE-9BF9DD0649AD}" dt="2024-04-10T15:24:03.992" v="64914"/>
          <ac:spMkLst>
            <pc:docMk/>
            <pc:sldMk cId="691181643" sldId="297"/>
            <ac:spMk id="20" creationId="{99757F7C-687C-6778-5B80-6F5459DC2377}"/>
          </ac:spMkLst>
        </pc:spChg>
        <pc:spChg chg="mod">
          <ac:chgData name="Joelle Brehm" userId="a518f54c-6985-42c0-8041-2bb16a414839" providerId="ADAL" clId="{E88466E7-2243-47F6-9EAE-9BF9DD0649AD}" dt="2024-04-10T15:24:03.993" v="64915"/>
          <ac:spMkLst>
            <pc:docMk/>
            <pc:sldMk cId="691181643" sldId="297"/>
            <ac:spMk id="21" creationId="{88662C75-372E-3172-0F30-2440B86A6E07}"/>
          </ac:spMkLst>
        </pc:spChg>
        <pc:spChg chg="mod">
          <ac:chgData name="Joelle Brehm" userId="a518f54c-6985-42c0-8041-2bb16a414839" providerId="ADAL" clId="{E88466E7-2243-47F6-9EAE-9BF9DD0649AD}" dt="2024-04-10T15:24:03.994" v="64916"/>
          <ac:spMkLst>
            <pc:docMk/>
            <pc:sldMk cId="691181643" sldId="297"/>
            <ac:spMk id="22" creationId="{2D9142C4-67A0-25E1-D2CF-B2635DF32607}"/>
          </ac:spMkLst>
        </pc:spChg>
        <pc:spChg chg="mod ord">
          <ac:chgData name="Joelle Brehm" userId="a518f54c-6985-42c0-8041-2bb16a414839" providerId="ADAL" clId="{E88466E7-2243-47F6-9EAE-9BF9DD0649AD}" dt="2024-04-10T15:24:03.995" v="64918"/>
          <ac:spMkLst>
            <pc:docMk/>
            <pc:sldMk cId="691181643" sldId="297"/>
            <ac:spMk id="23" creationId="{E55438EE-F637-2FA3-2C0E-B05EA6D8C1E8}"/>
          </ac:spMkLst>
        </pc:spChg>
        <pc:spChg chg="mod">
          <ac:chgData name="Joelle Brehm" userId="a518f54c-6985-42c0-8041-2bb16a414839" providerId="ADAL" clId="{E88466E7-2243-47F6-9EAE-9BF9DD0649AD}" dt="2024-04-10T15:24:03.996" v="64919"/>
          <ac:spMkLst>
            <pc:docMk/>
            <pc:sldMk cId="691181643" sldId="297"/>
            <ac:spMk id="24" creationId="{F4D0BFA4-5AB2-BBC0-BC0F-1E4C03E222AF}"/>
          </ac:spMkLst>
        </pc:spChg>
        <pc:spChg chg="mod">
          <ac:chgData name="Joelle Brehm" userId="a518f54c-6985-42c0-8041-2bb16a414839" providerId="ADAL" clId="{E88466E7-2243-47F6-9EAE-9BF9DD0649AD}" dt="2024-04-10T15:24:03.996" v="64921"/>
          <ac:spMkLst>
            <pc:docMk/>
            <pc:sldMk cId="691181643" sldId="297"/>
            <ac:spMk id="25" creationId="{5FD262B9-E4EE-5C5B-CBBE-842B5C267DD1}"/>
          </ac:spMkLst>
        </pc:spChg>
        <pc:spChg chg="mod">
          <ac:chgData name="Joelle Brehm" userId="a518f54c-6985-42c0-8041-2bb16a414839" providerId="ADAL" clId="{E88466E7-2243-47F6-9EAE-9BF9DD0649AD}" dt="2024-04-10T15:24:03.996" v="64920"/>
          <ac:spMkLst>
            <pc:docMk/>
            <pc:sldMk cId="691181643" sldId="297"/>
            <ac:spMk id="26" creationId="{790670ED-11A2-E0D0-D7A5-53436D971104}"/>
          </ac:spMkLst>
        </pc:spChg>
        <pc:spChg chg="mod">
          <ac:chgData name="Joelle Brehm" userId="a518f54c-6985-42c0-8041-2bb16a414839" providerId="ADAL" clId="{E88466E7-2243-47F6-9EAE-9BF9DD0649AD}" dt="2024-04-10T15:24:03.997" v="64923"/>
          <ac:spMkLst>
            <pc:docMk/>
            <pc:sldMk cId="691181643" sldId="297"/>
            <ac:spMk id="27" creationId="{074A3588-4A02-E75B-E640-8244EDF702A1}"/>
          </ac:spMkLst>
        </pc:spChg>
        <pc:spChg chg="mod">
          <ac:chgData name="Joelle Brehm" userId="a518f54c-6985-42c0-8041-2bb16a414839" providerId="ADAL" clId="{E88466E7-2243-47F6-9EAE-9BF9DD0649AD}" dt="2024-04-10T15:24:03.998" v="64924"/>
          <ac:spMkLst>
            <pc:docMk/>
            <pc:sldMk cId="691181643" sldId="297"/>
            <ac:spMk id="28" creationId="{326C9293-A5D0-4EDC-4211-AC7D030AF457}"/>
          </ac:spMkLst>
        </pc:spChg>
        <pc:spChg chg="mod">
          <ac:chgData name="Joelle Brehm" userId="a518f54c-6985-42c0-8041-2bb16a414839" providerId="ADAL" clId="{E88466E7-2243-47F6-9EAE-9BF9DD0649AD}" dt="2024-04-10T15:24:03.997" v="64922"/>
          <ac:spMkLst>
            <pc:docMk/>
            <pc:sldMk cId="691181643" sldId="297"/>
            <ac:spMk id="29" creationId="{E329C5DC-1864-0128-B1E2-CE87D618F8DF}"/>
          </ac:spMkLst>
        </pc:spChg>
        <pc:spChg chg="mod ord">
          <ac:chgData name="Joelle Brehm" userId="a518f54c-6985-42c0-8041-2bb16a414839" providerId="ADAL" clId="{E88466E7-2243-47F6-9EAE-9BF9DD0649AD}" dt="2024-04-10T15:24:03.999" v="64926"/>
          <ac:spMkLst>
            <pc:docMk/>
            <pc:sldMk cId="691181643" sldId="297"/>
            <ac:spMk id="30" creationId="{DD13A74B-6D89-8AED-C069-E05CCAE360C9}"/>
          </ac:spMkLst>
        </pc:spChg>
        <pc:spChg chg="add del mod replST">
          <ac:chgData name="Joelle Brehm" userId="a518f54c-6985-42c0-8041-2bb16a414839" providerId="ADAL" clId="{E88466E7-2243-47F6-9EAE-9BF9DD0649AD}" dt="2024-04-10T15:22:45.194" v="64129"/>
          <ac:spMkLst>
            <pc:docMk/>
            <pc:sldMk cId="691181643" sldId="297"/>
            <ac:spMk id="31" creationId="{F25800CB-4668-114E-639E-3E4F87118605}"/>
          </ac:spMkLst>
        </pc:spChg>
        <pc:spChg chg="add mod replST">
          <ac:chgData name="Joelle Brehm" userId="a518f54c-6985-42c0-8041-2bb16a414839" providerId="ADAL" clId="{E88466E7-2243-47F6-9EAE-9BF9DD0649AD}" dt="2024-04-10T15:24:04.002" v="64930"/>
          <ac:spMkLst>
            <pc:docMk/>
            <pc:sldMk cId="691181643" sldId="297"/>
            <ac:spMk id="33" creationId="{59B0E788-E20C-9C4C-D48E-6BD2D3D7A778}"/>
          </ac:spMkLst>
        </pc:spChg>
        <pc:spChg chg="add del mod modVis">
          <ac:chgData name="Joelle Brehm" userId="a518f54c-6985-42c0-8041-2bb16a414839" providerId="ADAL" clId="{E88466E7-2243-47F6-9EAE-9BF9DD0649AD}" dt="2024-04-10T15:22:39.491" v="64126"/>
          <ac:spMkLst>
            <pc:docMk/>
            <pc:sldMk cId="691181643" sldId="297"/>
            <ac:spMk id="34" creationId="{421F4DC3-A2F3-F3BE-DFCB-50C6ACAC486F}"/>
          </ac:spMkLst>
        </pc:spChg>
        <pc:spChg chg="add del mod modVis">
          <ac:chgData name="Joelle Brehm" userId="a518f54c-6985-42c0-8041-2bb16a414839" providerId="ADAL" clId="{E88466E7-2243-47F6-9EAE-9BF9DD0649AD}" dt="2024-04-04T21:13:03.733" v="40859"/>
          <ac:spMkLst>
            <pc:docMk/>
            <pc:sldMk cId="691181643" sldId="297"/>
            <ac:spMk id="34" creationId="{7A896703-B1B4-BCDA-C2C3-CE561D526CF2}"/>
          </ac:spMkLst>
        </pc:spChg>
        <pc:spChg chg="add del mod modVis">
          <ac:chgData name="Joelle Brehm" userId="a518f54c-6985-42c0-8041-2bb16a414839" providerId="ADAL" clId="{E88466E7-2243-47F6-9EAE-9BF9DD0649AD}" dt="2024-04-10T15:22:45.453" v="64254"/>
          <ac:spMkLst>
            <pc:docMk/>
            <pc:sldMk cId="691181643" sldId="297"/>
            <ac:spMk id="36" creationId="{3142D682-BF3B-4E24-8712-E487CA6BDF66}"/>
          </ac:spMkLst>
        </pc:spChg>
        <pc:spChg chg="add del mod modVis">
          <ac:chgData name="Joelle Brehm" userId="a518f54c-6985-42c0-8041-2bb16a414839" providerId="ADAL" clId="{E88466E7-2243-47F6-9EAE-9BF9DD0649AD}" dt="2024-04-04T21:13:09.620" v="40972"/>
          <ac:spMkLst>
            <pc:docMk/>
            <pc:sldMk cId="691181643" sldId="297"/>
            <ac:spMk id="36" creationId="{3228ABCF-47D1-1780-EF3D-7581A8562A71}"/>
          </ac:spMkLst>
        </pc:spChg>
        <pc:spChg chg="add del mod modVis">
          <ac:chgData name="Joelle Brehm" userId="a518f54c-6985-42c0-8041-2bb16a414839" providerId="ADAL" clId="{E88466E7-2243-47F6-9EAE-9BF9DD0649AD}" dt="2024-04-10T15:22:47.173" v="64377"/>
          <ac:spMkLst>
            <pc:docMk/>
            <pc:sldMk cId="691181643" sldId="297"/>
            <ac:spMk id="38" creationId="{447BB847-22FA-A604-AA2D-42B0B63CB3FC}"/>
          </ac:spMkLst>
        </pc:spChg>
        <pc:spChg chg="add del mod modVis">
          <ac:chgData name="Joelle Brehm" userId="a518f54c-6985-42c0-8041-2bb16a414839" providerId="ADAL" clId="{E88466E7-2243-47F6-9EAE-9BF9DD0649AD}" dt="2024-04-04T21:13:21.345" v="41081"/>
          <ac:spMkLst>
            <pc:docMk/>
            <pc:sldMk cId="691181643" sldId="297"/>
            <ac:spMk id="38" creationId="{989C3F7D-07F7-C9A9-E095-10BE3AED2CF8}"/>
          </ac:spMkLst>
        </pc:spChg>
        <pc:spChg chg="add del mod modVis">
          <ac:chgData name="Joelle Brehm" userId="a518f54c-6985-42c0-8041-2bb16a414839" providerId="ADAL" clId="{E88466E7-2243-47F6-9EAE-9BF9DD0649AD}" dt="2024-04-10T15:22:48.445" v="64504"/>
          <ac:spMkLst>
            <pc:docMk/>
            <pc:sldMk cId="691181643" sldId="297"/>
            <ac:spMk id="41" creationId="{59E84E2C-5261-EDCB-9B6C-DA780D2047DA}"/>
          </ac:spMkLst>
        </pc:spChg>
        <pc:spChg chg="add del mod modVis">
          <ac:chgData name="Joelle Brehm" userId="a518f54c-6985-42c0-8041-2bb16a414839" providerId="ADAL" clId="{E88466E7-2243-47F6-9EAE-9BF9DD0649AD}" dt="2024-04-10T15:23:34.954" v="64696"/>
          <ac:spMkLst>
            <pc:docMk/>
            <pc:sldMk cId="691181643" sldId="297"/>
            <ac:spMk id="43" creationId="{45D051BB-CC10-AC02-38FC-0838636631EF}"/>
          </ac:spMkLst>
        </pc:spChg>
        <pc:spChg chg="mod">
          <ac:chgData name="Joelle Brehm" userId="a518f54c-6985-42c0-8041-2bb16a414839" providerId="ADAL" clId="{E88466E7-2243-47F6-9EAE-9BF9DD0649AD}" dt="2024-04-10T15:24:04.001" v="64929"/>
          <ac:spMkLst>
            <pc:docMk/>
            <pc:sldMk cId="691181643" sldId="297"/>
            <ac:spMk id="44" creationId="{6B978AFC-A986-0352-AEF6-422F66617A4E}"/>
          </ac:spMkLst>
        </pc:spChg>
        <pc:spChg chg="add del mod modVis">
          <ac:chgData name="Joelle Brehm" userId="a518f54c-6985-42c0-8041-2bb16a414839" providerId="ADAL" clId="{E88466E7-2243-47F6-9EAE-9BF9DD0649AD}" dt="2024-04-10T15:24:04.020" v="64960"/>
          <ac:spMkLst>
            <pc:docMk/>
            <pc:sldMk cId="691181643" sldId="297"/>
            <ac:spMk id="47" creationId="{528E60F2-1F21-708C-78CC-4ED8BB527E04}"/>
          </ac:spMkLst>
        </pc:spChg>
        <pc:spChg chg="mod ord">
          <ac:chgData name="Joelle Brehm" userId="a518f54c-6985-42c0-8041-2bb16a414839" providerId="ADAL" clId="{E88466E7-2243-47F6-9EAE-9BF9DD0649AD}" dt="2024-04-10T15:24:04.003" v="64932"/>
          <ac:spMkLst>
            <pc:docMk/>
            <pc:sldMk cId="691181643" sldId="297"/>
            <ac:spMk id="78" creationId="{98C90A5D-A6CB-ABB8-DC63-03278FBCB561}"/>
          </ac:spMkLst>
        </pc:spChg>
        <pc:spChg chg="mod ord">
          <ac:chgData name="Joelle Brehm" userId="a518f54c-6985-42c0-8041-2bb16a414839" providerId="ADAL" clId="{E88466E7-2243-47F6-9EAE-9BF9DD0649AD}" dt="2024-04-10T15:24:04.005" v="64934"/>
          <ac:spMkLst>
            <pc:docMk/>
            <pc:sldMk cId="691181643" sldId="297"/>
            <ac:spMk id="79" creationId="{6462C443-5638-1A41-C459-2DF66B866EDA}"/>
          </ac:spMkLst>
        </pc:spChg>
        <pc:spChg chg="mod ord">
          <ac:chgData name="Joelle Brehm" userId="a518f54c-6985-42c0-8041-2bb16a414839" providerId="ADAL" clId="{E88466E7-2243-47F6-9EAE-9BF9DD0649AD}" dt="2024-04-10T15:24:04.006" v="64936"/>
          <ac:spMkLst>
            <pc:docMk/>
            <pc:sldMk cId="691181643" sldId="297"/>
            <ac:spMk id="100" creationId="{7FC258AD-340F-DBAB-C9DB-CAF57178614D}"/>
          </ac:spMkLst>
        </pc:spChg>
        <pc:spChg chg="mod ord">
          <ac:chgData name="Joelle Brehm" userId="a518f54c-6985-42c0-8041-2bb16a414839" providerId="ADAL" clId="{E88466E7-2243-47F6-9EAE-9BF9DD0649AD}" dt="2024-04-10T15:24:04.007" v="64938"/>
          <ac:spMkLst>
            <pc:docMk/>
            <pc:sldMk cId="691181643" sldId="297"/>
            <ac:spMk id="108" creationId="{606A0223-A506-3818-5143-A2CA029E3AF2}"/>
          </ac:spMkLst>
        </pc:spChg>
        <pc:spChg chg="mod ord">
          <ac:chgData name="Joelle Brehm" userId="a518f54c-6985-42c0-8041-2bb16a414839" providerId="ADAL" clId="{E88466E7-2243-47F6-9EAE-9BF9DD0649AD}" dt="2024-04-10T15:24:04.008" v="64940"/>
          <ac:spMkLst>
            <pc:docMk/>
            <pc:sldMk cId="691181643" sldId="297"/>
            <ac:spMk id="109" creationId="{7BEDB0ED-D13E-1714-C6F0-A02EF316F132}"/>
          </ac:spMkLst>
        </pc:spChg>
        <pc:spChg chg="mod ord">
          <ac:chgData name="Joelle Brehm" userId="a518f54c-6985-42c0-8041-2bb16a414839" providerId="ADAL" clId="{E88466E7-2243-47F6-9EAE-9BF9DD0649AD}" dt="2024-04-10T15:24:04.009" v="64942"/>
          <ac:spMkLst>
            <pc:docMk/>
            <pc:sldMk cId="691181643" sldId="297"/>
            <ac:spMk id="110" creationId="{06800A4A-BF98-F3CF-A472-BC9F58811EF4}"/>
          </ac:spMkLst>
        </pc:spChg>
        <pc:spChg chg="mod ord">
          <ac:chgData name="Joelle Brehm" userId="a518f54c-6985-42c0-8041-2bb16a414839" providerId="ADAL" clId="{E88466E7-2243-47F6-9EAE-9BF9DD0649AD}" dt="2024-04-10T15:24:04.017" v="64955"/>
          <ac:spMkLst>
            <pc:docMk/>
            <pc:sldMk cId="691181643" sldId="297"/>
            <ac:spMk id="116" creationId="{1FE84FA0-510F-7B5C-864C-30121652B032}"/>
          </ac:spMkLst>
        </pc:spChg>
        <pc:spChg chg="mod">
          <ac:chgData name="Joelle Brehm" userId="a518f54c-6985-42c0-8041-2bb16a414839" providerId="ADAL" clId="{E88466E7-2243-47F6-9EAE-9BF9DD0649AD}" dt="2024-04-10T15:24:04.011" v="64945"/>
          <ac:spMkLst>
            <pc:docMk/>
            <pc:sldMk cId="691181643" sldId="297"/>
            <ac:spMk id="133" creationId="{5424138A-AB7B-0F7B-15F3-FAA030115ECF}"/>
          </ac:spMkLst>
        </pc:spChg>
        <pc:spChg chg="mod">
          <ac:chgData name="Joelle Brehm" userId="a518f54c-6985-42c0-8041-2bb16a414839" providerId="ADAL" clId="{E88466E7-2243-47F6-9EAE-9BF9DD0649AD}" dt="2024-04-10T15:24:04.011" v="64946"/>
          <ac:spMkLst>
            <pc:docMk/>
            <pc:sldMk cId="691181643" sldId="297"/>
            <ac:spMk id="135" creationId="{BA495C2F-E652-0B75-7A16-F6A1F64312BE}"/>
          </ac:spMkLst>
        </pc:spChg>
        <pc:spChg chg="mod">
          <ac:chgData name="Joelle Brehm" userId="a518f54c-6985-42c0-8041-2bb16a414839" providerId="ADAL" clId="{E88466E7-2243-47F6-9EAE-9BF9DD0649AD}" dt="2024-04-10T15:24:04.012" v="64947"/>
          <ac:spMkLst>
            <pc:docMk/>
            <pc:sldMk cId="691181643" sldId="297"/>
            <ac:spMk id="136" creationId="{CB3283BC-69A1-DE36-1760-FDD3588B4CAD}"/>
          </ac:spMkLst>
        </pc:spChg>
        <pc:spChg chg="mod">
          <ac:chgData name="Joelle Brehm" userId="a518f54c-6985-42c0-8041-2bb16a414839" providerId="ADAL" clId="{E88466E7-2243-47F6-9EAE-9BF9DD0649AD}" dt="2024-04-10T15:24:04.012" v="64948"/>
          <ac:spMkLst>
            <pc:docMk/>
            <pc:sldMk cId="691181643" sldId="297"/>
            <ac:spMk id="157" creationId="{E4B79A22-8103-94CD-F875-9827A05F8002}"/>
          </ac:spMkLst>
        </pc:spChg>
        <pc:spChg chg="mod">
          <ac:chgData name="Joelle Brehm" userId="a518f54c-6985-42c0-8041-2bb16a414839" providerId="ADAL" clId="{E88466E7-2243-47F6-9EAE-9BF9DD0649AD}" dt="2024-04-10T15:24:04.013" v="64949"/>
          <ac:spMkLst>
            <pc:docMk/>
            <pc:sldMk cId="691181643" sldId="297"/>
            <ac:spMk id="158" creationId="{7A7BF95B-537C-2588-A4E4-756592017FC8}"/>
          </ac:spMkLst>
        </pc:spChg>
        <pc:graphicFrameChg chg="mod">
          <ac:chgData name="Joelle Brehm" userId="a518f54c-6985-42c0-8041-2bb16a414839" providerId="ADAL" clId="{E88466E7-2243-47F6-9EAE-9BF9DD0649AD}" dt="2024-04-10T15:24:04.049" v="64962"/>
          <ac:graphicFrameMkLst>
            <pc:docMk/>
            <pc:sldMk cId="691181643" sldId="297"/>
            <ac:graphicFrameMk id="4" creationId="{419D2559-42BC-46AC-BFDB-B77F1539CB1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3:34.882" v="64622"/>
          <ac:graphicFrameMkLst>
            <pc:docMk/>
            <pc:sldMk cId="691181643" sldId="297"/>
            <ac:graphicFrameMk id="8" creationId="{EAE62C60-B11A-4F12-6D17-80480BA74FE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2:39.372" v="64051"/>
          <ac:graphicFrameMkLst>
            <pc:docMk/>
            <pc:sldMk cId="691181643" sldId="297"/>
            <ac:graphicFrameMk id="10" creationId="{4E52C1AC-4C9D-0546-6136-61E3D7C6447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2:56.820" v="40608"/>
          <ac:graphicFrameMkLst>
            <pc:docMk/>
            <pc:sldMk cId="691181643" sldId="297"/>
            <ac:graphicFrameMk id="31" creationId="{A164D618-8EA1-3E10-3992-A21FEE6B8CC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4:03.923" v="64890"/>
          <ac:graphicFrameMkLst>
            <pc:docMk/>
            <pc:sldMk cId="691181643" sldId="297"/>
            <ac:graphicFrameMk id="32" creationId="{FC302DFE-6536-C0C4-152F-CCDE0B95BB8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2:45.331" v="64184"/>
          <ac:graphicFrameMkLst>
            <pc:docMk/>
            <pc:sldMk cId="691181643" sldId="297"/>
            <ac:graphicFrameMk id="35" creationId="{17C1A3C9-022E-0545-0517-4D614C3BB610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3:09.573" v="40902"/>
          <ac:graphicFrameMkLst>
            <pc:docMk/>
            <pc:sldMk cId="691181643" sldId="297"/>
            <ac:graphicFrameMk id="35" creationId="{EE316FCF-E0CA-C243-8976-9FD0E9253340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1:13:21.307" v="41011"/>
          <ac:graphicFrameMkLst>
            <pc:docMk/>
            <pc:sldMk cId="691181643" sldId="297"/>
            <ac:graphicFrameMk id="37" creationId="{4FA9B1E3-0C92-47A2-1178-8428A4DCB0F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2:47.020" v="64307"/>
          <ac:graphicFrameMkLst>
            <pc:docMk/>
            <pc:sldMk cId="691181643" sldId="297"/>
            <ac:graphicFrameMk id="37" creationId="{A91E6E83-52D4-E550-1B97-35B561E2739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2:38.437" v="63883"/>
          <ac:graphicFrameMkLst>
            <pc:docMk/>
            <pc:sldMk cId="691181643" sldId="297"/>
            <ac:graphicFrameMk id="39" creationId="{90B6812E-6AD6-28F9-59EB-6C9295CB535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2:48.337" v="64434"/>
          <ac:graphicFrameMkLst>
            <pc:docMk/>
            <pc:sldMk cId="691181643" sldId="297"/>
            <ac:graphicFrameMk id="40" creationId="{3C585309-D1DE-6A0B-1009-2BB00DF9E97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24:04.001" v="64928"/>
          <ac:graphicFrameMkLst>
            <pc:docMk/>
            <pc:sldMk cId="691181643" sldId="297"/>
            <ac:graphicFrameMk id="42" creationId="{CABE0822-8D21-E97E-4C83-5E1BB4A392E7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24:03.985" v="64904"/>
          <ac:graphicFrameMkLst>
            <pc:docMk/>
            <pc:sldMk cId="691181643" sldId="297"/>
            <ac:graphicFrameMk id="45" creationId="{C88947CA-1DEB-8BED-1BFE-F44F44B04764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24:04.009" v="64944"/>
          <ac:graphicFrameMkLst>
            <pc:docMk/>
            <pc:sldMk cId="691181643" sldId="297"/>
            <ac:graphicFrameMk id="48" creationId="{8AA005A4-DCD1-A1DD-4C3B-F582A3F434E2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2:53.313" v="40517"/>
          <ac:graphicFrameMkLst>
            <pc:docMk/>
            <pc:sldMk cId="691181643" sldId="297"/>
            <ac:graphicFrameMk id="121" creationId="{837C417E-9A9C-6772-C026-265F32D7C7E3}"/>
          </ac:graphicFrameMkLst>
        </pc:graphicFrameChg>
        <pc:graphicFrameChg chg="del">
          <ac:chgData name="Joelle Brehm" userId="a518f54c-6985-42c0-8041-2bb16a414839" providerId="ADAL" clId="{E88466E7-2243-47F6-9EAE-9BF9DD0649AD}" dt="2024-04-04T21:12:24.211" v="40266"/>
          <ac:graphicFrameMkLst>
            <pc:docMk/>
            <pc:sldMk cId="691181643" sldId="297"/>
            <ac:graphicFrameMk id="123" creationId="{926595F3-B340-4891-8BEC-6E63A7775089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1:13:03.671" v="40783"/>
          <ac:graphicFrameMkLst>
            <pc:docMk/>
            <pc:sldMk cId="691181643" sldId="297"/>
            <ac:graphicFrameMk id="144" creationId="{5EA47312-E696-C50E-060F-91A918716963}"/>
          </ac:graphicFrameMkLst>
        </pc:graphicFrameChg>
        <pc:picChg chg="add del mod ord">
          <ac:chgData name="Joelle Brehm" userId="a518f54c-6985-42c0-8041-2bb16a414839" providerId="ADAL" clId="{E88466E7-2243-47F6-9EAE-9BF9DD0649AD}" dt="2024-04-10T15:23:55.753" v="64773" actId="478"/>
          <ac:picMkLst>
            <pc:docMk/>
            <pc:sldMk cId="691181643" sldId="297"/>
            <ac:picMk id="9" creationId="{297E09A2-6C03-980A-84D5-B08914433404}"/>
          </ac:picMkLst>
        </pc:picChg>
        <pc:picChg chg="add mod ord">
          <ac:chgData name="Joelle Brehm" userId="a518f54c-6985-42c0-8041-2bb16a414839" providerId="ADAL" clId="{E88466E7-2243-47F6-9EAE-9BF9DD0649AD}" dt="2024-04-10T15:24:03.981" v="64898"/>
          <ac:picMkLst>
            <pc:docMk/>
            <pc:sldMk cId="691181643" sldId="297"/>
            <ac:picMk id="46" creationId="{CADD6FCC-4B57-31A0-EEF5-9CA4D61EDF31}"/>
          </ac:picMkLst>
        </pc:picChg>
        <pc:picChg chg="del mod ord">
          <ac:chgData name="Joelle Brehm" userId="a518f54c-6985-42c0-8041-2bb16a414839" providerId="ADAL" clId="{E88466E7-2243-47F6-9EAE-9BF9DD0649AD}" dt="2024-04-04T21:12:43.134" v="40414" actId="478"/>
          <ac:picMkLst>
            <pc:docMk/>
            <pc:sldMk cId="691181643" sldId="297"/>
            <ac:picMk id="117" creationId="{501537C5-BFB5-6947-B4D7-64F37D4E041C}"/>
          </ac:picMkLst>
        </pc:picChg>
        <pc:picChg chg="mod ord">
          <ac:chgData name="Joelle Brehm" userId="a518f54c-6985-42c0-8041-2bb16a414839" providerId="ADAL" clId="{E88466E7-2243-47F6-9EAE-9BF9DD0649AD}" dt="2024-04-10T15:24:04.014" v="64951"/>
          <ac:picMkLst>
            <pc:docMk/>
            <pc:sldMk cId="691181643" sldId="297"/>
            <ac:picMk id="185" creationId="{9FFEEFE7-BA59-B86C-A215-C2885FAFB419}"/>
          </ac:picMkLst>
        </pc:picChg>
        <pc:picChg chg="mod">
          <ac:chgData name="Joelle Brehm" userId="a518f54c-6985-42c0-8041-2bb16a414839" providerId="ADAL" clId="{E88466E7-2243-47F6-9EAE-9BF9DD0649AD}" dt="2024-04-10T15:24:04.017" v="64956"/>
          <ac:picMkLst>
            <pc:docMk/>
            <pc:sldMk cId="691181643" sldId="297"/>
            <ac:picMk id="1026" creationId="{9954C29C-BCE7-2698-3D0E-771A38088457}"/>
          </ac:picMkLst>
        </pc:picChg>
        <pc:cxnChg chg="mod ord">
          <ac:chgData name="Joelle Brehm" userId="a518f54c-6985-42c0-8041-2bb16a414839" providerId="ADAL" clId="{E88466E7-2243-47F6-9EAE-9BF9DD0649AD}" dt="2024-04-10T15:24:03.984" v="64902"/>
          <ac:cxnSpMkLst>
            <pc:docMk/>
            <pc:sldMk cId="691181643" sldId="297"/>
            <ac:cxnSpMk id="7" creationId="{BB10A77B-1D7D-C192-4A0C-D5604924950E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10T15:34:38.706" v="66867"/>
        <pc:sldMkLst>
          <pc:docMk/>
          <pc:sldMk cId="2408005870" sldId="298"/>
        </pc:sldMkLst>
        <pc:spChg chg="mod ord">
          <ac:chgData name="Joelle Brehm" userId="a518f54c-6985-42c0-8041-2bb16a414839" providerId="ADAL" clId="{E88466E7-2243-47F6-9EAE-9BF9DD0649AD}" dt="2024-04-10T15:34:38.689" v="66858"/>
          <ac:spMkLst>
            <pc:docMk/>
            <pc:sldMk cId="2408005870" sldId="298"/>
            <ac:spMk id="2" creationId="{0ED69946-FBC9-508C-7A76-E57B5F06DB25}"/>
          </ac:spMkLst>
        </pc:spChg>
        <pc:spChg chg="mod ord">
          <ac:chgData name="Joelle Brehm" userId="a518f54c-6985-42c0-8041-2bb16a414839" providerId="ADAL" clId="{E88466E7-2243-47F6-9EAE-9BF9DD0649AD}" dt="2024-04-10T15:34:38.690" v="66860"/>
          <ac:spMkLst>
            <pc:docMk/>
            <pc:sldMk cId="2408005870" sldId="298"/>
            <ac:spMk id="3" creationId="{9D385F7A-0D5E-BAA8-F542-D726F01E82AF}"/>
          </ac:spMkLst>
        </pc:spChg>
        <pc:spChg chg="add del mod">
          <ac:chgData name="Joelle Brehm" userId="a518f54c-6985-42c0-8041-2bb16a414839" providerId="ADAL" clId="{E88466E7-2243-47F6-9EAE-9BF9DD0649AD}" dt="2024-04-04T22:15:32.566" v="58104" actId="478"/>
          <ac:spMkLst>
            <pc:docMk/>
            <pc:sldMk cId="2408005870" sldId="298"/>
            <ac:spMk id="5" creationId="{9954786E-5F30-F6DE-D154-B8C117DE4AE7}"/>
          </ac:spMkLst>
        </pc:spChg>
        <pc:spChg chg="add del mod ord">
          <ac:chgData name="Joelle Brehm" userId="a518f54c-6985-42c0-8041-2bb16a414839" providerId="ADAL" clId="{E88466E7-2243-47F6-9EAE-9BF9DD0649AD}" dt="2024-04-10T15:33:18.822" v="66281" actId="478"/>
          <ac:spMkLst>
            <pc:docMk/>
            <pc:sldMk cId="2408005870" sldId="298"/>
            <ac:spMk id="5" creationId="{A92AE1B3-CA8B-E088-1669-60423DDF86B9}"/>
          </ac:spMkLst>
        </pc:spChg>
        <pc:spChg chg="mod ord">
          <ac:chgData name="Joelle Brehm" userId="a518f54c-6985-42c0-8041-2bb16a414839" providerId="ADAL" clId="{E88466E7-2243-47F6-9EAE-9BF9DD0649AD}" dt="2024-04-10T15:34:38.671" v="66802"/>
          <ac:spMkLst>
            <pc:docMk/>
            <pc:sldMk cId="2408005870" sldId="298"/>
            <ac:spMk id="6" creationId="{DE41C5D9-5F86-503E-31CB-2261C660FBA8}"/>
          </ac:spMkLst>
        </pc:spChg>
        <pc:spChg chg="add del mod modVis">
          <ac:chgData name="Joelle Brehm" userId="a518f54c-6985-42c0-8041-2bb16a414839" providerId="ADAL" clId="{E88466E7-2243-47F6-9EAE-9BF9DD0649AD}" dt="2024-04-04T22:15:39.274" v="58313"/>
          <ac:spMkLst>
            <pc:docMk/>
            <pc:sldMk cId="2408005870" sldId="298"/>
            <ac:spMk id="8" creationId="{070DB940-D343-9BE1-B73B-D458D7BB4ED8}"/>
          </ac:spMkLst>
        </pc:spChg>
        <pc:spChg chg="add del mod modVis">
          <ac:chgData name="Joelle Brehm" userId="a518f54c-6985-42c0-8041-2bb16a414839" providerId="ADAL" clId="{E88466E7-2243-47F6-9EAE-9BF9DD0649AD}" dt="2024-04-10T15:33:09.449" v="66278"/>
          <ac:spMkLst>
            <pc:docMk/>
            <pc:sldMk cId="2408005870" sldId="298"/>
            <ac:spMk id="8" creationId="{E4C57074-AD1E-9109-BFAF-DC3879D414DF}"/>
          </ac:spMkLst>
        </pc:spChg>
        <pc:spChg chg="mod">
          <ac:chgData name="Joelle Brehm" userId="a518f54c-6985-42c0-8041-2bb16a414839" providerId="ADAL" clId="{E88466E7-2243-47F6-9EAE-9BF9DD0649AD}" dt="2024-04-10T15:34:38.675" v="66813"/>
          <ac:spMkLst>
            <pc:docMk/>
            <pc:sldMk cId="2408005870" sldId="298"/>
            <ac:spMk id="11" creationId="{CA016300-C2A3-5479-F7F1-63A6DBB1977B}"/>
          </ac:spMkLst>
        </pc:spChg>
        <pc:spChg chg="mod">
          <ac:chgData name="Joelle Brehm" userId="a518f54c-6985-42c0-8041-2bb16a414839" providerId="ADAL" clId="{E88466E7-2243-47F6-9EAE-9BF9DD0649AD}" dt="2024-04-10T15:34:38.673" v="66809"/>
          <ac:spMkLst>
            <pc:docMk/>
            <pc:sldMk cId="2408005870" sldId="298"/>
            <ac:spMk id="12" creationId="{95F9EB3F-3A35-4028-E594-42ACA739D3C0}"/>
          </ac:spMkLst>
        </pc:spChg>
        <pc:spChg chg="mod">
          <ac:chgData name="Joelle Brehm" userId="a518f54c-6985-42c0-8041-2bb16a414839" providerId="ADAL" clId="{E88466E7-2243-47F6-9EAE-9BF9DD0649AD}" dt="2024-04-10T15:34:38.674" v="66810"/>
          <ac:spMkLst>
            <pc:docMk/>
            <pc:sldMk cId="2408005870" sldId="298"/>
            <ac:spMk id="13" creationId="{97D6763B-6469-7EB9-E8DE-188261B2C2FA}"/>
          </ac:spMkLst>
        </pc:spChg>
        <pc:spChg chg="mod">
          <ac:chgData name="Joelle Brehm" userId="a518f54c-6985-42c0-8041-2bb16a414839" providerId="ADAL" clId="{E88466E7-2243-47F6-9EAE-9BF9DD0649AD}" dt="2024-04-10T15:34:38.673" v="66807"/>
          <ac:spMkLst>
            <pc:docMk/>
            <pc:sldMk cId="2408005870" sldId="298"/>
            <ac:spMk id="14" creationId="{16A22A32-B4BE-8C31-E1A5-E7423618FC14}"/>
          </ac:spMkLst>
        </pc:spChg>
        <pc:spChg chg="mod">
          <ac:chgData name="Joelle Brehm" userId="a518f54c-6985-42c0-8041-2bb16a414839" providerId="ADAL" clId="{E88466E7-2243-47F6-9EAE-9BF9DD0649AD}" dt="2024-04-10T15:34:38.673" v="66808"/>
          <ac:spMkLst>
            <pc:docMk/>
            <pc:sldMk cId="2408005870" sldId="298"/>
            <ac:spMk id="15" creationId="{D9F0AB18-292A-D369-16B8-2E76E14CD1B4}"/>
          </ac:spMkLst>
        </pc:spChg>
        <pc:spChg chg="mod">
          <ac:chgData name="Joelle Brehm" userId="a518f54c-6985-42c0-8041-2bb16a414839" providerId="ADAL" clId="{E88466E7-2243-47F6-9EAE-9BF9DD0649AD}" dt="2024-04-10T15:34:38.674" v="66811"/>
          <ac:spMkLst>
            <pc:docMk/>
            <pc:sldMk cId="2408005870" sldId="298"/>
            <ac:spMk id="16" creationId="{A1A79201-80C7-A139-796A-12F76E5104AD}"/>
          </ac:spMkLst>
        </pc:spChg>
        <pc:spChg chg="mod">
          <ac:chgData name="Joelle Brehm" userId="a518f54c-6985-42c0-8041-2bb16a414839" providerId="ADAL" clId="{E88466E7-2243-47F6-9EAE-9BF9DD0649AD}" dt="2024-04-10T15:34:38.674" v="66812"/>
          <ac:spMkLst>
            <pc:docMk/>
            <pc:sldMk cId="2408005870" sldId="298"/>
            <ac:spMk id="17" creationId="{A6371AA9-0691-90E2-6053-C44FB7BF3E38}"/>
          </ac:spMkLst>
        </pc:spChg>
        <pc:spChg chg="mod">
          <ac:chgData name="Joelle Brehm" userId="a518f54c-6985-42c0-8041-2bb16a414839" providerId="ADAL" clId="{E88466E7-2243-47F6-9EAE-9BF9DD0649AD}" dt="2024-04-10T15:34:38.675" v="66814"/>
          <ac:spMkLst>
            <pc:docMk/>
            <pc:sldMk cId="2408005870" sldId="298"/>
            <ac:spMk id="18" creationId="{C85CAE6F-7A3A-8BE3-BB6F-B363C5AFCDB8}"/>
          </ac:spMkLst>
        </pc:spChg>
        <pc:spChg chg="mod">
          <ac:chgData name="Joelle Brehm" userId="a518f54c-6985-42c0-8041-2bb16a414839" providerId="ADAL" clId="{E88466E7-2243-47F6-9EAE-9BF9DD0649AD}" dt="2024-04-10T15:34:38.675" v="66815"/>
          <ac:spMkLst>
            <pc:docMk/>
            <pc:sldMk cId="2408005870" sldId="298"/>
            <ac:spMk id="19" creationId="{5277DDC2-2A2D-0029-DB25-F54866371E0C}"/>
          </ac:spMkLst>
        </pc:spChg>
        <pc:spChg chg="mod">
          <ac:chgData name="Joelle Brehm" userId="a518f54c-6985-42c0-8041-2bb16a414839" providerId="ADAL" clId="{E88466E7-2243-47F6-9EAE-9BF9DD0649AD}" dt="2024-04-10T15:34:38.676" v="66816"/>
          <ac:spMkLst>
            <pc:docMk/>
            <pc:sldMk cId="2408005870" sldId="298"/>
            <ac:spMk id="20" creationId="{BC7D336D-1BB9-ECF2-415F-E023A3BBBD9B}"/>
          </ac:spMkLst>
        </pc:spChg>
        <pc:spChg chg="mod">
          <ac:chgData name="Joelle Brehm" userId="a518f54c-6985-42c0-8041-2bb16a414839" providerId="ADAL" clId="{E88466E7-2243-47F6-9EAE-9BF9DD0649AD}" dt="2024-04-10T15:34:38.676" v="66817"/>
          <ac:spMkLst>
            <pc:docMk/>
            <pc:sldMk cId="2408005870" sldId="298"/>
            <ac:spMk id="21" creationId="{D14ED558-5334-C19F-A5B8-7140010B5216}"/>
          </ac:spMkLst>
        </pc:spChg>
        <pc:spChg chg="mod">
          <ac:chgData name="Joelle Brehm" userId="a518f54c-6985-42c0-8041-2bb16a414839" providerId="ADAL" clId="{E88466E7-2243-47F6-9EAE-9BF9DD0649AD}" dt="2024-04-10T15:34:38.676" v="66818"/>
          <ac:spMkLst>
            <pc:docMk/>
            <pc:sldMk cId="2408005870" sldId="298"/>
            <ac:spMk id="22" creationId="{1C150717-5D5C-4095-A24C-D6EF84446D4F}"/>
          </ac:spMkLst>
        </pc:spChg>
        <pc:spChg chg="mod ord">
          <ac:chgData name="Joelle Brehm" userId="a518f54c-6985-42c0-8041-2bb16a414839" providerId="ADAL" clId="{E88466E7-2243-47F6-9EAE-9BF9DD0649AD}" dt="2024-04-10T15:34:38.677" v="66820"/>
          <ac:spMkLst>
            <pc:docMk/>
            <pc:sldMk cId="2408005870" sldId="298"/>
            <ac:spMk id="23" creationId="{0F60CB9C-34D1-36D2-F94C-15F4FC22092D}"/>
          </ac:spMkLst>
        </pc:spChg>
        <pc:spChg chg="mod">
          <ac:chgData name="Joelle Brehm" userId="a518f54c-6985-42c0-8041-2bb16a414839" providerId="ADAL" clId="{E88466E7-2243-47F6-9EAE-9BF9DD0649AD}" dt="2024-04-10T15:34:38.678" v="66823"/>
          <ac:spMkLst>
            <pc:docMk/>
            <pc:sldMk cId="2408005870" sldId="298"/>
            <ac:spMk id="24" creationId="{36500181-4670-B49A-7AC3-2A82E53C2CA3}"/>
          </ac:spMkLst>
        </pc:spChg>
        <pc:spChg chg="mod">
          <ac:chgData name="Joelle Brehm" userId="a518f54c-6985-42c0-8041-2bb16a414839" providerId="ADAL" clId="{E88466E7-2243-47F6-9EAE-9BF9DD0649AD}" dt="2024-04-10T15:34:38.678" v="66825"/>
          <ac:spMkLst>
            <pc:docMk/>
            <pc:sldMk cId="2408005870" sldId="298"/>
            <ac:spMk id="25" creationId="{58AD6EC7-2E4C-2B24-5137-99C38A661019}"/>
          </ac:spMkLst>
        </pc:spChg>
        <pc:spChg chg="mod">
          <ac:chgData name="Joelle Brehm" userId="a518f54c-6985-42c0-8041-2bb16a414839" providerId="ADAL" clId="{E88466E7-2243-47F6-9EAE-9BF9DD0649AD}" dt="2024-04-10T15:34:38.678" v="66824"/>
          <ac:spMkLst>
            <pc:docMk/>
            <pc:sldMk cId="2408005870" sldId="298"/>
            <ac:spMk id="26" creationId="{29055051-95C0-892B-B496-84640681B51B}"/>
          </ac:spMkLst>
        </pc:spChg>
        <pc:spChg chg="mod">
          <ac:chgData name="Joelle Brehm" userId="a518f54c-6985-42c0-8041-2bb16a414839" providerId="ADAL" clId="{E88466E7-2243-47F6-9EAE-9BF9DD0649AD}" dt="2024-04-10T15:34:38.680" v="66828"/>
          <ac:spMkLst>
            <pc:docMk/>
            <pc:sldMk cId="2408005870" sldId="298"/>
            <ac:spMk id="27" creationId="{15389E45-B188-8E55-F9BF-97020DFCC806}"/>
          </ac:spMkLst>
        </pc:spChg>
        <pc:spChg chg="mod">
          <ac:chgData name="Joelle Brehm" userId="a518f54c-6985-42c0-8041-2bb16a414839" providerId="ADAL" clId="{E88466E7-2243-47F6-9EAE-9BF9DD0649AD}" dt="2024-04-10T15:34:38.681" v="66829"/>
          <ac:spMkLst>
            <pc:docMk/>
            <pc:sldMk cId="2408005870" sldId="298"/>
            <ac:spMk id="28" creationId="{B894C8FA-0E16-209B-5808-A9F27224B339}"/>
          </ac:spMkLst>
        </pc:spChg>
        <pc:spChg chg="mod">
          <ac:chgData name="Joelle Brehm" userId="a518f54c-6985-42c0-8041-2bb16a414839" providerId="ADAL" clId="{E88466E7-2243-47F6-9EAE-9BF9DD0649AD}" dt="2024-04-10T15:34:38.680" v="66827"/>
          <ac:spMkLst>
            <pc:docMk/>
            <pc:sldMk cId="2408005870" sldId="298"/>
            <ac:spMk id="29" creationId="{D51A0C91-4CAD-F515-546F-3A2437891C98}"/>
          </ac:spMkLst>
        </pc:spChg>
        <pc:spChg chg="mod ord">
          <ac:chgData name="Joelle Brehm" userId="a518f54c-6985-42c0-8041-2bb16a414839" providerId="ADAL" clId="{E88466E7-2243-47F6-9EAE-9BF9DD0649AD}" dt="2024-04-10T15:34:38.681" v="66831"/>
          <ac:spMkLst>
            <pc:docMk/>
            <pc:sldMk cId="2408005870" sldId="298"/>
            <ac:spMk id="30" creationId="{2CC97171-2B19-F184-EC98-7749012F6DB5}"/>
          </ac:spMkLst>
        </pc:spChg>
        <pc:spChg chg="add del mod modVis">
          <ac:chgData name="Joelle Brehm" userId="a518f54c-6985-42c0-8041-2bb16a414839" providerId="ADAL" clId="{E88466E7-2243-47F6-9EAE-9BF9DD0649AD}" dt="2024-04-04T22:16:06.019" v="58576"/>
          <ac:spMkLst>
            <pc:docMk/>
            <pc:sldMk cId="2408005870" sldId="298"/>
            <ac:spMk id="31" creationId="{7D85C65F-2586-E475-0652-117CA49E21A1}"/>
          </ac:spMkLst>
        </pc:spChg>
        <pc:spChg chg="add mod replST">
          <ac:chgData name="Joelle Brehm" userId="a518f54c-6985-42c0-8041-2bb16a414839" providerId="ADAL" clId="{E88466E7-2243-47F6-9EAE-9BF9DD0649AD}" dt="2024-04-10T15:34:38.683" v="66835"/>
          <ac:spMkLst>
            <pc:docMk/>
            <pc:sldMk cId="2408005870" sldId="298"/>
            <ac:spMk id="33" creationId="{4F12BCDE-46A6-1720-1A9F-697D1F086EC8}"/>
          </ac:spMkLst>
        </pc:spChg>
        <pc:spChg chg="add del mod modVis">
          <ac:chgData name="Joelle Brehm" userId="a518f54c-6985-42c0-8041-2bb16a414839" providerId="ADAL" clId="{E88466E7-2243-47F6-9EAE-9BF9DD0649AD}" dt="2024-04-04T22:16:13.294" v="58779"/>
          <ac:spMkLst>
            <pc:docMk/>
            <pc:sldMk cId="2408005870" sldId="298"/>
            <ac:spMk id="34" creationId="{6769D1E5-DA65-FFCF-FB8A-3EB0C7A55887}"/>
          </ac:spMkLst>
        </pc:spChg>
        <pc:spChg chg="add del mod modVis">
          <ac:chgData name="Joelle Brehm" userId="a518f54c-6985-42c0-8041-2bb16a414839" providerId="ADAL" clId="{E88466E7-2243-47F6-9EAE-9BF9DD0649AD}" dt="2024-04-10T15:33:54.966" v="66477"/>
          <ac:spMkLst>
            <pc:docMk/>
            <pc:sldMk cId="2408005870" sldId="298"/>
            <ac:spMk id="34" creationId="{BCD54350-4323-F2AF-8E86-9F69DB6EF751}"/>
          </ac:spMkLst>
        </pc:spChg>
        <pc:spChg chg="add del mod modVis">
          <ac:chgData name="Joelle Brehm" userId="a518f54c-6985-42c0-8041-2bb16a414839" providerId="ADAL" clId="{E88466E7-2243-47F6-9EAE-9BF9DD0649AD}" dt="2024-04-04T22:16:14.668" v="58900"/>
          <ac:spMkLst>
            <pc:docMk/>
            <pc:sldMk cId="2408005870" sldId="298"/>
            <ac:spMk id="36" creationId="{D8B32C7B-E53F-7BBA-D6EA-D61CB6475F21}"/>
          </ac:spMkLst>
        </pc:spChg>
        <pc:spChg chg="mod ord">
          <ac:chgData name="Joelle Brehm" userId="a518f54c-6985-42c0-8041-2bb16a414839" providerId="ADAL" clId="{E88466E7-2243-47F6-9EAE-9BF9DD0649AD}" dt="2024-04-10T15:34:38.677" v="66822"/>
          <ac:spMkLst>
            <pc:docMk/>
            <pc:sldMk cId="2408005870" sldId="298"/>
            <ac:spMk id="37" creationId="{D22AFD2E-1619-5918-9AA4-D04FE2AB012B}"/>
          </ac:spMkLst>
        </pc:spChg>
        <pc:spChg chg="add del mod modVis">
          <ac:chgData name="Joelle Brehm" userId="a518f54c-6985-42c0-8041-2bb16a414839" providerId="ADAL" clId="{E88466E7-2243-47F6-9EAE-9BF9DD0649AD}" dt="2024-04-10T15:34:33.075" v="66750"/>
          <ac:spMkLst>
            <pc:docMk/>
            <pc:sldMk cId="2408005870" sldId="298"/>
            <ac:spMk id="38" creationId="{5569766E-0DD5-BBB8-E1C7-FFCF37B2C578}"/>
          </ac:spMkLst>
        </pc:spChg>
        <pc:spChg chg="add del mod modVis">
          <ac:chgData name="Joelle Brehm" userId="a518f54c-6985-42c0-8041-2bb16a414839" providerId="ADAL" clId="{E88466E7-2243-47F6-9EAE-9BF9DD0649AD}" dt="2024-04-04T22:16:19.821" v="59017"/>
          <ac:spMkLst>
            <pc:docMk/>
            <pc:sldMk cId="2408005870" sldId="298"/>
            <ac:spMk id="39" creationId="{C40B6C7A-9A6E-DACB-250C-91BD3CEC93EB}"/>
          </ac:spMkLst>
        </pc:spChg>
        <pc:spChg chg="add del mod modVis">
          <ac:chgData name="Joelle Brehm" userId="a518f54c-6985-42c0-8041-2bb16a414839" providerId="ADAL" clId="{E88466E7-2243-47F6-9EAE-9BF9DD0649AD}" dt="2024-04-10T15:34:38.691" v="66865"/>
          <ac:spMkLst>
            <pc:docMk/>
            <pc:sldMk cId="2408005870" sldId="298"/>
            <ac:spMk id="41" creationId="{12CEDB85-8467-69E0-860A-28EB5E8ECB58}"/>
          </ac:spMkLst>
        </pc:spChg>
        <pc:spChg chg="mod">
          <ac:chgData name="Joelle Brehm" userId="a518f54c-6985-42c0-8041-2bb16a414839" providerId="ADAL" clId="{E88466E7-2243-47F6-9EAE-9BF9DD0649AD}" dt="2024-04-10T15:34:38.680" v="66826"/>
          <ac:spMkLst>
            <pc:docMk/>
            <pc:sldMk cId="2408005870" sldId="298"/>
            <ac:spMk id="74" creationId="{F96CED9D-6367-A924-0F54-E35B745F0FAC}"/>
          </ac:spMkLst>
        </pc:spChg>
        <pc:spChg chg="mod ord">
          <ac:chgData name="Joelle Brehm" userId="a518f54c-6985-42c0-8041-2bb16a414839" providerId="ADAL" clId="{E88466E7-2243-47F6-9EAE-9BF9DD0649AD}" dt="2024-04-10T15:34:38.683" v="66837"/>
          <ac:spMkLst>
            <pc:docMk/>
            <pc:sldMk cId="2408005870" sldId="298"/>
            <ac:spMk id="78" creationId="{3BC39856-0E2A-9CBF-43C2-36FB3A102F41}"/>
          </ac:spMkLst>
        </pc:spChg>
        <pc:spChg chg="mod ord">
          <ac:chgData name="Joelle Brehm" userId="a518f54c-6985-42c0-8041-2bb16a414839" providerId="ADAL" clId="{E88466E7-2243-47F6-9EAE-9BF9DD0649AD}" dt="2024-04-10T15:34:38.684" v="66839"/>
          <ac:spMkLst>
            <pc:docMk/>
            <pc:sldMk cId="2408005870" sldId="298"/>
            <ac:spMk id="79" creationId="{E49D6D66-16FF-BB70-1B5C-19C4966EBD03}"/>
          </ac:spMkLst>
        </pc:spChg>
        <pc:spChg chg="mod ord">
          <ac:chgData name="Joelle Brehm" userId="a518f54c-6985-42c0-8041-2bb16a414839" providerId="ADAL" clId="{E88466E7-2243-47F6-9EAE-9BF9DD0649AD}" dt="2024-04-10T15:34:38.684" v="66841"/>
          <ac:spMkLst>
            <pc:docMk/>
            <pc:sldMk cId="2408005870" sldId="298"/>
            <ac:spMk id="100" creationId="{C88E22AA-0092-05BA-BF9A-6365A03D7FBE}"/>
          </ac:spMkLst>
        </pc:spChg>
        <pc:spChg chg="mod ord">
          <ac:chgData name="Joelle Brehm" userId="a518f54c-6985-42c0-8041-2bb16a414839" providerId="ADAL" clId="{E88466E7-2243-47F6-9EAE-9BF9DD0649AD}" dt="2024-04-10T15:34:38.685" v="66843"/>
          <ac:spMkLst>
            <pc:docMk/>
            <pc:sldMk cId="2408005870" sldId="298"/>
            <ac:spMk id="108" creationId="{5E4FE43B-AF0C-26EE-FD35-8E5FA1F48181}"/>
          </ac:spMkLst>
        </pc:spChg>
        <pc:spChg chg="mod ord">
          <ac:chgData name="Joelle Brehm" userId="a518f54c-6985-42c0-8041-2bb16a414839" providerId="ADAL" clId="{E88466E7-2243-47F6-9EAE-9BF9DD0649AD}" dt="2024-04-10T15:34:38.685" v="66845"/>
          <ac:spMkLst>
            <pc:docMk/>
            <pc:sldMk cId="2408005870" sldId="298"/>
            <ac:spMk id="109" creationId="{813D763F-3392-5CD1-36BE-251DFFE419CF}"/>
          </ac:spMkLst>
        </pc:spChg>
        <pc:spChg chg="mod ord">
          <ac:chgData name="Joelle Brehm" userId="a518f54c-6985-42c0-8041-2bb16a414839" providerId="ADAL" clId="{E88466E7-2243-47F6-9EAE-9BF9DD0649AD}" dt="2024-04-10T15:34:38.686" v="66847"/>
          <ac:spMkLst>
            <pc:docMk/>
            <pc:sldMk cId="2408005870" sldId="298"/>
            <ac:spMk id="110" creationId="{CDE9DB01-62E8-9DCE-9D32-2702FF3872FC}"/>
          </ac:spMkLst>
        </pc:spChg>
        <pc:spChg chg="mod">
          <ac:chgData name="Joelle Brehm" userId="a518f54c-6985-42c0-8041-2bb16a414839" providerId="ADAL" clId="{E88466E7-2243-47F6-9EAE-9BF9DD0649AD}" dt="2024-04-10T15:34:38.682" v="66834"/>
          <ac:spMkLst>
            <pc:docMk/>
            <pc:sldMk cId="2408005870" sldId="298"/>
            <ac:spMk id="127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10T15:34:38.687" v="66850"/>
          <ac:spMkLst>
            <pc:docMk/>
            <pc:sldMk cId="2408005870" sldId="298"/>
            <ac:spMk id="133" creationId="{583DBFB2-F20D-7A4D-EA94-53532A11B391}"/>
          </ac:spMkLst>
        </pc:spChg>
        <pc:spChg chg="mod">
          <ac:chgData name="Joelle Brehm" userId="a518f54c-6985-42c0-8041-2bb16a414839" providerId="ADAL" clId="{E88466E7-2243-47F6-9EAE-9BF9DD0649AD}" dt="2024-04-10T15:34:38.687" v="66851"/>
          <ac:spMkLst>
            <pc:docMk/>
            <pc:sldMk cId="2408005870" sldId="298"/>
            <ac:spMk id="135" creationId="{A26C4806-21AA-E022-6B28-DAABDCD94933}"/>
          </ac:spMkLst>
        </pc:spChg>
        <pc:spChg chg="mod">
          <ac:chgData name="Joelle Brehm" userId="a518f54c-6985-42c0-8041-2bb16a414839" providerId="ADAL" clId="{E88466E7-2243-47F6-9EAE-9BF9DD0649AD}" dt="2024-04-10T15:34:38.687" v="66852"/>
          <ac:spMkLst>
            <pc:docMk/>
            <pc:sldMk cId="2408005870" sldId="298"/>
            <ac:spMk id="136" creationId="{5FA91760-C05A-676F-A929-95FF39F7B02B}"/>
          </ac:spMkLst>
        </pc:spChg>
        <pc:spChg chg="mod">
          <ac:chgData name="Joelle Brehm" userId="a518f54c-6985-42c0-8041-2bb16a414839" providerId="ADAL" clId="{E88466E7-2243-47F6-9EAE-9BF9DD0649AD}" dt="2024-04-10T15:34:38.688" v="66853"/>
          <ac:spMkLst>
            <pc:docMk/>
            <pc:sldMk cId="2408005870" sldId="298"/>
            <ac:spMk id="157" creationId="{473D045B-F2FA-ED54-96E1-5AF9FDD0A521}"/>
          </ac:spMkLst>
        </pc:spChg>
        <pc:spChg chg="mod">
          <ac:chgData name="Joelle Brehm" userId="a518f54c-6985-42c0-8041-2bb16a414839" providerId="ADAL" clId="{E88466E7-2243-47F6-9EAE-9BF9DD0649AD}" dt="2024-04-10T15:34:38.688" v="66854"/>
          <ac:spMkLst>
            <pc:docMk/>
            <pc:sldMk cId="2408005870" sldId="298"/>
            <ac:spMk id="158" creationId="{59321C7D-64CF-E6EC-A954-708C21127E0D}"/>
          </ac:spMkLst>
        </pc:spChg>
        <pc:graphicFrameChg chg="mod">
          <ac:chgData name="Joelle Brehm" userId="a518f54c-6985-42c0-8041-2bb16a414839" providerId="ADAL" clId="{E88466E7-2243-47F6-9EAE-9BF9DD0649AD}" dt="2024-04-10T15:34:38.706" v="66867"/>
          <ac:graphicFrameMkLst>
            <pc:docMk/>
            <pc:sldMk cId="2408005870" sldId="298"/>
            <ac:graphicFrameMk id="4" creationId="{49C9F69D-41F0-D32D-122C-78EE4AFF09A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33:54.905" v="66400"/>
          <ac:graphicFrameMkLst>
            <pc:docMk/>
            <pc:sldMk cId="2408005870" sldId="298"/>
            <ac:graphicFrameMk id="9" creationId="{6429376E-6422-AA3D-9DC3-1B914BC4BA2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34:38.629" v="66792"/>
          <ac:graphicFrameMkLst>
            <pc:docMk/>
            <pc:sldMk cId="2408005870" sldId="298"/>
            <ac:graphicFrameMk id="31" creationId="{17F0A5F8-C087-E2DC-55B0-8A3EEDE6C2B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34:33.006" v="66677"/>
          <ac:graphicFrameMkLst>
            <pc:docMk/>
            <pc:sldMk cId="2408005870" sldId="298"/>
            <ac:graphicFrameMk id="32" creationId="{559FE42A-95CD-2900-CA4A-E6A697684D5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34:38.673" v="66806"/>
          <ac:graphicFrameMkLst>
            <pc:docMk/>
            <pc:sldMk cId="2408005870" sldId="298"/>
            <ac:graphicFrameMk id="35" creationId="{0C1E3CE0-78B0-5A72-30CD-9839A9B0437D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6:14.619" v="58827"/>
          <ac:graphicFrameMkLst>
            <pc:docMk/>
            <pc:sldMk cId="2408005870" sldId="298"/>
            <ac:graphicFrameMk id="35" creationId="{E79A00DB-8409-08AB-822D-2F3EA2B04CA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22:16:19.773" v="58944"/>
          <ac:graphicFrameMkLst>
            <pc:docMk/>
            <pc:sldMk cId="2408005870" sldId="298"/>
            <ac:graphicFrameMk id="38" creationId="{3AEF65B7-2A73-33A1-6826-04EC036F4F99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34:38.686" v="66849"/>
          <ac:graphicFrameMkLst>
            <pc:docMk/>
            <pc:sldMk cId="2408005870" sldId="298"/>
            <ac:graphicFrameMk id="39" creationId="{617F1DEF-B372-1F13-4D7C-557D390FF47E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33:09.402" v="66199"/>
          <ac:graphicFrameMkLst>
            <pc:docMk/>
            <pc:sldMk cId="2408005870" sldId="298"/>
            <ac:graphicFrameMk id="40" creationId="{87F5B7F7-9010-0CAF-B0D7-15BB13D3826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34:38.682" v="66833"/>
          <ac:graphicFrameMkLst>
            <pc:docMk/>
            <pc:sldMk cId="2408005870" sldId="298"/>
            <ac:graphicFrameMk id="42" creationId="{10A70E0B-D9B4-3528-4D51-239E88626742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2:16:13.194" v="58702"/>
          <ac:graphicFrameMkLst>
            <pc:docMk/>
            <pc:sldMk cId="2408005870" sldId="298"/>
            <ac:graphicFrameMk id="130" creationId="{D086FA47-AE0F-55DA-6471-102869AA6414}"/>
          </ac:graphicFrameMkLst>
        </pc:graphicFrameChg>
        <pc:graphicFrameChg chg="del">
          <ac:chgData name="Joelle Brehm" userId="a518f54c-6985-42c0-8041-2bb16a414839" providerId="ADAL" clId="{E88466E7-2243-47F6-9EAE-9BF9DD0649AD}" dt="2024-04-04T22:15:39.216" v="58237"/>
          <ac:graphicFrameMkLst>
            <pc:docMk/>
            <pc:sldMk cId="2408005870" sldId="298"/>
            <ac:graphicFrameMk id="132" creationId="{A05CE26E-50CF-2840-7ACA-8B71FBB45D92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22:16:05.969" v="58504"/>
          <ac:graphicFrameMkLst>
            <pc:docMk/>
            <pc:sldMk cId="2408005870" sldId="298"/>
            <ac:graphicFrameMk id="138" creationId="{2C248982-003C-55A9-23B3-336EB4DAD492}"/>
          </ac:graphicFrameMkLst>
        </pc:graphicFrameChg>
        <pc:picChg chg="add del mod ord">
          <ac:chgData name="Joelle Brehm" userId="a518f54c-6985-42c0-8041-2bb16a414839" providerId="ADAL" clId="{E88466E7-2243-47F6-9EAE-9BF9DD0649AD}" dt="2024-04-10T15:34:22.331" v="66573" actId="478"/>
          <ac:picMkLst>
            <pc:docMk/>
            <pc:sldMk cId="2408005870" sldId="298"/>
            <ac:picMk id="10" creationId="{D1FCB944-BF25-1698-7BC0-60FD23E15FB7}"/>
          </ac:picMkLst>
        </pc:picChg>
        <pc:picChg chg="add mod ord">
          <ac:chgData name="Joelle Brehm" userId="a518f54c-6985-42c0-8041-2bb16a414839" providerId="ADAL" clId="{E88466E7-2243-47F6-9EAE-9BF9DD0649AD}" dt="2024-04-10T15:34:38.670" v="66800"/>
          <ac:picMkLst>
            <pc:docMk/>
            <pc:sldMk cId="2408005870" sldId="298"/>
            <ac:picMk id="36" creationId="{1ED52A27-B002-C4A7-8C0E-F4A383EB59C1}"/>
          </ac:picMkLst>
        </pc:picChg>
        <pc:picChg chg="del mod ord">
          <ac:chgData name="Joelle Brehm" userId="a518f54c-6985-42c0-8041-2bb16a414839" providerId="ADAL" clId="{E88466E7-2243-47F6-9EAE-9BF9DD0649AD}" dt="2024-04-04T22:15:57.485" v="58400" actId="478"/>
          <ac:picMkLst>
            <pc:docMk/>
            <pc:sldMk cId="2408005870" sldId="298"/>
            <ac:picMk id="134" creationId="{F4A2227E-D1B2-312A-BE7E-B1BC11EF99DF}"/>
          </ac:picMkLst>
        </pc:picChg>
        <pc:picChg chg="mod ord">
          <ac:chgData name="Joelle Brehm" userId="a518f54c-6985-42c0-8041-2bb16a414839" providerId="ADAL" clId="{E88466E7-2243-47F6-9EAE-9BF9DD0649AD}" dt="2024-04-10T15:34:38.689" v="66856"/>
          <ac:picMkLst>
            <pc:docMk/>
            <pc:sldMk cId="2408005870" sldId="298"/>
            <ac:picMk id="185" creationId="{7F94EC9E-13C7-B044-38AE-C9111050B406}"/>
          </ac:picMkLst>
        </pc:picChg>
        <pc:picChg chg="mod">
          <ac:chgData name="Joelle Brehm" userId="a518f54c-6985-42c0-8041-2bb16a414839" providerId="ADAL" clId="{E88466E7-2243-47F6-9EAE-9BF9DD0649AD}" dt="2024-04-10T15:34:38.690" v="66861"/>
          <ac:picMkLst>
            <pc:docMk/>
            <pc:sldMk cId="2408005870" sldId="298"/>
            <ac:picMk id="2050" creationId="{AE3D7468-37A1-3C28-8B8E-A27B162D7C98}"/>
          </ac:picMkLst>
        </pc:picChg>
        <pc:cxnChg chg="mod ord">
          <ac:chgData name="Joelle Brehm" userId="a518f54c-6985-42c0-8041-2bb16a414839" providerId="ADAL" clId="{E88466E7-2243-47F6-9EAE-9BF9DD0649AD}" dt="2024-04-10T15:34:38.672" v="66804"/>
          <ac:cxnSpMkLst>
            <pc:docMk/>
            <pc:sldMk cId="2408005870" sldId="298"/>
            <ac:cxnSpMk id="7" creationId="{8EA446E6-71BC-F03A-3657-B927AE22D5A7}"/>
          </ac:cxnSpMkLst>
        </pc:cxnChg>
      </pc:sldChg>
      <pc:sldChg chg="addSp delSp modSp mod">
        <pc:chgData name="Joelle Brehm" userId="a518f54c-6985-42c0-8041-2bb16a414839" providerId="ADAL" clId="{E88466E7-2243-47F6-9EAE-9BF9DD0649AD}" dt="2024-04-04T18:25:22.423" v="24352"/>
        <pc:sldMkLst>
          <pc:docMk/>
          <pc:sldMk cId="1147469392" sldId="299"/>
        </pc:sldMkLst>
        <pc:spChg chg="mod ord">
          <ac:chgData name="Joelle Brehm" userId="a518f54c-6985-42c0-8041-2bb16a414839" providerId="ADAL" clId="{E88466E7-2243-47F6-9EAE-9BF9DD0649AD}" dt="2024-04-04T18:25:22.408" v="24343"/>
          <ac:spMkLst>
            <pc:docMk/>
            <pc:sldMk cId="1147469392" sldId="299"/>
            <ac:spMk id="2" creationId="{B98AECD7-F227-7661-1D74-C87CD0D40C01}"/>
          </ac:spMkLst>
        </pc:spChg>
        <pc:spChg chg="mod ord">
          <ac:chgData name="Joelle Brehm" userId="a518f54c-6985-42c0-8041-2bb16a414839" providerId="ADAL" clId="{E88466E7-2243-47F6-9EAE-9BF9DD0649AD}" dt="2024-04-04T18:25:22.408" v="24345"/>
          <ac:spMkLst>
            <pc:docMk/>
            <pc:sldMk cId="1147469392" sldId="299"/>
            <ac:spMk id="3" creationId="{987550CE-28D5-31FC-DA06-EE3C8CEEBAC4}"/>
          </ac:spMkLst>
        </pc:spChg>
        <pc:spChg chg="add del mod">
          <ac:chgData name="Joelle Brehm" userId="a518f54c-6985-42c0-8041-2bb16a414839" providerId="ADAL" clId="{E88466E7-2243-47F6-9EAE-9BF9DD0649AD}" dt="2024-04-04T18:24:04.167" v="23301" actId="478"/>
          <ac:spMkLst>
            <pc:docMk/>
            <pc:sldMk cId="1147469392" sldId="299"/>
            <ac:spMk id="5" creationId="{9355DC74-F315-F0B8-88EA-1832E4819F42}"/>
          </ac:spMkLst>
        </pc:spChg>
        <pc:spChg chg="mod ord">
          <ac:chgData name="Joelle Brehm" userId="a518f54c-6985-42c0-8041-2bb16a414839" providerId="ADAL" clId="{E88466E7-2243-47F6-9EAE-9BF9DD0649AD}" dt="2024-04-04T18:25:22.392" v="24287"/>
          <ac:spMkLst>
            <pc:docMk/>
            <pc:sldMk cId="1147469392" sldId="299"/>
            <ac:spMk id="6" creationId="{0EAC578E-89F1-9012-7CFE-E394FA03D5BB}"/>
          </ac:spMkLst>
        </pc:spChg>
        <pc:spChg chg="add del mod modVis">
          <ac:chgData name="Joelle Brehm" userId="a518f54c-6985-42c0-8041-2bb16a414839" providerId="ADAL" clId="{E88466E7-2243-47F6-9EAE-9BF9DD0649AD}" dt="2024-04-04T18:24:25.468" v="23504"/>
          <ac:spMkLst>
            <pc:docMk/>
            <pc:sldMk cId="1147469392" sldId="299"/>
            <ac:spMk id="10" creationId="{7A92305A-1DA9-36E5-B0EA-6143B4C6B72A}"/>
          </ac:spMkLst>
        </pc:spChg>
        <pc:spChg chg="mod">
          <ac:chgData name="Joelle Brehm" userId="a518f54c-6985-42c0-8041-2bb16a414839" providerId="ADAL" clId="{E88466E7-2243-47F6-9EAE-9BF9DD0649AD}" dt="2024-04-04T18:25:22.408" v="24298"/>
          <ac:spMkLst>
            <pc:docMk/>
            <pc:sldMk cId="1147469392" sldId="299"/>
            <ac:spMk id="11" creationId="{22B603EF-478D-0AD6-4D23-7FCAC6C5B3A8}"/>
          </ac:spMkLst>
        </pc:spChg>
        <pc:spChg chg="mod">
          <ac:chgData name="Joelle Brehm" userId="a518f54c-6985-42c0-8041-2bb16a414839" providerId="ADAL" clId="{E88466E7-2243-47F6-9EAE-9BF9DD0649AD}" dt="2024-04-04T18:25:22.392" v="24294"/>
          <ac:spMkLst>
            <pc:docMk/>
            <pc:sldMk cId="1147469392" sldId="299"/>
            <ac:spMk id="12" creationId="{EF91471B-672D-6CC5-CF57-DA4811B37750}"/>
          </ac:spMkLst>
        </pc:spChg>
        <pc:spChg chg="mod">
          <ac:chgData name="Joelle Brehm" userId="a518f54c-6985-42c0-8041-2bb16a414839" providerId="ADAL" clId="{E88466E7-2243-47F6-9EAE-9BF9DD0649AD}" dt="2024-04-04T18:25:22.392" v="24295"/>
          <ac:spMkLst>
            <pc:docMk/>
            <pc:sldMk cId="1147469392" sldId="299"/>
            <ac:spMk id="13" creationId="{93D9A990-B724-217A-59C0-550353D722BC}"/>
          </ac:spMkLst>
        </pc:spChg>
        <pc:spChg chg="mod">
          <ac:chgData name="Joelle Brehm" userId="a518f54c-6985-42c0-8041-2bb16a414839" providerId="ADAL" clId="{E88466E7-2243-47F6-9EAE-9BF9DD0649AD}" dt="2024-04-04T18:25:22.392" v="24292"/>
          <ac:spMkLst>
            <pc:docMk/>
            <pc:sldMk cId="1147469392" sldId="299"/>
            <ac:spMk id="14" creationId="{01488B66-9E2B-C289-21D2-6006FA4EB02C}"/>
          </ac:spMkLst>
        </pc:spChg>
        <pc:spChg chg="mod">
          <ac:chgData name="Joelle Brehm" userId="a518f54c-6985-42c0-8041-2bb16a414839" providerId="ADAL" clId="{E88466E7-2243-47F6-9EAE-9BF9DD0649AD}" dt="2024-04-04T18:25:22.392" v="24293"/>
          <ac:spMkLst>
            <pc:docMk/>
            <pc:sldMk cId="1147469392" sldId="299"/>
            <ac:spMk id="15" creationId="{C9DB922C-D286-DBF0-0AE7-25DDB51ED935}"/>
          </ac:spMkLst>
        </pc:spChg>
        <pc:spChg chg="mod">
          <ac:chgData name="Joelle Brehm" userId="a518f54c-6985-42c0-8041-2bb16a414839" providerId="ADAL" clId="{E88466E7-2243-47F6-9EAE-9BF9DD0649AD}" dt="2024-04-04T18:25:22.392" v="24296"/>
          <ac:spMkLst>
            <pc:docMk/>
            <pc:sldMk cId="1147469392" sldId="299"/>
            <ac:spMk id="16" creationId="{EAF5C985-33B7-C144-D7D4-2F545640EB66}"/>
          </ac:spMkLst>
        </pc:spChg>
        <pc:spChg chg="mod">
          <ac:chgData name="Joelle Brehm" userId="a518f54c-6985-42c0-8041-2bb16a414839" providerId="ADAL" clId="{E88466E7-2243-47F6-9EAE-9BF9DD0649AD}" dt="2024-04-04T18:25:22.408" v="24297"/>
          <ac:spMkLst>
            <pc:docMk/>
            <pc:sldMk cId="1147469392" sldId="299"/>
            <ac:spMk id="17" creationId="{A74F232F-4C99-6217-DB6E-798BC722C290}"/>
          </ac:spMkLst>
        </pc:spChg>
        <pc:spChg chg="mod">
          <ac:chgData name="Joelle Brehm" userId="a518f54c-6985-42c0-8041-2bb16a414839" providerId="ADAL" clId="{E88466E7-2243-47F6-9EAE-9BF9DD0649AD}" dt="2024-04-04T18:25:22.408" v="24299"/>
          <ac:spMkLst>
            <pc:docMk/>
            <pc:sldMk cId="1147469392" sldId="299"/>
            <ac:spMk id="18" creationId="{31AF8F52-A343-80A2-1AAE-C847B4EC1C2F}"/>
          </ac:spMkLst>
        </pc:spChg>
        <pc:spChg chg="mod">
          <ac:chgData name="Joelle Brehm" userId="a518f54c-6985-42c0-8041-2bb16a414839" providerId="ADAL" clId="{E88466E7-2243-47F6-9EAE-9BF9DD0649AD}" dt="2024-04-04T18:25:22.408" v="24300"/>
          <ac:spMkLst>
            <pc:docMk/>
            <pc:sldMk cId="1147469392" sldId="299"/>
            <ac:spMk id="19" creationId="{C67B8F2C-387B-9309-6C26-DA14E7C7F2B3}"/>
          </ac:spMkLst>
        </pc:spChg>
        <pc:spChg chg="mod">
          <ac:chgData name="Joelle Brehm" userId="a518f54c-6985-42c0-8041-2bb16a414839" providerId="ADAL" clId="{E88466E7-2243-47F6-9EAE-9BF9DD0649AD}" dt="2024-04-04T18:25:22.408" v="24301"/>
          <ac:spMkLst>
            <pc:docMk/>
            <pc:sldMk cId="1147469392" sldId="299"/>
            <ac:spMk id="20" creationId="{A356996F-09E8-7E5E-06AD-FCA01C53425F}"/>
          </ac:spMkLst>
        </pc:spChg>
        <pc:spChg chg="mod">
          <ac:chgData name="Joelle Brehm" userId="a518f54c-6985-42c0-8041-2bb16a414839" providerId="ADAL" clId="{E88466E7-2243-47F6-9EAE-9BF9DD0649AD}" dt="2024-04-04T18:25:22.408" v="24302"/>
          <ac:spMkLst>
            <pc:docMk/>
            <pc:sldMk cId="1147469392" sldId="299"/>
            <ac:spMk id="21" creationId="{B99DEEA5-7788-7892-8278-B8A15BEE72BF}"/>
          </ac:spMkLst>
        </pc:spChg>
        <pc:spChg chg="mod">
          <ac:chgData name="Joelle Brehm" userId="a518f54c-6985-42c0-8041-2bb16a414839" providerId="ADAL" clId="{E88466E7-2243-47F6-9EAE-9BF9DD0649AD}" dt="2024-04-04T18:25:22.408" v="24303"/>
          <ac:spMkLst>
            <pc:docMk/>
            <pc:sldMk cId="1147469392" sldId="299"/>
            <ac:spMk id="22" creationId="{CC83DFED-CC12-B82A-CF88-46DCE7A285D0}"/>
          </ac:spMkLst>
        </pc:spChg>
        <pc:spChg chg="mod ord">
          <ac:chgData name="Joelle Brehm" userId="a518f54c-6985-42c0-8041-2bb16a414839" providerId="ADAL" clId="{E88466E7-2243-47F6-9EAE-9BF9DD0649AD}" dt="2024-04-04T18:25:22.408" v="24305"/>
          <ac:spMkLst>
            <pc:docMk/>
            <pc:sldMk cId="1147469392" sldId="299"/>
            <ac:spMk id="23" creationId="{388B9762-8B62-238C-4DAE-371D743789A7}"/>
          </ac:spMkLst>
        </pc:spChg>
        <pc:spChg chg="mod">
          <ac:chgData name="Joelle Brehm" userId="a518f54c-6985-42c0-8041-2bb16a414839" providerId="ADAL" clId="{E88466E7-2243-47F6-9EAE-9BF9DD0649AD}" dt="2024-04-04T18:25:22.408" v="24308"/>
          <ac:spMkLst>
            <pc:docMk/>
            <pc:sldMk cId="1147469392" sldId="299"/>
            <ac:spMk id="24" creationId="{08D99868-DFC5-7B57-ACE9-F10209C62F18}"/>
          </ac:spMkLst>
        </pc:spChg>
        <pc:spChg chg="mod">
          <ac:chgData name="Joelle Brehm" userId="a518f54c-6985-42c0-8041-2bb16a414839" providerId="ADAL" clId="{E88466E7-2243-47F6-9EAE-9BF9DD0649AD}" dt="2024-04-04T18:25:22.408" v="24310"/>
          <ac:spMkLst>
            <pc:docMk/>
            <pc:sldMk cId="1147469392" sldId="299"/>
            <ac:spMk id="25" creationId="{893D1401-ECA9-770C-685D-A99936A67292}"/>
          </ac:spMkLst>
        </pc:spChg>
        <pc:spChg chg="mod">
          <ac:chgData name="Joelle Brehm" userId="a518f54c-6985-42c0-8041-2bb16a414839" providerId="ADAL" clId="{E88466E7-2243-47F6-9EAE-9BF9DD0649AD}" dt="2024-04-04T18:25:22.408" v="24309"/>
          <ac:spMkLst>
            <pc:docMk/>
            <pc:sldMk cId="1147469392" sldId="299"/>
            <ac:spMk id="26" creationId="{8AE2212A-1DA5-F563-809B-F4152E79D85E}"/>
          </ac:spMkLst>
        </pc:spChg>
        <pc:spChg chg="mod">
          <ac:chgData name="Joelle Brehm" userId="a518f54c-6985-42c0-8041-2bb16a414839" providerId="ADAL" clId="{E88466E7-2243-47F6-9EAE-9BF9DD0649AD}" dt="2024-04-04T18:25:22.408" v="24313"/>
          <ac:spMkLst>
            <pc:docMk/>
            <pc:sldMk cId="1147469392" sldId="299"/>
            <ac:spMk id="27" creationId="{7566499B-08B1-834D-908F-AE1A9393F260}"/>
          </ac:spMkLst>
        </pc:spChg>
        <pc:spChg chg="mod">
          <ac:chgData name="Joelle Brehm" userId="a518f54c-6985-42c0-8041-2bb16a414839" providerId="ADAL" clId="{E88466E7-2243-47F6-9EAE-9BF9DD0649AD}" dt="2024-04-04T18:25:22.408" v="24314"/>
          <ac:spMkLst>
            <pc:docMk/>
            <pc:sldMk cId="1147469392" sldId="299"/>
            <ac:spMk id="28" creationId="{9A55B08D-DC70-EE69-55AD-11598C1C9B12}"/>
          </ac:spMkLst>
        </pc:spChg>
        <pc:spChg chg="mod">
          <ac:chgData name="Joelle Brehm" userId="a518f54c-6985-42c0-8041-2bb16a414839" providerId="ADAL" clId="{E88466E7-2243-47F6-9EAE-9BF9DD0649AD}" dt="2024-04-04T18:25:22.408" v="24312"/>
          <ac:spMkLst>
            <pc:docMk/>
            <pc:sldMk cId="1147469392" sldId="299"/>
            <ac:spMk id="29" creationId="{CF6E8C33-3094-B90B-55D8-884C79658463}"/>
          </ac:spMkLst>
        </pc:spChg>
        <pc:spChg chg="mod ord">
          <ac:chgData name="Joelle Brehm" userId="a518f54c-6985-42c0-8041-2bb16a414839" providerId="ADAL" clId="{E88466E7-2243-47F6-9EAE-9BF9DD0649AD}" dt="2024-04-04T18:25:22.408" v="24316"/>
          <ac:spMkLst>
            <pc:docMk/>
            <pc:sldMk cId="1147469392" sldId="299"/>
            <ac:spMk id="30" creationId="{F91A67B0-6455-465A-3588-978AE8BFE3CD}"/>
          </ac:spMkLst>
        </pc:spChg>
        <pc:spChg chg="add del mod modVis">
          <ac:chgData name="Joelle Brehm" userId="a518f54c-6985-42c0-8041-2bb16a414839" providerId="ADAL" clId="{E88466E7-2243-47F6-9EAE-9BF9DD0649AD}" dt="2024-04-04T18:24:51.110" v="23785"/>
          <ac:spMkLst>
            <pc:docMk/>
            <pc:sldMk cId="1147469392" sldId="299"/>
            <ac:spMk id="34" creationId="{EA84D8C6-EB0E-5945-C108-C33A9CCD2CF9}"/>
          </ac:spMkLst>
        </pc:spChg>
        <pc:spChg chg="mod ord">
          <ac:chgData name="Joelle Brehm" userId="a518f54c-6985-42c0-8041-2bb16a414839" providerId="ADAL" clId="{E88466E7-2243-47F6-9EAE-9BF9DD0649AD}" dt="2024-04-04T18:25:22.408" v="24307"/>
          <ac:spMkLst>
            <pc:docMk/>
            <pc:sldMk cId="1147469392" sldId="299"/>
            <ac:spMk id="37" creationId="{AF100E2E-9AB7-93B9-D1F1-FCEDBF8C64D5}"/>
          </ac:spMkLst>
        </pc:spChg>
        <pc:spChg chg="add del mod modVis">
          <ac:chgData name="Joelle Brehm" userId="a518f54c-6985-42c0-8041-2bb16a414839" providerId="ADAL" clId="{E88466E7-2243-47F6-9EAE-9BF9DD0649AD}" dt="2024-04-04T18:24:59.458" v="23903"/>
          <ac:spMkLst>
            <pc:docMk/>
            <pc:sldMk cId="1147469392" sldId="299"/>
            <ac:spMk id="38" creationId="{B73EB931-8CE2-9BF4-969D-B8652C46EA97}"/>
          </ac:spMkLst>
        </pc:spChg>
        <pc:spChg chg="add mod replST">
          <ac:chgData name="Joelle Brehm" userId="a518f54c-6985-42c0-8041-2bb16a414839" providerId="ADAL" clId="{E88466E7-2243-47F6-9EAE-9BF9DD0649AD}" dt="2024-04-04T18:25:22.408" v="24320"/>
          <ac:spMkLst>
            <pc:docMk/>
            <pc:sldMk cId="1147469392" sldId="299"/>
            <ac:spMk id="40" creationId="{EAB3036D-6C58-106A-186C-AB3727D062D5}"/>
          </ac:spMkLst>
        </pc:spChg>
        <pc:spChg chg="add del mod modVis">
          <ac:chgData name="Joelle Brehm" userId="a518f54c-6985-42c0-8041-2bb16a414839" providerId="ADAL" clId="{E88466E7-2243-47F6-9EAE-9BF9DD0649AD}" dt="2024-04-04T18:25:14.907" v="24100"/>
          <ac:spMkLst>
            <pc:docMk/>
            <pc:sldMk cId="1147469392" sldId="299"/>
            <ac:spMk id="41" creationId="{4076943F-166F-51D6-1B8D-9747334BFC5F}"/>
          </ac:spMkLst>
        </pc:spChg>
        <pc:spChg chg="add del mod modVis">
          <ac:chgData name="Joelle Brehm" userId="a518f54c-6985-42c0-8041-2bb16a414839" providerId="ADAL" clId="{E88466E7-2243-47F6-9EAE-9BF9DD0649AD}" dt="2024-04-04T18:25:17.348" v="24231"/>
          <ac:spMkLst>
            <pc:docMk/>
            <pc:sldMk cId="1147469392" sldId="299"/>
            <ac:spMk id="43" creationId="{01FBE722-0805-6EB4-B845-92A2ABFF0462}"/>
          </ac:spMkLst>
        </pc:spChg>
        <pc:spChg chg="add del mod modVis">
          <ac:chgData name="Joelle Brehm" userId="a518f54c-6985-42c0-8041-2bb16a414839" providerId="ADAL" clId="{E88466E7-2243-47F6-9EAE-9BF9DD0649AD}" dt="2024-04-04T18:25:22.408" v="24350"/>
          <ac:spMkLst>
            <pc:docMk/>
            <pc:sldMk cId="1147469392" sldId="299"/>
            <ac:spMk id="45" creationId="{E1C887C5-A602-2D9C-1383-98FF9F710697}"/>
          </ac:spMkLst>
        </pc:spChg>
        <pc:spChg chg="mod">
          <ac:chgData name="Joelle Brehm" userId="a518f54c-6985-42c0-8041-2bb16a414839" providerId="ADAL" clId="{E88466E7-2243-47F6-9EAE-9BF9DD0649AD}" dt="2024-04-04T18:25:22.408" v="24311"/>
          <ac:spMkLst>
            <pc:docMk/>
            <pc:sldMk cId="1147469392" sldId="299"/>
            <ac:spMk id="74" creationId="{4F5B4CA8-2D45-2165-F89C-2248C44244DE}"/>
          </ac:spMkLst>
        </pc:spChg>
        <pc:spChg chg="mod ord">
          <ac:chgData name="Joelle Brehm" userId="a518f54c-6985-42c0-8041-2bb16a414839" providerId="ADAL" clId="{E88466E7-2243-47F6-9EAE-9BF9DD0649AD}" dt="2024-04-04T18:25:22.408" v="24322"/>
          <ac:spMkLst>
            <pc:docMk/>
            <pc:sldMk cId="1147469392" sldId="299"/>
            <ac:spMk id="78" creationId="{8693DA61-5E71-53E1-FED7-C350F1EBFA04}"/>
          </ac:spMkLst>
        </pc:spChg>
        <pc:spChg chg="mod ord">
          <ac:chgData name="Joelle Brehm" userId="a518f54c-6985-42c0-8041-2bb16a414839" providerId="ADAL" clId="{E88466E7-2243-47F6-9EAE-9BF9DD0649AD}" dt="2024-04-04T18:25:22.408" v="24324"/>
          <ac:spMkLst>
            <pc:docMk/>
            <pc:sldMk cId="1147469392" sldId="299"/>
            <ac:spMk id="79" creationId="{2510167D-D2B4-E764-EE5A-59C5D61DA230}"/>
          </ac:spMkLst>
        </pc:spChg>
        <pc:spChg chg="mod ord">
          <ac:chgData name="Joelle Brehm" userId="a518f54c-6985-42c0-8041-2bb16a414839" providerId="ADAL" clId="{E88466E7-2243-47F6-9EAE-9BF9DD0649AD}" dt="2024-04-04T18:25:22.408" v="24326"/>
          <ac:spMkLst>
            <pc:docMk/>
            <pc:sldMk cId="1147469392" sldId="299"/>
            <ac:spMk id="100" creationId="{0020504F-761A-2575-33E3-0FF9244E605B}"/>
          </ac:spMkLst>
        </pc:spChg>
        <pc:spChg chg="mod ord">
          <ac:chgData name="Joelle Brehm" userId="a518f54c-6985-42c0-8041-2bb16a414839" providerId="ADAL" clId="{E88466E7-2243-47F6-9EAE-9BF9DD0649AD}" dt="2024-04-04T18:25:22.408" v="24328"/>
          <ac:spMkLst>
            <pc:docMk/>
            <pc:sldMk cId="1147469392" sldId="299"/>
            <ac:spMk id="108" creationId="{D21D14B1-19CF-8F2B-4831-0B9DB368403B}"/>
          </ac:spMkLst>
        </pc:spChg>
        <pc:spChg chg="mod ord">
          <ac:chgData name="Joelle Brehm" userId="a518f54c-6985-42c0-8041-2bb16a414839" providerId="ADAL" clId="{E88466E7-2243-47F6-9EAE-9BF9DD0649AD}" dt="2024-04-04T18:25:22.408" v="24330"/>
          <ac:spMkLst>
            <pc:docMk/>
            <pc:sldMk cId="1147469392" sldId="299"/>
            <ac:spMk id="109" creationId="{CDDDEF1A-CB37-9452-AFDD-EBD68254CF6B}"/>
          </ac:spMkLst>
        </pc:spChg>
        <pc:spChg chg="mod ord">
          <ac:chgData name="Joelle Brehm" userId="a518f54c-6985-42c0-8041-2bb16a414839" providerId="ADAL" clId="{E88466E7-2243-47F6-9EAE-9BF9DD0649AD}" dt="2024-04-04T18:25:22.408" v="24332"/>
          <ac:spMkLst>
            <pc:docMk/>
            <pc:sldMk cId="1147469392" sldId="299"/>
            <ac:spMk id="110" creationId="{C956C2F4-5A3A-F475-4541-EC71F2A97D96}"/>
          </ac:spMkLst>
        </pc:spChg>
        <pc:spChg chg="mod">
          <ac:chgData name="Joelle Brehm" userId="a518f54c-6985-42c0-8041-2bb16a414839" providerId="ADAL" clId="{E88466E7-2243-47F6-9EAE-9BF9DD0649AD}" dt="2024-04-04T18:25:22.408" v="24319"/>
          <ac:spMkLst>
            <pc:docMk/>
            <pc:sldMk cId="1147469392" sldId="299"/>
            <ac:spMk id="127" creationId="{F5D06544-7B30-6FE8-2DD3-B45FB77A3FD1}"/>
          </ac:spMkLst>
        </pc:spChg>
        <pc:spChg chg="mod">
          <ac:chgData name="Joelle Brehm" userId="a518f54c-6985-42c0-8041-2bb16a414839" providerId="ADAL" clId="{E88466E7-2243-47F6-9EAE-9BF9DD0649AD}" dt="2024-04-04T18:25:22.408" v="24335"/>
          <ac:spMkLst>
            <pc:docMk/>
            <pc:sldMk cId="1147469392" sldId="299"/>
            <ac:spMk id="133" creationId="{D4931E33-6B1D-945A-5828-575D87F40680}"/>
          </ac:spMkLst>
        </pc:spChg>
        <pc:spChg chg="mod">
          <ac:chgData name="Joelle Brehm" userId="a518f54c-6985-42c0-8041-2bb16a414839" providerId="ADAL" clId="{E88466E7-2243-47F6-9EAE-9BF9DD0649AD}" dt="2024-04-04T18:25:22.408" v="24336"/>
          <ac:spMkLst>
            <pc:docMk/>
            <pc:sldMk cId="1147469392" sldId="299"/>
            <ac:spMk id="135" creationId="{5FC73E24-09AD-53E2-EC84-3C23A090452B}"/>
          </ac:spMkLst>
        </pc:spChg>
        <pc:spChg chg="mod">
          <ac:chgData name="Joelle Brehm" userId="a518f54c-6985-42c0-8041-2bb16a414839" providerId="ADAL" clId="{E88466E7-2243-47F6-9EAE-9BF9DD0649AD}" dt="2024-04-04T18:25:22.408" v="24337"/>
          <ac:spMkLst>
            <pc:docMk/>
            <pc:sldMk cId="1147469392" sldId="299"/>
            <ac:spMk id="136" creationId="{78A4E297-043C-9254-6E7C-8739BFAAE38B}"/>
          </ac:spMkLst>
        </pc:spChg>
        <pc:spChg chg="mod">
          <ac:chgData name="Joelle Brehm" userId="a518f54c-6985-42c0-8041-2bb16a414839" providerId="ADAL" clId="{E88466E7-2243-47F6-9EAE-9BF9DD0649AD}" dt="2024-04-04T18:25:22.408" v="24338"/>
          <ac:spMkLst>
            <pc:docMk/>
            <pc:sldMk cId="1147469392" sldId="299"/>
            <ac:spMk id="157" creationId="{12B01CFB-6682-78F2-C567-C22FB9480771}"/>
          </ac:spMkLst>
        </pc:spChg>
        <pc:spChg chg="mod">
          <ac:chgData name="Joelle Brehm" userId="a518f54c-6985-42c0-8041-2bb16a414839" providerId="ADAL" clId="{E88466E7-2243-47F6-9EAE-9BF9DD0649AD}" dt="2024-04-04T18:25:22.408" v="24339"/>
          <ac:spMkLst>
            <pc:docMk/>
            <pc:sldMk cId="1147469392" sldId="299"/>
            <ac:spMk id="158" creationId="{2AE8B7E1-91CF-3DBA-E84B-F08CBB3B3A09}"/>
          </ac:spMkLst>
        </pc:spChg>
        <pc:graphicFrameChg chg="mod">
          <ac:chgData name="Joelle Brehm" userId="a518f54c-6985-42c0-8041-2bb16a414839" providerId="ADAL" clId="{E88466E7-2243-47F6-9EAE-9BF9DD0649AD}" dt="2024-04-04T18:25:22.423" v="24352"/>
          <ac:graphicFrameMkLst>
            <pc:docMk/>
            <pc:sldMk cId="1147469392" sldId="299"/>
            <ac:graphicFrameMk id="4" creationId="{A8C2E1CE-EA94-6389-63BB-78C59C5B6632}"/>
          </ac:graphicFrameMkLst>
        </pc:graphicFrameChg>
        <pc:graphicFrameChg chg="del">
          <ac:chgData name="Joelle Brehm" userId="a518f54c-6985-42c0-8041-2bb16a414839" providerId="ADAL" clId="{E88466E7-2243-47F6-9EAE-9BF9DD0649AD}" dt="2024-04-04T18:24:25.426" v="23428"/>
          <ac:graphicFrameMkLst>
            <pc:docMk/>
            <pc:sldMk cId="1147469392" sldId="299"/>
            <ac:graphicFrameMk id="8" creationId="{C031E83F-D529-E0E6-F697-27C88B70DFA6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25:14.860" v="24019"/>
          <ac:graphicFrameMkLst>
            <pc:docMk/>
            <pc:sldMk cId="1147469392" sldId="299"/>
            <ac:graphicFrameMk id="31" creationId="{7633057E-3166-A0AD-03C2-FDB32AD6083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5:22.392" v="24291"/>
          <ac:graphicFrameMkLst>
            <pc:docMk/>
            <pc:sldMk cId="1147469392" sldId="299"/>
            <ac:graphicFrameMk id="32" creationId="{B878A39E-AA71-ACE5-39DF-020C75D602C9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04T18:24:51.028" v="23713"/>
          <ac:graphicFrameMkLst>
            <pc:docMk/>
            <pc:sldMk cId="1147469392" sldId="299"/>
            <ac:graphicFrameMk id="35" creationId="{BB4131CB-6A03-7C57-4107-E60FB9F22D1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24:59.413" v="23831"/>
          <ac:graphicFrameMkLst>
            <pc:docMk/>
            <pc:sldMk cId="1147469392" sldId="299"/>
            <ac:graphicFrameMk id="36" creationId="{925D10E1-6D9C-BCF0-015F-5F51223B5FE3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5:22.408" v="24334"/>
          <ac:graphicFrameMkLst>
            <pc:docMk/>
            <pc:sldMk cId="1147469392" sldId="299"/>
            <ac:graphicFrameMk id="39" creationId="{435B86D4-CF2F-93F2-8B30-031384FC435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25:17.313" v="24158"/>
          <ac:graphicFrameMkLst>
            <pc:docMk/>
            <pc:sldMk cId="1147469392" sldId="299"/>
            <ac:graphicFrameMk id="42" creationId="{BC897880-E0E8-AD39-277F-FF13259CB2E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04T18:25:22.376" v="24277"/>
          <ac:graphicFrameMkLst>
            <pc:docMk/>
            <pc:sldMk cId="1147469392" sldId="299"/>
            <ac:graphicFrameMk id="44" creationId="{59CC124A-608F-E3C1-230A-CA86D06ECBDB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04T18:25:22.408" v="24318"/>
          <ac:graphicFrameMkLst>
            <pc:docMk/>
            <pc:sldMk cId="1147469392" sldId="299"/>
            <ac:graphicFrameMk id="46" creationId="{40B42DB3-321B-CF27-BBB8-726DE08DD357}"/>
          </ac:graphicFrameMkLst>
        </pc:graphicFrameChg>
        <pc:picChg chg="del mod ord">
          <ac:chgData name="Joelle Brehm" userId="a518f54c-6985-42c0-8041-2bb16a414839" providerId="ADAL" clId="{E88466E7-2243-47F6-9EAE-9BF9DD0649AD}" dt="2024-04-04T18:24:41.553" v="23581" actId="478"/>
          <ac:picMkLst>
            <pc:docMk/>
            <pc:sldMk cId="1147469392" sldId="299"/>
            <ac:picMk id="9" creationId="{5E2917AE-1EDF-41C1-AF98-B31F7FE017BA}"/>
          </ac:picMkLst>
        </pc:picChg>
        <pc:picChg chg="add mod ord">
          <ac:chgData name="Joelle Brehm" userId="a518f54c-6985-42c0-8041-2bb16a414839" providerId="ADAL" clId="{E88466E7-2243-47F6-9EAE-9BF9DD0649AD}" dt="2024-04-04T18:25:22.392" v="24285"/>
          <ac:picMkLst>
            <pc:docMk/>
            <pc:sldMk cId="1147469392" sldId="299"/>
            <ac:picMk id="33" creationId="{727B1287-F243-C8F1-7686-A0FA944860C8}"/>
          </ac:picMkLst>
        </pc:picChg>
        <pc:picChg chg="mod ord">
          <ac:chgData name="Joelle Brehm" userId="a518f54c-6985-42c0-8041-2bb16a414839" providerId="ADAL" clId="{E88466E7-2243-47F6-9EAE-9BF9DD0649AD}" dt="2024-04-04T18:25:22.408" v="24341"/>
          <ac:picMkLst>
            <pc:docMk/>
            <pc:sldMk cId="1147469392" sldId="299"/>
            <ac:picMk id="185" creationId="{4FBF27C0-F642-0AEF-665E-15710A187E9A}"/>
          </ac:picMkLst>
        </pc:picChg>
        <pc:picChg chg="mod">
          <ac:chgData name="Joelle Brehm" userId="a518f54c-6985-42c0-8041-2bb16a414839" providerId="ADAL" clId="{E88466E7-2243-47F6-9EAE-9BF9DD0649AD}" dt="2024-04-04T18:25:22.408" v="24346"/>
          <ac:picMkLst>
            <pc:docMk/>
            <pc:sldMk cId="1147469392" sldId="299"/>
            <ac:picMk id="3074" creationId="{C2BC9611-4625-A8D6-284C-17C9AD224671}"/>
          </ac:picMkLst>
        </pc:picChg>
        <pc:cxnChg chg="mod ord">
          <ac:chgData name="Joelle Brehm" userId="a518f54c-6985-42c0-8041-2bb16a414839" providerId="ADAL" clId="{E88466E7-2243-47F6-9EAE-9BF9DD0649AD}" dt="2024-04-04T18:25:22.392" v="24289"/>
          <ac:cxnSpMkLst>
            <pc:docMk/>
            <pc:sldMk cId="1147469392" sldId="299"/>
            <ac:cxnSpMk id="7" creationId="{525B8DD7-1E59-E820-439B-D5FD08121ECB}"/>
          </ac:cxnSpMkLst>
        </pc:cxnChg>
      </pc:sldChg>
      <pc:sldChg chg="addSp delSp modSp add mod">
        <pc:chgData name="Joelle Brehm" userId="a518f54c-6985-42c0-8041-2bb16a414839" providerId="ADAL" clId="{E88466E7-2243-47F6-9EAE-9BF9DD0649AD}" dt="2024-04-10T16:08:59.407" v="73413" actId="478"/>
        <pc:sldMkLst>
          <pc:docMk/>
          <pc:sldMk cId="1592964120" sldId="300"/>
        </pc:sldMkLst>
        <pc:spChg chg="mod ord">
          <ac:chgData name="Joelle Brehm" userId="a518f54c-6985-42c0-8041-2bb16a414839" providerId="ADAL" clId="{E88466E7-2243-47F6-9EAE-9BF9DD0649AD}" dt="2024-04-10T16:08:57.510" v="73405"/>
          <ac:spMkLst>
            <pc:docMk/>
            <pc:sldMk cId="1592964120" sldId="300"/>
            <ac:spMk id="2" creationId="{B98AECD7-F227-7661-1D74-C87CD0D40C01}"/>
          </ac:spMkLst>
        </pc:spChg>
        <pc:spChg chg="mod ord">
          <ac:chgData name="Joelle Brehm" userId="a518f54c-6985-42c0-8041-2bb16a414839" providerId="ADAL" clId="{E88466E7-2243-47F6-9EAE-9BF9DD0649AD}" dt="2024-04-10T16:08:57.510" v="73407"/>
          <ac:spMkLst>
            <pc:docMk/>
            <pc:sldMk cId="1592964120" sldId="300"/>
            <ac:spMk id="3" creationId="{987550CE-28D5-31FC-DA06-EE3C8CEEBAC4}"/>
          </ac:spMkLst>
        </pc:spChg>
        <pc:spChg chg="add del mod ord">
          <ac:chgData name="Joelle Brehm" userId="a518f54c-6985-42c0-8041-2bb16a414839" providerId="ADAL" clId="{E88466E7-2243-47F6-9EAE-9BF9DD0649AD}" dt="2024-04-10T15:53:26.507" v="73028" actId="478"/>
          <ac:spMkLst>
            <pc:docMk/>
            <pc:sldMk cId="1592964120" sldId="300"/>
            <ac:spMk id="5" creationId="{D806A5F2-5D95-A427-556D-227CB140170F}"/>
          </ac:spMkLst>
        </pc:spChg>
        <pc:spChg chg="mod ord">
          <ac:chgData name="Joelle Brehm" userId="a518f54c-6985-42c0-8041-2bb16a414839" providerId="ADAL" clId="{E88466E7-2243-47F6-9EAE-9BF9DD0649AD}" dt="2024-04-10T16:08:57.494" v="73349"/>
          <ac:spMkLst>
            <pc:docMk/>
            <pc:sldMk cId="1592964120" sldId="300"/>
            <ac:spMk id="6" creationId="{0EAC578E-89F1-9012-7CFE-E394FA03D5BB}"/>
          </ac:spMkLst>
        </pc:spChg>
        <pc:spChg chg="add del mod modVis">
          <ac:chgData name="Joelle Brehm" userId="a518f54c-6985-42c0-8041-2bb16a414839" providerId="ADAL" clId="{E88466E7-2243-47F6-9EAE-9BF9DD0649AD}" dt="2024-04-10T15:35:27.240" v="67077"/>
          <ac:spMkLst>
            <pc:docMk/>
            <pc:sldMk cId="1592964120" sldId="300"/>
            <ac:spMk id="8" creationId="{65FF0845-7510-11AB-938E-8C0F2E706E5B}"/>
          </ac:spMkLst>
        </pc:spChg>
        <pc:spChg chg="add del mod modVis">
          <ac:chgData name="Joelle Brehm" userId="a518f54c-6985-42c0-8041-2bb16a414839" providerId="ADAL" clId="{E88466E7-2243-47F6-9EAE-9BF9DD0649AD}" dt="2024-04-10T15:36:53.897" v="67189"/>
          <ac:spMkLst>
            <pc:docMk/>
            <pc:sldMk cId="1592964120" sldId="300"/>
            <ac:spMk id="10" creationId="{3D46CE9C-C3AD-6160-FE2C-912D70EE429F}"/>
          </ac:spMkLst>
        </pc:spChg>
        <pc:spChg chg="mod">
          <ac:chgData name="Joelle Brehm" userId="a518f54c-6985-42c0-8041-2bb16a414839" providerId="ADAL" clId="{E88466E7-2243-47F6-9EAE-9BF9DD0649AD}" dt="2024-04-10T16:08:57.510" v="73360"/>
          <ac:spMkLst>
            <pc:docMk/>
            <pc:sldMk cId="1592964120" sldId="300"/>
            <ac:spMk id="11" creationId="{22B603EF-478D-0AD6-4D23-7FCAC6C5B3A8}"/>
          </ac:spMkLst>
        </pc:spChg>
        <pc:spChg chg="mod">
          <ac:chgData name="Joelle Brehm" userId="a518f54c-6985-42c0-8041-2bb16a414839" providerId="ADAL" clId="{E88466E7-2243-47F6-9EAE-9BF9DD0649AD}" dt="2024-04-10T16:08:57.494" v="73356"/>
          <ac:spMkLst>
            <pc:docMk/>
            <pc:sldMk cId="1592964120" sldId="300"/>
            <ac:spMk id="12" creationId="{EF91471B-672D-6CC5-CF57-DA4811B37750}"/>
          </ac:spMkLst>
        </pc:spChg>
        <pc:spChg chg="mod">
          <ac:chgData name="Joelle Brehm" userId="a518f54c-6985-42c0-8041-2bb16a414839" providerId="ADAL" clId="{E88466E7-2243-47F6-9EAE-9BF9DD0649AD}" dt="2024-04-10T16:08:57.494" v="73357"/>
          <ac:spMkLst>
            <pc:docMk/>
            <pc:sldMk cId="1592964120" sldId="300"/>
            <ac:spMk id="13" creationId="{93D9A990-B724-217A-59C0-550353D722BC}"/>
          </ac:spMkLst>
        </pc:spChg>
        <pc:spChg chg="mod">
          <ac:chgData name="Joelle Brehm" userId="a518f54c-6985-42c0-8041-2bb16a414839" providerId="ADAL" clId="{E88466E7-2243-47F6-9EAE-9BF9DD0649AD}" dt="2024-04-10T16:08:57.494" v="73354"/>
          <ac:spMkLst>
            <pc:docMk/>
            <pc:sldMk cId="1592964120" sldId="300"/>
            <ac:spMk id="14" creationId="{01488B66-9E2B-C289-21D2-6006FA4EB02C}"/>
          </ac:spMkLst>
        </pc:spChg>
        <pc:spChg chg="mod">
          <ac:chgData name="Joelle Brehm" userId="a518f54c-6985-42c0-8041-2bb16a414839" providerId="ADAL" clId="{E88466E7-2243-47F6-9EAE-9BF9DD0649AD}" dt="2024-04-10T16:08:57.494" v="73355"/>
          <ac:spMkLst>
            <pc:docMk/>
            <pc:sldMk cId="1592964120" sldId="300"/>
            <ac:spMk id="15" creationId="{C9DB922C-D286-DBF0-0AE7-25DDB51ED935}"/>
          </ac:spMkLst>
        </pc:spChg>
        <pc:spChg chg="mod">
          <ac:chgData name="Joelle Brehm" userId="a518f54c-6985-42c0-8041-2bb16a414839" providerId="ADAL" clId="{E88466E7-2243-47F6-9EAE-9BF9DD0649AD}" dt="2024-04-10T16:08:57.494" v="73358"/>
          <ac:spMkLst>
            <pc:docMk/>
            <pc:sldMk cId="1592964120" sldId="300"/>
            <ac:spMk id="16" creationId="{EAF5C985-33B7-C144-D7D4-2F545640EB66}"/>
          </ac:spMkLst>
        </pc:spChg>
        <pc:spChg chg="mod">
          <ac:chgData name="Joelle Brehm" userId="a518f54c-6985-42c0-8041-2bb16a414839" providerId="ADAL" clId="{E88466E7-2243-47F6-9EAE-9BF9DD0649AD}" dt="2024-04-10T16:08:57.494" v="73359"/>
          <ac:spMkLst>
            <pc:docMk/>
            <pc:sldMk cId="1592964120" sldId="300"/>
            <ac:spMk id="17" creationId="{A74F232F-4C99-6217-DB6E-798BC722C290}"/>
          </ac:spMkLst>
        </pc:spChg>
        <pc:spChg chg="mod">
          <ac:chgData name="Joelle Brehm" userId="a518f54c-6985-42c0-8041-2bb16a414839" providerId="ADAL" clId="{E88466E7-2243-47F6-9EAE-9BF9DD0649AD}" dt="2024-04-10T16:08:57.510" v="73361"/>
          <ac:spMkLst>
            <pc:docMk/>
            <pc:sldMk cId="1592964120" sldId="300"/>
            <ac:spMk id="18" creationId="{31AF8F52-A343-80A2-1AAE-C847B4EC1C2F}"/>
          </ac:spMkLst>
        </pc:spChg>
        <pc:spChg chg="mod">
          <ac:chgData name="Joelle Brehm" userId="a518f54c-6985-42c0-8041-2bb16a414839" providerId="ADAL" clId="{E88466E7-2243-47F6-9EAE-9BF9DD0649AD}" dt="2024-04-10T16:08:57.510" v="73362"/>
          <ac:spMkLst>
            <pc:docMk/>
            <pc:sldMk cId="1592964120" sldId="300"/>
            <ac:spMk id="19" creationId="{C67B8F2C-387B-9309-6C26-DA14E7C7F2B3}"/>
          </ac:spMkLst>
        </pc:spChg>
        <pc:spChg chg="mod">
          <ac:chgData name="Joelle Brehm" userId="a518f54c-6985-42c0-8041-2bb16a414839" providerId="ADAL" clId="{E88466E7-2243-47F6-9EAE-9BF9DD0649AD}" dt="2024-04-10T16:08:57.510" v="73363"/>
          <ac:spMkLst>
            <pc:docMk/>
            <pc:sldMk cId="1592964120" sldId="300"/>
            <ac:spMk id="20" creationId="{A356996F-09E8-7E5E-06AD-FCA01C53425F}"/>
          </ac:spMkLst>
        </pc:spChg>
        <pc:spChg chg="mod">
          <ac:chgData name="Joelle Brehm" userId="a518f54c-6985-42c0-8041-2bb16a414839" providerId="ADAL" clId="{E88466E7-2243-47F6-9EAE-9BF9DD0649AD}" dt="2024-04-10T16:08:57.510" v="73364"/>
          <ac:spMkLst>
            <pc:docMk/>
            <pc:sldMk cId="1592964120" sldId="300"/>
            <ac:spMk id="21" creationId="{B99DEEA5-7788-7892-8278-B8A15BEE72BF}"/>
          </ac:spMkLst>
        </pc:spChg>
        <pc:spChg chg="mod">
          <ac:chgData name="Joelle Brehm" userId="a518f54c-6985-42c0-8041-2bb16a414839" providerId="ADAL" clId="{E88466E7-2243-47F6-9EAE-9BF9DD0649AD}" dt="2024-04-10T16:08:57.510" v="73365"/>
          <ac:spMkLst>
            <pc:docMk/>
            <pc:sldMk cId="1592964120" sldId="300"/>
            <ac:spMk id="22" creationId="{CC83DFED-CC12-B82A-CF88-46DCE7A285D0}"/>
          </ac:spMkLst>
        </pc:spChg>
        <pc:spChg chg="mod ord">
          <ac:chgData name="Joelle Brehm" userId="a518f54c-6985-42c0-8041-2bb16a414839" providerId="ADAL" clId="{E88466E7-2243-47F6-9EAE-9BF9DD0649AD}" dt="2024-04-10T16:08:57.510" v="73367"/>
          <ac:spMkLst>
            <pc:docMk/>
            <pc:sldMk cId="1592964120" sldId="300"/>
            <ac:spMk id="23" creationId="{388B9762-8B62-238C-4DAE-371D743789A7}"/>
          </ac:spMkLst>
        </pc:spChg>
        <pc:spChg chg="mod">
          <ac:chgData name="Joelle Brehm" userId="a518f54c-6985-42c0-8041-2bb16a414839" providerId="ADAL" clId="{E88466E7-2243-47F6-9EAE-9BF9DD0649AD}" dt="2024-04-10T16:08:57.510" v="73370"/>
          <ac:spMkLst>
            <pc:docMk/>
            <pc:sldMk cId="1592964120" sldId="300"/>
            <ac:spMk id="24" creationId="{08D99868-DFC5-7B57-ACE9-F10209C62F18}"/>
          </ac:spMkLst>
        </pc:spChg>
        <pc:spChg chg="mod">
          <ac:chgData name="Joelle Brehm" userId="a518f54c-6985-42c0-8041-2bb16a414839" providerId="ADAL" clId="{E88466E7-2243-47F6-9EAE-9BF9DD0649AD}" dt="2024-04-10T16:08:57.510" v="73372"/>
          <ac:spMkLst>
            <pc:docMk/>
            <pc:sldMk cId="1592964120" sldId="300"/>
            <ac:spMk id="25" creationId="{893D1401-ECA9-770C-685D-A99936A67292}"/>
          </ac:spMkLst>
        </pc:spChg>
        <pc:spChg chg="mod">
          <ac:chgData name="Joelle Brehm" userId="a518f54c-6985-42c0-8041-2bb16a414839" providerId="ADAL" clId="{E88466E7-2243-47F6-9EAE-9BF9DD0649AD}" dt="2024-04-10T16:08:57.510" v="73371"/>
          <ac:spMkLst>
            <pc:docMk/>
            <pc:sldMk cId="1592964120" sldId="300"/>
            <ac:spMk id="26" creationId="{8AE2212A-1DA5-F563-809B-F4152E79D85E}"/>
          </ac:spMkLst>
        </pc:spChg>
        <pc:spChg chg="mod">
          <ac:chgData name="Joelle Brehm" userId="a518f54c-6985-42c0-8041-2bb16a414839" providerId="ADAL" clId="{E88466E7-2243-47F6-9EAE-9BF9DD0649AD}" dt="2024-04-10T16:08:57.510" v="73375"/>
          <ac:spMkLst>
            <pc:docMk/>
            <pc:sldMk cId="1592964120" sldId="300"/>
            <ac:spMk id="27" creationId="{7566499B-08B1-834D-908F-AE1A9393F260}"/>
          </ac:spMkLst>
        </pc:spChg>
        <pc:spChg chg="mod">
          <ac:chgData name="Joelle Brehm" userId="a518f54c-6985-42c0-8041-2bb16a414839" providerId="ADAL" clId="{E88466E7-2243-47F6-9EAE-9BF9DD0649AD}" dt="2024-04-10T16:08:57.510" v="73376"/>
          <ac:spMkLst>
            <pc:docMk/>
            <pc:sldMk cId="1592964120" sldId="300"/>
            <ac:spMk id="28" creationId="{9A55B08D-DC70-EE69-55AD-11598C1C9B12}"/>
          </ac:spMkLst>
        </pc:spChg>
        <pc:spChg chg="mod">
          <ac:chgData name="Joelle Brehm" userId="a518f54c-6985-42c0-8041-2bb16a414839" providerId="ADAL" clId="{E88466E7-2243-47F6-9EAE-9BF9DD0649AD}" dt="2024-04-10T16:08:57.510" v="73374"/>
          <ac:spMkLst>
            <pc:docMk/>
            <pc:sldMk cId="1592964120" sldId="300"/>
            <ac:spMk id="29" creationId="{CF6E8C33-3094-B90B-55D8-884C79658463}"/>
          </ac:spMkLst>
        </pc:spChg>
        <pc:spChg chg="mod ord">
          <ac:chgData name="Joelle Brehm" userId="a518f54c-6985-42c0-8041-2bb16a414839" providerId="ADAL" clId="{E88466E7-2243-47F6-9EAE-9BF9DD0649AD}" dt="2024-04-10T16:08:57.510" v="73378"/>
          <ac:spMkLst>
            <pc:docMk/>
            <pc:sldMk cId="1592964120" sldId="300"/>
            <ac:spMk id="30" creationId="{F91A67B0-6455-465A-3588-978AE8BFE3CD}"/>
          </ac:spMkLst>
        </pc:spChg>
        <pc:spChg chg="add del mod modVis">
          <ac:chgData name="Joelle Brehm" userId="a518f54c-6985-42c0-8041-2bb16a414839" providerId="ADAL" clId="{E88466E7-2243-47F6-9EAE-9BF9DD0649AD}" dt="2024-04-10T15:41:44.892" v="67372"/>
          <ac:spMkLst>
            <pc:docMk/>
            <pc:sldMk cId="1592964120" sldId="300"/>
            <ac:spMk id="31" creationId="{7E767E13-007D-0145-2C4C-77F97241CCAF}"/>
          </ac:spMkLst>
        </pc:spChg>
        <pc:spChg chg="add del mod modVis">
          <ac:chgData name="Joelle Brehm" userId="a518f54c-6985-42c0-8041-2bb16a414839" providerId="ADAL" clId="{E88466E7-2243-47F6-9EAE-9BF9DD0649AD}" dt="2024-04-10T15:41:45.524" v="67579"/>
          <ac:spMkLst>
            <pc:docMk/>
            <pc:sldMk cId="1592964120" sldId="300"/>
            <ac:spMk id="34" creationId="{C648453C-2037-7859-946F-7F3D202B7820}"/>
          </ac:spMkLst>
        </pc:spChg>
        <pc:spChg chg="add del mod replST">
          <ac:chgData name="Joelle Brehm" userId="a518f54c-6985-42c0-8041-2bb16a414839" providerId="ADAL" clId="{E88466E7-2243-47F6-9EAE-9BF9DD0649AD}" dt="2024-04-10T15:48:49.569" v="72818"/>
          <ac:spMkLst>
            <pc:docMk/>
            <pc:sldMk cId="1592964120" sldId="300"/>
            <ac:spMk id="35" creationId="{7CAA3B95-4C78-4122-BECA-B5FB0F3F3764}"/>
          </ac:spMkLst>
        </pc:spChg>
        <pc:spChg chg="mod ord">
          <ac:chgData name="Joelle Brehm" userId="a518f54c-6985-42c0-8041-2bb16a414839" providerId="ADAL" clId="{E88466E7-2243-47F6-9EAE-9BF9DD0649AD}" dt="2024-04-10T16:08:57.510" v="73369"/>
          <ac:spMkLst>
            <pc:docMk/>
            <pc:sldMk cId="1592964120" sldId="300"/>
            <ac:spMk id="37" creationId="{AF100E2E-9AB7-93B9-D1F1-FCEDBF8C64D5}"/>
          </ac:spMkLst>
        </pc:spChg>
        <pc:spChg chg="add del mod modVis">
          <ac:chgData name="Joelle Brehm" userId="a518f54c-6985-42c0-8041-2bb16a414839" providerId="ADAL" clId="{E88466E7-2243-47F6-9EAE-9BF9DD0649AD}" dt="2024-04-10T15:41:47.285" v="68079"/>
          <ac:spMkLst>
            <pc:docMk/>
            <pc:sldMk cId="1592964120" sldId="300"/>
            <ac:spMk id="38" creationId="{46A31107-016F-5D4C-93DE-6DB37CF3C200}"/>
          </ac:spMkLst>
        </pc:spChg>
        <pc:spChg chg="mod">
          <ac:chgData name="Joelle Brehm" userId="a518f54c-6985-42c0-8041-2bb16a414839" providerId="ADAL" clId="{E88466E7-2243-47F6-9EAE-9BF9DD0649AD}" dt="2024-04-10T16:08:57.510" v="73382"/>
          <ac:spMkLst>
            <pc:docMk/>
            <pc:sldMk cId="1592964120" sldId="300"/>
            <ac:spMk id="40" creationId="{EAB3036D-6C58-106A-186C-AB3727D062D5}"/>
          </ac:spMkLst>
        </pc:spChg>
        <pc:spChg chg="add del mod replST">
          <ac:chgData name="Joelle Brehm" userId="a518f54c-6985-42c0-8041-2bb16a414839" providerId="ADAL" clId="{E88466E7-2243-47F6-9EAE-9BF9DD0649AD}" dt="2024-04-10T15:42:00.404" v="69382"/>
          <ac:spMkLst>
            <pc:docMk/>
            <pc:sldMk cId="1592964120" sldId="300"/>
            <ac:spMk id="41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2:00.404" v="69383"/>
          <ac:spMkLst>
            <pc:docMk/>
            <pc:sldMk cId="1592964120" sldId="300"/>
            <ac:spMk id="42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2:00.404" v="69384"/>
          <ac:spMkLst>
            <pc:docMk/>
            <pc:sldMk cId="1592964120" sldId="300"/>
            <ac:spMk id="43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2:00.404" v="69385"/>
          <ac:spMkLst>
            <pc:docMk/>
            <pc:sldMk cId="1592964120" sldId="300"/>
            <ac:spMk id="44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2:00.404" v="69386"/>
          <ac:spMkLst>
            <pc:docMk/>
            <pc:sldMk cId="1592964120" sldId="300"/>
            <ac:spMk id="45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10T15:41:50.769" v="68511" actId="962"/>
          <ac:spMkLst>
            <pc:docMk/>
            <pc:sldMk cId="1592964120" sldId="300"/>
            <ac:spMk id="48" creationId="{567FE43F-4020-1780-3E37-B459CD169693}"/>
          </ac:spMkLst>
        </pc:spChg>
        <pc:spChg chg="add del mod modVis">
          <ac:chgData name="Joelle Brehm" userId="a518f54c-6985-42c0-8041-2bb16a414839" providerId="ADAL" clId="{E88466E7-2243-47F6-9EAE-9BF9DD0649AD}" dt="2024-04-10T15:41:50.737" v="68446" actId="962"/>
          <ac:spMkLst>
            <pc:docMk/>
            <pc:sldMk cId="1592964120" sldId="300"/>
            <ac:spMk id="50" creationId="{18270EA0-E68E-9FF8-DF9C-0C282C8FF629}"/>
          </ac:spMkLst>
        </pc:spChg>
        <pc:spChg chg="add del mod modVis">
          <ac:chgData name="Joelle Brehm" userId="a518f54c-6985-42c0-8041-2bb16a414839" providerId="ADAL" clId="{E88466E7-2243-47F6-9EAE-9BF9DD0649AD}" dt="2024-04-10T15:41:56.023" v="68882" actId="962"/>
          <ac:spMkLst>
            <pc:docMk/>
            <pc:sldMk cId="1592964120" sldId="300"/>
            <ac:spMk id="52" creationId="{7124CBDD-D271-9A71-37E8-0B76DCA09FB1}"/>
          </ac:spMkLst>
        </pc:spChg>
        <pc:spChg chg="add del mod modVis">
          <ac:chgData name="Joelle Brehm" userId="a518f54c-6985-42c0-8041-2bb16a414839" providerId="ADAL" clId="{E88466E7-2243-47F6-9EAE-9BF9DD0649AD}" dt="2024-04-10T15:41:58.869" v="69253" actId="962"/>
          <ac:spMkLst>
            <pc:docMk/>
            <pc:sldMk cId="1592964120" sldId="300"/>
            <ac:spMk id="54" creationId="{00954D12-26F1-5994-3782-C211C3BDCFF7}"/>
          </ac:spMkLst>
        </pc:spChg>
        <pc:spChg chg="add del mod modVis">
          <ac:chgData name="Joelle Brehm" userId="a518f54c-6985-42c0-8041-2bb16a414839" providerId="ADAL" clId="{E88466E7-2243-47F6-9EAE-9BF9DD0649AD}" dt="2024-04-10T15:42:00.469" v="69475"/>
          <ac:spMkLst>
            <pc:docMk/>
            <pc:sldMk cId="1592964120" sldId="300"/>
            <ac:spMk id="56" creationId="{4E58732C-16D2-FAE1-66DC-DE6DB3437628}"/>
          </ac:spMkLst>
        </pc:spChg>
        <pc:spChg chg="add del mod modVis">
          <ac:chgData name="Joelle Brehm" userId="a518f54c-6985-42c0-8041-2bb16a414839" providerId="ADAL" clId="{E88466E7-2243-47F6-9EAE-9BF9DD0649AD}" dt="2024-04-10T15:42:05.300" v="69618"/>
          <ac:spMkLst>
            <pc:docMk/>
            <pc:sldMk cId="1592964120" sldId="300"/>
            <ac:spMk id="58" creationId="{B92BBC9C-7A0B-45BA-0F30-2F0F7B1641C5}"/>
          </ac:spMkLst>
        </pc:spChg>
        <pc:spChg chg="add del mod modVis">
          <ac:chgData name="Joelle Brehm" userId="a518f54c-6985-42c0-8041-2bb16a414839" providerId="ADAL" clId="{E88466E7-2243-47F6-9EAE-9BF9DD0649AD}" dt="2024-04-10T15:43:29.975" v="69824"/>
          <ac:spMkLst>
            <pc:docMk/>
            <pc:sldMk cId="1592964120" sldId="300"/>
            <ac:spMk id="60" creationId="{78CB8439-5F05-CFBD-CFF8-B40420997C15}"/>
          </ac:spMkLst>
        </pc:spChg>
        <pc:spChg chg="add del mod modVis">
          <ac:chgData name="Joelle Brehm" userId="a518f54c-6985-42c0-8041-2bb16a414839" providerId="ADAL" clId="{E88466E7-2243-47F6-9EAE-9BF9DD0649AD}" dt="2024-04-10T15:45:49.949" v="70413"/>
          <ac:spMkLst>
            <pc:docMk/>
            <pc:sldMk cId="1592964120" sldId="300"/>
            <ac:spMk id="63" creationId="{5ABF3CD2-4A01-AA1F-3202-89EBDE817E50}"/>
          </ac:spMkLst>
        </pc:spChg>
        <pc:spChg chg="add del mod modVis">
          <ac:chgData name="Joelle Brehm" userId="a518f54c-6985-42c0-8041-2bb16a414839" providerId="ADAL" clId="{E88466E7-2243-47F6-9EAE-9BF9DD0649AD}" dt="2024-04-10T15:46:42.034" v="70754"/>
          <ac:spMkLst>
            <pc:docMk/>
            <pc:sldMk cId="1592964120" sldId="300"/>
            <ac:spMk id="67" creationId="{F6E9D88E-79E2-9F2F-EE07-F133841A84AA}"/>
          </ac:spMkLst>
        </pc:spChg>
        <pc:spChg chg="add del mod modVis">
          <ac:chgData name="Joelle Brehm" userId="a518f54c-6985-42c0-8041-2bb16a414839" providerId="ADAL" clId="{E88466E7-2243-47F6-9EAE-9BF9DD0649AD}" dt="2024-04-10T15:48:39.244" v="72463"/>
          <ac:spMkLst>
            <pc:docMk/>
            <pc:sldMk cId="1592964120" sldId="300"/>
            <ac:spMk id="68" creationId="{BA593C1E-B825-6165-7276-3E86B9105A26}"/>
          </ac:spMkLst>
        </pc:spChg>
        <pc:spChg chg="add del mod replST">
          <ac:chgData name="Joelle Brehm" userId="a518f54c-6985-42c0-8041-2bb16a414839" providerId="ADAL" clId="{E88466E7-2243-47F6-9EAE-9BF9DD0649AD}" dt="2024-04-10T15:48:43.241" v="72689"/>
          <ac:spMkLst>
            <pc:docMk/>
            <pc:sldMk cId="1592964120" sldId="300"/>
            <ac:spMk id="69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43.170" v="72636"/>
          <ac:spMkLst>
            <pc:docMk/>
            <pc:sldMk cId="1592964120" sldId="300"/>
            <ac:spMk id="70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43.257" v="72690"/>
          <ac:spMkLst>
            <pc:docMk/>
            <pc:sldMk cId="1592964120" sldId="300"/>
            <ac:spMk id="71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43.170" v="72635"/>
          <ac:spMkLst>
            <pc:docMk/>
            <pc:sldMk cId="1592964120" sldId="300"/>
            <ac:spMk id="72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43.257" v="72691"/>
          <ac:spMkLst>
            <pc:docMk/>
            <pc:sldMk cId="1592964120" sldId="300"/>
            <ac:spMk id="73" creationId="{7CAA3B95-4C78-4122-BECA-B5FB0F3F3764}"/>
          </ac:spMkLst>
        </pc:spChg>
        <pc:spChg chg="mod">
          <ac:chgData name="Joelle Brehm" userId="a518f54c-6985-42c0-8041-2bb16a414839" providerId="ADAL" clId="{E88466E7-2243-47F6-9EAE-9BF9DD0649AD}" dt="2024-04-10T16:08:57.510" v="73373"/>
          <ac:spMkLst>
            <pc:docMk/>
            <pc:sldMk cId="1592964120" sldId="300"/>
            <ac:spMk id="74" creationId="{4F5B4CA8-2D45-2165-F89C-2248C44244DE}"/>
          </ac:spMkLst>
        </pc:spChg>
        <pc:spChg chg="add del mod modVis">
          <ac:chgData name="Joelle Brehm" userId="a518f54c-6985-42c0-8041-2bb16a414839" providerId="ADAL" clId="{E88466E7-2243-47F6-9EAE-9BF9DD0649AD}" dt="2024-04-10T15:48:40.843" v="72594"/>
          <ac:spMkLst>
            <pc:docMk/>
            <pc:sldMk cId="1592964120" sldId="300"/>
            <ac:spMk id="76" creationId="{75883B07-5047-DF3A-E81F-B353A2240330}"/>
          </ac:spMkLst>
        </pc:spChg>
        <pc:spChg chg="mod ord">
          <ac:chgData name="Joelle Brehm" userId="a518f54c-6985-42c0-8041-2bb16a414839" providerId="ADAL" clId="{E88466E7-2243-47F6-9EAE-9BF9DD0649AD}" dt="2024-04-10T16:08:57.510" v="73384"/>
          <ac:spMkLst>
            <pc:docMk/>
            <pc:sldMk cId="1592964120" sldId="300"/>
            <ac:spMk id="78" creationId="{8693DA61-5E71-53E1-FED7-C350F1EBFA04}"/>
          </ac:spMkLst>
        </pc:spChg>
        <pc:spChg chg="mod ord">
          <ac:chgData name="Joelle Brehm" userId="a518f54c-6985-42c0-8041-2bb16a414839" providerId="ADAL" clId="{E88466E7-2243-47F6-9EAE-9BF9DD0649AD}" dt="2024-04-10T16:08:57.510" v="73386"/>
          <ac:spMkLst>
            <pc:docMk/>
            <pc:sldMk cId="1592964120" sldId="300"/>
            <ac:spMk id="79" creationId="{2510167D-D2B4-E764-EE5A-59C5D61DA230}"/>
          </ac:spMkLst>
        </pc:spChg>
        <pc:spChg chg="add del mod modVis">
          <ac:chgData name="Joelle Brehm" userId="a518f54c-6985-42c0-8041-2bb16a414839" providerId="ADAL" clId="{E88466E7-2243-47F6-9EAE-9BF9DD0649AD}" dt="2024-04-10T15:48:43.308" v="72778"/>
          <ac:spMkLst>
            <pc:docMk/>
            <pc:sldMk cId="1592964120" sldId="300"/>
            <ac:spMk id="80" creationId="{D1CD03EC-F83B-7A4C-571B-6B7E5409AD49}"/>
          </ac:spMkLst>
        </pc:spChg>
        <pc:spChg chg="add del mod modVis">
          <ac:chgData name="Joelle Brehm" userId="a518f54c-6985-42c0-8041-2bb16a414839" providerId="ADAL" clId="{E88466E7-2243-47F6-9EAE-9BF9DD0649AD}" dt="2024-04-10T15:48:49.602" v="72895"/>
          <ac:spMkLst>
            <pc:docMk/>
            <pc:sldMk cId="1592964120" sldId="300"/>
            <ac:spMk id="82" creationId="{C44D0DDB-E9C1-F31C-36C1-A664D00FFAB9}"/>
          </ac:spMkLst>
        </pc:spChg>
        <pc:spChg chg="add del mod modVis">
          <ac:chgData name="Joelle Brehm" userId="a518f54c-6985-42c0-8041-2bb16a414839" providerId="ADAL" clId="{E88466E7-2243-47F6-9EAE-9BF9DD0649AD}" dt="2024-04-10T15:48:53.562" v="73010"/>
          <ac:spMkLst>
            <pc:docMk/>
            <pc:sldMk cId="1592964120" sldId="300"/>
            <ac:spMk id="84" creationId="{762B08A8-372A-B9FC-2759-F7269E083F66}"/>
          </ac:spMkLst>
        </pc:spChg>
        <pc:spChg chg="mod ord">
          <ac:chgData name="Joelle Brehm" userId="a518f54c-6985-42c0-8041-2bb16a414839" providerId="ADAL" clId="{E88466E7-2243-47F6-9EAE-9BF9DD0649AD}" dt="2024-04-10T16:08:57.510" v="73388"/>
          <ac:spMkLst>
            <pc:docMk/>
            <pc:sldMk cId="1592964120" sldId="300"/>
            <ac:spMk id="100" creationId="{0020504F-761A-2575-33E3-0FF9244E605B}"/>
          </ac:spMkLst>
        </pc:spChg>
        <pc:spChg chg="mod ord">
          <ac:chgData name="Joelle Brehm" userId="a518f54c-6985-42c0-8041-2bb16a414839" providerId="ADAL" clId="{E88466E7-2243-47F6-9EAE-9BF9DD0649AD}" dt="2024-04-10T16:08:57.510" v="73390"/>
          <ac:spMkLst>
            <pc:docMk/>
            <pc:sldMk cId="1592964120" sldId="300"/>
            <ac:spMk id="108" creationId="{D21D14B1-19CF-8F2B-4831-0B9DB368403B}"/>
          </ac:spMkLst>
        </pc:spChg>
        <pc:spChg chg="mod ord">
          <ac:chgData name="Joelle Brehm" userId="a518f54c-6985-42c0-8041-2bb16a414839" providerId="ADAL" clId="{E88466E7-2243-47F6-9EAE-9BF9DD0649AD}" dt="2024-04-10T16:08:57.510" v="73392"/>
          <ac:spMkLst>
            <pc:docMk/>
            <pc:sldMk cId="1592964120" sldId="300"/>
            <ac:spMk id="109" creationId="{CDDDEF1A-CB37-9452-AFDD-EBD68254CF6B}"/>
          </ac:spMkLst>
        </pc:spChg>
        <pc:spChg chg="mod ord">
          <ac:chgData name="Joelle Brehm" userId="a518f54c-6985-42c0-8041-2bb16a414839" providerId="ADAL" clId="{E88466E7-2243-47F6-9EAE-9BF9DD0649AD}" dt="2024-04-10T16:08:57.510" v="73394"/>
          <ac:spMkLst>
            <pc:docMk/>
            <pc:sldMk cId="1592964120" sldId="300"/>
            <ac:spMk id="110" creationId="{C956C2F4-5A3A-F475-4541-EC71F2A97D96}"/>
          </ac:spMkLst>
        </pc:spChg>
        <pc:spChg chg="mod">
          <ac:chgData name="Joelle Brehm" userId="a518f54c-6985-42c0-8041-2bb16a414839" providerId="ADAL" clId="{E88466E7-2243-47F6-9EAE-9BF9DD0649AD}" dt="2024-04-10T16:08:57.510" v="73381"/>
          <ac:spMkLst>
            <pc:docMk/>
            <pc:sldMk cId="1592964120" sldId="300"/>
            <ac:spMk id="127" creationId="{F5D06544-7B30-6FE8-2DD3-B45FB77A3FD1}"/>
          </ac:spMkLst>
        </pc:spChg>
        <pc:spChg chg="mod">
          <ac:chgData name="Joelle Brehm" userId="a518f54c-6985-42c0-8041-2bb16a414839" providerId="ADAL" clId="{E88466E7-2243-47F6-9EAE-9BF9DD0649AD}" dt="2024-04-10T16:08:57.510" v="73397"/>
          <ac:spMkLst>
            <pc:docMk/>
            <pc:sldMk cId="1592964120" sldId="300"/>
            <ac:spMk id="133" creationId="{D4931E33-6B1D-945A-5828-575D87F40680}"/>
          </ac:spMkLst>
        </pc:spChg>
        <pc:spChg chg="mod">
          <ac:chgData name="Joelle Brehm" userId="a518f54c-6985-42c0-8041-2bb16a414839" providerId="ADAL" clId="{E88466E7-2243-47F6-9EAE-9BF9DD0649AD}" dt="2024-04-10T16:08:57.510" v="73398"/>
          <ac:spMkLst>
            <pc:docMk/>
            <pc:sldMk cId="1592964120" sldId="300"/>
            <ac:spMk id="135" creationId="{5FC73E24-09AD-53E2-EC84-3C23A090452B}"/>
          </ac:spMkLst>
        </pc:spChg>
        <pc:spChg chg="mod">
          <ac:chgData name="Joelle Brehm" userId="a518f54c-6985-42c0-8041-2bb16a414839" providerId="ADAL" clId="{E88466E7-2243-47F6-9EAE-9BF9DD0649AD}" dt="2024-04-10T16:08:57.510" v="73399"/>
          <ac:spMkLst>
            <pc:docMk/>
            <pc:sldMk cId="1592964120" sldId="300"/>
            <ac:spMk id="136" creationId="{78A4E297-043C-9254-6E7C-8739BFAAE38B}"/>
          </ac:spMkLst>
        </pc:spChg>
        <pc:spChg chg="mod">
          <ac:chgData name="Joelle Brehm" userId="a518f54c-6985-42c0-8041-2bb16a414839" providerId="ADAL" clId="{E88466E7-2243-47F6-9EAE-9BF9DD0649AD}" dt="2024-04-10T16:08:57.510" v="73400"/>
          <ac:spMkLst>
            <pc:docMk/>
            <pc:sldMk cId="1592964120" sldId="300"/>
            <ac:spMk id="157" creationId="{12B01CFB-6682-78F2-C567-C22FB9480771}"/>
          </ac:spMkLst>
        </pc:spChg>
        <pc:spChg chg="mod">
          <ac:chgData name="Joelle Brehm" userId="a518f54c-6985-42c0-8041-2bb16a414839" providerId="ADAL" clId="{E88466E7-2243-47F6-9EAE-9BF9DD0649AD}" dt="2024-04-10T16:08:57.510" v="73401"/>
          <ac:spMkLst>
            <pc:docMk/>
            <pc:sldMk cId="1592964120" sldId="300"/>
            <ac:spMk id="158" creationId="{2AE8B7E1-91CF-3DBA-E84B-F08CBB3B3A09}"/>
          </ac:spMkLst>
        </pc:spChg>
        <pc:graphicFrameChg chg="mod">
          <ac:chgData name="Joelle Brehm" userId="a518f54c-6985-42c0-8041-2bb16a414839" providerId="ADAL" clId="{E88466E7-2243-47F6-9EAE-9BF9DD0649AD}" dt="2024-04-10T16:08:57.526" v="73412"/>
          <ac:graphicFrameMkLst>
            <pc:docMk/>
            <pc:sldMk cId="1592964120" sldId="300"/>
            <ac:graphicFrameMk id="4" creationId="{A8C2E1CE-EA94-6389-63BB-78C59C5B663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1:47.253" v="67998"/>
          <ac:graphicFrameMkLst>
            <pc:docMk/>
            <pc:sldMk cId="1592964120" sldId="300"/>
            <ac:graphicFrameMk id="9" creationId="{C61AEAA7-3E95-2A58-206F-F1162C2D9284}"/>
          </ac:graphicFrameMkLst>
        </pc:graphicFrameChg>
        <pc:graphicFrameChg chg="del">
          <ac:chgData name="Joelle Brehm" userId="a518f54c-6985-42c0-8041-2bb16a414839" providerId="ADAL" clId="{E88466E7-2243-47F6-9EAE-9BF9DD0649AD}" dt="2024-04-10T15:35:27.181" v="66996"/>
          <ac:graphicFrameMkLst>
            <pc:docMk/>
            <pc:sldMk cId="1592964120" sldId="300"/>
            <ac:graphicFrameMk id="32" creationId="{B878A39E-AA71-ACE5-39DF-020C75D602C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1:45.477" v="67495"/>
          <ac:graphicFrameMkLst>
            <pc:docMk/>
            <pc:sldMk cId="1592964120" sldId="300"/>
            <ac:graphicFrameMk id="32" creationId="{F4DB65D3-D799-DFA3-F7B1-FE39A7DB64F3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39.197" v="72382"/>
          <ac:graphicFrameMkLst>
            <pc:docMk/>
            <pc:sldMk cId="1592964120" sldId="300"/>
            <ac:graphicFrameMk id="36" creationId="{7EEA86A2-04ED-05F6-4938-E8EE5F8C47F0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10T15:43:29.927" v="69748"/>
          <ac:graphicFrameMkLst>
            <pc:docMk/>
            <pc:sldMk cId="1592964120" sldId="300"/>
            <ac:graphicFrameMk id="39" creationId="{435B86D4-CF2F-93F2-8B30-031384FC4357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10T15:41:44.843" v="67291"/>
          <ac:graphicFrameMkLst>
            <pc:docMk/>
            <pc:sldMk cId="1592964120" sldId="300"/>
            <ac:graphicFrameMk id="46" creationId="{40B42DB3-321B-CF27-BBB8-726DE08DD35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2:00.404" v="69388"/>
          <ac:graphicFrameMkLst>
            <pc:docMk/>
            <pc:sldMk cId="1592964120" sldId="300"/>
            <ac:graphicFrameMk id="47" creationId="{C6A6870B-8920-B40D-4891-5B642D88E5D1}"/>
          </ac:graphicFrameMkLst>
        </pc:graphicFrameChg>
        <pc:graphicFrameChg chg="add del mod ord replST delST">
          <ac:chgData name="Joelle Brehm" userId="a518f54c-6985-42c0-8041-2bb16a414839" providerId="ADAL" clId="{E88466E7-2243-47F6-9EAE-9BF9DD0649AD}" dt="2024-04-10T15:41:50.753" v="68472" actId="1076"/>
          <ac:graphicFrameMkLst>
            <pc:docMk/>
            <pc:sldMk cId="1592964120" sldId="300"/>
            <ac:graphicFrameMk id="49" creationId="{DA0AC24B-1306-09F0-C98F-03C60FB57C30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10T15:41:50.737" v="68419" actId="1076"/>
          <ac:graphicFrameMkLst>
            <pc:docMk/>
            <pc:sldMk cId="1592964120" sldId="300"/>
            <ac:graphicFrameMk id="51" creationId="{D14E9588-2E6B-0CAA-9ABA-6D27048D2415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10T15:41:55.979" v="68781" actId="1076"/>
          <ac:graphicFrameMkLst>
            <pc:docMk/>
            <pc:sldMk cId="1592964120" sldId="300"/>
            <ac:graphicFrameMk id="53" creationId="{CE1B0D5A-0D7D-5864-F53B-6CA1DC16FD9C}"/>
          </ac:graphicFrameMkLst>
        </pc:graphicFrameChg>
        <pc:graphicFrameChg chg="add mod ord replST delST">
          <ac:chgData name="Joelle Brehm" userId="a518f54c-6985-42c0-8041-2bb16a414839" providerId="ADAL" clId="{E88466E7-2243-47F6-9EAE-9BF9DD0649AD}" dt="2024-04-10T15:41:58.821" v="69152" actId="1076"/>
          <ac:graphicFrameMkLst>
            <pc:docMk/>
            <pc:sldMk cId="1592964120" sldId="300"/>
            <ac:graphicFrameMk id="55" creationId="{7681A436-7F6C-8B35-6C8A-E74E39311DB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2:05.254" v="69533"/>
          <ac:graphicFrameMkLst>
            <pc:docMk/>
            <pc:sldMk cId="1592964120" sldId="300"/>
            <ac:graphicFrameMk id="57" creationId="{5C7CF298-2734-4F5E-669E-4E2922AAF69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5:49.906" v="70337"/>
          <ac:graphicFrameMkLst>
            <pc:docMk/>
            <pc:sldMk cId="1592964120" sldId="300"/>
            <ac:graphicFrameMk id="59" creationId="{2846D9EA-CEFF-FA4C-6B5C-ED9D0D7E1F6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3:33.644" v="69847"/>
          <ac:graphicFrameMkLst>
            <pc:docMk/>
            <pc:sldMk cId="1592964120" sldId="300"/>
            <ac:graphicFrameMk id="61" creationId="{48FCA4AC-944D-AA65-4531-C92E84A50F93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6:08:57.510" v="73396"/>
          <ac:graphicFrameMkLst>
            <pc:docMk/>
            <pc:sldMk cId="1592964120" sldId="300"/>
            <ac:graphicFrameMk id="62" creationId="{BFB5D679-FA56-B3CD-758F-88F7C4B6118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6:08:57.494" v="73353"/>
          <ac:graphicFrameMkLst>
            <pc:docMk/>
            <pc:sldMk cId="1592964120" sldId="300"/>
            <ac:graphicFrameMk id="64" creationId="{8AA21480-50B4-8414-4827-965E665F2D66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40.796" v="72513"/>
          <ac:graphicFrameMkLst>
            <pc:docMk/>
            <pc:sldMk cId="1592964120" sldId="300"/>
            <ac:graphicFrameMk id="75" creationId="{B9028CEE-6170-9474-950A-61D27E7FEF6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43.257" v="72693"/>
          <ac:graphicFrameMkLst>
            <pc:docMk/>
            <pc:sldMk cId="1592964120" sldId="300"/>
            <ac:graphicFrameMk id="77" creationId="{D6F1CC94-443A-4EE8-623B-B3236031CA51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49.569" v="72820"/>
          <ac:graphicFrameMkLst>
            <pc:docMk/>
            <pc:sldMk cId="1592964120" sldId="300"/>
            <ac:graphicFrameMk id="81" creationId="{13483267-2407-2E85-78B1-4AEF5102B33B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53.531" v="72935"/>
          <ac:graphicFrameMkLst>
            <pc:docMk/>
            <pc:sldMk cId="1592964120" sldId="300"/>
            <ac:graphicFrameMk id="83" creationId="{F26D0B57-7DE0-08B6-B065-FC1E52D0E86C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6:08:57.510" v="73380"/>
          <ac:graphicFrameMkLst>
            <pc:docMk/>
            <pc:sldMk cId="1592964120" sldId="300"/>
            <ac:graphicFrameMk id="85" creationId="{CB5E2C7B-2646-1E8F-6440-EBDCED210A28}"/>
          </ac:graphicFrameMkLst>
        </pc:graphicFrameChg>
        <pc:picChg chg="add del mod ord">
          <ac:chgData name="Joelle Brehm" userId="a518f54c-6985-42c0-8041-2bb16a414839" providerId="ADAL" clId="{E88466E7-2243-47F6-9EAE-9BF9DD0649AD}" dt="2024-04-10T15:46:43.298" v="70757" actId="478"/>
          <ac:picMkLst>
            <pc:docMk/>
            <pc:sldMk cId="1592964120" sldId="300"/>
            <ac:picMk id="8" creationId="{0EFD3911-C1BA-4160-66F1-040C1910B3C8}"/>
          </ac:picMkLst>
        </pc:picChg>
        <pc:picChg chg="add del mod">
          <ac:chgData name="Joelle Brehm" userId="a518f54c-6985-42c0-8041-2bb16a414839" providerId="ADAL" clId="{E88466E7-2243-47F6-9EAE-9BF9DD0649AD}" dt="2024-04-10T15:35:39.306" v="67082" actId="478"/>
          <ac:picMkLst>
            <pc:docMk/>
            <pc:sldMk cId="1592964120" sldId="300"/>
            <ac:picMk id="10" creationId="{84E879F0-7F5B-B03B-1032-BC23995D3509}"/>
          </ac:picMkLst>
        </pc:picChg>
        <pc:picChg chg="del mod ord">
          <ac:chgData name="Joelle Brehm" userId="a518f54c-6985-42c0-8041-2bb16a414839" providerId="ADAL" clId="{E88466E7-2243-47F6-9EAE-9BF9DD0649AD}" dt="2024-04-10T15:36:55.188" v="67192" actId="478"/>
          <ac:picMkLst>
            <pc:docMk/>
            <pc:sldMk cId="1592964120" sldId="300"/>
            <ac:picMk id="33" creationId="{727B1287-F243-C8F1-7686-A0FA944860C8}"/>
          </ac:picMkLst>
        </pc:picChg>
        <pc:picChg chg="add del mod ord">
          <ac:chgData name="Joelle Brehm" userId="a518f54c-6985-42c0-8041-2bb16a414839" providerId="ADAL" clId="{E88466E7-2243-47F6-9EAE-9BF9DD0649AD}" dt="2024-04-10T15:46:30.650" v="70645" actId="478"/>
          <ac:picMkLst>
            <pc:docMk/>
            <pc:sldMk cId="1592964120" sldId="300"/>
            <ac:picMk id="65" creationId="{B31A2F3C-153D-592C-AB64-0D7A179996B4}"/>
          </ac:picMkLst>
        </pc:picChg>
        <pc:picChg chg="add del mod ord">
          <ac:chgData name="Joelle Brehm" userId="a518f54c-6985-42c0-8041-2bb16a414839" providerId="ADAL" clId="{E88466E7-2243-47F6-9EAE-9BF9DD0649AD}" dt="2024-04-10T16:08:59.407" v="73413" actId="478"/>
          <ac:picMkLst>
            <pc:docMk/>
            <pc:sldMk cId="1592964120" sldId="300"/>
            <ac:picMk id="66" creationId="{90701F07-4177-B91C-3FE1-0978F0E11FA0}"/>
          </ac:picMkLst>
        </pc:picChg>
        <pc:picChg chg="add mod ord">
          <ac:chgData name="Joelle Brehm" userId="a518f54c-6985-42c0-8041-2bb16a414839" providerId="ADAL" clId="{E88466E7-2243-47F6-9EAE-9BF9DD0649AD}" dt="2024-04-10T16:08:57.494" v="73345"/>
          <ac:picMkLst>
            <pc:docMk/>
            <pc:sldMk cId="1592964120" sldId="300"/>
            <ac:picMk id="86" creationId="{5000484A-CC22-670D-BCD0-F23A523049FF}"/>
          </ac:picMkLst>
        </pc:picChg>
        <pc:picChg chg="mod ord">
          <ac:chgData name="Joelle Brehm" userId="a518f54c-6985-42c0-8041-2bb16a414839" providerId="ADAL" clId="{E88466E7-2243-47F6-9EAE-9BF9DD0649AD}" dt="2024-04-10T16:08:57.510" v="73403"/>
          <ac:picMkLst>
            <pc:docMk/>
            <pc:sldMk cId="1592964120" sldId="300"/>
            <ac:picMk id="185" creationId="{4FBF27C0-F642-0AEF-665E-15710A187E9A}"/>
          </ac:picMkLst>
        </pc:picChg>
        <pc:picChg chg="add mod">
          <ac:chgData name="Joelle Brehm" userId="a518f54c-6985-42c0-8041-2bb16a414839" providerId="ADAL" clId="{E88466E7-2243-47F6-9EAE-9BF9DD0649AD}" dt="2024-04-10T16:08:57.510" v="73408"/>
          <ac:picMkLst>
            <pc:docMk/>
            <pc:sldMk cId="1592964120" sldId="300"/>
            <ac:picMk id="2050" creationId="{F95BEF66-B9C6-B134-257B-5D7486CB36FF}"/>
          </ac:picMkLst>
        </pc:picChg>
        <pc:picChg chg="del mod">
          <ac:chgData name="Joelle Brehm" userId="a518f54c-6985-42c0-8041-2bb16a414839" providerId="ADAL" clId="{E88466E7-2243-47F6-9EAE-9BF9DD0649AD}" dt="2024-04-10T15:53:27.027" v="73029" actId="478"/>
          <ac:picMkLst>
            <pc:docMk/>
            <pc:sldMk cId="1592964120" sldId="300"/>
            <ac:picMk id="3074" creationId="{C2BC9611-4625-A8D6-284C-17C9AD224671}"/>
          </ac:picMkLst>
        </pc:picChg>
        <pc:cxnChg chg="mod ord">
          <ac:chgData name="Joelle Brehm" userId="a518f54c-6985-42c0-8041-2bb16a414839" providerId="ADAL" clId="{E88466E7-2243-47F6-9EAE-9BF9DD0649AD}" dt="2024-04-10T16:08:57.494" v="73351"/>
          <ac:cxnSpMkLst>
            <pc:docMk/>
            <pc:sldMk cId="1592964120" sldId="300"/>
            <ac:cxnSpMk id="7" creationId="{525B8DD7-1E59-E820-439B-D5FD08121ECB}"/>
          </ac:cxnSpMkLst>
        </pc:cxnChg>
      </pc:sldChg>
      <pc:sldChg chg="addSp delSp modSp add mod">
        <pc:chgData name="Joelle Brehm" userId="a518f54c-6985-42c0-8041-2bb16a414839" providerId="ADAL" clId="{E88466E7-2243-47F6-9EAE-9BF9DD0649AD}" dt="2024-04-10T16:09:43.232" v="73487" actId="478"/>
        <pc:sldMkLst>
          <pc:docMk/>
          <pc:sldMk cId="2457840071" sldId="301"/>
        </pc:sldMkLst>
        <pc:spChg chg="mod ord">
          <ac:chgData name="Joelle Brehm" userId="a518f54c-6985-42c0-8041-2bb16a414839" providerId="ADAL" clId="{E88466E7-2243-47F6-9EAE-9BF9DD0649AD}" dt="2024-04-10T16:09:41.865" v="73479"/>
          <ac:spMkLst>
            <pc:docMk/>
            <pc:sldMk cId="2457840071" sldId="301"/>
            <ac:spMk id="2" creationId="{B98AECD7-F227-7661-1D74-C87CD0D40C01}"/>
          </ac:spMkLst>
        </pc:spChg>
        <pc:spChg chg="mod ord">
          <ac:chgData name="Joelle Brehm" userId="a518f54c-6985-42c0-8041-2bb16a414839" providerId="ADAL" clId="{E88466E7-2243-47F6-9EAE-9BF9DD0649AD}" dt="2024-04-10T16:09:41.865" v="73481"/>
          <ac:spMkLst>
            <pc:docMk/>
            <pc:sldMk cId="2457840071" sldId="301"/>
            <ac:spMk id="3" creationId="{987550CE-28D5-31FC-DA06-EE3C8CEEBAC4}"/>
          </ac:spMkLst>
        </pc:spChg>
        <pc:spChg chg="add del mod ord">
          <ac:chgData name="Joelle Brehm" userId="a518f54c-6985-42c0-8041-2bb16a414839" providerId="ADAL" clId="{E88466E7-2243-47F6-9EAE-9BF9DD0649AD}" dt="2024-04-10T15:51:08.216" v="73015" actId="478"/>
          <ac:spMkLst>
            <pc:docMk/>
            <pc:sldMk cId="2457840071" sldId="301"/>
            <ac:spMk id="5" creationId="{9DCA6002-DDCB-E724-4B5F-3DE9F719AB97}"/>
          </ac:spMkLst>
        </pc:spChg>
        <pc:spChg chg="mod ord">
          <ac:chgData name="Joelle Brehm" userId="a518f54c-6985-42c0-8041-2bb16a414839" providerId="ADAL" clId="{E88466E7-2243-47F6-9EAE-9BF9DD0649AD}" dt="2024-04-10T16:09:41.849" v="73425"/>
          <ac:spMkLst>
            <pc:docMk/>
            <pc:sldMk cId="2457840071" sldId="301"/>
            <ac:spMk id="6" creationId="{0EAC578E-89F1-9012-7CFE-E394FA03D5BB}"/>
          </ac:spMkLst>
        </pc:spChg>
        <pc:spChg chg="add del mod modVis">
          <ac:chgData name="Joelle Brehm" userId="a518f54c-6985-42c0-8041-2bb16a414839" providerId="ADAL" clId="{E88466E7-2243-47F6-9EAE-9BF9DD0649AD}" dt="2024-04-10T15:43:58.556" v="70146"/>
          <ac:spMkLst>
            <pc:docMk/>
            <pc:sldMk cId="2457840071" sldId="301"/>
            <ac:spMk id="8" creationId="{75A842FC-999D-FBC1-3238-BF70AFF9AA1C}"/>
          </ac:spMkLst>
        </pc:spChg>
        <pc:spChg chg="add del mod modVis">
          <ac:chgData name="Joelle Brehm" userId="a518f54c-6985-42c0-8041-2bb16a414839" providerId="ADAL" clId="{E88466E7-2243-47F6-9EAE-9BF9DD0649AD}" dt="2024-04-10T15:44:03.210" v="70294"/>
          <ac:spMkLst>
            <pc:docMk/>
            <pc:sldMk cId="2457840071" sldId="301"/>
            <ac:spMk id="10" creationId="{F68ED63B-E0C5-D7D6-9189-0465EBB0B388}"/>
          </ac:spMkLst>
        </pc:spChg>
        <pc:spChg chg="mod">
          <ac:chgData name="Joelle Brehm" userId="a518f54c-6985-42c0-8041-2bb16a414839" providerId="ADAL" clId="{E88466E7-2243-47F6-9EAE-9BF9DD0649AD}" dt="2024-04-10T16:09:41.865" v="73436"/>
          <ac:spMkLst>
            <pc:docMk/>
            <pc:sldMk cId="2457840071" sldId="301"/>
            <ac:spMk id="11" creationId="{22B603EF-478D-0AD6-4D23-7FCAC6C5B3A8}"/>
          </ac:spMkLst>
        </pc:spChg>
        <pc:spChg chg="mod">
          <ac:chgData name="Joelle Brehm" userId="a518f54c-6985-42c0-8041-2bb16a414839" providerId="ADAL" clId="{E88466E7-2243-47F6-9EAE-9BF9DD0649AD}" dt="2024-04-10T16:09:41.849" v="73432"/>
          <ac:spMkLst>
            <pc:docMk/>
            <pc:sldMk cId="2457840071" sldId="301"/>
            <ac:spMk id="12" creationId="{EF91471B-672D-6CC5-CF57-DA4811B37750}"/>
          </ac:spMkLst>
        </pc:spChg>
        <pc:spChg chg="mod">
          <ac:chgData name="Joelle Brehm" userId="a518f54c-6985-42c0-8041-2bb16a414839" providerId="ADAL" clId="{E88466E7-2243-47F6-9EAE-9BF9DD0649AD}" dt="2024-04-10T16:09:41.849" v="73433"/>
          <ac:spMkLst>
            <pc:docMk/>
            <pc:sldMk cId="2457840071" sldId="301"/>
            <ac:spMk id="13" creationId="{93D9A990-B724-217A-59C0-550353D722BC}"/>
          </ac:spMkLst>
        </pc:spChg>
        <pc:spChg chg="mod">
          <ac:chgData name="Joelle Brehm" userId="a518f54c-6985-42c0-8041-2bb16a414839" providerId="ADAL" clId="{E88466E7-2243-47F6-9EAE-9BF9DD0649AD}" dt="2024-04-10T16:09:41.849" v="73430"/>
          <ac:spMkLst>
            <pc:docMk/>
            <pc:sldMk cId="2457840071" sldId="301"/>
            <ac:spMk id="14" creationId="{01488B66-9E2B-C289-21D2-6006FA4EB02C}"/>
          </ac:spMkLst>
        </pc:spChg>
        <pc:spChg chg="mod">
          <ac:chgData name="Joelle Brehm" userId="a518f54c-6985-42c0-8041-2bb16a414839" providerId="ADAL" clId="{E88466E7-2243-47F6-9EAE-9BF9DD0649AD}" dt="2024-04-10T16:09:41.849" v="73431"/>
          <ac:spMkLst>
            <pc:docMk/>
            <pc:sldMk cId="2457840071" sldId="301"/>
            <ac:spMk id="15" creationId="{C9DB922C-D286-DBF0-0AE7-25DDB51ED935}"/>
          </ac:spMkLst>
        </pc:spChg>
        <pc:spChg chg="mod">
          <ac:chgData name="Joelle Brehm" userId="a518f54c-6985-42c0-8041-2bb16a414839" providerId="ADAL" clId="{E88466E7-2243-47F6-9EAE-9BF9DD0649AD}" dt="2024-04-10T16:09:41.849" v="73434"/>
          <ac:spMkLst>
            <pc:docMk/>
            <pc:sldMk cId="2457840071" sldId="301"/>
            <ac:spMk id="16" creationId="{EAF5C985-33B7-C144-D7D4-2F545640EB66}"/>
          </ac:spMkLst>
        </pc:spChg>
        <pc:spChg chg="mod">
          <ac:chgData name="Joelle Brehm" userId="a518f54c-6985-42c0-8041-2bb16a414839" providerId="ADAL" clId="{E88466E7-2243-47F6-9EAE-9BF9DD0649AD}" dt="2024-04-10T16:09:41.849" v="73435"/>
          <ac:spMkLst>
            <pc:docMk/>
            <pc:sldMk cId="2457840071" sldId="301"/>
            <ac:spMk id="17" creationId="{A74F232F-4C99-6217-DB6E-798BC722C290}"/>
          </ac:spMkLst>
        </pc:spChg>
        <pc:spChg chg="mod">
          <ac:chgData name="Joelle Brehm" userId="a518f54c-6985-42c0-8041-2bb16a414839" providerId="ADAL" clId="{E88466E7-2243-47F6-9EAE-9BF9DD0649AD}" dt="2024-04-10T16:09:41.865" v="73437"/>
          <ac:spMkLst>
            <pc:docMk/>
            <pc:sldMk cId="2457840071" sldId="301"/>
            <ac:spMk id="18" creationId="{31AF8F52-A343-80A2-1AAE-C847B4EC1C2F}"/>
          </ac:spMkLst>
        </pc:spChg>
        <pc:spChg chg="mod">
          <ac:chgData name="Joelle Brehm" userId="a518f54c-6985-42c0-8041-2bb16a414839" providerId="ADAL" clId="{E88466E7-2243-47F6-9EAE-9BF9DD0649AD}" dt="2024-04-10T16:09:41.865" v="73438"/>
          <ac:spMkLst>
            <pc:docMk/>
            <pc:sldMk cId="2457840071" sldId="301"/>
            <ac:spMk id="19" creationId="{C67B8F2C-387B-9309-6C26-DA14E7C7F2B3}"/>
          </ac:spMkLst>
        </pc:spChg>
        <pc:spChg chg="mod">
          <ac:chgData name="Joelle Brehm" userId="a518f54c-6985-42c0-8041-2bb16a414839" providerId="ADAL" clId="{E88466E7-2243-47F6-9EAE-9BF9DD0649AD}" dt="2024-04-10T16:09:41.865" v="73439"/>
          <ac:spMkLst>
            <pc:docMk/>
            <pc:sldMk cId="2457840071" sldId="301"/>
            <ac:spMk id="20" creationId="{A356996F-09E8-7E5E-06AD-FCA01C53425F}"/>
          </ac:spMkLst>
        </pc:spChg>
        <pc:spChg chg="mod">
          <ac:chgData name="Joelle Brehm" userId="a518f54c-6985-42c0-8041-2bb16a414839" providerId="ADAL" clId="{E88466E7-2243-47F6-9EAE-9BF9DD0649AD}" dt="2024-04-10T16:09:41.865" v="73440"/>
          <ac:spMkLst>
            <pc:docMk/>
            <pc:sldMk cId="2457840071" sldId="301"/>
            <ac:spMk id="21" creationId="{B99DEEA5-7788-7892-8278-B8A15BEE72BF}"/>
          </ac:spMkLst>
        </pc:spChg>
        <pc:spChg chg="mod">
          <ac:chgData name="Joelle Brehm" userId="a518f54c-6985-42c0-8041-2bb16a414839" providerId="ADAL" clId="{E88466E7-2243-47F6-9EAE-9BF9DD0649AD}" dt="2024-04-10T16:09:41.865" v="73441"/>
          <ac:spMkLst>
            <pc:docMk/>
            <pc:sldMk cId="2457840071" sldId="301"/>
            <ac:spMk id="22" creationId="{CC83DFED-CC12-B82A-CF88-46DCE7A285D0}"/>
          </ac:spMkLst>
        </pc:spChg>
        <pc:spChg chg="mod ord">
          <ac:chgData name="Joelle Brehm" userId="a518f54c-6985-42c0-8041-2bb16a414839" providerId="ADAL" clId="{E88466E7-2243-47F6-9EAE-9BF9DD0649AD}" dt="2024-04-10T16:09:41.865" v="73443"/>
          <ac:spMkLst>
            <pc:docMk/>
            <pc:sldMk cId="2457840071" sldId="301"/>
            <ac:spMk id="23" creationId="{388B9762-8B62-238C-4DAE-371D743789A7}"/>
          </ac:spMkLst>
        </pc:spChg>
        <pc:spChg chg="mod">
          <ac:chgData name="Joelle Brehm" userId="a518f54c-6985-42c0-8041-2bb16a414839" providerId="ADAL" clId="{E88466E7-2243-47F6-9EAE-9BF9DD0649AD}" dt="2024-04-10T16:09:41.865" v="73446"/>
          <ac:spMkLst>
            <pc:docMk/>
            <pc:sldMk cId="2457840071" sldId="301"/>
            <ac:spMk id="24" creationId="{08D99868-DFC5-7B57-ACE9-F10209C62F18}"/>
          </ac:spMkLst>
        </pc:spChg>
        <pc:spChg chg="mod">
          <ac:chgData name="Joelle Brehm" userId="a518f54c-6985-42c0-8041-2bb16a414839" providerId="ADAL" clId="{E88466E7-2243-47F6-9EAE-9BF9DD0649AD}" dt="2024-04-10T16:09:41.865" v="73448"/>
          <ac:spMkLst>
            <pc:docMk/>
            <pc:sldMk cId="2457840071" sldId="301"/>
            <ac:spMk id="25" creationId="{893D1401-ECA9-770C-685D-A99936A67292}"/>
          </ac:spMkLst>
        </pc:spChg>
        <pc:spChg chg="mod">
          <ac:chgData name="Joelle Brehm" userId="a518f54c-6985-42c0-8041-2bb16a414839" providerId="ADAL" clId="{E88466E7-2243-47F6-9EAE-9BF9DD0649AD}" dt="2024-04-10T16:09:41.865" v="73447"/>
          <ac:spMkLst>
            <pc:docMk/>
            <pc:sldMk cId="2457840071" sldId="301"/>
            <ac:spMk id="26" creationId="{8AE2212A-1DA5-F563-809B-F4152E79D85E}"/>
          </ac:spMkLst>
        </pc:spChg>
        <pc:spChg chg="mod">
          <ac:chgData name="Joelle Brehm" userId="a518f54c-6985-42c0-8041-2bb16a414839" providerId="ADAL" clId="{E88466E7-2243-47F6-9EAE-9BF9DD0649AD}" dt="2024-04-10T16:09:41.865" v="73451"/>
          <ac:spMkLst>
            <pc:docMk/>
            <pc:sldMk cId="2457840071" sldId="301"/>
            <ac:spMk id="27" creationId="{7566499B-08B1-834D-908F-AE1A9393F260}"/>
          </ac:spMkLst>
        </pc:spChg>
        <pc:spChg chg="mod">
          <ac:chgData name="Joelle Brehm" userId="a518f54c-6985-42c0-8041-2bb16a414839" providerId="ADAL" clId="{E88466E7-2243-47F6-9EAE-9BF9DD0649AD}" dt="2024-04-10T16:09:41.865" v="73452"/>
          <ac:spMkLst>
            <pc:docMk/>
            <pc:sldMk cId="2457840071" sldId="301"/>
            <ac:spMk id="28" creationId="{9A55B08D-DC70-EE69-55AD-11598C1C9B12}"/>
          </ac:spMkLst>
        </pc:spChg>
        <pc:spChg chg="mod">
          <ac:chgData name="Joelle Brehm" userId="a518f54c-6985-42c0-8041-2bb16a414839" providerId="ADAL" clId="{E88466E7-2243-47F6-9EAE-9BF9DD0649AD}" dt="2024-04-10T16:09:41.865" v="73450"/>
          <ac:spMkLst>
            <pc:docMk/>
            <pc:sldMk cId="2457840071" sldId="301"/>
            <ac:spMk id="29" creationId="{CF6E8C33-3094-B90B-55D8-884C79658463}"/>
          </ac:spMkLst>
        </pc:spChg>
        <pc:spChg chg="mod ord">
          <ac:chgData name="Joelle Brehm" userId="a518f54c-6985-42c0-8041-2bb16a414839" providerId="ADAL" clId="{E88466E7-2243-47F6-9EAE-9BF9DD0649AD}" dt="2024-04-10T16:09:41.865" v="73454"/>
          <ac:spMkLst>
            <pc:docMk/>
            <pc:sldMk cId="2457840071" sldId="301"/>
            <ac:spMk id="30" creationId="{F91A67B0-6455-465A-3588-978AE8BFE3CD}"/>
          </ac:spMkLst>
        </pc:spChg>
        <pc:spChg chg="add del mod modVis">
          <ac:chgData name="Joelle Brehm" userId="a518f54c-6985-42c0-8041-2bb16a414839" providerId="ADAL" clId="{E88466E7-2243-47F6-9EAE-9BF9DD0649AD}" dt="2024-04-10T15:46:10.706" v="70530"/>
          <ac:spMkLst>
            <pc:docMk/>
            <pc:sldMk cId="2457840071" sldId="301"/>
            <ac:spMk id="34" creationId="{DEBE763B-8925-B32A-D87C-1D17C048442C}"/>
          </ac:spMkLst>
        </pc:spChg>
        <pc:spChg chg="mod ord">
          <ac:chgData name="Joelle Brehm" userId="a518f54c-6985-42c0-8041-2bb16a414839" providerId="ADAL" clId="{E88466E7-2243-47F6-9EAE-9BF9DD0649AD}" dt="2024-04-10T16:09:41.865" v="73445"/>
          <ac:spMkLst>
            <pc:docMk/>
            <pc:sldMk cId="2457840071" sldId="301"/>
            <ac:spMk id="37" creationId="{AF100E2E-9AB7-93B9-D1F1-FCEDBF8C64D5}"/>
          </ac:spMkLst>
        </pc:spChg>
        <pc:spChg chg="mod">
          <ac:chgData name="Joelle Brehm" userId="a518f54c-6985-42c0-8041-2bb16a414839" providerId="ADAL" clId="{E88466E7-2243-47F6-9EAE-9BF9DD0649AD}" dt="2024-04-10T16:09:41.865" v="73458"/>
          <ac:spMkLst>
            <pc:docMk/>
            <pc:sldMk cId="2457840071" sldId="301"/>
            <ac:spMk id="40" creationId="{EAB3036D-6C58-106A-186C-AB3727D062D5}"/>
          </ac:spMkLst>
        </pc:spChg>
        <pc:spChg chg="add del mod modVis">
          <ac:chgData name="Joelle Brehm" userId="a518f54c-6985-42c0-8041-2bb16a414839" providerId="ADAL" clId="{E88466E7-2243-47F6-9EAE-9BF9DD0649AD}" dt="2024-04-10T15:48:17.515" v="71011"/>
          <ac:spMkLst>
            <pc:docMk/>
            <pc:sldMk cId="2457840071" sldId="301"/>
            <ac:spMk id="41" creationId="{357FCAF2-BBEC-BA07-8E8D-3D1BD158D289}"/>
          </ac:spMkLst>
        </pc:spChg>
        <pc:spChg chg="add del mod modVis">
          <ac:chgData name="Joelle Brehm" userId="a518f54c-6985-42c0-8041-2bb16a414839" providerId="ADAL" clId="{E88466E7-2243-47F6-9EAE-9BF9DD0649AD}" dt="2024-04-10T15:48:29.071" v="71406"/>
          <ac:spMkLst>
            <pc:docMk/>
            <pc:sldMk cId="2457840071" sldId="301"/>
            <ac:spMk id="45" creationId="{6BBF2849-51CB-C09C-6114-F443BD9F73DD}"/>
          </ac:spMkLst>
        </pc:spChg>
        <pc:spChg chg="add mod replST">
          <ac:chgData name="Joelle Brehm" userId="a518f54c-6985-42c0-8041-2bb16a414839" providerId="ADAL" clId="{E88466E7-2243-47F6-9EAE-9BF9DD0649AD}" dt="2024-04-10T16:09:41.865" v="73459"/>
          <ac:spMkLst>
            <pc:docMk/>
            <pc:sldMk cId="2457840071" sldId="301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10T15:48:31.891" v="71827"/>
          <ac:spMkLst>
            <pc:docMk/>
            <pc:sldMk cId="2457840071" sldId="301"/>
            <ac:spMk id="49" creationId="{77CDEA19-1205-CBB1-EF8D-236716C88131}"/>
          </ac:spMkLst>
        </pc:spChg>
        <pc:spChg chg="add del mod replST">
          <ac:chgData name="Joelle Brehm" userId="a518f54c-6985-42c0-8041-2bb16a414839" providerId="ADAL" clId="{E88466E7-2243-47F6-9EAE-9BF9DD0649AD}" dt="2024-04-10T15:48:34.149" v="71916"/>
          <ac:spMkLst>
            <pc:docMk/>
            <pc:sldMk cId="2457840071" sldId="301"/>
            <ac:spMk id="50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34.062" v="71863"/>
          <ac:spMkLst>
            <pc:docMk/>
            <pc:sldMk cId="2457840071" sldId="301"/>
            <ac:spMk id="51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34.149" v="71917"/>
          <ac:spMkLst>
            <pc:docMk/>
            <pc:sldMk cId="2457840071" sldId="301"/>
            <ac:spMk id="52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34.062" v="71862"/>
          <ac:spMkLst>
            <pc:docMk/>
            <pc:sldMk cId="2457840071" sldId="301"/>
            <ac:spMk id="53" creationId="{7CAA3B95-4C78-4122-BECA-B5FB0F3F3764}"/>
          </ac:spMkLst>
        </pc:spChg>
        <pc:spChg chg="add del mod replST">
          <ac:chgData name="Joelle Brehm" userId="a518f54c-6985-42c0-8041-2bb16a414839" providerId="ADAL" clId="{E88466E7-2243-47F6-9EAE-9BF9DD0649AD}" dt="2024-04-10T15:48:34.149" v="71918"/>
          <ac:spMkLst>
            <pc:docMk/>
            <pc:sldMk cId="2457840071" sldId="301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10T15:48:34.218" v="72002"/>
          <ac:spMkLst>
            <pc:docMk/>
            <pc:sldMk cId="2457840071" sldId="301"/>
            <ac:spMk id="56" creationId="{0EC66677-14CB-249F-0DAD-AF136E07294D}"/>
          </ac:spMkLst>
        </pc:spChg>
        <pc:spChg chg="mod">
          <ac:chgData name="Joelle Brehm" userId="a518f54c-6985-42c0-8041-2bb16a414839" providerId="ADAL" clId="{E88466E7-2243-47F6-9EAE-9BF9DD0649AD}" dt="2024-04-10T16:09:41.865" v="73449"/>
          <ac:spMkLst>
            <pc:docMk/>
            <pc:sldMk cId="2457840071" sldId="301"/>
            <ac:spMk id="74" creationId="{4F5B4CA8-2D45-2165-F89C-2248C44244DE}"/>
          </ac:spMkLst>
        </pc:spChg>
        <pc:spChg chg="mod ord">
          <ac:chgData name="Joelle Brehm" userId="a518f54c-6985-42c0-8041-2bb16a414839" providerId="ADAL" clId="{E88466E7-2243-47F6-9EAE-9BF9DD0649AD}" dt="2024-04-10T16:09:41.865" v="73461"/>
          <ac:spMkLst>
            <pc:docMk/>
            <pc:sldMk cId="2457840071" sldId="301"/>
            <ac:spMk id="78" creationId="{8693DA61-5E71-53E1-FED7-C350F1EBFA04}"/>
          </ac:spMkLst>
        </pc:spChg>
        <pc:spChg chg="mod ord">
          <ac:chgData name="Joelle Brehm" userId="a518f54c-6985-42c0-8041-2bb16a414839" providerId="ADAL" clId="{E88466E7-2243-47F6-9EAE-9BF9DD0649AD}" dt="2024-04-10T16:09:41.865" v="73463"/>
          <ac:spMkLst>
            <pc:docMk/>
            <pc:sldMk cId="2457840071" sldId="301"/>
            <ac:spMk id="79" creationId="{2510167D-D2B4-E764-EE5A-59C5D61DA230}"/>
          </ac:spMkLst>
        </pc:spChg>
        <pc:spChg chg="mod ord">
          <ac:chgData name="Joelle Brehm" userId="a518f54c-6985-42c0-8041-2bb16a414839" providerId="ADAL" clId="{E88466E7-2243-47F6-9EAE-9BF9DD0649AD}" dt="2024-04-10T16:09:41.865" v="73465"/>
          <ac:spMkLst>
            <pc:docMk/>
            <pc:sldMk cId="2457840071" sldId="301"/>
            <ac:spMk id="100" creationId="{0020504F-761A-2575-33E3-0FF9244E605B}"/>
          </ac:spMkLst>
        </pc:spChg>
        <pc:spChg chg="mod ord">
          <ac:chgData name="Joelle Brehm" userId="a518f54c-6985-42c0-8041-2bb16a414839" providerId="ADAL" clId="{E88466E7-2243-47F6-9EAE-9BF9DD0649AD}" dt="2024-04-10T16:09:41.865" v="73467"/>
          <ac:spMkLst>
            <pc:docMk/>
            <pc:sldMk cId="2457840071" sldId="301"/>
            <ac:spMk id="108" creationId="{D21D14B1-19CF-8F2B-4831-0B9DB368403B}"/>
          </ac:spMkLst>
        </pc:spChg>
        <pc:spChg chg="mod ord">
          <ac:chgData name="Joelle Brehm" userId="a518f54c-6985-42c0-8041-2bb16a414839" providerId="ADAL" clId="{E88466E7-2243-47F6-9EAE-9BF9DD0649AD}" dt="2024-04-10T16:09:41.865" v="73469"/>
          <ac:spMkLst>
            <pc:docMk/>
            <pc:sldMk cId="2457840071" sldId="301"/>
            <ac:spMk id="109" creationId="{CDDDEF1A-CB37-9452-AFDD-EBD68254CF6B}"/>
          </ac:spMkLst>
        </pc:spChg>
        <pc:spChg chg="mod ord">
          <ac:chgData name="Joelle Brehm" userId="a518f54c-6985-42c0-8041-2bb16a414839" providerId="ADAL" clId="{E88466E7-2243-47F6-9EAE-9BF9DD0649AD}" dt="2024-04-10T16:09:41.865" v="73471"/>
          <ac:spMkLst>
            <pc:docMk/>
            <pc:sldMk cId="2457840071" sldId="301"/>
            <ac:spMk id="110" creationId="{C956C2F4-5A3A-F475-4541-EC71F2A97D96}"/>
          </ac:spMkLst>
        </pc:spChg>
        <pc:spChg chg="mod">
          <ac:chgData name="Joelle Brehm" userId="a518f54c-6985-42c0-8041-2bb16a414839" providerId="ADAL" clId="{E88466E7-2243-47F6-9EAE-9BF9DD0649AD}" dt="2024-04-10T16:09:41.865" v="73457"/>
          <ac:spMkLst>
            <pc:docMk/>
            <pc:sldMk cId="2457840071" sldId="301"/>
            <ac:spMk id="127" creationId="{F5D06544-7B30-6FE8-2DD3-B45FB77A3FD1}"/>
          </ac:spMkLst>
        </pc:spChg>
        <pc:spChg chg="mod">
          <ac:chgData name="Joelle Brehm" userId="a518f54c-6985-42c0-8041-2bb16a414839" providerId="ADAL" clId="{E88466E7-2243-47F6-9EAE-9BF9DD0649AD}" dt="2024-04-10T16:09:41.865" v="73474"/>
          <ac:spMkLst>
            <pc:docMk/>
            <pc:sldMk cId="2457840071" sldId="301"/>
            <ac:spMk id="133" creationId="{D4931E33-6B1D-945A-5828-575D87F40680}"/>
          </ac:spMkLst>
        </pc:spChg>
        <pc:spChg chg="mod">
          <ac:chgData name="Joelle Brehm" userId="a518f54c-6985-42c0-8041-2bb16a414839" providerId="ADAL" clId="{E88466E7-2243-47F6-9EAE-9BF9DD0649AD}" dt="2024-04-10T16:09:41.865" v="73475"/>
          <ac:spMkLst>
            <pc:docMk/>
            <pc:sldMk cId="2457840071" sldId="301"/>
            <ac:spMk id="135" creationId="{5FC73E24-09AD-53E2-EC84-3C23A090452B}"/>
          </ac:spMkLst>
        </pc:spChg>
        <pc:spChg chg="del mod">
          <ac:chgData name="Joelle Brehm" userId="a518f54c-6985-42c0-8041-2bb16a414839" providerId="ADAL" clId="{E88466E7-2243-47F6-9EAE-9BF9DD0649AD}" dt="2024-04-10T15:48:20.724" v="71014"/>
          <ac:spMkLst>
            <pc:docMk/>
            <pc:sldMk cId="2457840071" sldId="301"/>
            <ac:spMk id="136" creationId="{78A4E297-043C-9254-6E7C-8739BFAAE38B}"/>
          </ac:spMkLst>
        </pc:spChg>
        <pc:spChg chg="del mod">
          <ac:chgData name="Joelle Brehm" userId="a518f54c-6985-42c0-8041-2bb16a414839" providerId="ADAL" clId="{E88466E7-2243-47F6-9EAE-9BF9DD0649AD}" dt="2024-04-10T15:48:20.724" v="71015"/>
          <ac:spMkLst>
            <pc:docMk/>
            <pc:sldMk cId="2457840071" sldId="301"/>
            <ac:spMk id="157" creationId="{12B01CFB-6682-78F2-C567-C22FB9480771}"/>
          </ac:spMkLst>
        </pc:spChg>
        <pc:spChg chg="del mod">
          <ac:chgData name="Joelle Brehm" userId="a518f54c-6985-42c0-8041-2bb16a414839" providerId="ADAL" clId="{E88466E7-2243-47F6-9EAE-9BF9DD0649AD}" dt="2024-04-10T15:48:20.736" v="71016"/>
          <ac:spMkLst>
            <pc:docMk/>
            <pc:sldMk cId="2457840071" sldId="301"/>
            <ac:spMk id="158" creationId="{2AE8B7E1-91CF-3DBA-E84B-F08CBB3B3A09}"/>
          </ac:spMkLst>
        </pc:spChg>
        <pc:graphicFrameChg chg="mod">
          <ac:chgData name="Joelle Brehm" userId="a518f54c-6985-42c0-8041-2bb16a414839" providerId="ADAL" clId="{E88466E7-2243-47F6-9EAE-9BF9DD0649AD}" dt="2024-04-10T16:09:41.880" v="73486"/>
          <ac:graphicFrameMkLst>
            <pc:docMk/>
            <pc:sldMk cId="2457840071" sldId="301"/>
            <ac:graphicFrameMk id="4" creationId="{A8C2E1CE-EA94-6389-63BB-78C59C5B6632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4:03.162" v="70217"/>
          <ac:graphicFrameMkLst>
            <pc:docMk/>
            <pc:sldMk cId="2457840071" sldId="301"/>
            <ac:graphicFrameMk id="9" creationId="{A2DAE0DA-E713-74AE-A71A-4C3CB32EEBB9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6:10.666" v="70455"/>
          <ac:graphicFrameMkLst>
            <pc:docMk/>
            <pc:sldMk cId="2457840071" sldId="301"/>
            <ac:graphicFrameMk id="31" creationId="{5A26CBA6-7086-B369-B165-6A63858AEABC}"/>
          </ac:graphicFrameMkLst>
        </pc:graphicFrameChg>
        <pc:graphicFrameChg chg="del">
          <ac:chgData name="Joelle Brehm" userId="a518f54c-6985-42c0-8041-2bb16a414839" providerId="ADAL" clId="{E88466E7-2243-47F6-9EAE-9BF9DD0649AD}" dt="2024-04-10T15:43:58.500" v="70065"/>
          <ac:graphicFrameMkLst>
            <pc:docMk/>
            <pc:sldMk cId="2457840071" sldId="301"/>
            <ac:graphicFrameMk id="32" creationId="{B878A39E-AA71-ACE5-39DF-020C75D602C9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6:09:41.849" v="73429"/>
          <ac:graphicFrameMkLst>
            <pc:docMk/>
            <pc:sldMk cId="2457840071" sldId="301"/>
            <ac:graphicFrameMk id="35" creationId="{2F499E01-38B3-2A5F-149B-675DCADE4450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10T15:48:17.468" v="70936"/>
          <ac:graphicFrameMkLst>
            <pc:docMk/>
            <pc:sldMk cId="2457840071" sldId="301"/>
            <ac:graphicFrameMk id="39" creationId="{435B86D4-CF2F-93F2-8B30-031384FC435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20.753" v="71026"/>
          <ac:graphicFrameMkLst>
            <pc:docMk/>
            <pc:sldMk cId="2457840071" sldId="301"/>
            <ac:graphicFrameMk id="42" creationId="{DCFCBBCA-356B-67E4-192E-3DAD5660F7FA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23.906" v="71110"/>
          <ac:graphicFrameMkLst>
            <pc:docMk/>
            <pc:sldMk cId="2457840071" sldId="301"/>
            <ac:graphicFrameMk id="43" creationId="{8B50FA10-3DAC-3975-6FC8-0224E48D133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6:09:41.865" v="73473"/>
          <ac:graphicFrameMkLst>
            <pc:docMk/>
            <pc:sldMk cId="2457840071" sldId="301"/>
            <ac:graphicFrameMk id="44" creationId="{96A336D2-2560-D0E8-9402-63B0DB510046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10T15:48:28.968" v="71327"/>
          <ac:graphicFrameMkLst>
            <pc:docMk/>
            <pc:sldMk cId="2457840071" sldId="301"/>
            <ac:graphicFrameMk id="46" creationId="{40B42DB3-321B-CF27-BBB8-726DE08DD357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31.826" v="71749"/>
          <ac:graphicFrameMkLst>
            <pc:docMk/>
            <pc:sldMk cId="2457840071" sldId="301"/>
            <ac:graphicFrameMk id="48" creationId="{528CB609-3973-3284-DC9D-56FD044CC2F5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48:34.164" v="71920"/>
          <ac:graphicFrameMkLst>
            <pc:docMk/>
            <pc:sldMk cId="2457840071" sldId="301"/>
            <ac:graphicFrameMk id="55" creationId="{3F256122-C9C7-94FF-2401-BEA3198E8572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6:09:41.865" v="73456"/>
          <ac:graphicFrameMkLst>
            <pc:docMk/>
            <pc:sldMk cId="2457840071" sldId="301"/>
            <ac:graphicFrameMk id="57" creationId="{4B90B076-ACE7-4B8E-11DF-B8575B7EB1C1}"/>
          </ac:graphicFrameMkLst>
        </pc:graphicFrameChg>
        <pc:picChg chg="del mod ord">
          <ac:chgData name="Joelle Brehm" userId="a518f54c-6985-42c0-8041-2bb16a414839" providerId="ADAL" clId="{E88466E7-2243-47F6-9EAE-9BF9DD0649AD}" dt="2024-04-10T15:47:39.805" v="70848" actId="478"/>
          <ac:picMkLst>
            <pc:docMk/>
            <pc:sldMk cId="2457840071" sldId="301"/>
            <ac:picMk id="33" creationId="{727B1287-F243-C8F1-7686-A0FA944860C8}"/>
          </ac:picMkLst>
        </pc:picChg>
        <pc:picChg chg="add del mod">
          <ac:chgData name="Joelle Brehm" userId="a518f54c-6985-42c0-8041-2bb16a414839" providerId="ADAL" clId="{E88466E7-2243-47F6-9EAE-9BF9DD0649AD}" dt="2024-04-10T15:47:20.299" v="70770" actId="478"/>
          <ac:picMkLst>
            <pc:docMk/>
            <pc:sldMk cId="2457840071" sldId="301"/>
            <ac:picMk id="36" creationId="{73ED2506-1B4E-37D2-567D-D9FD336551F1}"/>
          </ac:picMkLst>
        </pc:picChg>
        <pc:picChg chg="add del mod ord">
          <ac:chgData name="Joelle Brehm" userId="a518f54c-6985-42c0-8041-2bb16a414839" providerId="ADAL" clId="{E88466E7-2243-47F6-9EAE-9BF9DD0649AD}" dt="2024-04-10T16:09:43.232" v="73487" actId="478"/>
          <ac:picMkLst>
            <pc:docMk/>
            <pc:sldMk cId="2457840071" sldId="301"/>
            <ac:picMk id="38" creationId="{A3628AEF-F3C0-0BB8-98E8-2F5D65E333FE}"/>
          </ac:picMkLst>
        </pc:picChg>
        <pc:picChg chg="add mod ord">
          <ac:chgData name="Joelle Brehm" userId="a518f54c-6985-42c0-8041-2bb16a414839" providerId="ADAL" clId="{E88466E7-2243-47F6-9EAE-9BF9DD0649AD}" dt="2024-04-10T16:09:41.849" v="73421"/>
          <ac:picMkLst>
            <pc:docMk/>
            <pc:sldMk cId="2457840071" sldId="301"/>
            <ac:picMk id="58" creationId="{3ABD9FF8-4AF3-A8F3-99B3-AF13CE58BC95}"/>
          </ac:picMkLst>
        </pc:picChg>
        <pc:picChg chg="mod ord">
          <ac:chgData name="Joelle Brehm" userId="a518f54c-6985-42c0-8041-2bb16a414839" providerId="ADAL" clId="{E88466E7-2243-47F6-9EAE-9BF9DD0649AD}" dt="2024-04-10T16:09:41.865" v="73477"/>
          <ac:picMkLst>
            <pc:docMk/>
            <pc:sldMk cId="2457840071" sldId="301"/>
            <ac:picMk id="185" creationId="{4FBF27C0-F642-0AEF-665E-15710A187E9A}"/>
          </ac:picMkLst>
        </pc:picChg>
        <pc:picChg chg="add">
          <ac:chgData name="Joelle Brehm" userId="a518f54c-6985-42c0-8041-2bb16a414839" providerId="ADAL" clId="{E88466E7-2243-47F6-9EAE-9BF9DD0649AD}" dt="2024-04-10T15:51:09.956" v="73017"/>
          <ac:picMkLst>
            <pc:docMk/>
            <pc:sldMk cId="2457840071" sldId="301"/>
            <ac:picMk id="1026" creationId="{2E5D0500-57BA-89F7-2D1C-BA70E4B167B2}"/>
          </ac:picMkLst>
        </pc:picChg>
        <pc:picChg chg="add mod">
          <ac:chgData name="Joelle Brehm" userId="a518f54c-6985-42c0-8041-2bb16a414839" providerId="ADAL" clId="{E88466E7-2243-47F6-9EAE-9BF9DD0649AD}" dt="2024-04-10T16:09:41.865" v="73482"/>
          <ac:picMkLst>
            <pc:docMk/>
            <pc:sldMk cId="2457840071" sldId="301"/>
            <ac:picMk id="1028" creationId="{C972FDE0-A6CB-5FFF-4B39-39E437F22BA2}"/>
          </ac:picMkLst>
        </pc:picChg>
        <pc:picChg chg="del mod">
          <ac:chgData name="Joelle Brehm" userId="a518f54c-6985-42c0-8041-2bb16a414839" providerId="ADAL" clId="{E88466E7-2243-47F6-9EAE-9BF9DD0649AD}" dt="2024-04-10T15:51:08.684" v="73016" actId="478"/>
          <ac:picMkLst>
            <pc:docMk/>
            <pc:sldMk cId="2457840071" sldId="301"/>
            <ac:picMk id="3074" creationId="{C2BC9611-4625-A8D6-284C-17C9AD224671}"/>
          </ac:picMkLst>
        </pc:picChg>
        <pc:cxnChg chg="mod ord">
          <ac:chgData name="Joelle Brehm" userId="a518f54c-6985-42c0-8041-2bb16a414839" providerId="ADAL" clId="{E88466E7-2243-47F6-9EAE-9BF9DD0649AD}" dt="2024-04-10T16:09:41.849" v="73427"/>
          <ac:cxnSpMkLst>
            <pc:docMk/>
            <pc:sldMk cId="2457840071" sldId="301"/>
            <ac:cxnSpMk id="7" creationId="{525B8DD7-1E59-E820-439B-D5FD08121ECB}"/>
          </ac:cxnSpMkLst>
        </pc:cxnChg>
      </pc:sldChg>
      <pc:sldChg chg="addSp delSp modSp add mod">
        <pc:chgData name="Joelle Brehm" userId="a518f54c-6985-42c0-8041-2bb16a414839" providerId="ADAL" clId="{E88466E7-2243-47F6-9EAE-9BF9DD0649AD}" dt="2024-04-10T15:28:58.425" v="66084" actId="1076"/>
        <pc:sldMkLst>
          <pc:docMk/>
          <pc:sldMk cId="1255354770" sldId="302"/>
        </pc:sldMkLst>
        <pc:spChg chg="add del mod ord">
          <ac:chgData name="Joelle Brehm" userId="a518f54c-6985-42c0-8041-2bb16a414839" providerId="ADAL" clId="{E88466E7-2243-47F6-9EAE-9BF9DD0649AD}" dt="2024-04-10T15:28:40.191" v="66080" actId="478"/>
          <ac:spMkLst>
            <pc:docMk/>
            <pc:sldMk cId="1255354770" sldId="302"/>
            <ac:spMk id="2" creationId="{3B7E31ED-4231-49B8-B2D2-FE5B0EE6C623}"/>
          </ac:spMkLst>
        </pc:spChg>
        <pc:spChg chg="mod ord">
          <ac:chgData name="Joelle Brehm" userId="a518f54c-6985-42c0-8041-2bb16a414839" providerId="ADAL" clId="{E88466E7-2243-47F6-9EAE-9BF9DD0649AD}" dt="2024-04-10T15:26:05.595" v="66068"/>
          <ac:spMkLst>
            <pc:docMk/>
            <pc:sldMk cId="1255354770" sldId="302"/>
            <ac:spMk id="3" creationId="{E352B70C-7A9D-8F6C-4CE6-D440060FF1E2}"/>
          </ac:spMkLst>
        </pc:spChg>
        <pc:spChg chg="add del mod modVis">
          <ac:chgData name="Joelle Brehm" userId="a518f54c-6985-42c0-8041-2bb16a414839" providerId="ADAL" clId="{E88466E7-2243-47F6-9EAE-9BF9DD0649AD}" dt="2024-04-10T15:24:33.470" v="65123"/>
          <ac:spMkLst>
            <pc:docMk/>
            <pc:sldMk cId="1255354770" sldId="302"/>
            <ac:spMk id="5" creationId="{66660071-C2BB-CB82-91DB-BAF1042A7602}"/>
          </ac:spMkLst>
        </pc:spChg>
        <pc:spChg chg="mod ord">
          <ac:chgData name="Joelle Brehm" userId="a518f54c-6985-42c0-8041-2bb16a414839" providerId="ADAL" clId="{E88466E7-2243-47F6-9EAE-9BF9DD0649AD}" dt="2024-04-10T15:26:05.567" v="66015"/>
          <ac:spMkLst>
            <pc:docMk/>
            <pc:sldMk cId="1255354770" sldId="302"/>
            <ac:spMk id="6" creationId="{37144386-4260-17AD-D649-2A9FECFC8E69}"/>
          </ac:spMkLst>
        </pc:spChg>
        <pc:spChg chg="mod">
          <ac:chgData name="Joelle Brehm" userId="a518f54c-6985-42c0-8041-2bb16a414839" providerId="ADAL" clId="{E88466E7-2243-47F6-9EAE-9BF9DD0649AD}" dt="2024-04-10T15:26:05.574" v="66026"/>
          <ac:spMkLst>
            <pc:docMk/>
            <pc:sldMk cId="1255354770" sldId="302"/>
            <ac:spMk id="11" creationId="{02BF5DC4-7E6B-48A3-B7C3-E226B893962E}"/>
          </ac:spMkLst>
        </pc:spChg>
        <pc:spChg chg="mod">
          <ac:chgData name="Joelle Brehm" userId="a518f54c-6985-42c0-8041-2bb16a414839" providerId="ADAL" clId="{E88466E7-2243-47F6-9EAE-9BF9DD0649AD}" dt="2024-04-10T15:26:05.571" v="66022"/>
          <ac:spMkLst>
            <pc:docMk/>
            <pc:sldMk cId="1255354770" sldId="302"/>
            <ac:spMk id="12" creationId="{716ACC36-D399-95B2-BCEC-AE9CB99DD50A}"/>
          </ac:spMkLst>
        </pc:spChg>
        <pc:spChg chg="mod">
          <ac:chgData name="Joelle Brehm" userId="a518f54c-6985-42c0-8041-2bb16a414839" providerId="ADAL" clId="{E88466E7-2243-47F6-9EAE-9BF9DD0649AD}" dt="2024-04-10T15:26:05.571" v="66023"/>
          <ac:spMkLst>
            <pc:docMk/>
            <pc:sldMk cId="1255354770" sldId="302"/>
            <ac:spMk id="13" creationId="{AD140D78-FDD5-695F-4A88-47F0D26CD5E1}"/>
          </ac:spMkLst>
        </pc:spChg>
        <pc:spChg chg="mod">
          <ac:chgData name="Joelle Brehm" userId="a518f54c-6985-42c0-8041-2bb16a414839" providerId="ADAL" clId="{E88466E7-2243-47F6-9EAE-9BF9DD0649AD}" dt="2024-04-10T15:26:05.569" v="66020"/>
          <ac:spMkLst>
            <pc:docMk/>
            <pc:sldMk cId="1255354770" sldId="302"/>
            <ac:spMk id="14" creationId="{CB87F016-E61D-A5A6-BCE4-6CD0F8DE5D43}"/>
          </ac:spMkLst>
        </pc:spChg>
        <pc:spChg chg="mod">
          <ac:chgData name="Joelle Brehm" userId="a518f54c-6985-42c0-8041-2bb16a414839" providerId="ADAL" clId="{E88466E7-2243-47F6-9EAE-9BF9DD0649AD}" dt="2024-04-10T15:26:05.570" v="66021"/>
          <ac:spMkLst>
            <pc:docMk/>
            <pc:sldMk cId="1255354770" sldId="302"/>
            <ac:spMk id="15" creationId="{50B6EFF4-ECF2-D261-34EF-07D689FDB03A}"/>
          </ac:spMkLst>
        </pc:spChg>
        <pc:spChg chg="mod">
          <ac:chgData name="Joelle Brehm" userId="a518f54c-6985-42c0-8041-2bb16a414839" providerId="ADAL" clId="{E88466E7-2243-47F6-9EAE-9BF9DD0649AD}" dt="2024-04-10T15:26:05.572" v="66024"/>
          <ac:spMkLst>
            <pc:docMk/>
            <pc:sldMk cId="1255354770" sldId="302"/>
            <ac:spMk id="16" creationId="{D980E975-E330-68EC-477F-60F48A87FAD8}"/>
          </ac:spMkLst>
        </pc:spChg>
        <pc:spChg chg="mod">
          <ac:chgData name="Joelle Brehm" userId="a518f54c-6985-42c0-8041-2bb16a414839" providerId="ADAL" clId="{E88466E7-2243-47F6-9EAE-9BF9DD0649AD}" dt="2024-04-10T15:26:05.573" v="66025"/>
          <ac:spMkLst>
            <pc:docMk/>
            <pc:sldMk cId="1255354770" sldId="302"/>
            <ac:spMk id="17" creationId="{D2BBB23C-0446-3CC4-77FA-286CB0F573C2}"/>
          </ac:spMkLst>
        </pc:spChg>
        <pc:spChg chg="mod">
          <ac:chgData name="Joelle Brehm" userId="a518f54c-6985-42c0-8041-2bb16a414839" providerId="ADAL" clId="{E88466E7-2243-47F6-9EAE-9BF9DD0649AD}" dt="2024-04-10T15:26:05.575" v="66027"/>
          <ac:spMkLst>
            <pc:docMk/>
            <pc:sldMk cId="1255354770" sldId="302"/>
            <ac:spMk id="18" creationId="{65495921-8928-9A1E-927A-65A293D208C7}"/>
          </ac:spMkLst>
        </pc:spChg>
        <pc:spChg chg="mod">
          <ac:chgData name="Joelle Brehm" userId="a518f54c-6985-42c0-8041-2bb16a414839" providerId="ADAL" clId="{E88466E7-2243-47F6-9EAE-9BF9DD0649AD}" dt="2024-04-10T15:26:05.576" v="66028"/>
          <ac:spMkLst>
            <pc:docMk/>
            <pc:sldMk cId="1255354770" sldId="302"/>
            <ac:spMk id="19" creationId="{CF683958-5957-5AC8-1047-E26BACAC97AD}"/>
          </ac:spMkLst>
        </pc:spChg>
        <pc:spChg chg="mod">
          <ac:chgData name="Joelle Brehm" userId="a518f54c-6985-42c0-8041-2bb16a414839" providerId="ADAL" clId="{E88466E7-2243-47F6-9EAE-9BF9DD0649AD}" dt="2024-04-10T15:26:05.577" v="66029"/>
          <ac:spMkLst>
            <pc:docMk/>
            <pc:sldMk cId="1255354770" sldId="302"/>
            <ac:spMk id="20" creationId="{99757F7C-687C-6778-5B80-6F5459DC2377}"/>
          </ac:spMkLst>
        </pc:spChg>
        <pc:spChg chg="mod">
          <ac:chgData name="Joelle Brehm" userId="a518f54c-6985-42c0-8041-2bb16a414839" providerId="ADAL" clId="{E88466E7-2243-47F6-9EAE-9BF9DD0649AD}" dt="2024-04-10T15:26:05.577" v="66030"/>
          <ac:spMkLst>
            <pc:docMk/>
            <pc:sldMk cId="1255354770" sldId="302"/>
            <ac:spMk id="21" creationId="{88662C75-372E-3172-0F30-2440B86A6E07}"/>
          </ac:spMkLst>
        </pc:spChg>
        <pc:spChg chg="mod">
          <ac:chgData name="Joelle Brehm" userId="a518f54c-6985-42c0-8041-2bb16a414839" providerId="ADAL" clId="{E88466E7-2243-47F6-9EAE-9BF9DD0649AD}" dt="2024-04-10T15:26:05.577" v="66031"/>
          <ac:spMkLst>
            <pc:docMk/>
            <pc:sldMk cId="1255354770" sldId="302"/>
            <ac:spMk id="22" creationId="{2D9142C4-67A0-25E1-D2CF-B2635DF32607}"/>
          </ac:spMkLst>
        </pc:spChg>
        <pc:spChg chg="mod ord">
          <ac:chgData name="Joelle Brehm" userId="a518f54c-6985-42c0-8041-2bb16a414839" providerId="ADAL" clId="{E88466E7-2243-47F6-9EAE-9BF9DD0649AD}" dt="2024-04-10T15:26:05.578" v="66033"/>
          <ac:spMkLst>
            <pc:docMk/>
            <pc:sldMk cId="1255354770" sldId="302"/>
            <ac:spMk id="23" creationId="{E55438EE-F637-2FA3-2C0E-B05EA6D8C1E8}"/>
          </ac:spMkLst>
        </pc:spChg>
        <pc:spChg chg="mod">
          <ac:chgData name="Joelle Brehm" userId="a518f54c-6985-42c0-8041-2bb16a414839" providerId="ADAL" clId="{E88466E7-2243-47F6-9EAE-9BF9DD0649AD}" dt="2024-04-10T15:26:05.579" v="66034"/>
          <ac:spMkLst>
            <pc:docMk/>
            <pc:sldMk cId="1255354770" sldId="302"/>
            <ac:spMk id="24" creationId="{F4D0BFA4-5AB2-BBC0-BC0F-1E4C03E222AF}"/>
          </ac:spMkLst>
        </pc:spChg>
        <pc:spChg chg="mod">
          <ac:chgData name="Joelle Brehm" userId="a518f54c-6985-42c0-8041-2bb16a414839" providerId="ADAL" clId="{E88466E7-2243-47F6-9EAE-9BF9DD0649AD}" dt="2024-04-10T15:26:05.580" v="66036"/>
          <ac:spMkLst>
            <pc:docMk/>
            <pc:sldMk cId="1255354770" sldId="302"/>
            <ac:spMk id="25" creationId="{5FD262B9-E4EE-5C5B-CBBE-842B5C267DD1}"/>
          </ac:spMkLst>
        </pc:spChg>
        <pc:spChg chg="mod">
          <ac:chgData name="Joelle Brehm" userId="a518f54c-6985-42c0-8041-2bb16a414839" providerId="ADAL" clId="{E88466E7-2243-47F6-9EAE-9BF9DD0649AD}" dt="2024-04-10T15:26:05.579" v="66035"/>
          <ac:spMkLst>
            <pc:docMk/>
            <pc:sldMk cId="1255354770" sldId="302"/>
            <ac:spMk id="26" creationId="{790670ED-11A2-E0D0-D7A5-53436D971104}"/>
          </ac:spMkLst>
        </pc:spChg>
        <pc:spChg chg="mod">
          <ac:chgData name="Joelle Brehm" userId="a518f54c-6985-42c0-8041-2bb16a414839" providerId="ADAL" clId="{E88466E7-2243-47F6-9EAE-9BF9DD0649AD}" dt="2024-04-10T15:26:05.581" v="66038"/>
          <ac:spMkLst>
            <pc:docMk/>
            <pc:sldMk cId="1255354770" sldId="302"/>
            <ac:spMk id="27" creationId="{074A3588-4A02-E75B-E640-8244EDF702A1}"/>
          </ac:spMkLst>
        </pc:spChg>
        <pc:spChg chg="mod">
          <ac:chgData name="Joelle Brehm" userId="a518f54c-6985-42c0-8041-2bb16a414839" providerId="ADAL" clId="{E88466E7-2243-47F6-9EAE-9BF9DD0649AD}" dt="2024-04-10T15:26:05.582" v="66039"/>
          <ac:spMkLst>
            <pc:docMk/>
            <pc:sldMk cId="1255354770" sldId="302"/>
            <ac:spMk id="28" creationId="{326C9293-A5D0-4EDC-4211-AC7D030AF457}"/>
          </ac:spMkLst>
        </pc:spChg>
        <pc:spChg chg="mod">
          <ac:chgData name="Joelle Brehm" userId="a518f54c-6985-42c0-8041-2bb16a414839" providerId="ADAL" clId="{E88466E7-2243-47F6-9EAE-9BF9DD0649AD}" dt="2024-04-10T15:26:05.581" v="66037"/>
          <ac:spMkLst>
            <pc:docMk/>
            <pc:sldMk cId="1255354770" sldId="302"/>
            <ac:spMk id="29" creationId="{E329C5DC-1864-0128-B1E2-CE87D618F8DF}"/>
          </ac:spMkLst>
        </pc:spChg>
        <pc:spChg chg="mod ord">
          <ac:chgData name="Joelle Brehm" userId="a518f54c-6985-42c0-8041-2bb16a414839" providerId="ADAL" clId="{E88466E7-2243-47F6-9EAE-9BF9DD0649AD}" dt="2024-04-10T15:26:05.582" v="66041"/>
          <ac:spMkLst>
            <pc:docMk/>
            <pc:sldMk cId="1255354770" sldId="302"/>
            <ac:spMk id="30" creationId="{DD13A74B-6D89-8AED-C069-E05CCAE360C9}"/>
          </ac:spMkLst>
        </pc:spChg>
        <pc:spChg chg="add del mod modVis">
          <ac:chgData name="Joelle Brehm" userId="a518f54c-6985-42c0-8041-2bb16a414839" providerId="ADAL" clId="{E88466E7-2243-47F6-9EAE-9BF9DD0649AD}" dt="2024-04-10T15:25:24.182" v="65317"/>
          <ac:spMkLst>
            <pc:docMk/>
            <pc:sldMk cId="1255354770" sldId="302"/>
            <ac:spMk id="31" creationId="{7E66FB7D-C083-E7CD-48A2-B46CCEF7D2A1}"/>
          </ac:spMkLst>
        </pc:spChg>
        <pc:spChg chg="mod">
          <ac:chgData name="Joelle Brehm" userId="a518f54c-6985-42c0-8041-2bb16a414839" providerId="ADAL" clId="{E88466E7-2243-47F6-9EAE-9BF9DD0649AD}" dt="2024-04-10T15:26:05.585" v="66045"/>
          <ac:spMkLst>
            <pc:docMk/>
            <pc:sldMk cId="1255354770" sldId="302"/>
            <ac:spMk id="33" creationId="{59B0E788-E20C-9C4C-D48E-6BD2D3D7A778}"/>
          </ac:spMkLst>
        </pc:spChg>
        <pc:spChg chg="add del mod modVis">
          <ac:chgData name="Joelle Brehm" userId="a518f54c-6985-42c0-8041-2bb16a414839" providerId="ADAL" clId="{E88466E7-2243-47F6-9EAE-9BF9DD0649AD}" dt="2024-04-10T15:25:36.102" v="65440"/>
          <ac:spMkLst>
            <pc:docMk/>
            <pc:sldMk cId="1255354770" sldId="302"/>
            <ac:spMk id="35" creationId="{016C017A-FA82-0900-3CC0-9B8FF7B61DF8}"/>
          </ac:spMkLst>
        </pc:spChg>
        <pc:spChg chg="add del mod modVis">
          <ac:chgData name="Joelle Brehm" userId="a518f54c-6985-42c0-8041-2bb16a414839" providerId="ADAL" clId="{E88466E7-2243-47F6-9EAE-9BF9DD0649AD}" dt="2024-04-10T15:26:03.885" v="65773"/>
          <ac:spMkLst>
            <pc:docMk/>
            <pc:sldMk cId="1255354770" sldId="302"/>
            <ac:spMk id="38" creationId="{F056BAC3-9389-0995-A4E2-D3FAA4662E83}"/>
          </ac:spMkLst>
        </pc:spChg>
        <pc:spChg chg="add del mod replST">
          <ac:chgData name="Joelle Brehm" userId="a518f54c-6985-42c0-8041-2bb16a414839" providerId="ADAL" clId="{E88466E7-2243-47F6-9EAE-9BF9DD0649AD}" dt="2024-04-10T15:26:04.980" v="65872"/>
          <ac:spMkLst>
            <pc:docMk/>
            <pc:sldMk cId="1255354770" sldId="302"/>
            <ac:spMk id="40" creationId="{7CAA3B95-4C78-4122-BECA-B5FB0F3F3764}"/>
          </ac:spMkLst>
        </pc:spChg>
        <pc:spChg chg="add del mod modVis">
          <ac:chgData name="Joelle Brehm" userId="a518f54c-6985-42c0-8041-2bb16a414839" providerId="ADAL" clId="{E88466E7-2243-47F6-9EAE-9BF9DD0649AD}" dt="2024-04-10T15:26:05.096" v="65954"/>
          <ac:spMkLst>
            <pc:docMk/>
            <pc:sldMk cId="1255354770" sldId="302"/>
            <ac:spMk id="42" creationId="{F71BA4E3-D22B-F42C-CD57-7D507DFE0081}"/>
          </ac:spMkLst>
        </pc:spChg>
        <pc:spChg chg="mod">
          <ac:chgData name="Joelle Brehm" userId="a518f54c-6985-42c0-8041-2bb16a414839" providerId="ADAL" clId="{E88466E7-2243-47F6-9EAE-9BF9DD0649AD}" dt="2024-04-10T15:26:05.584" v="66044"/>
          <ac:spMkLst>
            <pc:docMk/>
            <pc:sldMk cId="1255354770" sldId="302"/>
            <ac:spMk id="44" creationId="{6B978AFC-A986-0352-AEF6-422F66617A4E}"/>
          </ac:spMkLst>
        </pc:spChg>
        <pc:spChg chg="add del mod modVis">
          <ac:chgData name="Joelle Brehm" userId="a518f54c-6985-42c0-8041-2bb16a414839" providerId="ADAL" clId="{E88466E7-2243-47F6-9EAE-9BF9DD0649AD}" dt="2024-04-10T15:26:05.599" v="66077"/>
          <ac:spMkLst>
            <pc:docMk/>
            <pc:sldMk cId="1255354770" sldId="302"/>
            <ac:spMk id="45" creationId="{9D138D2C-C4CC-0871-6C59-F29451BB7FD8}"/>
          </ac:spMkLst>
        </pc:spChg>
        <pc:spChg chg="mod ord">
          <ac:chgData name="Joelle Brehm" userId="a518f54c-6985-42c0-8041-2bb16a414839" providerId="ADAL" clId="{E88466E7-2243-47F6-9EAE-9BF9DD0649AD}" dt="2024-04-10T15:26:05.585" v="66047"/>
          <ac:spMkLst>
            <pc:docMk/>
            <pc:sldMk cId="1255354770" sldId="302"/>
            <ac:spMk id="78" creationId="{98C90A5D-A6CB-ABB8-DC63-03278FBCB561}"/>
          </ac:spMkLst>
        </pc:spChg>
        <pc:spChg chg="mod ord">
          <ac:chgData name="Joelle Brehm" userId="a518f54c-6985-42c0-8041-2bb16a414839" providerId="ADAL" clId="{E88466E7-2243-47F6-9EAE-9BF9DD0649AD}" dt="2024-04-10T15:26:05.587" v="66049"/>
          <ac:spMkLst>
            <pc:docMk/>
            <pc:sldMk cId="1255354770" sldId="302"/>
            <ac:spMk id="79" creationId="{6462C443-5638-1A41-C459-2DF66B866EDA}"/>
          </ac:spMkLst>
        </pc:spChg>
        <pc:spChg chg="mod ord">
          <ac:chgData name="Joelle Brehm" userId="a518f54c-6985-42c0-8041-2bb16a414839" providerId="ADAL" clId="{E88466E7-2243-47F6-9EAE-9BF9DD0649AD}" dt="2024-04-10T15:26:05.588" v="66051"/>
          <ac:spMkLst>
            <pc:docMk/>
            <pc:sldMk cId="1255354770" sldId="302"/>
            <ac:spMk id="100" creationId="{7FC258AD-340F-DBAB-C9DB-CAF57178614D}"/>
          </ac:spMkLst>
        </pc:spChg>
        <pc:spChg chg="mod ord">
          <ac:chgData name="Joelle Brehm" userId="a518f54c-6985-42c0-8041-2bb16a414839" providerId="ADAL" clId="{E88466E7-2243-47F6-9EAE-9BF9DD0649AD}" dt="2024-04-10T15:26:05.589" v="66053"/>
          <ac:spMkLst>
            <pc:docMk/>
            <pc:sldMk cId="1255354770" sldId="302"/>
            <ac:spMk id="108" creationId="{606A0223-A506-3818-5143-A2CA029E3AF2}"/>
          </ac:spMkLst>
        </pc:spChg>
        <pc:spChg chg="mod ord">
          <ac:chgData name="Joelle Brehm" userId="a518f54c-6985-42c0-8041-2bb16a414839" providerId="ADAL" clId="{E88466E7-2243-47F6-9EAE-9BF9DD0649AD}" dt="2024-04-10T15:26:05.590" v="66055"/>
          <ac:spMkLst>
            <pc:docMk/>
            <pc:sldMk cId="1255354770" sldId="302"/>
            <ac:spMk id="109" creationId="{7BEDB0ED-D13E-1714-C6F0-A02EF316F132}"/>
          </ac:spMkLst>
        </pc:spChg>
        <pc:spChg chg="mod ord">
          <ac:chgData name="Joelle Brehm" userId="a518f54c-6985-42c0-8041-2bb16a414839" providerId="ADAL" clId="{E88466E7-2243-47F6-9EAE-9BF9DD0649AD}" dt="2024-04-10T15:26:05.590" v="66057"/>
          <ac:spMkLst>
            <pc:docMk/>
            <pc:sldMk cId="1255354770" sldId="302"/>
            <ac:spMk id="110" creationId="{06800A4A-BF98-F3CF-A472-BC9F58811EF4}"/>
          </ac:spMkLst>
        </pc:spChg>
        <pc:spChg chg="mod ord">
          <ac:chgData name="Joelle Brehm" userId="a518f54c-6985-42c0-8041-2bb16a414839" providerId="ADAL" clId="{E88466E7-2243-47F6-9EAE-9BF9DD0649AD}" dt="2024-04-10T15:26:05.595" v="66070"/>
          <ac:spMkLst>
            <pc:docMk/>
            <pc:sldMk cId="1255354770" sldId="302"/>
            <ac:spMk id="116" creationId="{1FE84FA0-510F-7B5C-864C-30121652B032}"/>
          </ac:spMkLst>
        </pc:spChg>
        <pc:spChg chg="mod">
          <ac:chgData name="Joelle Brehm" userId="a518f54c-6985-42c0-8041-2bb16a414839" providerId="ADAL" clId="{E88466E7-2243-47F6-9EAE-9BF9DD0649AD}" dt="2024-04-10T15:26:05.591" v="66060"/>
          <ac:spMkLst>
            <pc:docMk/>
            <pc:sldMk cId="1255354770" sldId="302"/>
            <ac:spMk id="133" creationId="{5424138A-AB7B-0F7B-15F3-FAA030115ECF}"/>
          </ac:spMkLst>
        </pc:spChg>
        <pc:spChg chg="mod">
          <ac:chgData name="Joelle Brehm" userId="a518f54c-6985-42c0-8041-2bb16a414839" providerId="ADAL" clId="{E88466E7-2243-47F6-9EAE-9BF9DD0649AD}" dt="2024-04-10T15:26:05.591" v="66061"/>
          <ac:spMkLst>
            <pc:docMk/>
            <pc:sldMk cId="1255354770" sldId="302"/>
            <ac:spMk id="135" creationId="{BA495C2F-E652-0B75-7A16-F6A1F64312BE}"/>
          </ac:spMkLst>
        </pc:spChg>
        <pc:spChg chg="mod">
          <ac:chgData name="Joelle Brehm" userId="a518f54c-6985-42c0-8041-2bb16a414839" providerId="ADAL" clId="{E88466E7-2243-47F6-9EAE-9BF9DD0649AD}" dt="2024-04-10T15:26:05.592" v="66062"/>
          <ac:spMkLst>
            <pc:docMk/>
            <pc:sldMk cId="1255354770" sldId="302"/>
            <ac:spMk id="136" creationId="{CB3283BC-69A1-DE36-1760-FDD3588B4CAD}"/>
          </ac:spMkLst>
        </pc:spChg>
        <pc:spChg chg="mod">
          <ac:chgData name="Joelle Brehm" userId="a518f54c-6985-42c0-8041-2bb16a414839" providerId="ADAL" clId="{E88466E7-2243-47F6-9EAE-9BF9DD0649AD}" dt="2024-04-10T15:26:05.592" v="66063"/>
          <ac:spMkLst>
            <pc:docMk/>
            <pc:sldMk cId="1255354770" sldId="302"/>
            <ac:spMk id="157" creationId="{E4B79A22-8103-94CD-F875-9827A05F8002}"/>
          </ac:spMkLst>
        </pc:spChg>
        <pc:spChg chg="mod">
          <ac:chgData name="Joelle Brehm" userId="a518f54c-6985-42c0-8041-2bb16a414839" providerId="ADAL" clId="{E88466E7-2243-47F6-9EAE-9BF9DD0649AD}" dt="2024-04-10T15:26:05.594" v="66064"/>
          <ac:spMkLst>
            <pc:docMk/>
            <pc:sldMk cId="1255354770" sldId="302"/>
            <ac:spMk id="158" creationId="{7A7BF95B-537C-2588-A4E4-756592017FC8}"/>
          </ac:spMkLst>
        </pc:spChg>
        <pc:graphicFrameChg chg="mod">
          <ac:chgData name="Joelle Brehm" userId="a518f54c-6985-42c0-8041-2bb16a414839" providerId="ADAL" clId="{E88466E7-2243-47F6-9EAE-9BF9DD0649AD}" dt="2024-04-10T15:26:05.624" v="66079"/>
          <ac:graphicFrameMkLst>
            <pc:docMk/>
            <pc:sldMk cId="1255354770" sldId="302"/>
            <ac:graphicFrameMk id="4" creationId="{419D2559-42BC-46AC-BFDB-B77F1539CB18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10T15:25:24.074" v="65241"/>
          <ac:graphicFrameMkLst>
            <pc:docMk/>
            <pc:sldMk cId="1255354770" sldId="302"/>
            <ac:graphicFrameMk id="8" creationId="{EAE62C60-B11A-4F12-6D17-80480BA74FEE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26:05.584" v="66043"/>
          <ac:graphicFrameMkLst>
            <pc:docMk/>
            <pc:sldMk cId="1255354770" sldId="302"/>
            <ac:graphicFrameMk id="10" creationId="{4A557926-7775-8207-C0EA-0A6A3ADC5972}"/>
          </ac:graphicFrameMkLst>
        </pc:graphicFrameChg>
        <pc:graphicFrameChg chg="del mod ord">
          <ac:chgData name="Joelle Brehm" userId="a518f54c-6985-42c0-8041-2bb16a414839" providerId="ADAL" clId="{E88466E7-2243-47F6-9EAE-9BF9DD0649AD}" dt="2024-04-10T15:26:03.776" v="65700"/>
          <ac:graphicFrameMkLst>
            <pc:docMk/>
            <pc:sldMk cId="1255354770" sldId="302"/>
            <ac:graphicFrameMk id="32" creationId="{FC302DFE-6536-C0C4-152F-CCDE0B95BB8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5:36.029" v="65368"/>
          <ac:graphicFrameMkLst>
            <pc:docMk/>
            <pc:sldMk cId="1255354770" sldId="302"/>
            <ac:graphicFrameMk id="34" creationId="{D97F7EF3-BFC5-CB71-032E-DD8B27FB248F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26:05.568" v="66019"/>
          <ac:graphicFrameMkLst>
            <pc:docMk/>
            <pc:sldMk cId="1255354770" sldId="302"/>
            <ac:graphicFrameMk id="36" creationId="{FE6AC8B4-2643-7B2D-97C9-C295BF190FE9}"/>
          </ac:graphicFrameMkLst>
        </pc:graphicFrameChg>
        <pc:graphicFrameChg chg="del">
          <ac:chgData name="Joelle Brehm" userId="a518f54c-6985-42c0-8041-2bb16a414839" providerId="ADAL" clId="{E88466E7-2243-47F6-9EAE-9BF9DD0649AD}" dt="2024-04-10T15:24:33.354" v="65049"/>
          <ac:graphicFrameMkLst>
            <pc:docMk/>
            <pc:sldMk cId="1255354770" sldId="302"/>
            <ac:graphicFrameMk id="39" creationId="{90B6812E-6AD6-28F9-59EB-6C9295CB5358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6:04.993" v="65882"/>
          <ac:graphicFrameMkLst>
            <pc:docMk/>
            <pc:sldMk cId="1255354770" sldId="302"/>
            <ac:graphicFrameMk id="41" creationId="{411E7639-1419-6D6F-60E8-5D584A95ED7C}"/>
          </ac:graphicFrameMkLst>
        </pc:graphicFrameChg>
        <pc:graphicFrameChg chg="add del mod ord replST">
          <ac:chgData name="Joelle Brehm" userId="a518f54c-6985-42c0-8041-2bb16a414839" providerId="ADAL" clId="{E88466E7-2243-47F6-9EAE-9BF9DD0649AD}" dt="2024-04-10T15:26:05.507" v="66005"/>
          <ac:graphicFrameMkLst>
            <pc:docMk/>
            <pc:sldMk cId="1255354770" sldId="302"/>
            <ac:graphicFrameMk id="43" creationId="{82C6A1DF-DA99-A17A-6FC2-CAB918EEC07A}"/>
          </ac:graphicFrameMkLst>
        </pc:graphicFrameChg>
        <pc:graphicFrameChg chg="add mod ord replST">
          <ac:chgData name="Joelle Brehm" userId="a518f54c-6985-42c0-8041-2bb16a414839" providerId="ADAL" clId="{E88466E7-2243-47F6-9EAE-9BF9DD0649AD}" dt="2024-04-10T15:26:05.591" v="66059"/>
          <ac:graphicFrameMkLst>
            <pc:docMk/>
            <pc:sldMk cId="1255354770" sldId="302"/>
            <ac:graphicFrameMk id="46" creationId="{B80D293D-B460-511B-7138-5BA3AE2A4CEA}"/>
          </ac:graphicFrameMkLst>
        </pc:graphicFrameChg>
        <pc:picChg chg="del mod ord">
          <ac:chgData name="Joelle Brehm" userId="a518f54c-6985-42c0-8041-2bb16a414839" providerId="ADAL" clId="{E88466E7-2243-47F6-9EAE-9BF9DD0649AD}" dt="2024-04-10T15:25:56.265" v="65522" actId="478"/>
          <ac:picMkLst>
            <pc:docMk/>
            <pc:sldMk cId="1255354770" sldId="302"/>
            <ac:picMk id="9" creationId="{297E09A2-6C03-980A-84D5-B08914433404}"/>
          </ac:picMkLst>
        </pc:picChg>
        <pc:picChg chg="add mod ord">
          <ac:chgData name="Joelle Brehm" userId="a518f54c-6985-42c0-8041-2bb16a414839" providerId="ADAL" clId="{E88466E7-2243-47F6-9EAE-9BF9DD0649AD}" dt="2024-04-10T15:26:05.566" v="66013"/>
          <ac:picMkLst>
            <pc:docMk/>
            <pc:sldMk cId="1255354770" sldId="302"/>
            <ac:picMk id="37" creationId="{0F4214BC-2F5E-D20D-EB9C-B78B075C26BE}"/>
          </ac:picMkLst>
        </pc:picChg>
        <pc:picChg chg="add mod">
          <ac:chgData name="Joelle Brehm" userId="a518f54c-6985-42c0-8041-2bb16a414839" providerId="ADAL" clId="{E88466E7-2243-47F6-9EAE-9BF9DD0649AD}" dt="2024-04-10T15:28:58.425" v="66084" actId="1076"/>
          <ac:picMkLst>
            <pc:docMk/>
            <pc:sldMk cId="1255354770" sldId="302"/>
            <ac:picMk id="47" creationId="{55FEC4FA-31E0-6ED8-2D89-0BA8BBFD4CA9}"/>
          </ac:picMkLst>
        </pc:picChg>
        <pc:picChg chg="mod ord">
          <ac:chgData name="Joelle Brehm" userId="a518f54c-6985-42c0-8041-2bb16a414839" providerId="ADAL" clId="{E88466E7-2243-47F6-9EAE-9BF9DD0649AD}" dt="2024-04-10T15:26:05.595" v="66066"/>
          <ac:picMkLst>
            <pc:docMk/>
            <pc:sldMk cId="1255354770" sldId="302"/>
            <ac:picMk id="185" creationId="{9FFEEFE7-BA59-B86C-A215-C2885FAFB419}"/>
          </ac:picMkLst>
        </pc:picChg>
        <pc:picChg chg="del mod">
          <ac:chgData name="Joelle Brehm" userId="a518f54c-6985-42c0-8041-2bb16a414839" providerId="ADAL" clId="{E88466E7-2243-47F6-9EAE-9BF9DD0649AD}" dt="2024-04-10T15:28:44.977" v="66081" actId="478"/>
          <ac:picMkLst>
            <pc:docMk/>
            <pc:sldMk cId="1255354770" sldId="302"/>
            <ac:picMk id="1026" creationId="{9954C29C-BCE7-2698-3D0E-771A38088457}"/>
          </ac:picMkLst>
        </pc:picChg>
        <pc:cxnChg chg="mod ord">
          <ac:chgData name="Joelle Brehm" userId="a518f54c-6985-42c0-8041-2bb16a414839" providerId="ADAL" clId="{E88466E7-2243-47F6-9EAE-9BF9DD0649AD}" dt="2024-04-10T15:26:05.567" v="66017"/>
          <ac:cxnSpMkLst>
            <pc:docMk/>
            <pc:sldMk cId="1255354770" sldId="302"/>
            <ac:cxnSpMk id="7" creationId="{BB10A77B-1D7D-C192-4A0C-D5604924950E}"/>
          </ac:cxnSpMkLst>
        </pc:cxnChg>
      </pc:sldChg>
      <pc:sldChg chg="new del">
        <pc:chgData name="Joelle Brehm" userId="a518f54c-6985-42c0-8041-2bb16a414839" providerId="ADAL" clId="{E88466E7-2243-47F6-9EAE-9BF9DD0649AD}" dt="2024-04-10T14:47:28.595" v="63375" actId="47"/>
        <pc:sldMkLst>
          <pc:docMk/>
          <pc:sldMk cId="4242923718" sldId="302"/>
        </pc:sldMkLst>
      </pc:sldChg>
    </pc:docChg>
  </pc:docChgLst>
  <pc:docChgLst>
    <pc:chgData name="Joelle Brehm" userId="a518f54c-6985-42c0-8041-2bb16a414839" providerId="ADAL" clId="{34B1A95F-EFD8-4A1E-A46D-E288C53C0C68}"/>
    <pc:docChg chg="undo custSel modSld replTag">
      <pc:chgData name="Joelle Brehm" userId="a518f54c-6985-42c0-8041-2bb16a414839" providerId="ADAL" clId="{34B1A95F-EFD8-4A1E-A46D-E288C53C0C68}" dt="2023-12-07T21:07:41.506" v="51296" actId="20577"/>
      <pc:docMkLst>
        <pc:docMk/>
      </pc:docMkLst>
      <pc:sldChg chg="addSp delSp modSp mod">
        <pc:chgData name="Joelle Brehm" userId="a518f54c-6985-42c0-8041-2bb16a414839" providerId="ADAL" clId="{34B1A95F-EFD8-4A1E-A46D-E288C53C0C68}" dt="2023-12-07T21:04:11.393" v="51032" actId="478"/>
        <pc:sldMkLst>
          <pc:docMk/>
          <pc:sldMk cId="3839614074" sldId="258"/>
        </pc:sldMkLst>
        <pc:spChg chg="add del mod">
          <ac:chgData name="Joelle Brehm" userId="a518f54c-6985-42c0-8041-2bb16a414839" providerId="ADAL" clId="{34B1A95F-EFD8-4A1E-A46D-E288C53C0C68}" dt="2023-12-07T21:04:11.393" v="51032" actId="478"/>
          <ac:spMkLst>
            <pc:docMk/>
            <pc:sldMk cId="3839614074" sldId="258"/>
            <ac:spMk id="2" creationId="{CE2F2320-3D79-EDEF-2F57-C68846DBBDB4}"/>
          </ac:spMkLst>
        </pc:spChg>
        <pc:spChg chg="mod">
          <ac:chgData name="Joelle Brehm" userId="a518f54c-6985-42c0-8041-2bb16a414839" providerId="ADAL" clId="{34B1A95F-EFD8-4A1E-A46D-E288C53C0C68}" dt="2023-12-07T21:04:06.054" v="51031" actId="255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34B1A95F-EFD8-4A1E-A46D-E288C53C0C68}" dt="2023-12-06T19:57:09.253" v="1259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34B1A95F-EFD8-4A1E-A46D-E288C53C0C68}" dt="2023-12-06T21:38:59.754" v="11668"/>
        <pc:sldMkLst>
          <pc:docMk/>
          <pc:sldMk cId="3798164587" sldId="259"/>
        </pc:sldMkLst>
        <pc:spChg chg="mod ord">
          <ac:chgData name="Joelle Brehm" userId="a518f54c-6985-42c0-8041-2bb16a414839" providerId="ADAL" clId="{34B1A95F-EFD8-4A1E-A46D-E288C53C0C68}" dt="2023-12-06T21:38:59.691" v="11662"/>
          <ac:spMkLst>
            <pc:docMk/>
            <pc:sldMk cId="3798164587" sldId="259"/>
            <ac:spMk id="2" creationId="{8EDF2A74-9587-4C1D-91CA-8D21248ED6E8}"/>
          </ac:spMkLst>
        </pc:spChg>
        <pc:spChg chg="mod ord">
          <ac:chgData name="Joelle Brehm" userId="a518f54c-6985-42c0-8041-2bb16a414839" providerId="ADAL" clId="{34B1A95F-EFD8-4A1E-A46D-E288C53C0C68}" dt="2023-12-06T21:38:59.625" v="11580"/>
          <ac:spMkLst>
            <pc:docMk/>
            <pc:sldMk cId="3798164587" sldId="259"/>
            <ac:spMk id="6" creationId="{B47CE71D-7819-4857-B121-737A3BD39B4D}"/>
          </ac:spMkLst>
        </pc:spChg>
        <pc:spChg chg="add del mod">
          <ac:chgData name="Joelle Brehm" userId="a518f54c-6985-42c0-8041-2bb16a414839" providerId="ADAL" clId="{34B1A95F-EFD8-4A1E-A46D-E288C53C0C68}" dt="2023-12-06T21:32:13.754" v="10151" actId="478"/>
          <ac:spMkLst>
            <pc:docMk/>
            <pc:sldMk cId="3798164587" sldId="259"/>
            <ac:spMk id="8" creationId="{773ED2BE-391E-5DA3-4ACD-60CCCF4964F5}"/>
          </ac:spMkLst>
        </pc:spChg>
        <pc:spChg chg="add del mod modVis">
          <ac:chgData name="Joelle Brehm" userId="a518f54c-6985-42c0-8041-2bb16a414839" providerId="ADAL" clId="{34B1A95F-EFD8-4A1E-A46D-E288C53C0C68}" dt="2023-12-06T21:33:16.338" v="10393"/>
          <ac:spMkLst>
            <pc:docMk/>
            <pc:sldMk cId="3798164587" sldId="259"/>
            <ac:spMk id="10" creationId="{3439A653-E170-C6F1-21E4-AEEA19304927}"/>
          </ac:spMkLst>
        </pc:spChg>
        <pc:spChg chg="mod">
          <ac:chgData name="Joelle Brehm" userId="a518f54c-6985-42c0-8041-2bb16a414839" providerId="ADAL" clId="{34B1A95F-EFD8-4A1E-A46D-E288C53C0C68}" dt="2023-12-06T21:38:59.633" v="11591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38:59.629" v="11587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38:59.630" v="11588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38:59.628" v="11585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38:59.628" v="11586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38:59.631" v="11589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38:59.632" v="11590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38:59.634" v="11592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38:59.635" v="11593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38:59.635" v="11594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38:59.636" v="11595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38:59.637" v="11596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38:59.638" v="11598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38:59.638" v="11599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38:59.640" v="11601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38:59.639" v="11600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38:59.642" v="11603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38:59.643" v="11604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38:59.641" v="11602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38:59.645" v="11606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38:59.670" v="11631"/>
          <ac:spMkLst>
            <pc:docMk/>
            <pc:sldMk cId="3798164587" sldId="259"/>
            <ac:spMk id="32" creationId="{2EFC59B1-C208-1816-2539-FFF2F0D2CED4}"/>
          </ac:spMkLst>
        </pc:spChg>
        <pc:spChg chg="mod">
          <ac:chgData name="Joelle Brehm" userId="a518f54c-6985-42c0-8041-2bb16a414839" providerId="ADAL" clId="{34B1A95F-EFD8-4A1E-A46D-E288C53C0C68}" dt="2023-12-06T21:38:59.664" v="11627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34B1A95F-EFD8-4A1E-A46D-E288C53C0C68}" dt="2023-12-06T21:38:59.663" v="11626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34B1A95F-EFD8-4A1E-A46D-E288C53C0C68}" dt="2023-12-06T21:38:59.675" v="11637"/>
          <ac:spMkLst>
            <pc:docMk/>
            <pc:sldMk cId="3798164587" sldId="259"/>
            <ac:spMk id="36" creationId="{24FD96C4-2F4A-AA43-27EB-B5B3270F9A1D}"/>
          </ac:spMkLst>
        </pc:spChg>
        <pc:spChg chg="mod">
          <ac:chgData name="Joelle Brehm" userId="a518f54c-6985-42c0-8041-2bb16a414839" providerId="ADAL" clId="{34B1A95F-EFD8-4A1E-A46D-E288C53C0C68}" dt="2023-12-06T21:38:59.669" v="11630"/>
          <ac:spMkLst>
            <pc:docMk/>
            <pc:sldMk cId="3798164587" sldId="259"/>
            <ac:spMk id="37" creationId="{E3EAC238-37CE-FE97-F754-1E4E04FB6278}"/>
          </ac:spMkLst>
        </pc:spChg>
        <pc:spChg chg="add mod replST">
          <ac:chgData name="Joelle Brehm" userId="a518f54c-6985-42c0-8041-2bb16a414839" providerId="ADAL" clId="{34B1A95F-EFD8-4A1E-A46D-E288C53C0C68}" dt="2023-12-06T21:38:59.676" v="11638"/>
          <ac:spMkLst>
            <pc:docMk/>
            <pc:sldMk cId="3798164587" sldId="259"/>
            <ac:spMk id="38" creationId="{76111FA9-1A54-7051-3AE8-877C73800496}"/>
          </ac:spMkLst>
        </pc:spChg>
        <pc:spChg chg="mod">
          <ac:chgData name="Joelle Brehm" userId="a518f54c-6985-42c0-8041-2bb16a414839" providerId="ADAL" clId="{34B1A95F-EFD8-4A1E-A46D-E288C53C0C68}" dt="2023-12-06T21:38:59.675" v="11636"/>
          <ac:spMkLst>
            <pc:docMk/>
            <pc:sldMk cId="3798164587" sldId="259"/>
            <ac:spMk id="39" creationId="{D4D13DFD-8B8D-47B0-DF09-93358F670D14}"/>
          </ac:spMkLst>
        </pc:spChg>
        <pc:spChg chg="mod">
          <ac:chgData name="Joelle Brehm" userId="a518f54c-6985-42c0-8041-2bb16a414839" providerId="ADAL" clId="{34B1A95F-EFD8-4A1E-A46D-E288C53C0C68}" dt="2023-12-06T21:38:59.668" v="11629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34B1A95F-EFD8-4A1E-A46D-E288C53C0C68}" dt="2023-12-06T21:38:59.666" v="11628"/>
          <ac:spMkLst>
            <pc:docMk/>
            <pc:sldMk cId="3798164587" sldId="259"/>
            <ac:spMk id="41" creationId="{AAEA4991-6EDC-4585-53B3-43FCB8287F41}"/>
          </ac:spMkLst>
        </pc:spChg>
        <pc:spChg chg="del mod">
          <ac:chgData name="Joelle Brehm" userId="a518f54c-6985-42c0-8041-2bb16a414839" providerId="ADAL" clId="{34B1A95F-EFD8-4A1E-A46D-E288C53C0C68}" dt="2023-12-06T21:38:40.212" v="10860"/>
          <ac:spMkLst>
            <pc:docMk/>
            <pc:sldMk cId="3798164587" sldId="259"/>
            <ac:spMk id="42" creationId="{17E5CF1F-B68A-803E-7A46-9E4C2586B04A}"/>
          </ac:spMkLst>
        </pc:spChg>
        <pc:spChg chg="mod ord">
          <ac:chgData name="Joelle Brehm" userId="a518f54c-6985-42c0-8041-2bb16a414839" providerId="ADAL" clId="{34B1A95F-EFD8-4A1E-A46D-E288C53C0C68}" dt="2023-12-06T21:38:59.653" v="11616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34B1A95F-EFD8-4A1E-A46D-E288C53C0C68}" dt="2023-12-06T21:38:59.655" v="11618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34B1A95F-EFD8-4A1E-A46D-E288C53C0C68}" dt="2023-12-06T21:38:59.647" v="11609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52" v="11615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50" v="11613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34B1A95F-EFD8-4A1E-A46D-E288C53C0C68}" dt="2023-12-06T21:38:59.659" v="11622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34B1A95F-EFD8-4A1E-A46D-E288C53C0C68}" dt="2023-12-06T21:38:59.661" v="11624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34B1A95F-EFD8-4A1E-A46D-E288C53C0C68}" dt="2023-12-06T21:38:59.657" v="11620"/>
          <ac:spMkLst>
            <pc:docMk/>
            <pc:sldMk cId="3798164587" sldId="259"/>
            <ac:spMk id="50" creationId="{6E0EEE28-854C-B3D5-8CC6-BD69B0BE61B8}"/>
          </ac:spMkLst>
        </pc:spChg>
        <pc:spChg chg="mod">
          <ac:chgData name="Joelle Brehm" userId="a518f54c-6985-42c0-8041-2bb16a414839" providerId="ADAL" clId="{34B1A95F-EFD8-4A1E-A46D-E288C53C0C68}" dt="2023-12-06T21:38:59.672" v="11633"/>
          <ac:spMkLst>
            <pc:docMk/>
            <pc:sldMk cId="3798164587" sldId="259"/>
            <ac:spMk id="51" creationId="{3CCC5AEF-7BB6-2440-B43E-35D020EB1B82}"/>
          </ac:spMkLst>
        </pc:spChg>
        <pc:spChg chg="mod">
          <ac:chgData name="Joelle Brehm" userId="a518f54c-6985-42c0-8041-2bb16a414839" providerId="ADAL" clId="{34B1A95F-EFD8-4A1E-A46D-E288C53C0C68}" dt="2023-12-06T21:38:59.670" v="11632"/>
          <ac:spMkLst>
            <pc:docMk/>
            <pc:sldMk cId="3798164587" sldId="259"/>
            <ac:spMk id="52" creationId="{D8EE27B5-3F46-02AD-6192-2B83C625A7E3}"/>
          </ac:spMkLst>
        </pc:spChg>
        <pc:spChg chg="add del mod modVis">
          <ac:chgData name="Joelle Brehm" userId="a518f54c-6985-42c0-8041-2bb16a414839" providerId="ADAL" clId="{34B1A95F-EFD8-4A1E-A46D-E288C53C0C68}" dt="2023-12-06T21:38:38.132" v="10857"/>
          <ac:spMkLst>
            <pc:docMk/>
            <pc:sldMk cId="3798164587" sldId="259"/>
            <ac:spMk id="53" creationId="{61DF656C-93DC-BD5D-E120-FB9185DFA16D}"/>
          </ac:spMkLst>
        </pc:spChg>
        <pc:spChg chg="mod">
          <ac:chgData name="Joelle Brehm" userId="a518f54c-6985-42c0-8041-2bb16a414839" providerId="ADAL" clId="{34B1A95F-EFD8-4A1E-A46D-E288C53C0C68}" dt="2023-12-06T21:38:59.674" v="11635"/>
          <ac:spMkLst>
            <pc:docMk/>
            <pc:sldMk cId="3798164587" sldId="259"/>
            <ac:spMk id="54" creationId="{2CEA7E2C-E3CA-7941-ACCF-262308344C45}"/>
          </ac:spMkLst>
        </pc:spChg>
        <pc:spChg chg="mod">
          <ac:chgData name="Joelle Brehm" userId="a518f54c-6985-42c0-8041-2bb16a414839" providerId="ADAL" clId="{34B1A95F-EFD8-4A1E-A46D-E288C53C0C68}" dt="2023-12-06T21:38:59.673" v="11634"/>
          <ac:spMkLst>
            <pc:docMk/>
            <pc:sldMk cId="3798164587" sldId="259"/>
            <ac:spMk id="55" creationId="{02AD7D81-8D13-B15E-2594-BD31882D675C}"/>
          </ac:spMkLst>
        </pc:spChg>
        <pc:spChg chg="add del mod modVis">
          <ac:chgData name="Joelle Brehm" userId="a518f54c-6985-42c0-8041-2bb16a414839" providerId="ADAL" clId="{34B1A95F-EFD8-4A1E-A46D-E288C53C0C68}" dt="2023-12-06T21:38:40.674" v="11099"/>
          <ac:spMkLst>
            <pc:docMk/>
            <pc:sldMk cId="3798164587" sldId="259"/>
            <ac:spMk id="57" creationId="{211DF64D-4374-F582-06E6-2CF3C01B1569}"/>
          </ac:spMkLst>
        </pc:spChg>
        <pc:spChg chg="add mod replST">
          <ac:chgData name="Joelle Brehm" userId="a518f54c-6985-42c0-8041-2bb16a414839" providerId="ADAL" clId="{34B1A95F-EFD8-4A1E-A46D-E288C53C0C68}" dt="2023-12-06T21:38:59.677" v="11639"/>
          <ac:spMkLst>
            <pc:docMk/>
            <pc:sldMk cId="3798164587" sldId="259"/>
            <ac:spMk id="59" creationId="{FC0B19CE-D222-373E-7B18-A491724F2CFE}"/>
          </ac:spMkLst>
        </pc:spChg>
        <pc:spChg chg="add del mod modVis">
          <ac:chgData name="Joelle Brehm" userId="a518f54c-6985-42c0-8041-2bb16a414839" providerId="ADAL" clId="{34B1A95F-EFD8-4A1E-A46D-E288C53C0C68}" dt="2023-12-06T21:38:46.125" v="11307"/>
          <ac:spMkLst>
            <pc:docMk/>
            <pc:sldMk cId="3798164587" sldId="259"/>
            <ac:spMk id="60" creationId="{38CD842E-04B0-76E2-285E-E234FEEBC363}"/>
          </ac:spMkLst>
        </pc:spChg>
        <pc:spChg chg="mod">
          <ac:chgData name="Joelle Brehm" userId="a518f54c-6985-42c0-8041-2bb16a414839" providerId="ADAL" clId="{34B1A95F-EFD8-4A1E-A46D-E288C53C0C68}" dt="2023-12-06T21:38:59.648" v="11610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34B1A95F-EFD8-4A1E-A46D-E288C53C0C68}" dt="2023-12-06T21:38:59.649" v="11611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34B1A95F-EFD8-4A1E-A46D-E288C53C0C68}" dt="2023-12-06T21:38:59.650" v="11612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34B1A95F-EFD8-4A1E-A46D-E288C53C0C68}" dt="2023-12-06T21:38:50.211" v="11491"/>
          <ac:spMkLst>
            <pc:docMk/>
            <pc:sldMk cId="3798164587" sldId="259"/>
            <ac:spMk id="66" creationId="{A026F9C5-C99D-00A7-7C26-8AA6D13DEF89}"/>
          </ac:spMkLst>
        </pc:spChg>
        <pc:spChg chg="add del mod modVis">
          <ac:chgData name="Joelle Brehm" userId="a518f54c-6985-42c0-8041-2bb16a414839" providerId="ADAL" clId="{34B1A95F-EFD8-4A1E-A46D-E288C53C0C68}" dt="2023-12-06T21:38:59.695" v="11666"/>
          <ac:spMkLst>
            <pc:docMk/>
            <pc:sldMk cId="3798164587" sldId="259"/>
            <ac:spMk id="69" creationId="{9DE263DD-FD5D-9A15-45C7-7A14A2883CF1}"/>
          </ac:spMkLst>
        </pc:spChg>
        <pc:spChg chg="mod ord">
          <ac:chgData name="Joelle Brehm" userId="a518f54c-6985-42c0-8041-2bb16a414839" providerId="ADAL" clId="{34B1A95F-EFD8-4A1E-A46D-E288C53C0C68}" dt="2023-12-06T21:38:59.678" v="11641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38:59.680" v="11643"/>
          <ac:spMkLst>
            <pc:docMk/>
            <pc:sldMk cId="3798164587" sldId="259"/>
            <ac:spMk id="79" creationId="{F1476AC4-694B-4D83-BFD8-8DCAA4BB1923}"/>
          </ac:spMkLst>
        </pc:spChg>
        <pc:spChg chg="del mod">
          <ac:chgData name="Joelle Brehm" userId="a518f54c-6985-42c0-8041-2bb16a414839" providerId="ADAL" clId="{34B1A95F-EFD8-4A1E-A46D-E288C53C0C68}" dt="2023-12-06T21:38:40.214" v="10861"/>
          <ac:spMkLst>
            <pc:docMk/>
            <pc:sldMk cId="3798164587" sldId="259"/>
            <ac:spMk id="89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54" v="11617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51" v="11614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56" v="11619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58" v="11621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60" v="11623"/>
          <ac:spMkLst>
            <pc:docMk/>
            <pc:sldMk cId="3798164587" sldId="259"/>
            <ac:spMk id="95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38:59.681" v="11645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34B1A95F-EFD8-4A1E-A46D-E288C53C0C68}" dt="2023-12-06T21:38:59.663" v="11625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38:59.683" v="11647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38:59.683" v="11649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38:59.684" v="11651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38:59.686" v="11654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87" v="11655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87" v="11656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38:59.688" v="11657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38:59.689" v="11658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38:59.754" v="11668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1:33:16.228" v="10289"/>
          <ac:graphicFrameMkLst>
            <pc:docMk/>
            <pc:sldMk cId="3798164587" sldId="259"/>
            <ac:graphicFrameMk id="9" creationId="{F3D83393-07AC-6FFD-A26E-028F1D869C1A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38:59.627" v="11584"/>
          <ac:graphicFrameMkLst>
            <pc:docMk/>
            <pc:sldMk cId="3798164587" sldId="259"/>
            <ac:graphicFrameMk id="31" creationId="{6B61A58E-189B-25CB-70DB-41581BB55DB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38:40.517" v="11001"/>
          <ac:graphicFrameMkLst>
            <pc:docMk/>
            <pc:sldMk cId="3798164587" sldId="259"/>
            <ac:graphicFrameMk id="56" creationId="{1B15371C-41C4-5233-A99B-B398C87B363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38:46.023" v="11208"/>
          <ac:graphicFrameMkLst>
            <pc:docMk/>
            <pc:sldMk cId="3798164587" sldId="259"/>
            <ac:graphicFrameMk id="58" creationId="{8968DA20-C47A-0BB5-F5B6-9F803C7F846B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38:38.010" v="10758"/>
          <ac:graphicFrameMkLst>
            <pc:docMk/>
            <pc:sldMk cId="3798164587" sldId="259"/>
            <ac:graphicFrameMk id="63" creationId="{25C30A40-36C8-0C26-7A37-1B37454EB3CB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38:50.102" v="11393"/>
          <ac:graphicFrameMkLst>
            <pc:docMk/>
            <pc:sldMk cId="3798164587" sldId="259"/>
            <ac:graphicFrameMk id="65" creationId="{191F9977-089A-B16D-7E57-46180EEB399D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38:59.576" v="11568"/>
          <ac:graphicFrameMkLst>
            <pc:docMk/>
            <pc:sldMk cId="3798164587" sldId="259"/>
            <ac:graphicFrameMk id="67" creationId="{96D52700-F196-3C83-BDEC-161DE39F7850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38:59.647" v="11608"/>
          <ac:graphicFrameMkLst>
            <pc:docMk/>
            <pc:sldMk cId="3798164587" sldId="259"/>
            <ac:graphicFrameMk id="68" creationId="{1050EF48-D14A-2660-62D3-7628DB0FF1EC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38:59.686" v="11653"/>
          <ac:graphicFrameMkLst>
            <pc:docMk/>
            <pc:sldMk cId="3798164587" sldId="259"/>
            <ac:graphicFrameMk id="70" creationId="{56977088-A488-8187-D83A-E7D58964C8BA}"/>
          </ac:graphicFrameMkLst>
        </pc:graphicFrameChg>
        <pc:picChg chg="del mod ord">
          <ac:chgData name="Joelle Brehm" userId="a518f54c-6985-42c0-8041-2bb16a414839" providerId="ADAL" clId="{34B1A95F-EFD8-4A1E-A46D-E288C53C0C68}" dt="2023-12-06T21:36:27.219" v="10504" actId="478"/>
          <ac:picMkLst>
            <pc:docMk/>
            <pc:sldMk cId="3798164587" sldId="259"/>
            <ac:picMk id="3" creationId="{9171AA75-F3B7-1A49-46C2-DAC4B5F982F8}"/>
          </ac:picMkLst>
        </pc:picChg>
        <pc:picChg chg="mod ord">
          <ac:chgData name="Joelle Brehm" userId="a518f54c-6985-42c0-8041-2bb16a414839" providerId="ADAL" clId="{34B1A95F-EFD8-4A1E-A46D-E288C53C0C68}" dt="2023-12-06T21:38:59.623" v="11578"/>
          <ac:picMkLst>
            <pc:docMk/>
            <pc:sldMk cId="3798164587" sldId="259"/>
            <ac:picMk id="5" creationId="{8F4A2CF4-0CF3-47E4-B23B-AC49D50CFFA1}"/>
          </ac:picMkLst>
        </pc:picChg>
        <pc:picChg chg="add mod ord">
          <ac:chgData name="Joelle Brehm" userId="a518f54c-6985-42c0-8041-2bb16a414839" providerId="ADAL" clId="{34B1A95F-EFD8-4A1E-A46D-E288C53C0C68}" dt="2023-12-06T21:38:59.621" v="11576"/>
          <ac:picMkLst>
            <pc:docMk/>
            <pc:sldMk cId="3798164587" sldId="259"/>
            <ac:picMk id="33" creationId="{2A3E7775-090D-7387-C206-A6F79D23C4DB}"/>
          </ac:picMkLst>
        </pc:picChg>
        <pc:picChg chg="mod ord">
          <ac:chgData name="Joelle Brehm" userId="a518f54c-6985-42c0-8041-2bb16a414839" providerId="ADAL" clId="{34B1A95F-EFD8-4A1E-A46D-E288C53C0C68}" dt="2023-12-06T21:38:59.690" v="11660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38:59.626" v="11582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34B1A95F-EFD8-4A1E-A46D-E288C53C0C68}" dt="2023-12-04T20:08:19.570" v="7" actId="20577"/>
        <pc:sldMkLst>
          <pc:docMk/>
          <pc:sldMk cId="4090961396" sldId="260"/>
        </pc:sldMkLst>
        <pc:spChg chg="mod">
          <ac:chgData name="Joelle Brehm" userId="a518f54c-6985-42c0-8041-2bb16a414839" providerId="ADAL" clId="{34B1A95F-EFD8-4A1E-A46D-E288C53C0C68}" dt="2023-12-04T20:08:19.570" v="7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34B1A95F-EFD8-4A1E-A46D-E288C53C0C68}" dt="2023-12-07T21:07:41.506" v="51296" actId="20577"/>
        <pc:sldMkLst>
          <pc:docMk/>
          <pc:sldMk cId="2525895214" sldId="262"/>
        </pc:sldMkLst>
        <pc:spChg chg="add del mod">
          <ac:chgData name="Joelle Brehm" userId="a518f54c-6985-42c0-8041-2bb16a414839" providerId="ADAL" clId="{34B1A95F-EFD8-4A1E-A46D-E288C53C0C68}" dt="2023-12-07T21:06:09.663" v="51082" actId="478"/>
          <ac:spMkLst>
            <pc:docMk/>
            <pc:sldMk cId="2525895214" sldId="262"/>
            <ac:spMk id="3" creationId="{B8ECEDB1-FF67-5B98-CCF7-3284BAB756C2}"/>
          </ac:spMkLst>
        </pc:spChg>
        <pc:spChg chg="add mod">
          <ac:chgData name="Joelle Brehm" userId="a518f54c-6985-42c0-8041-2bb16a414839" providerId="ADAL" clId="{34B1A95F-EFD8-4A1E-A46D-E288C53C0C68}" dt="2023-12-07T21:07:41.506" v="51296" actId="20577"/>
          <ac:spMkLst>
            <pc:docMk/>
            <pc:sldMk cId="2525895214" sldId="262"/>
            <ac:spMk id="5" creationId="{E1FE1B74-ED68-D6A0-DCC4-36B702F22BCB}"/>
          </ac:spMkLst>
        </pc:spChg>
        <pc:graphicFrameChg chg="mod modGraphic">
          <ac:chgData name="Joelle Brehm" userId="a518f54c-6985-42c0-8041-2bb16a414839" providerId="ADAL" clId="{34B1A95F-EFD8-4A1E-A46D-E288C53C0C68}" dt="2023-12-07T21:05:54.387" v="51081" actId="20577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34B1A95F-EFD8-4A1E-A46D-E288C53C0C68}" dt="2023-12-06T18:00:56.576" v="388"/>
        <pc:sldMkLst>
          <pc:docMk/>
          <pc:sldMk cId="3980989934" sldId="263"/>
        </pc:sldMkLst>
        <pc:spChg chg="mod ord">
          <ac:chgData name="Joelle Brehm" userId="a518f54c-6985-42c0-8041-2bb16a414839" providerId="ADAL" clId="{34B1A95F-EFD8-4A1E-A46D-E288C53C0C68}" dt="2023-12-06T18:00:56.558" v="380"/>
          <ac:spMkLst>
            <pc:docMk/>
            <pc:sldMk cId="3980989934" sldId="263"/>
            <ac:spMk id="2" creationId="{75C72E1E-661F-4997-A353-2798333F5BE3}"/>
          </ac:spMkLst>
        </pc:spChg>
        <pc:spChg chg="add del mod ord">
          <ac:chgData name="Joelle Brehm" userId="a518f54c-6985-42c0-8041-2bb16a414839" providerId="ADAL" clId="{34B1A95F-EFD8-4A1E-A46D-E288C53C0C68}" dt="2023-12-06T17:54:03.239" v="90" actId="478"/>
          <ac:spMkLst>
            <pc:docMk/>
            <pc:sldMk cId="3980989934" sldId="263"/>
            <ac:spMk id="3" creationId="{E4EC7E85-9934-82D4-CD71-BC9A51F25D2B}"/>
          </ac:spMkLst>
        </pc:spChg>
        <pc:spChg chg="mod ord">
          <ac:chgData name="Joelle Brehm" userId="a518f54c-6985-42c0-8041-2bb16a414839" providerId="ADAL" clId="{34B1A95F-EFD8-4A1E-A46D-E288C53C0C68}" dt="2023-12-06T18:00:56.550" v="355"/>
          <ac:spMkLst>
            <pc:docMk/>
            <pc:sldMk cId="3980989934" sldId="26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34B1A95F-EFD8-4A1E-A46D-E288C53C0C68}" dt="2023-12-06T18:00:56.560" v="386"/>
          <ac:spMkLst>
            <pc:docMk/>
            <pc:sldMk cId="3980989934" sldId="263"/>
            <ac:spMk id="7" creationId="{E17E8EA3-5A84-1F84-952E-4B1741748EB8}"/>
          </ac:spMkLst>
        </pc:spChg>
        <pc:spChg chg="mod">
          <ac:chgData name="Joelle Brehm" userId="a518f54c-6985-42c0-8041-2bb16a414839" providerId="ADAL" clId="{34B1A95F-EFD8-4A1E-A46D-E288C53C0C68}" dt="2023-12-06T18:00:56.553" v="364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34B1A95F-EFD8-4A1E-A46D-E288C53C0C68}" dt="2023-12-06T18:00:56.552" v="360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34B1A95F-EFD8-4A1E-A46D-E288C53C0C68}" dt="2023-12-06T18:00:56.551" v="358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34B1A95F-EFD8-4A1E-A46D-E288C53C0C68}" dt="2023-12-06T18:00:56.551" v="359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34B1A95F-EFD8-4A1E-A46D-E288C53C0C68}" dt="2023-12-06T18:00:56.552" v="361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34B1A95F-EFD8-4A1E-A46D-E288C53C0C68}" dt="2023-12-06T18:00:56.554" v="367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34B1A95F-EFD8-4A1E-A46D-E288C53C0C68}" dt="2023-12-06T18:00:56.553" v="362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34B1A95F-EFD8-4A1E-A46D-E288C53C0C68}" dt="2023-12-06T18:00:56.554" v="365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34B1A95F-EFD8-4A1E-A46D-E288C53C0C68}" dt="2023-12-06T18:00:56.553" v="363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34B1A95F-EFD8-4A1E-A46D-E288C53C0C68}" dt="2023-12-06T18:00:56.554" v="366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34B1A95F-EFD8-4A1E-A46D-E288C53C0C68}" dt="2023-12-06T18:00:56.555" v="368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34B1A95F-EFD8-4A1E-A46D-E288C53C0C68}" dt="2023-12-06T18:00:56.555" v="369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34B1A95F-EFD8-4A1E-A46D-E288C53C0C68}" dt="2023-12-06T18:00:56.555" v="371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34B1A95F-EFD8-4A1E-A46D-E288C53C0C68}" dt="2023-12-06T18:00:56.556" v="373"/>
          <ac:spMkLst>
            <pc:docMk/>
            <pc:sldMk cId="3980989934" sldId="263"/>
            <ac:spMk id="21" creationId="{B5AE4010-508F-4A3F-85C7-752A1F15F54F}"/>
          </ac:spMkLst>
        </pc:spChg>
        <pc:spChg chg="mod ord">
          <ac:chgData name="Joelle Brehm" userId="a518f54c-6985-42c0-8041-2bb16a414839" providerId="ADAL" clId="{34B1A95F-EFD8-4A1E-A46D-E288C53C0C68}" dt="2023-12-06T18:00:56.558" v="382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34B1A95F-EFD8-4A1E-A46D-E288C53C0C68}" dt="2023-12-06T18:00:56.556" v="375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34B1A95F-EFD8-4A1E-A46D-E288C53C0C68}" dt="2023-12-06T18:00:56.557" v="377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34B1A95F-EFD8-4A1E-A46D-E288C53C0C68}" dt="2023-12-06T18:00:56.576" v="388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18:00:56.551" v="357"/>
          <ac:graphicFrameMkLst>
            <pc:docMk/>
            <pc:sldMk cId="3980989934" sldId="263"/>
            <ac:graphicFrameMk id="22" creationId="{D78F3FCF-6A7E-FDC0-0523-F8B77F267DC1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18:00:56.523" v="343"/>
          <ac:graphicFrameMkLst>
            <pc:docMk/>
            <pc:sldMk cId="3980989934" sldId="263"/>
            <ac:graphicFrameMk id="24" creationId="{6B0225BC-B28F-7127-ED2E-6DD6E319A82B}"/>
          </ac:graphicFrameMkLst>
        </pc:graphicFrameChg>
        <pc:picChg chg="add mod ord">
          <ac:chgData name="Joelle Brehm" userId="a518f54c-6985-42c0-8041-2bb16a414839" providerId="ADAL" clId="{34B1A95F-EFD8-4A1E-A46D-E288C53C0C68}" dt="2023-12-06T18:00:56.549" v="351"/>
          <ac:picMkLst>
            <pc:docMk/>
            <pc:sldMk cId="3980989934" sldId="263"/>
            <ac:picMk id="3" creationId="{24193762-35C1-B1FB-A1FD-12F1CDF75B92}"/>
          </ac:picMkLst>
        </pc:picChg>
        <pc:picChg chg="add mod ord">
          <ac:chgData name="Joelle Brehm" userId="a518f54c-6985-42c0-8041-2bb16a414839" providerId="ADAL" clId="{34B1A95F-EFD8-4A1E-A46D-E288C53C0C68}" dt="2023-12-06T18:00:56.549" v="353"/>
          <ac:picMkLst>
            <pc:docMk/>
            <pc:sldMk cId="3980989934" sldId="263"/>
            <ac:picMk id="6" creationId="{929150D8-E823-C896-F983-B58387CE9A94}"/>
          </ac:picMkLst>
        </pc:picChg>
        <pc:picChg chg="del mod ord">
          <ac:chgData name="Joelle Brehm" userId="a518f54c-6985-42c0-8041-2bb16a414839" providerId="ADAL" clId="{34B1A95F-EFD8-4A1E-A46D-E288C53C0C68}" dt="2023-12-06T17:54:00.045" v="89" actId="478"/>
          <ac:picMkLst>
            <pc:docMk/>
            <pc:sldMk cId="3980989934" sldId="263"/>
            <ac:picMk id="7" creationId="{D654EFF0-EAB9-A6ED-364C-6ACA343B11F5}"/>
          </ac:picMkLst>
        </pc:picChg>
        <pc:picChg chg="add del mod">
          <ac:chgData name="Joelle Brehm" userId="a518f54c-6985-42c0-8041-2bb16a414839" providerId="ADAL" clId="{34B1A95F-EFD8-4A1E-A46D-E288C53C0C68}" dt="2023-12-06T17:54:26.633" v="93" actId="478"/>
          <ac:picMkLst>
            <pc:docMk/>
            <pc:sldMk cId="3980989934" sldId="263"/>
            <ac:picMk id="22" creationId="{CBD05843-EE4F-71BF-0A4B-FF01EF13685F}"/>
          </ac:picMkLst>
        </pc:picChg>
        <pc:picChg chg="del mod ord">
          <ac:chgData name="Joelle Brehm" userId="a518f54c-6985-42c0-8041-2bb16a414839" providerId="ADAL" clId="{34B1A95F-EFD8-4A1E-A46D-E288C53C0C68}" dt="2023-12-06T17:58:14.357" v="135" actId="478"/>
          <ac:picMkLst>
            <pc:docMk/>
            <pc:sldMk cId="3980989934" sldId="263"/>
            <ac:picMk id="26" creationId="{C1F31723-C1B9-E391-486B-CC9BC850DA09}"/>
          </ac:picMkLst>
        </pc:picChg>
        <pc:picChg chg="mod">
          <ac:chgData name="Joelle Brehm" userId="a518f54c-6985-42c0-8041-2bb16a414839" providerId="ADAL" clId="{34B1A95F-EFD8-4A1E-A46D-E288C53C0C68}" dt="2023-12-06T18:00:56.557" v="378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34B1A95F-EFD8-4A1E-A46D-E288C53C0C68}" dt="2023-12-07T17:50:45.178" v="44973"/>
        <pc:sldMkLst>
          <pc:docMk/>
          <pc:sldMk cId="1450446987" sldId="264"/>
        </pc:sldMkLst>
        <pc:spChg chg="add del mod ord">
          <ac:chgData name="Joelle Brehm" userId="a518f54c-6985-42c0-8041-2bb16a414839" providerId="ADAL" clId="{34B1A95F-EFD8-4A1E-A46D-E288C53C0C68}" dt="2023-12-07T17:49:18.805" v="41470" actId="478"/>
          <ac:spMkLst>
            <pc:docMk/>
            <pc:sldMk cId="1450446987" sldId="264"/>
            <ac:spMk id="2" creationId="{D0AAF3F2-AC4B-3F0A-C6BE-BF0D86048BA3}"/>
          </ac:spMkLst>
        </pc:spChg>
        <pc:spChg chg="mod ord">
          <ac:chgData name="Joelle Brehm" userId="a518f54c-6985-42c0-8041-2bb16a414839" providerId="ADAL" clId="{34B1A95F-EFD8-4A1E-A46D-E288C53C0C68}" dt="2023-12-07T17:50:42.120" v="44799"/>
          <ac:spMkLst>
            <pc:docMk/>
            <pc:sldMk cId="1450446987" sldId="264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34B1A95F-EFD8-4A1E-A46D-E288C53C0C68}" dt="2023-12-07T17:49:42.807" v="41715"/>
          <ac:spMkLst>
            <pc:docMk/>
            <pc:sldMk cId="1450446987" sldId="264"/>
            <ac:spMk id="6" creationId="{F4697609-173A-520A-777F-A38A02F92F84}"/>
          </ac:spMkLst>
        </pc:spChg>
        <pc:spChg chg="mod">
          <ac:chgData name="Joelle Brehm" userId="a518f54c-6985-42c0-8041-2bb16a414839" providerId="ADAL" clId="{34B1A95F-EFD8-4A1E-A46D-E288C53C0C68}" dt="2023-12-07T17:50:42.136" v="44867"/>
          <ac:spMkLst>
            <pc:docMk/>
            <pc:sldMk cId="1450446987" sldId="264"/>
            <ac:spMk id="7" creationId="{DE57A07F-6746-6404-6ACC-31B88A8A6B3A}"/>
          </ac:spMkLst>
        </pc:spChg>
        <pc:spChg chg="add mod replST">
          <ac:chgData name="Joelle Brehm" userId="a518f54c-6985-42c0-8041-2bb16a414839" providerId="ADAL" clId="{34B1A95F-EFD8-4A1E-A46D-E288C53C0C68}" dt="2023-12-07T17:50:42.136" v="44869"/>
          <ac:spMkLst>
            <pc:docMk/>
            <pc:sldMk cId="1450446987" sldId="264"/>
            <ac:spMk id="8" creationId="{58B78C31-BB5C-89ED-34D3-7C1F9D71DB92}"/>
          </ac:spMkLst>
        </pc:spChg>
        <pc:spChg chg="add del mod modVis">
          <ac:chgData name="Joelle Brehm" userId="a518f54c-6985-42c0-8041-2bb16a414839" providerId="ADAL" clId="{34B1A95F-EFD8-4A1E-A46D-E288C53C0C68}" dt="2023-12-06T20:14:01.913" v="7079"/>
          <ac:spMkLst>
            <pc:docMk/>
            <pc:sldMk cId="1450446987" sldId="264"/>
            <ac:spMk id="9" creationId="{2DF9981F-F1D5-2206-EDBA-3E28626CFB2D}"/>
          </ac:spMkLst>
        </pc:spChg>
        <pc:spChg chg="add mod replST">
          <ac:chgData name="Joelle Brehm" userId="a518f54c-6985-42c0-8041-2bb16a414839" providerId="ADAL" clId="{34B1A95F-EFD8-4A1E-A46D-E288C53C0C68}" dt="2023-12-07T17:50:42.151" v="44897"/>
          <ac:spMkLst>
            <pc:docMk/>
            <pc:sldMk cId="1450446987" sldId="264"/>
            <ac:spMk id="10" creationId="{A7CA38A3-6BEF-7C41-AB98-2D1AE5A23C95}"/>
          </ac:spMkLst>
        </pc:spChg>
        <pc:spChg chg="mod">
          <ac:chgData name="Joelle Brehm" userId="a518f54c-6985-42c0-8041-2bb16a414839" providerId="ADAL" clId="{34B1A95F-EFD8-4A1E-A46D-E288C53C0C68}" dt="2023-12-07T17:50:42.136" v="44868"/>
          <ac:spMkLst>
            <pc:docMk/>
            <pc:sldMk cId="1450446987" sldId="264"/>
            <ac:spMk id="11" creationId="{D34BD6AF-79B7-0201-A9E6-DEFEE9B380F3}"/>
          </ac:spMkLst>
        </pc:spChg>
        <pc:spChg chg="mod">
          <ac:chgData name="Joelle Brehm" userId="a518f54c-6985-42c0-8041-2bb16a414839" providerId="ADAL" clId="{34B1A95F-EFD8-4A1E-A46D-E288C53C0C68}" dt="2023-12-07T17:50:42.136" v="44861"/>
          <ac:spMkLst>
            <pc:docMk/>
            <pc:sldMk cId="1450446987" sldId="264"/>
            <ac:spMk id="12" creationId="{862A57D3-073F-4309-74D6-FD573764A05D}"/>
          </ac:spMkLst>
        </pc:spChg>
        <pc:spChg chg="add del mod modVis">
          <ac:chgData name="Joelle Brehm" userId="a518f54c-6985-42c0-8041-2bb16a414839" providerId="ADAL" clId="{34B1A95F-EFD8-4A1E-A46D-E288C53C0C68}" dt="2023-12-07T17:49:45.570" v="41921"/>
          <ac:spMkLst>
            <pc:docMk/>
            <pc:sldMk cId="1450446987" sldId="264"/>
            <ac:spMk id="13" creationId="{2CDA868B-842B-179B-8C58-994AA9D045F7}"/>
          </ac:spMkLst>
        </pc:spChg>
        <pc:spChg chg="del mod">
          <ac:chgData name="Joelle Brehm" userId="a518f54c-6985-42c0-8041-2bb16a414839" providerId="ADAL" clId="{34B1A95F-EFD8-4A1E-A46D-E288C53C0C68}" dt="2023-12-06T20:14:03.195" v="7083"/>
          <ac:spMkLst>
            <pc:docMk/>
            <pc:sldMk cId="1450446987" sldId="264"/>
            <ac:spMk id="13" creationId="{ADECDCFA-1E1B-DA79-857B-6C2FA278DB11}"/>
          </ac:spMkLst>
        </pc:spChg>
        <pc:spChg chg="add mod replST">
          <ac:chgData name="Joelle Brehm" userId="a518f54c-6985-42c0-8041-2bb16a414839" providerId="ADAL" clId="{34B1A95F-EFD8-4A1E-A46D-E288C53C0C68}" dt="2023-12-07T17:50:42.136" v="44881"/>
          <ac:spMkLst>
            <pc:docMk/>
            <pc:sldMk cId="1450446987" sldId="264"/>
            <ac:spMk id="15" creationId="{78323779-3C77-06EC-7E74-E6B35BABC750}"/>
          </ac:spMkLst>
        </pc:spChg>
        <pc:spChg chg="mod ord">
          <ac:chgData name="Joelle Brehm" userId="a518f54c-6985-42c0-8041-2bb16a414839" providerId="ADAL" clId="{34B1A95F-EFD8-4A1E-A46D-E288C53C0C68}" dt="2023-12-07T17:50:45.162" v="44965"/>
          <ac:spMkLst>
            <pc:docMk/>
            <pc:sldMk cId="1450446987" sldId="264"/>
            <ac:spMk id="16" creationId="{0F83DE65-1B4F-815C-7155-32FC819C40A5}"/>
          </ac:spMkLst>
        </pc:spChg>
        <pc:spChg chg="add del mod modVis">
          <ac:chgData name="Joelle Brehm" userId="a518f54c-6985-42c0-8041-2bb16a414839" providerId="ADAL" clId="{34B1A95F-EFD8-4A1E-A46D-E288C53C0C68}" dt="2023-12-07T17:49:47.032" v="42105"/>
          <ac:spMkLst>
            <pc:docMk/>
            <pc:sldMk cId="1450446987" sldId="264"/>
            <ac:spMk id="17" creationId="{9201B2CB-F7E2-4F16-7188-6412D94D54DB}"/>
          </ac:spMkLst>
        </pc:spChg>
        <pc:spChg chg="add del mod modVis">
          <ac:chgData name="Joelle Brehm" userId="a518f54c-6985-42c0-8041-2bb16a414839" providerId="ADAL" clId="{34B1A95F-EFD8-4A1E-A46D-E288C53C0C68}" dt="2023-12-06T20:14:10.452" v="7528"/>
          <ac:spMkLst>
            <pc:docMk/>
            <pc:sldMk cId="1450446987" sldId="264"/>
            <ac:spMk id="17" creationId="{B402E703-5AF5-04A3-B44D-151DA6BDB91B}"/>
          </ac:spMkLst>
        </pc:spChg>
        <pc:spChg chg="mod">
          <ac:chgData name="Joelle Brehm" userId="a518f54c-6985-42c0-8041-2bb16a414839" providerId="ADAL" clId="{34B1A95F-EFD8-4A1E-A46D-E288C53C0C68}" dt="2023-12-07T17:50:42.151" v="44915"/>
          <ac:spMkLst>
            <pc:docMk/>
            <pc:sldMk cId="1450446987" sldId="264"/>
            <ac:spMk id="18" creationId="{7CE63A35-6A90-6D8B-CF40-7241933EF0EF}"/>
          </ac:spMkLst>
        </pc:spChg>
        <pc:spChg chg="del mod">
          <ac:chgData name="Joelle Brehm" userId="a518f54c-6985-42c0-8041-2bb16a414839" providerId="ADAL" clId="{34B1A95F-EFD8-4A1E-A46D-E288C53C0C68}" dt="2023-12-06T20:14:03.194" v="7082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34B1A95F-EFD8-4A1E-A46D-E288C53C0C68}" dt="2023-12-07T17:50:42.136" v="44859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34B1A95F-EFD8-4A1E-A46D-E288C53C0C68}" dt="2023-12-07T17:50:42.151" v="44927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34B1A95F-EFD8-4A1E-A46D-E288C53C0C68}" dt="2023-12-07T17:50:42.136" v="44880"/>
          <ac:spMkLst>
            <pc:docMk/>
            <pc:sldMk cId="1450446987" sldId="264"/>
            <ac:spMk id="23" creationId="{ECE85BCC-DA74-38B9-C409-63F89574AA2B}"/>
          </ac:spMkLst>
        </pc:spChg>
        <pc:spChg chg="add mod replST">
          <ac:chgData name="Joelle Brehm" userId="a518f54c-6985-42c0-8041-2bb16a414839" providerId="ADAL" clId="{34B1A95F-EFD8-4A1E-A46D-E288C53C0C68}" dt="2023-12-07T17:50:42.120" v="44817"/>
          <ac:spMkLst>
            <pc:docMk/>
            <pc:sldMk cId="1450446987" sldId="264"/>
            <ac:spMk id="24" creationId="{E5D53381-936F-04EC-A4BF-61AC62630B7E}"/>
          </ac:spMkLst>
        </pc:spChg>
        <pc:spChg chg="mod">
          <ac:chgData name="Joelle Brehm" userId="a518f54c-6985-42c0-8041-2bb16a414839" providerId="ADAL" clId="{34B1A95F-EFD8-4A1E-A46D-E288C53C0C68}" dt="2023-12-07T17:50:42.136" v="44862"/>
          <ac:spMkLst>
            <pc:docMk/>
            <pc:sldMk cId="1450446987" sldId="264"/>
            <ac:spMk id="25" creationId="{DDCB9CFD-6336-9FEE-8109-046E7B1EDE09}"/>
          </ac:spMkLst>
        </pc:spChg>
        <pc:spChg chg="add del mod modVis">
          <ac:chgData name="Joelle Brehm" userId="a518f54c-6985-42c0-8041-2bb16a414839" providerId="ADAL" clId="{34B1A95F-EFD8-4A1E-A46D-E288C53C0C68}" dt="2023-12-07T17:49:48.570" v="42360"/>
          <ac:spMkLst>
            <pc:docMk/>
            <pc:sldMk cId="1450446987" sldId="264"/>
            <ac:spMk id="26" creationId="{21CD07CA-E898-72BB-D648-B3644BB30199}"/>
          </ac:spMkLst>
        </pc:spChg>
        <pc:spChg chg="add del mod modVis">
          <ac:chgData name="Joelle Brehm" userId="a518f54c-6985-42c0-8041-2bb16a414839" providerId="ADAL" clId="{34B1A95F-EFD8-4A1E-A46D-E288C53C0C68}" dt="2023-12-06T20:14:17.717" v="7805"/>
          <ac:spMkLst>
            <pc:docMk/>
            <pc:sldMk cId="1450446987" sldId="264"/>
            <ac:spMk id="26" creationId="{F1CE14D1-DB5D-4C6D-ED89-DC876DDF94DD}"/>
          </ac:spMkLst>
        </pc:spChg>
        <pc:spChg chg="mod">
          <ac:chgData name="Joelle Brehm" userId="a518f54c-6985-42c0-8041-2bb16a414839" providerId="ADAL" clId="{34B1A95F-EFD8-4A1E-A46D-E288C53C0C68}" dt="2023-12-07T17:50:42.136" v="44858"/>
          <ac:spMkLst>
            <pc:docMk/>
            <pc:sldMk cId="1450446987" sldId="264"/>
            <ac:spMk id="27" creationId="{7F5EB4C1-D71D-BF03-066C-3EB62DE130E1}"/>
          </ac:spMkLst>
        </pc:spChg>
        <pc:spChg chg="add mod replST">
          <ac:chgData name="Joelle Brehm" userId="a518f54c-6985-42c0-8041-2bb16a414839" providerId="ADAL" clId="{34B1A95F-EFD8-4A1E-A46D-E288C53C0C68}" dt="2023-12-07T17:50:42.151" v="44898"/>
          <ac:spMkLst>
            <pc:docMk/>
            <pc:sldMk cId="1450446987" sldId="264"/>
            <ac:spMk id="28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0:14:19.612" v="7809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34B1A95F-EFD8-4A1E-A46D-E288C53C0C68}" dt="2023-12-07T17:50:42.136" v="44871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34B1A95F-EFD8-4A1E-A46D-E288C53C0C68}" dt="2023-12-07T17:50:42.136" v="44863"/>
          <ac:spMkLst>
            <pc:docMk/>
            <pc:sldMk cId="1450446987" sldId="264"/>
            <ac:spMk id="31" creationId="{CA321323-2C4C-2167-68A7-B60C766BB3D9}"/>
          </ac:spMkLst>
        </pc:spChg>
        <pc:spChg chg="del mod">
          <ac:chgData name="Joelle Brehm" userId="a518f54c-6985-42c0-8041-2bb16a414839" providerId="ADAL" clId="{34B1A95F-EFD8-4A1E-A46D-E288C53C0C68}" dt="2023-12-06T20:14:19.611" v="7808"/>
          <ac:spMkLst>
            <pc:docMk/>
            <pc:sldMk cId="1450446987" sldId="264"/>
            <ac:spMk id="32" creationId="{AA10C851-A6B4-C67A-2815-80E945AB6CF4}"/>
          </ac:spMkLst>
        </pc:spChg>
        <pc:spChg chg="add mod replST">
          <ac:chgData name="Joelle Brehm" userId="a518f54c-6985-42c0-8041-2bb16a414839" providerId="ADAL" clId="{34B1A95F-EFD8-4A1E-A46D-E288C53C0C68}" dt="2023-12-07T17:50:42.151" v="44899"/>
          <ac:spMkLst>
            <pc:docMk/>
            <pc:sldMk cId="1450446987" sldId="264"/>
            <ac:spMk id="33" creationId="{A7632DC7-939F-70B3-1798-A2C67D8CCF13}"/>
          </ac:spMkLst>
        </pc:spChg>
        <pc:spChg chg="mod">
          <ac:chgData name="Joelle Brehm" userId="a518f54c-6985-42c0-8041-2bb16a414839" providerId="ADAL" clId="{34B1A95F-EFD8-4A1E-A46D-E288C53C0C68}" dt="2023-12-07T17:50:42.136" v="44874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34B1A95F-EFD8-4A1E-A46D-E288C53C0C68}" dt="2023-12-07T17:50:42.136" v="44873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34B1A95F-EFD8-4A1E-A46D-E288C53C0C68}" dt="2023-12-07T17:50:42.136" v="44879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34B1A95F-EFD8-4A1E-A46D-E288C53C0C68}" dt="2023-12-07T17:50:42.136" v="44875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34B1A95F-EFD8-4A1E-A46D-E288C53C0C68}" dt="2023-12-07T17:50:42.136" v="44870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34B1A95F-EFD8-4A1E-A46D-E288C53C0C68}" dt="2023-12-07T17:50:42.120" v="44807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34B1A95F-EFD8-4A1E-A46D-E288C53C0C68}" dt="2023-12-07T17:50:42.136" v="44860"/>
          <ac:spMkLst>
            <pc:docMk/>
            <pc:sldMk cId="1450446987" sldId="264"/>
            <ac:spMk id="40" creationId="{C58BB8B9-8023-B442-7CDD-CB5E70953466}"/>
          </ac:spMkLst>
        </pc:spChg>
        <pc:spChg chg="del mod">
          <ac:chgData name="Joelle Brehm" userId="a518f54c-6985-42c0-8041-2bb16a414839" providerId="ADAL" clId="{34B1A95F-EFD8-4A1E-A46D-E288C53C0C68}" dt="2023-12-06T20:14:55.296" v="9281"/>
          <ac:spMkLst>
            <pc:docMk/>
            <pc:sldMk cId="1450446987" sldId="264"/>
            <ac:spMk id="41" creationId="{17283985-5541-D643-07F1-12A6C1BB03BE}"/>
          </ac:spMkLst>
        </pc:spChg>
        <pc:spChg chg="add del mod modVis">
          <ac:chgData name="Joelle Brehm" userId="a518f54c-6985-42c0-8041-2bb16a414839" providerId="ADAL" clId="{34B1A95F-EFD8-4A1E-A46D-E288C53C0C68}" dt="2023-12-07T17:49:55.879" v="42748"/>
          <ac:spMkLst>
            <pc:docMk/>
            <pc:sldMk cId="1450446987" sldId="264"/>
            <ac:spMk id="41" creationId="{A92E9516-5AD0-8343-5C77-BBAEE8A9B1EC}"/>
          </ac:spMkLst>
        </pc:spChg>
        <pc:spChg chg="mod">
          <ac:chgData name="Joelle Brehm" userId="a518f54c-6985-42c0-8041-2bb16a414839" providerId="ADAL" clId="{34B1A95F-EFD8-4A1E-A46D-E288C53C0C68}" dt="2023-12-07T17:50:42.136" v="44864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34B1A95F-EFD8-4A1E-A46D-E288C53C0C68}" dt="2023-12-07T17:50:42.120" v="44810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34B1A95F-EFD8-4A1E-A46D-E288C53C0C68}" dt="2023-12-07T17:50:42.120" v="44819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34B1A95F-EFD8-4A1E-A46D-E288C53C0C68}" dt="2023-12-07T17:50:42.136" v="44872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34B1A95F-EFD8-4A1E-A46D-E288C53C0C68}" dt="2023-12-07T17:50:42.120" v="44806"/>
          <ac:spMkLst>
            <pc:docMk/>
            <pc:sldMk cId="1450446987" sldId="264"/>
            <ac:spMk id="46" creationId="{42ABD060-FEE1-EDE0-E99B-69A399E6BFE4}"/>
          </ac:spMkLst>
        </pc:spChg>
        <pc:spChg chg="mod">
          <ac:chgData name="Joelle Brehm" userId="a518f54c-6985-42c0-8041-2bb16a414839" providerId="ADAL" clId="{34B1A95F-EFD8-4A1E-A46D-E288C53C0C68}" dt="2023-12-07T17:50:42.120" v="44816"/>
          <ac:spMkLst>
            <pc:docMk/>
            <pc:sldMk cId="1450446987" sldId="264"/>
            <ac:spMk id="47" creationId="{6D64FB34-D8B2-66AB-BCB4-DA6A0216CA2C}"/>
          </ac:spMkLst>
        </pc:spChg>
        <pc:spChg chg="add mod replST">
          <ac:chgData name="Joelle Brehm" userId="a518f54c-6985-42c0-8041-2bb16a414839" providerId="ADAL" clId="{34B1A95F-EFD8-4A1E-A46D-E288C53C0C68}" dt="2023-12-07T17:50:42.120" v="44829"/>
          <ac:spMkLst>
            <pc:docMk/>
            <pc:sldMk cId="1450446987" sldId="264"/>
            <ac:spMk id="49" creationId="{6C902FB1-9C72-CCD9-9F28-79FEEA1EBE9E}"/>
          </ac:spMkLst>
        </pc:spChg>
        <pc:spChg chg="mod">
          <ac:chgData name="Joelle Brehm" userId="a518f54c-6985-42c0-8041-2bb16a414839" providerId="ADAL" clId="{34B1A95F-EFD8-4A1E-A46D-E288C53C0C68}" dt="2023-12-07T17:50:42.136" v="44865"/>
          <ac:spMkLst>
            <pc:docMk/>
            <pc:sldMk cId="1450446987" sldId="264"/>
            <ac:spMk id="50" creationId="{5FE9258F-A945-F4FF-832B-478FD9BAC76D}"/>
          </ac:spMkLst>
        </pc:spChg>
        <pc:spChg chg="mod">
          <ac:chgData name="Joelle Brehm" userId="a518f54c-6985-42c0-8041-2bb16a414839" providerId="ADAL" clId="{34B1A95F-EFD8-4A1E-A46D-E288C53C0C68}" dt="2023-12-07T17:50:42.120" v="44818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34B1A95F-EFD8-4A1E-A46D-E288C53C0C68}" dt="2023-12-07T17:50:42.151" v="44914"/>
          <ac:spMkLst>
            <pc:docMk/>
            <pc:sldMk cId="1450446987" sldId="264"/>
            <ac:spMk id="52" creationId="{35E94CE7-373A-9E4A-3654-13C7C305FD02}"/>
          </ac:spMkLst>
        </pc:spChg>
        <pc:spChg chg="add del mod modVis">
          <ac:chgData name="Joelle Brehm" userId="a518f54c-6985-42c0-8041-2bb16a414839" providerId="ADAL" clId="{34B1A95F-EFD8-4A1E-A46D-E288C53C0C68}" dt="2023-12-07T17:49:58.541" v="42936"/>
          <ac:spMkLst>
            <pc:docMk/>
            <pc:sldMk cId="1450446987" sldId="264"/>
            <ac:spMk id="53" creationId="{755C28E6-8479-C10B-00C9-A395BB9D9DC1}"/>
          </ac:spMkLst>
        </pc:spChg>
        <pc:spChg chg="add del mod modVis">
          <ac:chgData name="Joelle Brehm" userId="a518f54c-6985-42c0-8041-2bb16a414839" providerId="ADAL" clId="{34B1A95F-EFD8-4A1E-A46D-E288C53C0C68}" dt="2023-12-06T20:14:23.780" v="8276"/>
          <ac:spMkLst>
            <pc:docMk/>
            <pc:sldMk cId="1450446987" sldId="264"/>
            <ac:spMk id="53" creationId="{DDA5A5B9-C1BE-48BD-D7C9-18AB10606D39}"/>
          </ac:spMkLst>
        </pc:spChg>
        <pc:spChg chg="mod">
          <ac:chgData name="Joelle Brehm" userId="a518f54c-6985-42c0-8041-2bb16a414839" providerId="ADAL" clId="{34B1A95F-EFD8-4A1E-A46D-E288C53C0C68}" dt="2023-12-07T17:50:42.120" v="44822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34B1A95F-EFD8-4A1E-A46D-E288C53C0C68}" dt="2023-12-07T17:50:42.120" v="44808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34B1A95F-EFD8-4A1E-A46D-E288C53C0C68}" dt="2023-12-07T17:50:42.151" v="44926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34B1A95F-EFD8-4A1E-A46D-E288C53C0C68}" dt="2023-12-07T17:50:42.120" v="44809"/>
          <ac:spMkLst>
            <pc:docMk/>
            <pc:sldMk cId="1450446987" sldId="264"/>
            <ac:spMk id="57" creationId="{691D1289-3B15-0AD2-5838-E87715C40325}"/>
          </ac:spMkLst>
        </pc:spChg>
        <pc:spChg chg="mod">
          <ac:chgData name="Joelle Brehm" userId="a518f54c-6985-42c0-8041-2bb16a414839" providerId="ADAL" clId="{34B1A95F-EFD8-4A1E-A46D-E288C53C0C68}" dt="2023-12-07T17:50:42.120" v="44828"/>
          <ac:spMkLst>
            <pc:docMk/>
            <pc:sldMk cId="1450446987" sldId="264"/>
            <ac:spMk id="58" creationId="{998C3F37-48B7-D5CB-D2DD-2BF1FE08D1D9}"/>
          </ac:spMkLst>
        </pc:spChg>
        <pc:spChg chg="mod">
          <ac:chgData name="Joelle Brehm" userId="a518f54c-6985-42c0-8041-2bb16a414839" providerId="ADAL" clId="{34B1A95F-EFD8-4A1E-A46D-E288C53C0C68}" dt="2023-12-07T17:50:42.120" v="44811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34B1A95F-EFD8-4A1E-A46D-E288C53C0C68}" dt="2023-12-07T17:50:42.136" v="44883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34B1A95F-EFD8-4A1E-A46D-E288C53C0C68}" dt="2023-12-07T17:50:42.136" v="44885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34B1A95F-EFD8-4A1E-A46D-E288C53C0C68}" dt="2023-12-07T17:50:42.136" v="44887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34B1A95F-EFD8-4A1E-A46D-E288C53C0C68}" dt="2023-12-07T17:50:42.120" v="44833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34B1A95F-EFD8-4A1E-A46D-E288C53C0C68}" dt="2023-12-07T17:50:42.136" v="44876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34B1A95F-EFD8-4A1E-A46D-E288C53C0C68}" dt="2023-12-07T17:50:42.120" v="44820"/>
          <ac:spMkLst>
            <pc:docMk/>
            <pc:sldMk cId="1450446987" sldId="264"/>
            <ac:spMk id="65" creationId="{3157109A-3120-04A6-D693-60F57F766A08}"/>
          </ac:spMkLst>
        </pc:spChg>
        <pc:spChg chg="mod">
          <ac:chgData name="Joelle Brehm" userId="a518f54c-6985-42c0-8041-2bb16a414839" providerId="ADAL" clId="{34B1A95F-EFD8-4A1E-A46D-E288C53C0C68}" dt="2023-12-07T17:50:42.136" v="44845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34B1A95F-EFD8-4A1E-A46D-E288C53C0C68}" dt="2023-12-07T17:50:42.120" v="44821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34B1A95F-EFD8-4A1E-A46D-E288C53C0C68}" dt="2023-12-07T17:50:42.151" v="44917"/>
          <ac:spMkLst>
            <pc:docMk/>
            <pc:sldMk cId="1450446987" sldId="264"/>
            <ac:spMk id="69" creationId="{DE2291CF-E337-7DDA-5968-40B109D88D57}"/>
          </ac:spMkLst>
        </pc:spChg>
        <pc:spChg chg="add mod replST">
          <ac:chgData name="Joelle Brehm" userId="a518f54c-6985-42c0-8041-2bb16a414839" providerId="ADAL" clId="{34B1A95F-EFD8-4A1E-A46D-E288C53C0C68}" dt="2023-12-07T17:50:42.151" v="44924"/>
          <ac:spMkLst>
            <pc:docMk/>
            <pc:sldMk cId="1450446987" sldId="264"/>
            <ac:spMk id="70" creationId="{13EDC3FB-EAD9-A2B2-8DFB-9D4FBEC4B5A3}"/>
          </ac:spMkLst>
        </pc:spChg>
        <pc:spChg chg="mod">
          <ac:chgData name="Joelle Brehm" userId="a518f54c-6985-42c0-8041-2bb16a414839" providerId="ADAL" clId="{34B1A95F-EFD8-4A1E-A46D-E288C53C0C68}" dt="2023-12-07T17:50:42.151" v="44923"/>
          <ac:spMkLst>
            <pc:docMk/>
            <pc:sldMk cId="1450446987" sldId="264"/>
            <ac:spMk id="72" creationId="{083CFBB9-44A9-ECE4-4C8E-DC2ED54DB4C5}"/>
          </ac:spMkLst>
        </pc:spChg>
        <pc:spChg chg="mod">
          <ac:chgData name="Joelle Brehm" userId="a518f54c-6985-42c0-8041-2bb16a414839" providerId="ADAL" clId="{34B1A95F-EFD8-4A1E-A46D-E288C53C0C68}" dt="2023-12-07T17:50:42.120" v="44834"/>
          <ac:spMkLst>
            <pc:docMk/>
            <pc:sldMk cId="1450446987" sldId="264"/>
            <ac:spMk id="73" creationId="{9222FB5E-7628-BAAE-A4E4-E9F13F9B74EE}"/>
          </ac:spMkLst>
        </pc:spChg>
        <pc:spChg chg="add del mod modVis">
          <ac:chgData name="Joelle Brehm" userId="a518f54c-6985-42c0-8041-2bb16a414839" providerId="ADAL" clId="{34B1A95F-EFD8-4A1E-A46D-E288C53C0C68}" dt="2023-12-06T20:14:31.349" v="8550"/>
          <ac:spMkLst>
            <pc:docMk/>
            <pc:sldMk cId="1450446987" sldId="264"/>
            <ac:spMk id="74" creationId="{E4C0B632-EA73-6BCC-11BB-4AB98558060B}"/>
          </ac:spMkLst>
        </pc:spChg>
        <pc:spChg chg="add mod replST">
          <ac:chgData name="Joelle Brehm" userId="a518f54c-6985-42c0-8041-2bb16a414839" providerId="ADAL" clId="{34B1A95F-EFD8-4A1E-A46D-E288C53C0C68}" dt="2023-12-07T17:50:42.151" v="44900"/>
          <ac:spMkLst>
            <pc:docMk/>
            <pc:sldMk cId="1450446987" sldId="264"/>
            <ac:spMk id="75" creationId="{56383866-27D0-418B-13C0-142BC112CF57}"/>
          </ac:spMkLst>
        </pc:spChg>
        <pc:spChg chg="mod">
          <ac:chgData name="Joelle Brehm" userId="a518f54c-6985-42c0-8041-2bb16a414839" providerId="ADAL" clId="{34B1A95F-EFD8-4A1E-A46D-E288C53C0C68}" dt="2023-12-07T17:50:42.120" v="44823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34B1A95F-EFD8-4A1E-A46D-E288C53C0C68}" dt="2023-12-07T17:50:42.151" v="44894"/>
          <ac:spMkLst>
            <pc:docMk/>
            <pc:sldMk cId="1450446987" sldId="264"/>
            <ac:spMk id="77" creationId="{60F97E40-1529-395D-816D-8834F0F881FD}"/>
          </ac:spMkLst>
        </pc:spChg>
        <pc:spChg chg="add del mod modVis">
          <ac:chgData name="Joelle Brehm" userId="a518f54c-6985-42c0-8041-2bb16a414839" providerId="ADAL" clId="{34B1A95F-EFD8-4A1E-A46D-E288C53C0C68}" dt="2023-12-07T17:50:07.896" v="43334"/>
          <ac:spMkLst>
            <pc:docMk/>
            <pc:sldMk cId="1450446987" sldId="264"/>
            <ac:spMk id="78" creationId="{D8048214-02F6-BD27-91F5-5EC7102DE026}"/>
          </ac:spMkLst>
        </pc:spChg>
        <pc:spChg chg="add mod replST">
          <ac:chgData name="Joelle Brehm" userId="a518f54c-6985-42c0-8041-2bb16a414839" providerId="ADAL" clId="{34B1A95F-EFD8-4A1E-A46D-E288C53C0C68}" dt="2023-12-07T17:50:42.151" v="44936"/>
          <ac:spMkLst>
            <pc:docMk/>
            <pc:sldMk cId="1450446987" sldId="264"/>
            <ac:spMk id="79" creationId="{23BEFDDE-D63B-813D-AA9B-DD3758088EEA}"/>
          </ac:spMkLst>
        </pc:spChg>
        <pc:spChg chg="mod">
          <ac:chgData name="Joelle Brehm" userId="a518f54c-6985-42c0-8041-2bb16a414839" providerId="ADAL" clId="{34B1A95F-EFD8-4A1E-A46D-E288C53C0C68}" dt="2023-12-07T17:50:42.151" v="44929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34B1A95F-EFD8-4A1E-A46D-E288C53C0C68}" dt="2023-12-07T17:50:42.136" v="44846"/>
          <ac:spMkLst>
            <pc:docMk/>
            <pc:sldMk cId="1450446987" sldId="264"/>
            <ac:spMk id="81" creationId="{6F4C96C8-F30F-B7F9-162B-D0B13BC90C2B}"/>
          </ac:spMkLst>
        </pc:spChg>
        <pc:spChg chg="add del mod modVis">
          <ac:chgData name="Joelle Brehm" userId="a518f54c-6985-42c0-8041-2bb16a414839" providerId="ADAL" clId="{34B1A95F-EFD8-4A1E-A46D-E288C53C0C68}" dt="2023-12-06T20:14:45.819" v="9000"/>
          <ac:spMkLst>
            <pc:docMk/>
            <pc:sldMk cId="1450446987" sldId="264"/>
            <ac:spMk id="82" creationId="{404B03C3-DAF3-858B-C52A-7CB680125490}"/>
          </ac:spMkLst>
        </pc:spChg>
        <pc:spChg chg="mod">
          <ac:chgData name="Joelle Brehm" userId="a518f54c-6985-42c0-8041-2bb16a414839" providerId="ADAL" clId="{34B1A95F-EFD8-4A1E-A46D-E288C53C0C68}" dt="2023-12-07T17:50:42.151" v="44935"/>
          <ac:spMkLst>
            <pc:docMk/>
            <pc:sldMk cId="1450446987" sldId="264"/>
            <ac:spMk id="83" creationId="{A21D7036-40FA-BB0C-4CA6-E61688467FC8}"/>
          </ac:spMkLst>
        </pc:spChg>
        <pc:spChg chg="mod">
          <ac:chgData name="Joelle Brehm" userId="a518f54c-6985-42c0-8041-2bb16a414839" providerId="ADAL" clId="{34B1A95F-EFD8-4A1E-A46D-E288C53C0C68}" dt="2023-12-07T17:50:42.151" v="44916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34B1A95F-EFD8-4A1E-A46D-E288C53C0C68}" dt="2023-12-07T17:50:42.120" v="44812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34B1A95F-EFD8-4A1E-A46D-E288C53C0C68}" dt="2023-12-07T17:50:42.120" v="44836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34B1A95F-EFD8-4A1E-A46D-E288C53C0C68}" dt="2023-12-07T17:50:42.136" v="44877"/>
          <ac:spMkLst>
            <pc:docMk/>
            <pc:sldMk cId="1450446987" sldId="264"/>
            <ac:spMk id="87" creationId="{06946997-7AFB-6327-F61E-B25533F6C115}"/>
          </ac:spMkLst>
        </pc:spChg>
        <pc:spChg chg="mod">
          <ac:chgData name="Joelle Brehm" userId="a518f54c-6985-42c0-8041-2bb16a414839" providerId="ADAL" clId="{34B1A95F-EFD8-4A1E-A46D-E288C53C0C68}" dt="2023-12-07T17:50:42.151" v="44928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34B1A95F-EFD8-4A1E-A46D-E288C53C0C68}" dt="2023-12-07T17:50:42.136" v="44848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34B1A95F-EFD8-4A1E-A46D-E288C53C0C68}" dt="2023-12-07T17:50:42.151" v="44918"/>
          <ac:spMkLst>
            <pc:docMk/>
            <pc:sldMk cId="1450446987" sldId="264"/>
            <ac:spMk id="91" creationId="{CC94F927-3930-8FBB-F700-00F80B097138}"/>
          </ac:spMkLst>
        </pc:spChg>
        <pc:spChg chg="add del mod modVis">
          <ac:chgData name="Joelle Brehm" userId="a518f54c-6985-42c0-8041-2bb16a414839" providerId="ADAL" clId="{34B1A95F-EFD8-4A1E-A46D-E288C53C0C68}" dt="2023-12-07T17:50:15.164" v="43528"/>
          <ac:spMkLst>
            <pc:docMk/>
            <pc:sldMk cId="1450446987" sldId="264"/>
            <ac:spMk id="92" creationId="{909F7C8D-7BE2-2912-841B-E41BD78E6C01}"/>
          </ac:spMkLst>
        </pc:spChg>
        <pc:spChg chg="mod">
          <ac:chgData name="Joelle Brehm" userId="a518f54c-6985-42c0-8041-2bb16a414839" providerId="ADAL" clId="{34B1A95F-EFD8-4A1E-A46D-E288C53C0C68}" dt="2023-12-07T17:50:42.151" v="44913"/>
          <ac:spMkLst>
            <pc:docMk/>
            <pc:sldMk cId="1450446987" sldId="264"/>
            <ac:spMk id="93" creationId="{E3535E8F-2FE1-602D-1DEE-9C3D3425F046}"/>
          </ac:spMkLst>
        </pc:spChg>
        <pc:spChg chg="mod">
          <ac:chgData name="Joelle Brehm" userId="a518f54c-6985-42c0-8041-2bb16a414839" providerId="ADAL" clId="{34B1A95F-EFD8-4A1E-A46D-E288C53C0C68}" dt="2023-12-07T17:50:42.120" v="44813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34B1A95F-EFD8-4A1E-A46D-E288C53C0C68}" dt="2023-12-07T17:50:42.120" v="44824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34B1A95F-EFD8-4A1E-A46D-E288C53C0C68}" dt="2023-12-07T17:50:42.136" v="44889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34B1A95F-EFD8-4A1E-A46D-E288C53C0C68}" dt="2023-12-07T17:50:42.136" v="44891"/>
          <ac:spMkLst>
            <pc:docMk/>
            <pc:sldMk cId="1450446987" sldId="264"/>
            <ac:spMk id="97" creationId="{64B2B8D7-E8A8-4757-99A4-69F1EAA48321}"/>
          </ac:spMkLst>
        </pc:spChg>
        <pc:spChg chg="add mod replST">
          <ac:chgData name="Joelle Brehm" userId="a518f54c-6985-42c0-8041-2bb16a414839" providerId="ADAL" clId="{34B1A95F-EFD8-4A1E-A46D-E288C53C0C68}" dt="2023-12-07T17:50:42.136" v="44843"/>
          <ac:spMkLst>
            <pc:docMk/>
            <pc:sldMk cId="1450446987" sldId="264"/>
            <ac:spMk id="98" creationId="{41685772-BE3E-26B1-D464-B2AD278CB65F}"/>
          </ac:spMkLst>
        </pc:spChg>
        <pc:spChg chg="mod">
          <ac:chgData name="Joelle Brehm" userId="a518f54c-6985-42c0-8041-2bb16a414839" providerId="ADAL" clId="{34B1A95F-EFD8-4A1E-A46D-E288C53C0C68}" dt="2023-12-07T17:50:42.151" v="44930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34B1A95F-EFD8-4A1E-A46D-E288C53C0C68}" dt="2023-12-06T20:14:54.064" v="9278"/>
          <ac:spMkLst>
            <pc:docMk/>
            <pc:sldMk cId="1450446987" sldId="264"/>
            <ac:spMk id="100" creationId="{8493E7D8-0DD3-A00B-96B1-F0A5525A2075}"/>
          </ac:spMkLst>
        </pc:spChg>
        <pc:spChg chg="mod">
          <ac:chgData name="Joelle Brehm" userId="a518f54c-6985-42c0-8041-2bb16a414839" providerId="ADAL" clId="{34B1A95F-EFD8-4A1E-A46D-E288C53C0C68}" dt="2023-12-07T17:50:42.135" v="44842"/>
          <ac:spMkLst>
            <pc:docMk/>
            <pc:sldMk cId="1450446987" sldId="264"/>
            <ac:spMk id="102" creationId="{6333F09A-AE56-74E1-7B04-F4A5E3860BA0}"/>
          </ac:spMkLst>
        </pc:spChg>
        <pc:spChg chg="add mod replST">
          <ac:chgData name="Joelle Brehm" userId="a518f54c-6985-42c0-8041-2bb16a414839" providerId="ADAL" clId="{34B1A95F-EFD8-4A1E-A46D-E288C53C0C68}" dt="2023-12-07T17:50:42.151" v="44901"/>
          <ac:spMkLst>
            <pc:docMk/>
            <pc:sldMk cId="1450446987" sldId="264"/>
            <ac:spMk id="103" creationId="{3011ECED-3070-20FC-DA3F-5A467219A673}"/>
          </ac:spMkLst>
        </pc:spChg>
        <pc:spChg chg="mod">
          <ac:chgData name="Joelle Brehm" userId="a518f54c-6985-42c0-8041-2bb16a414839" providerId="ADAL" clId="{34B1A95F-EFD8-4A1E-A46D-E288C53C0C68}" dt="2023-12-07T17:50:42.120" v="44835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34B1A95F-EFD8-4A1E-A46D-E288C53C0C68}" dt="2023-12-07T17:50:42.151" v="44919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34B1A95F-EFD8-4A1E-A46D-E288C53C0C68}" dt="2023-12-07T17:50:42.120" v="44801"/>
          <ac:spMkLst>
            <pc:docMk/>
            <pc:sldMk cId="1450446987" sldId="264"/>
            <ac:spMk id="106" creationId="{58013157-8B72-4777-A1DA-B9BACD5A28D4}"/>
          </ac:spMkLst>
        </pc:spChg>
        <pc:spChg chg="add mod replST">
          <ac:chgData name="Joelle Brehm" userId="a518f54c-6985-42c0-8041-2bb16a414839" providerId="ADAL" clId="{34B1A95F-EFD8-4A1E-A46D-E288C53C0C68}" dt="2023-12-07T17:50:42.136" v="44855"/>
          <ac:spMkLst>
            <pc:docMk/>
            <pc:sldMk cId="1450446987" sldId="264"/>
            <ac:spMk id="107" creationId="{5A262282-AA4F-2691-1334-7CF06DA0EFE3}"/>
          </ac:spMkLst>
        </pc:spChg>
        <pc:spChg chg="mod">
          <ac:chgData name="Joelle Brehm" userId="a518f54c-6985-42c0-8041-2bb16a414839" providerId="ADAL" clId="{34B1A95F-EFD8-4A1E-A46D-E288C53C0C68}" dt="2023-12-07T17:50:42.136" v="44847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34B1A95F-EFD8-4A1E-A46D-E288C53C0C68}" dt="2023-12-07T17:50:42.120" v="44837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34B1A95F-EFD8-4A1E-A46D-E288C53C0C68}" dt="2023-12-07T17:50:42.120" v="44825"/>
          <ac:spMkLst>
            <pc:docMk/>
            <pc:sldMk cId="1450446987" sldId="264"/>
            <ac:spMk id="110" creationId="{3E9DFF71-BC3D-F5AB-9F34-2E7EB64B1AD3}"/>
          </ac:spMkLst>
        </pc:spChg>
        <pc:spChg chg="add del mod modVis">
          <ac:chgData name="Joelle Brehm" userId="a518f54c-6985-42c0-8041-2bb16a414839" providerId="ADAL" clId="{34B1A95F-EFD8-4A1E-A46D-E288C53C0C68}" dt="2023-12-06T20:15:05.666" v="9729"/>
          <ac:spMkLst>
            <pc:docMk/>
            <pc:sldMk cId="1450446987" sldId="264"/>
            <ac:spMk id="111" creationId="{B7F26133-AECF-AAC4-CECC-AB52A7C96621}"/>
          </ac:spMkLst>
        </pc:spChg>
        <pc:spChg chg="add del mod modVis">
          <ac:chgData name="Joelle Brehm" userId="a518f54c-6985-42c0-8041-2bb16a414839" providerId="ADAL" clId="{34B1A95F-EFD8-4A1E-A46D-E288C53C0C68}" dt="2023-12-07T17:50:25.830" v="43934"/>
          <ac:spMkLst>
            <pc:docMk/>
            <pc:sldMk cId="1450446987" sldId="264"/>
            <ac:spMk id="111" creationId="{E771A30D-009A-FE29-C475-5424053D6AD0}"/>
          </ac:spMkLst>
        </pc:spChg>
        <pc:spChg chg="mod">
          <ac:chgData name="Joelle Brehm" userId="a518f54c-6985-42c0-8041-2bb16a414839" providerId="ADAL" clId="{34B1A95F-EFD8-4A1E-A46D-E288C53C0C68}" dt="2023-12-07T17:50:45.146" v="44947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34B1A95F-EFD8-4A1E-A46D-E288C53C0C68}" dt="2023-12-07T17:50:42.136" v="44849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34B1A95F-EFD8-4A1E-A46D-E288C53C0C68}" dt="2023-12-07T17:50:45.146" v="44949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34B1A95F-EFD8-4A1E-A46D-E288C53C0C68}" dt="2023-12-07T17:50:42.151" v="44931"/>
          <ac:spMkLst>
            <pc:docMk/>
            <pc:sldMk cId="1450446987" sldId="264"/>
            <ac:spMk id="116" creationId="{E6B2D068-E691-A10D-15D8-F8578EFD4C29}"/>
          </ac:spMkLst>
        </pc:spChg>
        <pc:spChg chg="mod">
          <ac:chgData name="Joelle Brehm" userId="a518f54c-6985-42c0-8041-2bb16a414839" providerId="ADAL" clId="{34B1A95F-EFD8-4A1E-A46D-E288C53C0C68}" dt="2023-12-07T17:50:42.136" v="44854"/>
          <ac:spMkLst>
            <pc:docMk/>
            <pc:sldMk cId="1450446987" sldId="264"/>
            <ac:spMk id="118" creationId="{64C7D22E-FE71-8346-6A8B-BCCE734C030C}"/>
          </ac:spMkLst>
        </pc:spChg>
        <pc:spChg chg="del mod">
          <ac:chgData name="Joelle Brehm" userId="a518f54c-6985-42c0-8041-2bb16a414839" providerId="ADAL" clId="{34B1A95F-EFD8-4A1E-A46D-E288C53C0C68}" dt="2023-12-07T17:50:33.002" v="44183"/>
          <ac:spMkLst>
            <pc:docMk/>
            <pc:sldMk cId="1450446987" sldId="264"/>
            <ac:spMk id="119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7T17:50:29.253" v="44132"/>
          <ac:spMkLst>
            <pc:docMk/>
            <pc:sldMk cId="1450446987" sldId="264"/>
            <ac:spMk id="121" creationId="{885FF7C3-223D-B905-F9DB-6393925232A3}"/>
          </ac:spMkLst>
        </pc:spChg>
        <pc:spChg chg="add del mod modVis">
          <ac:chgData name="Joelle Brehm" userId="a518f54c-6985-42c0-8041-2bb16a414839" providerId="ADAL" clId="{34B1A95F-EFD8-4A1E-A46D-E288C53C0C68}" dt="2023-12-07T17:50:33.082" v="44341"/>
          <ac:spMkLst>
            <pc:docMk/>
            <pc:sldMk cId="1450446987" sldId="264"/>
            <ac:spMk id="123" creationId="{03586BE6-74E5-31BF-93F9-930672C34B8F}"/>
          </ac:spMkLst>
        </pc:spChg>
        <pc:spChg chg="mod">
          <ac:chgData name="Joelle Brehm" userId="a518f54c-6985-42c0-8041-2bb16a414839" providerId="ADAL" clId="{34B1A95F-EFD8-4A1E-A46D-E288C53C0C68}" dt="2023-12-07T17:50:42.120" v="44838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34B1A95F-EFD8-4A1E-A46D-E288C53C0C68}" dt="2023-12-07T17:50:42.151" v="44920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34B1A95F-EFD8-4A1E-A46D-E288C53C0C68}" dt="2023-12-07T17:50:42.120" v="44815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34B1A95F-EFD8-4A1E-A46D-E288C53C0C68}" dt="2023-12-07T17:50:42.136" v="44850"/>
          <ac:spMkLst>
            <pc:docMk/>
            <pc:sldMk cId="1450446987" sldId="264"/>
            <ac:spMk id="127" creationId="{2CF9A986-1E95-AE1A-FD0F-F8AD045E4589}"/>
          </ac:spMkLst>
        </pc:spChg>
        <pc:spChg chg="add del mod modVis">
          <ac:chgData name="Joelle Brehm" userId="a518f54c-6985-42c0-8041-2bb16a414839" providerId="ADAL" clId="{34B1A95F-EFD8-4A1E-A46D-E288C53C0C68}" dt="2023-12-07T17:50:36.599" v="44551"/>
          <ac:spMkLst>
            <pc:docMk/>
            <pc:sldMk cId="1450446987" sldId="264"/>
            <ac:spMk id="129" creationId="{1CD64E4F-B53F-7459-3AC6-43AC54DB4BB1}"/>
          </ac:spMkLst>
        </pc:spChg>
        <pc:spChg chg="mod">
          <ac:chgData name="Joelle Brehm" userId="a518f54c-6985-42c0-8041-2bb16a414839" providerId="ADAL" clId="{34B1A95F-EFD8-4A1E-A46D-E288C53C0C68}" dt="2023-12-07T17:50:42.120" v="44827"/>
          <ac:spMkLst>
            <pc:docMk/>
            <pc:sldMk cId="1450446987" sldId="264"/>
            <ac:spMk id="130" creationId="{DB0A6969-9BE6-DD88-9511-7F8FD934DA11}"/>
          </ac:spMkLst>
        </pc:spChg>
        <pc:spChg chg="mod">
          <ac:chgData name="Joelle Brehm" userId="a518f54c-6985-42c0-8041-2bb16a414839" providerId="ADAL" clId="{34B1A95F-EFD8-4A1E-A46D-E288C53C0C68}" dt="2023-12-07T17:50:42.151" v="44932"/>
          <ac:spMkLst>
            <pc:docMk/>
            <pc:sldMk cId="1450446987" sldId="264"/>
            <ac:spMk id="132" creationId="{8E856E10-A2C3-3BD4-C02F-F3D2D343989C}"/>
          </ac:spMkLst>
        </pc:spChg>
        <pc:spChg chg="add del mod modVis">
          <ac:chgData name="Joelle Brehm" userId="a518f54c-6985-42c0-8041-2bb16a414839" providerId="ADAL" clId="{34B1A95F-EFD8-4A1E-A46D-E288C53C0C68}" dt="2023-12-07T17:50:37.196" v="44758"/>
          <ac:spMkLst>
            <pc:docMk/>
            <pc:sldMk cId="1450446987" sldId="264"/>
            <ac:spMk id="133" creationId="{FA64BE21-A2DF-23E2-25D0-012718D63910}"/>
          </ac:spMkLst>
        </pc:spChg>
        <pc:spChg chg="mod">
          <ac:chgData name="Joelle Brehm" userId="a518f54c-6985-42c0-8041-2bb16a414839" providerId="ADAL" clId="{34B1A95F-EFD8-4A1E-A46D-E288C53C0C68}" dt="2023-12-07T17:50:42.136" v="44866"/>
          <ac:spMkLst>
            <pc:docMk/>
            <pc:sldMk cId="1450446987" sldId="264"/>
            <ac:spMk id="134" creationId="{4B21D98E-CBDB-7AFB-94BD-6B7A23D60EC2}"/>
          </ac:spMkLst>
        </pc:spChg>
        <pc:spChg chg="mod">
          <ac:chgData name="Joelle Brehm" userId="a518f54c-6985-42c0-8041-2bb16a414839" providerId="ADAL" clId="{34B1A95F-EFD8-4A1E-A46D-E288C53C0C68}" dt="2023-12-07T17:50:45.146" v="44957"/>
          <ac:spMkLst>
            <pc:docMk/>
            <pc:sldMk cId="1450446987" sldId="264"/>
            <ac:spMk id="135" creationId="{005E4CB4-2A31-DB1F-88CB-2FBBBD0C091B}"/>
          </ac:spMkLst>
        </pc:spChg>
        <pc:spChg chg="mod">
          <ac:chgData name="Joelle Brehm" userId="a518f54c-6985-42c0-8041-2bb16a414839" providerId="ADAL" clId="{34B1A95F-EFD8-4A1E-A46D-E288C53C0C68}" dt="2023-12-07T17:50:42.151" v="44896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34B1A95F-EFD8-4A1E-A46D-E288C53C0C68}" dt="2023-12-07T17:50:42.151" v="44922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34B1A95F-EFD8-4A1E-A46D-E288C53C0C68}" dt="2023-12-07T17:50:42.120" v="44839"/>
          <ac:spMkLst>
            <pc:docMk/>
            <pc:sldMk cId="1450446987" sldId="264"/>
            <ac:spMk id="139" creationId="{90D6C27A-2B60-467B-C5C7-9CCE43964040}"/>
          </ac:spMkLst>
        </pc:spChg>
        <pc:spChg chg="mod">
          <ac:chgData name="Joelle Brehm" userId="a518f54c-6985-42c0-8041-2bb16a414839" providerId="ADAL" clId="{34B1A95F-EFD8-4A1E-A46D-E288C53C0C68}" dt="2023-12-07T17:50:42.136" v="44878"/>
          <ac:spMkLst>
            <pc:docMk/>
            <pc:sldMk cId="1450446987" sldId="264"/>
            <ac:spMk id="141" creationId="{E36F4C8D-EC2C-AF10-792A-6324A776E04A}"/>
          </ac:spMkLst>
        </pc:spChg>
        <pc:spChg chg="mod">
          <ac:chgData name="Joelle Brehm" userId="a518f54c-6985-42c0-8041-2bb16a414839" providerId="ADAL" clId="{34B1A95F-EFD8-4A1E-A46D-E288C53C0C68}" dt="2023-12-07T17:50:42.136" v="44851"/>
          <ac:spMkLst>
            <pc:docMk/>
            <pc:sldMk cId="1450446987" sldId="264"/>
            <ac:spMk id="143" creationId="{8B4F9978-6CBD-ADA8-09AB-786FD14471F8}"/>
          </ac:spMkLst>
        </pc:spChg>
        <pc:spChg chg="mod">
          <ac:chgData name="Joelle Brehm" userId="a518f54c-6985-42c0-8041-2bb16a414839" providerId="ADAL" clId="{34B1A95F-EFD8-4A1E-A46D-E288C53C0C68}" dt="2023-12-07T17:50:45.146" v="44953"/>
          <ac:spMkLst>
            <pc:docMk/>
            <pc:sldMk cId="1450446987" sldId="264"/>
            <ac:spMk id="144" creationId="{5181FAC4-6DC3-041D-2CC1-374608CD8D5F}"/>
          </ac:spMkLst>
        </pc:spChg>
        <pc:spChg chg="mod">
          <ac:chgData name="Joelle Brehm" userId="a518f54c-6985-42c0-8041-2bb16a414839" providerId="ADAL" clId="{34B1A95F-EFD8-4A1E-A46D-E288C53C0C68}" dt="2023-12-07T17:50:42.151" v="44934"/>
          <ac:spMkLst>
            <pc:docMk/>
            <pc:sldMk cId="1450446987" sldId="264"/>
            <ac:spMk id="146" creationId="{6414DE83-49A9-C649-08EC-1FB84B54E2EA}"/>
          </ac:spMkLst>
        </pc:spChg>
        <pc:spChg chg="mod">
          <ac:chgData name="Joelle Brehm" userId="a518f54c-6985-42c0-8041-2bb16a414839" providerId="ADAL" clId="{34B1A95F-EFD8-4A1E-A46D-E288C53C0C68}" dt="2023-12-07T17:50:42.120" v="44814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34B1A95F-EFD8-4A1E-A46D-E288C53C0C68}" dt="2023-12-07T17:50:42.120" v="44826"/>
          <ac:spMkLst>
            <pc:docMk/>
            <pc:sldMk cId="1450446987" sldId="264"/>
            <ac:spMk id="149" creationId="{00B6D0BA-C100-DD7D-65CA-BA24D0FAE499}"/>
          </ac:spMkLst>
        </pc:spChg>
        <pc:spChg chg="del mod">
          <ac:chgData name="Joelle Brehm" userId="a518f54c-6985-42c0-8041-2bb16a414839" providerId="ADAL" clId="{34B1A95F-EFD8-4A1E-A46D-E288C53C0C68}" dt="2023-12-06T20:14:33.823" v="8553"/>
          <ac:spMkLst>
            <pc:docMk/>
            <pc:sldMk cId="1450446987" sldId="264"/>
            <ac:spMk id="152" creationId="{DA6FB46B-FE82-345B-FD6E-877AEF916054}"/>
          </ac:spMkLst>
        </pc:spChg>
        <pc:spChg chg="mod">
          <ac:chgData name="Joelle Brehm" userId="a518f54c-6985-42c0-8041-2bb16a414839" providerId="ADAL" clId="{34B1A95F-EFD8-4A1E-A46D-E288C53C0C68}" dt="2023-12-07T17:50:42.120" v="44841"/>
          <ac:spMkLst>
            <pc:docMk/>
            <pc:sldMk cId="1450446987" sldId="264"/>
            <ac:spMk id="154" creationId="{A61E4EE9-FC3E-9FF2-7995-0C75440B927B}"/>
          </ac:spMkLst>
        </pc:spChg>
        <pc:spChg chg="mod">
          <ac:chgData name="Joelle Brehm" userId="a518f54c-6985-42c0-8041-2bb16a414839" providerId="ADAL" clId="{34B1A95F-EFD8-4A1E-A46D-E288C53C0C68}" dt="2023-12-07T17:50:42.120" v="44840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34B1A95F-EFD8-4A1E-A46D-E288C53C0C68}" dt="2023-12-07T17:50:42.136" v="44852"/>
          <ac:spMkLst>
            <pc:docMk/>
            <pc:sldMk cId="1450446987" sldId="264"/>
            <ac:spMk id="158" creationId="{5B6F19F9-65BC-D043-328A-0D4F88644681}"/>
          </ac:spMkLst>
        </pc:spChg>
        <pc:spChg chg="mod">
          <ac:chgData name="Joelle Brehm" userId="a518f54c-6985-42c0-8041-2bb16a414839" providerId="ADAL" clId="{34B1A95F-EFD8-4A1E-A46D-E288C53C0C68}" dt="2023-12-07T17:50:42.151" v="44895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34B1A95F-EFD8-4A1E-A46D-E288C53C0C68}" dt="2023-12-07T17:50:45.162" v="44969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34B1A95F-EFD8-4A1E-A46D-E288C53C0C68}" dt="2023-12-07T17:50:42.136" v="44853"/>
          <ac:spMkLst>
            <pc:docMk/>
            <pc:sldMk cId="1450446987" sldId="264"/>
            <ac:spMk id="163" creationId="{B4BF5702-9B69-493D-938D-23FA87022A8B}"/>
          </ac:spMkLst>
        </pc:spChg>
        <pc:spChg chg="del mod">
          <ac:chgData name="Joelle Brehm" userId="a518f54c-6985-42c0-8041-2bb16a414839" providerId="ADAL" clId="{34B1A95F-EFD8-4A1E-A46D-E288C53C0C68}" dt="2023-12-07T17:50:37.096" v="44601"/>
          <ac:spMkLst>
            <pc:docMk/>
            <pc:sldMk cId="1450446987" sldId="264"/>
            <ac:spMk id="16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7:50:42.151" v="44921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34B1A95F-EFD8-4A1E-A46D-E288C53C0C68}" dt="2023-12-07T17:50:42.151" v="44933"/>
          <ac:spMkLst>
            <pc:docMk/>
            <pc:sldMk cId="1450446987" sldId="264"/>
            <ac:spMk id="167" creationId="{F4E87B54-979D-3FF4-CD65-15E354C7960B}"/>
          </ac:spMkLst>
        </pc:spChg>
        <pc:spChg chg="mod">
          <ac:chgData name="Joelle Brehm" userId="a518f54c-6985-42c0-8041-2bb16a414839" providerId="ADAL" clId="{34B1A95F-EFD8-4A1E-A46D-E288C53C0C68}" dt="2023-12-07T17:50:42.151" v="44925"/>
          <ac:spMkLst>
            <pc:docMk/>
            <pc:sldMk cId="1450446987" sldId="264"/>
            <ac:spMk id="183" creationId="{AF9B10EE-106F-F48F-396B-6E0A5755F50A}"/>
          </ac:spMkLst>
        </pc:spChg>
        <pc:spChg chg="del mod">
          <ac:chgData name="Joelle Brehm" userId="a518f54c-6985-42c0-8041-2bb16a414839" providerId="ADAL" clId="{34B1A95F-EFD8-4A1E-A46D-E288C53C0C68}" dt="2023-12-06T20:14:55.298" v="9282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34B1A95F-EFD8-4A1E-A46D-E288C53C0C68}" dt="2023-12-07T17:50:42.120" v="44832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34B1A95F-EFD8-4A1E-A46D-E288C53C0C68}" dt="2023-12-07T17:50:42.136" v="44844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34B1A95F-EFD8-4A1E-A46D-E288C53C0C68}" dt="2023-12-07T17:50:42.151" v="44910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34B1A95F-EFD8-4A1E-A46D-E288C53C0C68}" dt="2023-12-07T17:50:42.151" v="44938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34B1A95F-EFD8-4A1E-A46D-E288C53C0C68}" dt="2023-12-07T17:50:45.178" v="44973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49:45.481" v="41770"/>
          <ac:graphicFrameMkLst>
            <pc:docMk/>
            <pc:sldMk cId="1450446987" sldId="264"/>
            <ac:graphicFrameMk id="9" creationId="{A8FC93CA-9223-C65C-82BF-35987F6E6387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4:03.311" v="7157"/>
          <ac:graphicFrameMkLst>
            <pc:docMk/>
            <pc:sldMk cId="1450446987" sldId="264"/>
            <ac:graphicFrameMk id="10" creationId="{D1767890-A283-670E-B324-B7ACC73D7E1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49:46.925" v="41954"/>
          <ac:graphicFrameMkLst>
            <pc:docMk/>
            <pc:sldMk cId="1450446987" sldId="264"/>
            <ac:graphicFrameMk id="14" creationId="{144B2E62-17EA-E05C-788B-2E6C98A272C9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4:10.070" v="7377"/>
          <ac:graphicFrameMkLst>
            <pc:docMk/>
            <pc:sldMk cId="1450446987" sldId="264"/>
            <ac:graphicFrameMk id="14" creationId="{F2CE8C56-6E81-F887-BCE2-14A41D95A0D7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7:50:42.136" v="44857"/>
          <ac:graphicFrameMkLst>
            <pc:docMk/>
            <pc:sldMk cId="1450446987" sldId="264"/>
            <ac:graphicFrameMk id="19" creationId="{FDC8FA5E-9D88-A814-28B7-6DB0C9798BC1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49:48.501" v="42208"/>
          <ac:graphicFrameMkLst>
            <pc:docMk/>
            <pc:sldMk cId="1450446987" sldId="264"/>
            <ac:graphicFrameMk id="20" creationId="{A91505AB-870A-CD02-38D1-CCDA6DC395F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4:19.743" v="7905"/>
          <ac:graphicFrameMkLst>
            <pc:docMk/>
            <pc:sldMk cId="1450446987" sldId="264"/>
            <ac:graphicFrameMk id="28" creationId="{4804A6ED-E2E1-9EA4-CF6F-8EB7F89CF007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49:52.970" v="42388"/>
          <ac:graphicFrameMkLst>
            <pc:docMk/>
            <pc:sldMk cId="1450446987" sldId="264"/>
            <ac:graphicFrameMk id="29" creationId="{D6AA8E7C-E17F-F8DA-620A-50E392645DC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49:55.786" v="42595"/>
          <ac:graphicFrameMkLst>
            <pc:docMk/>
            <pc:sldMk cId="1450446987" sldId="264"/>
            <ac:graphicFrameMk id="32" creationId="{0D252BB0-E922-F256-61BC-8E44FA7C13DA}"/>
          </ac:graphicFrameMkLst>
        </pc:graphicFrameChg>
        <pc:graphicFrameChg chg="del">
          <ac:chgData name="Joelle Brehm" userId="a518f54c-6985-42c0-8041-2bb16a414839" providerId="ADAL" clId="{34B1A95F-EFD8-4A1E-A46D-E288C53C0C68}" dt="2023-12-06T20:14:01.733" v="6927"/>
          <ac:graphicFrameMkLst>
            <pc:docMk/>
            <pc:sldMk cId="1450446987" sldId="264"/>
            <ac:graphicFrameMk id="33" creationId="{145BB362-0CED-62F3-6D13-71262579EEC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4:23.578" v="8125"/>
          <ac:graphicFrameMkLst>
            <pc:docMk/>
            <pc:sldMk cId="1450446987" sldId="264"/>
            <ac:graphicFrameMk id="48" creationId="{5056D487-8785-E8F2-2F5C-7091CC6CC7E1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49:58.446" v="42783"/>
          <ac:graphicFrameMkLst>
            <pc:docMk/>
            <pc:sldMk cId="1450446987" sldId="264"/>
            <ac:graphicFrameMk id="48" creationId="{D929C9CE-6CAB-92AB-6428-AC758450C948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7:50:42.120" v="44805"/>
          <ac:graphicFrameMkLst>
            <pc:docMk/>
            <pc:sldMk cId="1450446987" sldId="264"/>
            <ac:graphicFrameMk id="66" creationId="{55191657-7484-34FC-47F9-578C0CBE234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02.940" v="42970"/>
          <ac:graphicFrameMkLst>
            <pc:docMk/>
            <pc:sldMk cId="1450446987" sldId="264"/>
            <ac:graphicFrameMk id="71" creationId="{3924C7F3-2983-1D7C-D17F-5864EB5E9182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0:14:17.549" v="7653"/>
          <ac:graphicFrameMkLst>
            <pc:docMk/>
            <pc:sldMk cId="1450446987" sldId="264"/>
            <ac:graphicFrameMk id="71" creationId="{60BF22D4-46D2-ACEB-3518-267369F2968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07.803" v="43180"/>
          <ac:graphicFrameMkLst>
            <pc:docMk/>
            <pc:sldMk cId="1450446987" sldId="264"/>
            <ac:graphicFrameMk id="74" creationId="{7EE979BC-028A-18CC-8F15-9124CCB87249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4:33.936" v="8627"/>
          <ac:graphicFrameMkLst>
            <pc:docMk/>
            <pc:sldMk cId="1450446987" sldId="264"/>
            <ac:graphicFrameMk id="75" creationId="{2EB5B151-ACD2-B3F9-FFEB-03287A8DB13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4:45.686" v="8848"/>
          <ac:graphicFrameMkLst>
            <pc:docMk/>
            <pc:sldMk cId="1450446987" sldId="264"/>
            <ac:graphicFrameMk id="78" creationId="{74259DCD-E99D-9C25-A971-ECABE0BE680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15.084" v="43374"/>
          <ac:graphicFrameMkLst>
            <pc:docMk/>
            <pc:sldMk cId="1450446987" sldId="264"/>
            <ac:graphicFrameMk id="82" creationId="{4214D7C1-66F8-69D5-6EDD-35F0D15AC559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7:50:42.151" v="44912"/>
          <ac:graphicFrameMkLst>
            <pc:docMk/>
            <pc:sldMk cId="1450446987" sldId="264"/>
            <ac:graphicFrameMk id="88" creationId="{FE38E7E2-D915-7800-FFEB-7B2E734952E2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0:14:31.189" v="8398"/>
          <ac:graphicFrameMkLst>
            <pc:docMk/>
            <pc:sldMk cId="1450446987" sldId="264"/>
            <ac:graphicFrameMk id="92" creationId="{74ECDF7E-033E-B260-7B68-1E5F83BD2BE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16.652" v="43568"/>
          <ac:graphicFrameMkLst>
            <pc:docMk/>
            <pc:sldMk cId="1450446987" sldId="264"/>
            <ac:graphicFrameMk id="100" creationId="{FDDF01AE-2AA2-7F4F-32C8-9B1314E29C0E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4:55.390" v="9356"/>
          <ac:graphicFrameMkLst>
            <pc:docMk/>
            <pc:sldMk cId="1450446987" sldId="264"/>
            <ac:graphicFrameMk id="101" creationId="{4276F032-4B09-8F60-716F-D46165DAE7A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25.739" v="43779"/>
          <ac:graphicFrameMkLst>
            <pc:docMk/>
            <pc:sldMk cId="1450446987" sldId="264"/>
            <ac:graphicFrameMk id="101" creationId="{A3E1171D-EFCB-1106-A923-D768060FC60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15:05.463" v="9577"/>
          <ac:graphicFrameMkLst>
            <pc:docMk/>
            <pc:sldMk cId="1450446987" sldId="264"/>
            <ac:graphicFrameMk id="103" creationId="{8379F071-75D2-FA78-6CFA-48E5AB8041C3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7:50:42.120" v="44831"/>
          <ac:graphicFrameMkLst>
            <pc:docMk/>
            <pc:sldMk cId="1450446987" sldId="264"/>
            <ac:graphicFrameMk id="114" creationId="{FEAB63EC-B126-4509-2080-BB92708FEBC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29.168" v="43977"/>
          <ac:graphicFrameMkLst>
            <pc:docMk/>
            <pc:sldMk cId="1450446987" sldId="264"/>
            <ac:graphicFrameMk id="120" creationId="{A3A5870F-E78D-68ED-562C-C113A4D2002E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0:14:53.823" v="9125"/>
          <ac:graphicFrameMkLst>
            <pc:docMk/>
            <pc:sldMk cId="1450446987" sldId="264"/>
            <ac:graphicFrameMk id="121" creationId="{CD347950-ECB4-09B4-D5D3-1679A5148311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33.017" v="44187"/>
          <ac:graphicFrameMkLst>
            <pc:docMk/>
            <pc:sldMk cId="1450446987" sldId="264"/>
            <ac:graphicFrameMk id="122" creationId="{786CD234-0CD9-2274-971B-831F7593D09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36.511" v="44397"/>
          <ac:graphicFrameMkLst>
            <pc:docMk/>
            <pc:sldMk cId="1450446987" sldId="264"/>
            <ac:graphicFrameMk id="128" creationId="{1513F367-1D84-5DA9-A051-F95FA0287AE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37.096" v="44605"/>
          <ac:graphicFrameMkLst>
            <pc:docMk/>
            <pc:sldMk cId="1450446987" sldId="264"/>
            <ac:graphicFrameMk id="131" creationId="{734D7F5D-D475-A31B-5781-136AAC521F8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7:50:42.104" v="44789"/>
          <ac:graphicFrameMkLst>
            <pc:docMk/>
            <pc:sldMk cId="1450446987" sldId="264"/>
            <ac:graphicFrameMk id="137" creationId="{CAA24CD6-293A-6107-BD49-68650D68CDAD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7:50:42.136" v="44893"/>
          <ac:graphicFrameMkLst>
            <pc:docMk/>
            <pc:sldMk cId="1450446987" sldId="264"/>
            <ac:graphicFrameMk id="140" creationId="{0111BDA7-A013-5282-55BC-E7338FE1693F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7:49:42.709" v="41565"/>
          <ac:graphicFrameMkLst>
            <pc:docMk/>
            <pc:sldMk cId="1450446987" sldId="264"/>
            <ac:graphicFrameMk id="175" creationId="{53C772D1-BF37-A1E2-8FD7-FEB010A88694}"/>
          </ac:graphicFrameMkLst>
        </pc:graphicFrameChg>
        <pc:picChg chg="mod ord">
          <ac:chgData name="Joelle Brehm" userId="a518f54c-6985-42c0-8041-2bb16a414839" providerId="ADAL" clId="{34B1A95F-EFD8-4A1E-A46D-E288C53C0C68}" dt="2023-12-07T17:50:42.120" v="44803"/>
          <ac:picMkLst>
            <pc:docMk/>
            <pc:sldMk cId="1450446987" sldId="264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34B1A95F-EFD8-4A1E-A46D-E288C53C0C68}" dt="2023-12-06T20:15:38.565" v="9888" actId="478"/>
          <ac:picMkLst>
            <pc:docMk/>
            <pc:sldMk cId="1450446987" sldId="264"/>
            <ac:picMk id="6" creationId="{E557CB13-36FB-7632-2EEA-C49250FED1FD}"/>
          </ac:picMkLst>
        </pc:picChg>
        <pc:picChg chg="add mod ord">
          <ac:chgData name="Joelle Brehm" userId="a518f54c-6985-42c0-8041-2bb16a414839" providerId="ADAL" clId="{34B1A95F-EFD8-4A1E-A46D-E288C53C0C68}" dt="2023-12-07T17:50:42.120" v="44797"/>
          <ac:picMkLst>
            <pc:docMk/>
            <pc:sldMk cId="1450446987" sldId="264"/>
            <ac:picMk id="117" creationId="{85D5A758-2A79-B137-9AFE-B52FFE445088}"/>
          </ac:picMkLst>
        </pc:picChg>
      </pc:sldChg>
      <pc:sldChg chg="addSp delSp modSp mod">
        <pc:chgData name="Joelle Brehm" userId="a518f54c-6985-42c0-8041-2bb16a414839" providerId="ADAL" clId="{34B1A95F-EFD8-4A1E-A46D-E288C53C0C68}" dt="2023-12-06T21:43:59.695" v="14424"/>
        <pc:sldMkLst>
          <pc:docMk/>
          <pc:sldMk cId="3436037945" sldId="265"/>
        </pc:sldMkLst>
        <pc:spChg chg="mod ord">
          <ac:chgData name="Joelle Brehm" userId="a518f54c-6985-42c0-8041-2bb16a414839" providerId="ADAL" clId="{34B1A95F-EFD8-4A1E-A46D-E288C53C0C68}" dt="2023-12-06T21:43:59.659" v="14418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34B1A95F-EFD8-4A1E-A46D-E288C53C0C68}" dt="2023-12-06T21:43:14.461" v="13218" actId="478"/>
          <ac:spMkLst>
            <pc:docMk/>
            <pc:sldMk cId="3436037945" sldId="265"/>
            <ac:spMk id="3" creationId="{0CE697FC-F572-1667-DDC1-24B0EF19EAA7}"/>
          </ac:spMkLst>
        </pc:spChg>
        <pc:spChg chg="add del mod modVis">
          <ac:chgData name="Joelle Brehm" userId="a518f54c-6985-42c0-8041-2bb16a414839" providerId="ADAL" clId="{34B1A95F-EFD8-4A1E-A46D-E288C53C0C68}" dt="2023-12-06T21:43:26.519" v="13433"/>
          <ac:spMkLst>
            <pc:docMk/>
            <pc:sldMk cId="3436037945" sldId="265"/>
            <ac:spMk id="5" creationId="{A3F87C62-D200-5537-F4AE-81C2486BDF00}"/>
          </ac:spMkLst>
        </pc:spChg>
        <pc:spChg chg="mod ord">
          <ac:chgData name="Joelle Brehm" userId="a518f54c-6985-42c0-8041-2bb16a414839" providerId="ADAL" clId="{34B1A95F-EFD8-4A1E-A46D-E288C53C0C68}" dt="2023-12-06T21:43:59.602" v="14353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43:59.629" v="14383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34B1A95F-EFD8-4A1E-A46D-E288C53C0C68}" dt="2023-12-06T21:43:59.612" v="14364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43:59.608" v="14360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43:59.609" v="14361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43:59.607" v="14358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43:59.608" v="14359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43:59.610" v="14362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43:59.611" v="14363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43:59.612" v="14365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43:59.613" v="14366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43:59.614" v="14367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43:59.615" v="14368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43:59.616" v="14369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43:59.618" v="14371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43:59.620" v="14372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43:59.622" v="14374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43:59.621" v="14373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43:59.624" v="14376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43:59.624" v="14377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43:59.623" v="14375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43:59.626" v="14379"/>
          <ac:spMkLst>
            <pc:docMk/>
            <pc:sldMk cId="3436037945" sldId="265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43:59.638" v="14392"/>
          <ac:spMkLst>
            <pc:docMk/>
            <pc:sldMk cId="3436037945" sldId="265"/>
            <ac:spMk id="33" creationId="{88A51C86-CC1A-E0E0-4190-57AF874D78E8}"/>
          </ac:spMkLst>
        </pc:spChg>
        <pc:spChg chg="add mod replST">
          <ac:chgData name="Joelle Brehm" userId="a518f54c-6985-42c0-8041-2bb16a414839" providerId="ADAL" clId="{34B1A95F-EFD8-4A1E-A46D-E288C53C0C68}" dt="2023-12-06T21:43:59.639" v="14393"/>
          <ac:spMkLst>
            <pc:docMk/>
            <pc:sldMk cId="3436037945" sldId="265"/>
            <ac:spMk id="34" creationId="{553B3276-AAC9-7700-1361-C4731F1BB052}"/>
          </ac:spMkLst>
        </pc:spChg>
        <pc:spChg chg="del mod">
          <ac:chgData name="Joelle Brehm" userId="a518f54c-6985-42c0-8041-2bb16a414839" providerId="ADAL" clId="{34B1A95F-EFD8-4A1E-A46D-E288C53C0C68}" dt="2023-12-06T21:43:50.236" v="14033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34B1A95F-EFD8-4A1E-A46D-E288C53C0C68}" dt="2023-12-06T21:43:59.628" v="14382"/>
          <ac:spMkLst>
            <pc:docMk/>
            <pc:sldMk cId="3436037945" sldId="265"/>
            <ac:spMk id="36" creationId="{0BBAC582-1932-357A-D778-84237C43CF05}"/>
          </ac:spMkLst>
        </pc:spChg>
        <pc:spChg chg="add del mod modVis">
          <ac:chgData name="Joelle Brehm" userId="a518f54c-6985-42c0-8041-2bb16a414839" providerId="ADAL" clId="{34B1A95F-EFD8-4A1E-A46D-E288C53C0C68}" dt="2023-12-06T21:43:46.242" v="13892"/>
          <ac:spMkLst>
            <pc:docMk/>
            <pc:sldMk cId="3436037945" sldId="265"/>
            <ac:spMk id="37" creationId="{75E05767-DB99-ACDA-2AD9-2E25A99D5193}"/>
          </ac:spMkLst>
        </pc:spChg>
        <pc:spChg chg="mod">
          <ac:chgData name="Joelle Brehm" userId="a518f54c-6985-42c0-8041-2bb16a414839" providerId="ADAL" clId="{34B1A95F-EFD8-4A1E-A46D-E288C53C0C68}" dt="2023-12-06T21:43:59.630" v="14384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34B1A95F-EFD8-4A1E-A46D-E288C53C0C68}" dt="2023-12-06T21:43:59.631" v="14385"/>
          <ac:spMkLst>
            <pc:docMk/>
            <pc:sldMk cId="3436037945" sldId="265"/>
            <ac:spMk id="39" creationId="{D3B6923F-EF2F-5CB1-1EC9-23DAFECD1AD3}"/>
          </ac:spMkLst>
        </pc:spChg>
        <pc:spChg chg="mod">
          <ac:chgData name="Joelle Brehm" userId="a518f54c-6985-42c0-8041-2bb16a414839" providerId="ADAL" clId="{34B1A95F-EFD8-4A1E-A46D-E288C53C0C68}" dt="2023-12-06T21:43:59.636" v="14389"/>
          <ac:spMkLst>
            <pc:docMk/>
            <pc:sldMk cId="3436037945" sldId="265"/>
            <ac:spMk id="41" creationId="{16B778E2-8712-DA55-C5AD-4A641096111C}"/>
          </ac:spMkLst>
        </pc:spChg>
        <pc:spChg chg="mod">
          <ac:chgData name="Joelle Brehm" userId="a518f54c-6985-42c0-8041-2bb16a414839" providerId="ADAL" clId="{34B1A95F-EFD8-4A1E-A46D-E288C53C0C68}" dt="2023-12-06T21:43:59.632" v="14386"/>
          <ac:spMkLst>
            <pc:docMk/>
            <pc:sldMk cId="3436037945" sldId="265"/>
            <ac:spMk id="42" creationId="{C3432236-FD50-8E13-A648-6A2FCA3BBBAE}"/>
          </ac:spMkLst>
        </pc:spChg>
        <pc:spChg chg="mod">
          <ac:chgData name="Joelle Brehm" userId="a518f54c-6985-42c0-8041-2bb16a414839" providerId="ADAL" clId="{34B1A95F-EFD8-4A1E-A46D-E288C53C0C68}" dt="2023-12-06T21:43:59.637" v="14390"/>
          <ac:spMkLst>
            <pc:docMk/>
            <pc:sldMk cId="3436037945" sldId="265"/>
            <ac:spMk id="43" creationId="{75C463B6-6FC6-0A00-1C57-A6F7C4BD145A}"/>
          </ac:spMkLst>
        </pc:spChg>
        <pc:spChg chg="mod">
          <ac:chgData name="Joelle Brehm" userId="a518f54c-6985-42c0-8041-2bb16a414839" providerId="ADAL" clId="{34B1A95F-EFD8-4A1E-A46D-E288C53C0C68}" dt="2023-12-06T21:43:59.633" v="14387"/>
          <ac:spMkLst>
            <pc:docMk/>
            <pc:sldMk cId="3436037945" sldId="265"/>
            <ac:spMk id="44" creationId="{16F84182-CECA-3CD8-7D89-52B39ECEBFE4}"/>
          </ac:spMkLst>
        </pc:spChg>
        <pc:spChg chg="mod">
          <ac:chgData name="Joelle Brehm" userId="a518f54c-6985-42c0-8041-2bb16a414839" providerId="ADAL" clId="{34B1A95F-EFD8-4A1E-A46D-E288C53C0C68}" dt="2023-12-06T21:43:59.637" v="14391"/>
          <ac:spMkLst>
            <pc:docMk/>
            <pc:sldMk cId="3436037945" sldId="265"/>
            <ac:spMk id="45" creationId="{790AE0EA-D2B0-6BC1-21FA-449B7C18A555}"/>
          </ac:spMkLst>
        </pc:spChg>
        <pc:spChg chg="add del mod modVis">
          <ac:chgData name="Joelle Brehm" userId="a518f54c-6985-42c0-8041-2bb16a414839" providerId="ADAL" clId="{34B1A95F-EFD8-4A1E-A46D-E288C53C0C68}" dt="2023-12-06T21:43:48.558" v="14030"/>
          <ac:spMkLst>
            <pc:docMk/>
            <pc:sldMk cId="3436037945" sldId="265"/>
            <ac:spMk id="46" creationId="{93F7631D-CB2B-1AB4-A704-AC21C3990123}"/>
          </ac:spMkLst>
        </pc:spChg>
        <pc:spChg chg="mod">
          <ac:chgData name="Joelle Brehm" userId="a518f54c-6985-42c0-8041-2bb16a414839" providerId="ADAL" clId="{34B1A95F-EFD8-4A1E-A46D-E288C53C0C68}" dt="2023-12-06T21:43:59.634" v="14388"/>
          <ac:spMkLst>
            <pc:docMk/>
            <pc:sldMk cId="3436037945" sldId="265"/>
            <ac:spMk id="47" creationId="{DA382430-2E3A-48A8-BD50-8227787BBF7B}"/>
          </ac:spMkLst>
        </pc:spChg>
        <pc:spChg chg="add del mod modVis">
          <ac:chgData name="Joelle Brehm" userId="a518f54c-6985-42c0-8041-2bb16a414839" providerId="ADAL" clId="{34B1A95F-EFD8-4A1E-A46D-E288C53C0C68}" dt="2023-12-06T21:43:50.646" v="14210"/>
          <ac:spMkLst>
            <pc:docMk/>
            <pc:sldMk cId="3436037945" sldId="265"/>
            <ac:spMk id="49" creationId="{D64849AE-1815-1877-345F-03FA4A59EA2A}"/>
          </ac:spMkLst>
        </pc:spChg>
        <pc:spChg chg="add del mod modVis">
          <ac:chgData name="Joelle Brehm" userId="a518f54c-6985-42c0-8041-2bb16a414839" providerId="ADAL" clId="{34B1A95F-EFD8-4A1E-A46D-E288C53C0C68}" dt="2023-12-06T21:43:59.662" v="14422"/>
          <ac:spMkLst>
            <pc:docMk/>
            <pc:sldMk cId="3436037945" sldId="265"/>
            <ac:spMk id="52" creationId="{648752DD-90F2-6857-E94C-7C8BD1B69E47}"/>
          </ac:spMkLst>
        </pc:spChg>
        <pc:spChg chg="mod ord">
          <ac:chgData name="Joelle Brehm" userId="a518f54c-6985-42c0-8041-2bb16a414839" providerId="ADAL" clId="{34B1A95F-EFD8-4A1E-A46D-E288C53C0C68}" dt="2023-12-06T21:43:59.641" v="14395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43:59.642" v="14397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1:43:59.645" v="14399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43:59.646" v="14401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43:59.647" v="14403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43:59.649" v="14405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34B1A95F-EFD8-4A1E-A46D-E288C53C0C68}" dt="2023-12-06T21:43:59.657" v="14416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34B1A95F-EFD8-4A1E-A46D-E288C53C0C68}" dt="2023-12-06T21:43:59.651" v="14408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59.651" v="14409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59.652" v="14410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59.653" v="14411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43:59.653" v="14412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43:59.695" v="14424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3:59.605" v="14357"/>
          <ac:graphicFrameMkLst>
            <pc:docMk/>
            <pc:sldMk cId="3436037945" sldId="265"/>
            <ac:graphicFrameMk id="8" creationId="{ACE94562-818F-4958-23A9-932AB581B77D}"/>
          </ac:graphicFrameMkLst>
        </pc:graphicFrameChg>
        <pc:graphicFrameChg chg="del">
          <ac:chgData name="Joelle Brehm" userId="a518f54c-6985-42c0-8041-2bb16a414839" providerId="ADAL" clId="{34B1A95F-EFD8-4A1E-A46D-E288C53C0C68}" dt="2023-12-06T21:43:26.377" v="13350"/>
          <ac:graphicFrameMkLst>
            <pc:docMk/>
            <pc:sldMk cId="3436037945" sldId="265"/>
            <ac:graphicFrameMk id="31" creationId="{AE901E4E-281D-A096-8C45-0872674ED09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3:48.395" v="13950"/>
          <ac:graphicFrameMkLst>
            <pc:docMk/>
            <pc:sldMk cId="3436037945" sldId="265"/>
            <ac:graphicFrameMk id="40" creationId="{7626131B-25C6-6261-300E-AE44556F85FB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3:50.481" v="14131"/>
          <ac:graphicFrameMkLst>
            <pc:docMk/>
            <pc:sldMk cId="3436037945" sldId="265"/>
            <ac:graphicFrameMk id="48" creationId="{A79969BB-41EE-A251-98AF-7C523C19106D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3:59.627" v="14381"/>
          <ac:graphicFrameMkLst>
            <pc:docMk/>
            <pc:sldMk cId="3436037945" sldId="265"/>
            <ac:graphicFrameMk id="50" creationId="{C2F7D2E6-EA0A-422F-743A-C08052F89BBD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3:46.098" v="13799"/>
          <ac:graphicFrameMkLst>
            <pc:docMk/>
            <pc:sldMk cId="3436037945" sldId="265"/>
            <ac:graphicFrameMk id="51" creationId="{4D67B10E-CF4A-13CA-B53A-92A2BAFB8AF7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3:59.650" v="14407"/>
          <ac:graphicFrameMkLst>
            <pc:docMk/>
            <pc:sldMk cId="3436037945" sldId="265"/>
            <ac:graphicFrameMk id="53" creationId="{D245D564-2144-6D26-22C5-FD5E79914F8A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3:59.526" v="14343"/>
          <ac:graphicFrameMkLst>
            <pc:docMk/>
            <pc:sldMk cId="3436037945" sldId="265"/>
            <ac:graphicFrameMk id="55" creationId="{C94C8A2F-0C1B-9730-7F58-63D1E9E16E06}"/>
          </ac:graphicFrameMkLst>
        </pc:graphicFrameChg>
        <pc:picChg chg="add mod ord">
          <ac:chgData name="Joelle Brehm" userId="a518f54c-6985-42c0-8041-2bb16a414839" providerId="ADAL" clId="{34B1A95F-EFD8-4A1E-A46D-E288C53C0C68}" dt="2023-12-06T21:43:59.601" v="14351"/>
          <ac:picMkLst>
            <pc:docMk/>
            <pc:sldMk cId="3436037945" sldId="265"/>
            <ac:picMk id="10" creationId="{022F0A71-BBEC-127F-524E-793DDC1DD66A}"/>
          </ac:picMkLst>
        </pc:picChg>
        <pc:picChg chg="del mod ord">
          <ac:chgData name="Joelle Brehm" userId="a518f54c-6985-42c0-8041-2bb16a414839" providerId="ADAL" clId="{34B1A95F-EFD8-4A1E-A46D-E288C53C0C68}" dt="2023-12-06T21:43:40.156" v="13516" actId="478"/>
          <ac:picMkLst>
            <pc:docMk/>
            <pc:sldMk cId="3436037945" sldId="265"/>
            <ac:picMk id="32" creationId="{D5797C76-56AC-6F1B-5D58-2453D2899F33}"/>
          </ac:picMkLst>
        </pc:picChg>
        <pc:picChg chg="mod ord">
          <ac:chgData name="Joelle Brehm" userId="a518f54c-6985-42c0-8041-2bb16a414839" providerId="ADAL" clId="{34B1A95F-EFD8-4A1E-A46D-E288C53C0C68}" dt="2023-12-06T21:43:59.655" v="14414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43:59.604" v="14355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43:10.074" v="13217"/>
        <pc:sldMkLst>
          <pc:docMk/>
          <pc:sldMk cId="2057745716" sldId="266"/>
        </pc:sldMkLst>
        <pc:spChg chg="mod ord">
          <ac:chgData name="Joelle Brehm" userId="a518f54c-6985-42c0-8041-2bb16a414839" providerId="ADAL" clId="{34B1A95F-EFD8-4A1E-A46D-E288C53C0C68}" dt="2023-12-06T21:43:10.022" v="13211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34B1A95F-EFD8-4A1E-A46D-E288C53C0C68}" dt="2023-12-06T21:41:03.329" v="11669" actId="478"/>
          <ac:spMkLst>
            <pc:docMk/>
            <pc:sldMk cId="2057745716" sldId="266"/>
            <ac:spMk id="5" creationId="{3E710F2D-6FCE-15DE-AB11-F07DEC3F55A4}"/>
          </ac:spMkLst>
        </pc:spChg>
        <pc:spChg chg="mod ord">
          <ac:chgData name="Joelle Brehm" userId="a518f54c-6985-42c0-8041-2bb16a414839" providerId="ADAL" clId="{34B1A95F-EFD8-4A1E-A46D-E288C53C0C68}" dt="2023-12-06T21:43:09.912" v="13129"/>
          <ac:spMkLst>
            <pc:docMk/>
            <pc:sldMk cId="2057745716" sldId="26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34B1A95F-EFD8-4A1E-A46D-E288C53C0C68}" dt="2023-12-06T21:41:15.896" v="11918"/>
          <ac:spMkLst>
            <pc:docMk/>
            <pc:sldMk cId="2057745716" sldId="266"/>
            <ac:spMk id="9" creationId="{D99B8398-D852-5584-7DDC-58525BAC909A}"/>
          </ac:spMkLst>
        </pc:spChg>
        <pc:spChg chg="mod">
          <ac:chgData name="Joelle Brehm" userId="a518f54c-6985-42c0-8041-2bb16a414839" providerId="ADAL" clId="{34B1A95F-EFD8-4A1E-A46D-E288C53C0C68}" dt="2023-12-06T21:43:09.963" v="13164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34B1A95F-EFD8-4A1E-A46D-E288C53C0C68}" dt="2023-12-06T21:43:09.928" v="13140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43:09.922" v="13136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43:09.923" v="13137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43:09.919" v="13134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43:09.920" v="13135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43:09.925" v="13138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43:09.926" v="13139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43:09.929" v="13141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43:09.931" v="13142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43:09.933" v="13143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43:09.934" v="13144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43:09.935" v="13145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43:09.937" v="13147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43:09.939" v="13148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43:09.943" v="13150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43:09.941" v="13149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43:09.946" v="13152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43:09.948" v="13153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43:09.944" v="13151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43:09.950" v="13155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43:09.975" v="13172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34B1A95F-EFD8-4A1E-A46D-E288C53C0C68}" dt="2023-12-06T21:43:09.992" v="13184"/>
          <ac:spMkLst>
            <pc:docMk/>
            <pc:sldMk cId="2057745716" sldId="266"/>
            <ac:spMk id="33" creationId="{4776A783-F061-E03D-5F78-B2DE3144370E}"/>
          </ac:spMkLst>
        </pc:spChg>
        <pc:spChg chg="add mod replST">
          <ac:chgData name="Joelle Brehm" userId="a518f54c-6985-42c0-8041-2bb16a414839" providerId="ADAL" clId="{34B1A95F-EFD8-4A1E-A46D-E288C53C0C68}" dt="2023-12-06T21:43:09.994" v="13185"/>
          <ac:spMkLst>
            <pc:docMk/>
            <pc:sldMk cId="2057745716" sldId="266"/>
            <ac:spMk id="35" creationId="{07FC4FF1-C9FC-C6C2-5A5D-6EECA837BD15}"/>
          </ac:spMkLst>
        </pc:spChg>
        <pc:spChg chg="add del mod modVis">
          <ac:chgData name="Joelle Brehm" userId="a518f54c-6985-42c0-8041-2bb16a414839" providerId="ADAL" clId="{34B1A95F-EFD8-4A1E-A46D-E288C53C0C68}" dt="2023-12-06T21:42:49.207" v="12374"/>
          <ac:spMkLst>
            <pc:docMk/>
            <pc:sldMk cId="2057745716" sldId="266"/>
            <ac:spMk id="36" creationId="{2B95FC46-B3FF-BEB6-A76C-D403EDB89827}"/>
          </ac:spMkLst>
        </pc:spChg>
        <pc:spChg chg="del mod">
          <ac:chgData name="Joelle Brehm" userId="a518f54c-6985-42c0-8041-2bb16a414839" providerId="ADAL" clId="{34B1A95F-EFD8-4A1E-A46D-E288C53C0C68}" dt="2023-12-06T21:42:53.511" v="12584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34B1A95F-EFD8-4A1E-A46D-E288C53C0C68}" dt="2023-12-06T21:43:09.962" v="13163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34B1A95F-EFD8-4A1E-A46D-E288C53C0C68}" dt="2023-12-06T21:43:09.972" v="13170"/>
          <ac:spMkLst>
            <pc:docMk/>
            <pc:sldMk cId="2057745716" sldId="266"/>
            <ac:spMk id="40" creationId="{3C36A0E2-F6F2-5165-E7DD-B1D9CD0FFA1F}"/>
          </ac:spMkLst>
        </pc:spChg>
        <pc:spChg chg="del mod">
          <ac:chgData name="Joelle Brehm" userId="a518f54c-6985-42c0-8041-2bb16a414839" providerId="ADAL" clId="{34B1A95F-EFD8-4A1E-A46D-E288C53C0C68}" dt="2023-12-06T21:42:53.509" v="12583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34B1A95F-EFD8-4A1E-A46D-E288C53C0C68}" dt="2023-12-06T21:43:09.966" v="13166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34B1A95F-EFD8-4A1E-A46D-E288C53C0C68}" dt="2023-12-06T21:43:09.969" v="13168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34B1A95F-EFD8-4A1E-A46D-E288C53C0C68}" dt="2023-12-06T21:43:09.970" v="13169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34B1A95F-EFD8-4A1E-A46D-E288C53C0C68}" dt="2023-12-06T21:43:09.965" v="13165"/>
          <ac:spMkLst>
            <pc:docMk/>
            <pc:sldMk cId="2057745716" sldId="266"/>
            <ac:spMk id="45" creationId="{C945C7C2-70DE-49F7-A575-8212577369C7}"/>
          </ac:spMkLst>
        </pc:spChg>
        <pc:spChg chg="add mod ord replST">
          <ac:chgData name="Joelle Brehm" userId="a518f54c-6985-42c0-8041-2bb16a414839" providerId="ADAL" clId="{34B1A95F-EFD8-4A1E-A46D-E288C53C0C68}" dt="2023-12-06T21:43:09.995" v="13186"/>
          <ac:spMkLst>
            <pc:docMk/>
            <pc:sldMk cId="2057745716" sldId="266"/>
            <ac:spMk id="46" creationId="{F71F0A63-DF39-49D4-2B0A-063A8976E855}"/>
          </ac:spMkLst>
        </pc:spChg>
        <pc:spChg chg="mod">
          <ac:chgData name="Joelle Brehm" userId="a518f54c-6985-42c0-8041-2bb16a414839" providerId="ADAL" clId="{34B1A95F-EFD8-4A1E-A46D-E288C53C0C68}" dt="2023-12-06T21:43:09.968" v="13167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34B1A95F-EFD8-4A1E-A46D-E288C53C0C68}" dt="2023-12-06T21:43:09.991" v="13183"/>
          <ac:spMkLst>
            <pc:docMk/>
            <pc:sldMk cId="2057745716" sldId="266"/>
            <ac:spMk id="48" creationId="{83D70FB8-70C1-9516-ECF9-CBF5EA76AE37}"/>
          </ac:spMkLst>
        </pc:spChg>
        <pc:spChg chg="mod">
          <ac:chgData name="Joelle Brehm" userId="a518f54c-6985-42c0-8041-2bb16a414839" providerId="ADAL" clId="{34B1A95F-EFD8-4A1E-A46D-E288C53C0C68}" dt="2023-12-06T21:43:09.974" v="13171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34B1A95F-EFD8-4A1E-A46D-E288C53C0C68}" dt="2023-12-06T21:43:09.978" v="13174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34B1A95F-EFD8-4A1E-A46D-E288C53C0C68}" dt="2023-12-06T21:43:09.977" v="13173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34B1A95F-EFD8-4A1E-A46D-E288C53C0C68}" dt="2023-12-06T21:43:09.986" v="13180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34B1A95F-EFD8-4A1E-A46D-E288C53C0C68}" dt="2023-12-06T21:43:09.985" v="13179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34B1A95F-EFD8-4A1E-A46D-E288C53C0C68}" dt="2023-12-06T21:43:09.980" v="13176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34B1A95F-EFD8-4A1E-A46D-E288C53C0C68}" dt="2023-12-06T21:43:09.979" v="13175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34B1A95F-EFD8-4A1E-A46D-E288C53C0C68}" dt="2023-12-06T21:43:09.983" v="13178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34B1A95F-EFD8-4A1E-A46D-E288C53C0C68}" dt="2023-12-06T21:43:09.981" v="13177"/>
          <ac:spMkLst>
            <pc:docMk/>
            <pc:sldMk cId="2057745716" sldId="266"/>
            <ac:spMk id="57" creationId="{5B53372F-C271-7F94-7100-D104F06C3037}"/>
          </ac:spMkLst>
        </pc:spChg>
        <pc:spChg chg="mod">
          <ac:chgData name="Joelle Brehm" userId="a518f54c-6985-42c0-8041-2bb16a414839" providerId="ADAL" clId="{34B1A95F-EFD8-4A1E-A46D-E288C53C0C68}" dt="2023-12-06T21:43:09.990" v="13182"/>
          <ac:spMkLst>
            <pc:docMk/>
            <pc:sldMk cId="2057745716" sldId="266"/>
            <ac:spMk id="58" creationId="{DAA22F52-9C0E-72DF-927C-E34B49E164A2}"/>
          </ac:spMkLst>
        </pc:spChg>
        <pc:spChg chg="add del mod modVis">
          <ac:chgData name="Joelle Brehm" userId="a518f54c-6985-42c0-8041-2bb16a414839" providerId="ADAL" clId="{34B1A95F-EFD8-4A1E-A46D-E288C53C0C68}" dt="2023-12-06T21:42:51.805" v="12580"/>
          <ac:spMkLst>
            <pc:docMk/>
            <pc:sldMk cId="2057745716" sldId="266"/>
            <ac:spMk id="59" creationId="{7394C232-2791-EDD9-106D-E913636E6D2E}"/>
          </ac:spMkLst>
        </pc:spChg>
        <pc:spChg chg="mod">
          <ac:chgData name="Joelle Brehm" userId="a518f54c-6985-42c0-8041-2bb16a414839" providerId="ADAL" clId="{34B1A95F-EFD8-4A1E-A46D-E288C53C0C68}" dt="2023-12-06T21:43:09.988" v="13181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34B1A95F-EFD8-4A1E-A46D-E288C53C0C68}" dt="2023-12-06T21:42:54.040" v="12814"/>
          <ac:spMkLst>
            <pc:docMk/>
            <pc:sldMk cId="2057745716" sldId="266"/>
            <ac:spMk id="62" creationId="{4417A06C-89FC-6473-9642-7B741D4006D5}"/>
          </ac:spMkLst>
        </pc:spChg>
        <pc:spChg chg="add del mod modVis">
          <ac:chgData name="Joelle Brehm" userId="a518f54c-6985-42c0-8041-2bb16a414839" providerId="ADAL" clId="{34B1A95F-EFD8-4A1E-A46D-E288C53C0C68}" dt="2023-12-06T21:42:58.244" v="12986"/>
          <ac:spMkLst>
            <pc:docMk/>
            <pc:sldMk cId="2057745716" sldId="266"/>
            <ac:spMk id="64" creationId="{A295CE9B-CAFB-C357-C08F-01AE1CBAAF90}"/>
          </ac:spMkLst>
        </pc:spChg>
        <pc:spChg chg="add del mod modVis">
          <ac:chgData name="Joelle Brehm" userId="a518f54c-6985-42c0-8041-2bb16a414839" providerId="ADAL" clId="{34B1A95F-EFD8-4A1E-A46D-E288C53C0C68}" dt="2023-12-06T21:43:10.030" v="13215"/>
          <ac:spMkLst>
            <pc:docMk/>
            <pc:sldMk cId="2057745716" sldId="266"/>
            <ac:spMk id="67" creationId="{B414DCFF-2370-AC41-8258-DE3A84FC94BF}"/>
          </ac:spMkLst>
        </pc:spChg>
        <pc:spChg chg="mod ord">
          <ac:chgData name="Joelle Brehm" userId="a518f54c-6985-42c0-8041-2bb16a414839" providerId="ADAL" clId="{34B1A95F-EFD8-4A1E-A46D-E288C53C0C68}" dt="2023-12-06T21:43:09.997" v="13188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43:09.999" v="13190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34B1A95F-EFD8-4A1E-A46D-E288C53C0C68}" dt="2023-12-06T21:43:09.960" v="13162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43:10.002" v="13192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43:10.003" v="13194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43:10.005" v="13196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43:10.007" v="13198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43:09.956" v="13159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09.957" v="13160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09.959" v="13161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09.953" v="13158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10.011" v="13201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10.012" v="13202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10.013" v="13203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3:10.014" v="13204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43:10.015" v="13205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43:10.074" v="13217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1:41:15.669" v="11816"/>
          <ac:graphicFrameMkLst>
            <pc:docMk/>
            <pc:sldMk cId="2057745716" sldId="266"/>
            <ac:graphicFrameMk id="8" creationId="{FBCA92D7-35D6-EAAC-07A3-00DEEBA6523C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3:09.918" v="13133"/>
          <ac:graphicFrameMkLst>
            <pc:docMk/>
            <pc:sldMk cId="2057745716" sldId="266"/>
            <ac:graphicFrameMk id="31" creationId="{6831011B-6F69-13BE-F365-8A4CBFA4F89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2:51.567" v="12481"/>
          <ac:graphicFrameMkLst>
            <pc:docMk/>
            <pc:sldMk cId="2057745716" sldId="266"/>
            <ac:graphicFrameMk id="37" creationId="{A3FD68B4-9195-1A58-99F7-7E9FE411BA92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2:53.849" v="12717"/>
          <ac:graphicFrameMkLst>
            <pc:docMk/>
            <pc:sldMk cId="2057745716" sldId="266"/>
            <ac:graphicFrameMk id="60" creationId="{EAD81C64-9374-DF26-9503-50AE097B463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2:58.155" v="12890"/>
          <ac:graphicFrameMkLst>
            <pc:docMk/>
            <pc:sldMk cId="2057745716" sldId="266"/>
            <ac:graphicFrameMk id="63" creationId="{851F3113-B7D7-CDA3-47FB-723BAE8DD905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2:48.990" v="12277"/>
          <ac:graphicFrameMkLst>
            <pc:docMk/>
            <pc:sldMk cId="2057745716" sldId="266"/>
            <ac:graphicFrameMk id="65" creationId="{93AF9B94-0BFF-333E-7ADE-0036DF1CEB4B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3:09.952" v="13157"/>
          <ac:graphicFrameMkLst>
            <pc:docMk/>
            <pc:sldMk cId="2057745716" sldId="266"/>
            <ac:graphicFrameMk id="66" creationId="{0D25B0AC-C326-4C05-E2F4-A12FF522165A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3:09.844" v="13119"/>
          <ac:graphicFrameMkLst>
            <pc:docMk/>
            <pc:sldMk cId="2057745716" sldId="266"/>
            <ac:graphicFrameMk id="68" creationId="{2A3EA189-8CC9-1FC9-D27B-C21AB0C95CFE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3:10.009" v="13200"/>
          <ac:graphicFrameMkLst>
            <pc:docMk/>
            <pc:sldMk cId="2057745716" sldId="266"/>
            <ac:graphicFrameMk id="69" creationId="{A41F58E6-CB5D-B93E-533C-94DC5ADE1711}"/>
          </ac:graphicFrameMkLst>
        </pc:graphicFrameChg>
        <pc:picChg chg="del mod ord">
          <ac:chgData name="Joelle Brehm" userId="a518f54c-6985-42c0-8041-2bb16a414839" providerId="ADAL" clId="{34B1A95F-EFD8-4A1E-A46D-E288C53C0C68}" dt="2023-12-06T21:42:39.157" v="12033" actId="478"/>
          <ac:picMkLst>
            <pc:docMk/>
            <pc:sldMk cId="2057745716" sldId="266"/>
            <ac:picMk id="3" creationId="{91CF8103-4311-B434-DCDF-0C3844DDDEFD}"/>
          </ac:picMkLst>
        </pc:picChg>
        <pc:picChg chg="add del mod ord">
          <ac:chgData name="Joelle Brehm" userId="a518f54c-6985-42c0-8041-2bb16a414839" providerId="ADAL" clId="{34B1A95F-EFD8-4A1E-A46D-E288C53C0C68}" dt="2023-12-06T21:43:09.908" v="13127"/>
          <ac:picMkLst>
            <pc:docMk/>
            <pc:sldMk cId="2057745716" sldId="266"/>
            <ac:picMk id="34" creationId="{99B10E0B-550F-3A4A-7967-820E3D8F8729}"/>
          </ac:picMkLst>
        </pc:picChg>
        <pc:picChg chg="mod ord">
          <ac:chgData name="Joelle Brehm" userId="a518f54c-6985-42c0-8041-2bb16a414839" providerId="ADAL" clId="{34B1A95F-EFD8-4A1E-A46D-E288C53C0C68}" dt="2023-12-06T21:43:10.020" v="13209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34B1A95F-EFD8-4A1E-A46D-E288C53C0C68}" dt="2023-12-06T21:43:10.018" v="13207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43:09.914" v="13131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44:53.111" v="15857"/>
        <pc:sldMkLst>
          <pc:docMk/>
          <pc:sldMk cId="3795966898" sldId="267"/>
        </pc:sldMkLst>
        <pc:spChg chg="mod ord">
          <ac:chgData name="Joelle Brehm" userId="a518f54c-6985-42c0-8041-2bb16a414839" providerId="ADAL" clId="{34B1A95F-EFD8-4A1E-A46D-E288C53C0C68}" dt="2023-12-06T21:44:53.065" v="15851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34B1A95F-EFD8-4A1E-A46D-E288C53C0C68}" dt="2023-12-06T21:44:10.465" v="14425" actId="478"/>
          <ac:spMkLst>
            <pc:docMk/>
            <pc:sldMk cId="3795966898" sldId="267"/>
            <ac:spMk id="3" creationId="{9D3A45FD-D308-D7F8-C780-C4C773697035}"/>
          </ac:spMkLst>
        </pc:spChg>
        <pc:spChg chg="add del mod modVis">
          <ac:chgData name="Joelle Brehm" userId="a518f54c-6985-42c0-8041-2bb16a414839" providerId="ADAL" clId="{34B1A95F-EFD8-4A1E-A46D-E288C53C0C68}" dt="2023-12-06T21:44:14.500" v="14642"/>
          <ac:spMkLst>
            <pc:docMk/>
            <pc:sldMk cId="3795966898" sldId="267"/>
            <ac:spMk id="5" creationId="{B5F63A3A-CD8F-E5BB-1BA3-F5D3096169EB}"/>
          </ac:spMkLst>
        </pc:spChg>
        <pc:spChg chg="mod ord">
          <ac:chgData name="Joelle Brehm" userId="a518f54c-6985-42c0-8041-2bb16a414839" providerId="ADAL" clId="{34B1A95F-EFD8-4A1E-A46D-E288C53C0C68}" dt="2023-12-06T21:44:53.007" v="15786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44:53.017" v="15797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44:53.014" v="15793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44:53.015" v="15794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44:53.011" v="15791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44:53.012" v="15792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44:53.016" v="15795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44:53.017" v="15796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44:53.018" v="15798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44:53.019" v="15799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44:53.020" v="15800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44:53.021" v="15801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44:53.022" v="15802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44:53.024" v="15804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44:53.026" v="15805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44:53.028" v="15807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44:53.027" v="15806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44:53.029" v="15809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44:53.030" v="15810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44:53.029" v="15808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44:53.032" v="15812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44:53.042" v="15822"/>
          <ac:spMkLst>
            <pc:docMk/>
            <pc:sldMk cId="3795966898" sldId="267"/>
            <ac:spMk id="32" creationId="{D88A5B48-AEEB-61CD-49C8-685CA2FA5FCC}"/>
          </ac:spMkLst>
        </pc:spChg>
        <pc:spChg chg="add del mod modVis">
          <ac:chgData name="Joelle Brehm" userId="a518f54c-6985-42c0-8041-2bb16a414839" providerId="ADAL" clId="{34B1A95F-EFD8-4A1E-A46D-E288C53C0C68}" dt="2023-12-06T21:44:38.714" v="14892"/>
          <ac:spMkLst>
            <pc:docMk/>
            <pc:sldMk cId="3795966898" sldId="267"/>
            <ac:spMk id="33" creationId="{AF1B7D88-46BB-573B-699E-76C621B5A7D2}"/>
          </ac:spMkLst>
        </pc:spChg>
        <pc:spChg chg="mod">
          <ac:chgData name="Joelle Brehm" userId="a518f54c-6985-42c0-8041-2bb16a414839" providerId="ADAL" clId="{34B1A95F-EFD8-4A1E-A46D-E288C53C0C68}" dt="2023-12-06T21:44:53.034" v="15815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34B1A95F-EFD8-4A1E-A46D-E288C53C0C68}" dt="2023-12-06T21:44:53.035" v="15816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34B1A95F-EFD8-4A1E-A46D-E288C53C0C68}" dt="2023-12-06T21:44:53.036" v="15817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34B1A95F-EFD8-4A1E-A46D-E288C53C0C68}" dt="2023-12-06T21:44:53.045" v="15825"/>
          <ac:spMkLst>
            <pc:docMk/>
            <pc:sldMk cId="3795966898" sldId="267"/>
            <ac:spMk id="37" creationId="{0A296482-73A5-3697-F8D4-5A660F4A5947}"/>
          </ac:spMkLst>
        </pc:spChg>
        <pc:spChg chg="mod">
          <ac:chgData name="Joelle Brehm" userId="a518f54c-6985-42c0-8041-2bb16a414839" providerId="ADAL" clId="{34B1A95F-EFD8-4A1E-A46D-E288C53C0C68}" dt="2023-12-06T21:44:53.037" v="15818"/>
          <ac:spMkLst>
            <pc:docMk/>
            <pc:sldMk cId="3795966898" sldId="267"/>
            <ac:spMk id="38" creationId="{7C95A005-5EF0-2DC0-E7B2-E097E65FBD41}"/>
          </ac:spMkLst>
        </pc:spChg>
        <pc:spChg chg="del mod">
          <ac:chgData name="Joelle Brehm" userId="a518f54c-6985-42c0-8041-2bb16a414839" providerId="ADAL" clId="{34B1A95F-EFD8-4A1E-A46D-E288C53C0C68}" dt="2023-12-06T21:44:48.487" v="15534"/>
          <ac:spMkLst>
            <pc:docMk/>
            <pc:sldMk cId="3795966898" sldId="267"/>
            <ac:spMk id="39" creationId="{83832067-25B3-AFCE-E78B-F25DBF661146}"/>
          </ac:spMkLst>
        </pc:spChg>
        <pc:spChg chg="mod">
          <ac:chgData name="Joelle Brehm" userId="a518f54c-6985-42c0-8041-2bb16a414839" providerId="ADAL" clId="{34B1A95F-EFD8-4A1E-A46D-E288C53C0C68}" dt="2023-12-06T21:44:53.040" v="15820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34B1A95F-EFD8-4A1E-A46D-E288C53C0C68}" dt="2023-12-06T21:44:53.038" v="15819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34B1A95F-EFD8-4A1E-A46D-E288C53C0C68}" dt="2023-12-06T21:44:53.043" v="15823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34B1A95F-EFD8-4A1E-A46D-E288C53C0C68}" dt="2023-12-06T21:44:53.041" v="15821"/>
          <ac:spMkLst>
            <pc:docMk/>
            <pc:sldMk cId="3795966898" sldId="267"/>
            <ac:spMk id="44" creationId="{40B65240-400F-5791-7F3E-FCB0C3838579}"/>
          </ac:spMkLst>
        </pc:spChg>
        <pc:spChg chg="add mod replST">
          <ac:chgData name="Joelle Brehm" userId="a518f54c-6985-42c0-8041-2bb16a414839" providerId="ADAL" clId="{34B1A95F-EFD8-4A1E-A46D-E288C53C0C68}" dt="2023-12-06T21:44:53.046" v="15826"/>
          <ac:spMkLst>
            <pc:docMk/>
            <pc:sldMk cId="3795966898" sldId="267"/>
            <ac:spMk id="45" creationId="{5ACDDB66-5F72-9CF8-8B82-2B020F8894AD}"/>
          </ac:spMkLst>
        </pc:spChg>
        <pc:spChg chg="mod">
          <ac:chgData name="Joelle Brehm" userId="a518f54c-6985-42c0-8041-2bb16a414839" providerId="ADAL" clId="{34B1A95F-EFD8-4A1E-A46D-E288C53C0C68}" dt="2023-12-06T21:44:53.044" v="15824"/>
          <ac:spMkLst>
            <pc:docMk/>
            <pc:sldMk cId="3795966898" sldId="267"/>
            <ac:spMk id="46" creationId="{2B2E11F0-202F-7C08-CDCD-D9021CA2670F}"/>
          </ac:spMkLst>
        </pc:spChg>
        <pc:spChg chg="add del mod modVis">
          <ac:chgData name="Joelle Brehm" userId="a518f54c-6985-42c0-8041-2bb16a414839" providerId="ADAL" clId="{34B1A95F-EFD8-4A1E-A46D-E288C53C0C68}" dt="2023-12-06T21:44:46.373" v="15354"/>
          <ac:spMkLst>
            <pc:docMk/>
            <pc:sldMk cId="3795966898" sldId="267"/>
            <ac:spMk id="47" creationId="{16736917-347F-47C0-F97E-8755185B9C2F}"/>
          </ac:spMkLst>
        </pc:spChg>
        <pc:spChg chg="mod">
          <ac:chgData name="Joelle Brehm" userId="a518f54c-6985-42c0-8041-2bb16a414839" providerId="ADAL" clId="{34B1A95F-EFD8-4A1E-A46D-E288C53C0C68}" dt="2023-12-06T21:44:53.060" v="15843"/>
          <ac:spMkLst>
            <pc:docMk/>
            <pc:sldMk cId="3795966898" sldId="267"/>
            <ac:spMk id="48" creationId="{E576B5C5-1657-F503-0E96-3114EE7E1750}"/>
          </ac:spMkLst>
        </pc:spChg>
        <pc:spChg chg="add del mod ord replST">
          <ac:chgData name="Joelle Brehm" userId="a518f54c-6985-42c0-8041-2bb16a414839" providerId="ADAL" clId="{34B1A95F-EFD8-4A1E-A46D-E288C53C0C68}" dt="2023-12-06T21:44:52.954" v="15774"/>
          <ac:spMkLst>
            <pc:docMk/>
            <pc:sldMk cId="3795966898" sldId="267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1:44:46.919" v="15531"/>
          <ac:spMkLst>
            <pc:docMk/>
            <pc:sldMk cId="3795966898" sldId="267"/>
            <ac:spMk id="51" creationId="{81C36999-7E84-F325-C8A8-86A466F141D7}"/>
          </ac:spMkLst>
        </pc:spChg>
        <pc:spChg chg="add del mod modVis">
          <ac:chgData name="Joelle Brehm" userId="a518f54c-6985-42c0-8041-2bb16a414839" providerId="ADAL" clId="{34B1A95F-EFD8-4A1E-A46D-E288C53C0C68}" dt="2023-12-06T21:44:48.954" v="15716"/>
          <ac:spMkLst>
            <pc:docMk/>
            <pc:sldMk cId="3795966898" sldId="267"/>
            <ac:spMk id="53" creationId="{BF25089B-D395-16EF-3731-95F63A3F6563}"/>
          </ac:spMkLst>
        </pc:spChg>
        <pc:spChg chg="add del mod modVis">
          <ac:chgData name="Joelle Brehm" userId="a518f54c-6985-42c0-8041-2bb16a414839" providerId="ADAL" clId="{34B1A95F-EFD8-4A1E-A46D-E288C53C0C68}" dt="2023-12-06T21:44:53.069" v="15855"/>
          <ac:spMkLst>
            <pc:docMk/>
            <pc:sldMk cId="3795966898" sldId="267"/>
            <ac:spMk id="56" creationId="{A920F47D-596C-3548-FCC6-D289F8C1CD56}"/>
          </ac:spMkLst>
        </pc:spChg>
        <pc:spChg chg="mod ord">
          <ac:chgData name="Joelle Brehm" userId="a518f54c-6985-42c0-8041-2bb16a414839" providerId="ADAL" clId="{34B1A95F-EFD8-4A1E-A46D-E288C53C0C68}" dt="2023-12-06T21:44:53.048" v="15828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44:53.050" v="15830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1:44:53.052" v="15832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44:53.064" v="15849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34B1A95F-EFD8-4A1E-A46D-E288C53C0C68}" dt="2023-12-06T21:44:53.053" v="15834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44:53.054" v="15836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44:53.056" v="15838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44:53.058" v="15841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4:53.059" v="15842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4:53.061" v="15844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44:53.061" v="15845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44:53.111" v="15857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4:53.010" v="15790"/>
          <ac:graphicFrameMkLst>
            <pc:docMk/>
            <pc:sldMk cId="3795966898" sldId="267"/>
            <ac:graphicFrameMk id="8" creationId="{3807D41B-5E25-5DA2-AE7B-E127CB28E9C3}"/>
          </ac:graphicFrameMkLst>
        </pc:graphicFrameChg>
        <pc:graphicFrameChg chg="del">
          <ac:chgData name="Joelle Brehm" userId="a518f54c-6985-42c0-8041-2bb16a414839" providerId="ADAL" clId="{34B1A95F-EFD8-4A1E-A46D-E288C53C0C68}" dt="2023-12-06T21:44:14.375" v="14559"/>
          <ac:graphicFrameMkLst>
            <pc:docMk/>
            <pc:sldMk cId="3795966898" sldId="267"/>
            <ac:graphicFrameMk id="9" creationId="{5298B2B0-5B94-8343-0859-62CFC4B4294D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4:53.058" v="15840"/>
          <ac:graphicFrameMkLst>
            <pc:docMk/>
            <pc:sldMk cId="3795966898" sldId="267"/>
            <ac:graphicFrameMk id="41" creationId="{3A7D8A38-9CCF-57A5-8467-A4C76C047FE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4:46.721" v="15438"/>
          <ac:graphicFrameMkLst>
            <pc:docMk/>
            <pc:sldMk cId="3795966898" sldId="267"/>
            <ac:graphicFrameMk id="50" creationId="{9CCE1739-849B-3D40-06A0-13FEF9BF3C7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4:48.780" v="15635"/>
          <ac:graphicFrameMkLst>
            <pc:docMk/>
            <pc:sldMk cId="3795966898" sldId="267"/>
            <ac:graphicFrameMk id="52" creationId="{FFADDC54-6D5E-22F8-E799-100220AE461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4:52.958" v="15776"/>
          <ac:graphicFrameMkLst>
            <pc:docMk/>
            <pc:sldMk cId="3795966898" sldId="267"/>
            <ac:graphicFrameMk id="54" creationId="{01B1AEB9-3371-F849-8C54-ABED66583270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4:46.160" v="15266"/>
          <ac:graphicFrameMkLst>
            <pc:docMk/>
            <pc:sldMk cId="3795966898" sldId="267"/>
            <ac:graphicFrameMk id="55" creationId="{5240FDFB-0398-D331-9A9F-2708F5A8F016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4:38.546" v="14813"/>
          <ac:graphicFrameMkLst>
            <pc:docMk/>
            <pc:sldMk cId="3795966898" sldId="267"/>
            <ac:graphicFrameMk id="57" creationId="{86816EAB-56DA-48FA-CDBB-7D1F88E9E079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4:53.033" v="15814"/>
          <ac:graphicFrameMkLst>
            <pc:docMk/>
            <pc:sldMk cId="3795966898" sldId="267"/>
            <ac:graphicFrameMk id="58" creationId="{B92A9B8D-12CB-DC33-45AF-EBC5960A472C}"/>
          </ac:graphicFrameMkLst>
        </pc:graphicFrameChg>
        <pc:picChg chg="add mod ord">
          <ac:chgData name="Joelle Brehm" userId="a518f54c-6985-42c0-8041-2bb16a414839" providerId="ADAL" clId="{34B1A95F-EFD8-4A1E-A46D-E288C53C0C68}" dt="2023-12-06T21:44:53.005" v="15784"/>
          <ac:picMkLst>
            <pc:docMk/>
            <pc:sldMk cId="3795966898" sldId="267"/>
            <ac:picMk id="10" creationId="{C77AD6B3-7467-7F66-D769-63DF380EE62D}"/>
          </ac:picMkLst>
        </pc:picChg>
        <pc:picChg chg="del mod ord">
          <ac:chgData name="Joelle Brehm" userId="a518f54c-6985-42c0-8041-2bb16a414839" providerId="ADAL" clId="{34B1A95F-EFD8-4A1E-A46D-E288C53C0C68}" dt="2023-12-06T21:44:27.495" v="14725" actId="478"/>
          <ac:picMkLst>
            <pc:docMk/>
            <pc:sldMk cId="3795966898" sldId="267"/>
            <ac:picMk id="31" creationId="{806A25DA-C35F-82B0-74B3-5FC0A3847DF6}"/>
          </ac:picMkLst>
        </pc:picChg>
        <pc:picChg chg="mod ord">
          <ac:chgData name="Joelle Brehm" userId="a518f54c-6985-42c0-8041-2bb16a414839" providerId="ADAL" clId="{34B1A95F-EFD8-4A1E-A46D-E288C53C0C68}" dt="2023-12-06T21:44:53.063" v="15847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44:53.009" v="15788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46:59.446" v="17070"/>
        <pc:sldMkLst>
          <pc:docMk/>
          <pc:sldMk cId="622078465" sldId="269"/>
        </pc:sldMkLst>
        <pc:spChg chg="add del mod">
          <ac:chgData name="Joelle Brehm" userId="a518f54c-6985-42c0-8041-2bb16a414839" providerId="ADAL" clId="{34B1A95F-EFD8-4A1E-A46D-E288C53C0C68}" dt="2023-12-06T21:45:00.293" v="15859" actId="478"/>
          <ac:spMkLst>
            <pc:docMk/>
            <pc:sldMk cId="622078465" sldId="269"/>
            <ac:spMk id="2" creationId="{5FA6F1A9-E082-0BCA-1615-CAC305C7ED2C}"/>
          </ac:spMkLst>
        </pc:spChg>
        <pc:spChg chg="mod ord">
          <ac:chgData name="Joelle Brehm" userId="a518f54c-6985-42c0-8041-2bb16a414839" providerId="ADAL" clId="{34B1A95F-EFD8-4A1E-A46D-E288C53C0C68}" dt="2023-12-06T21:46:59.400" v="17064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34B1A95F-EFD8-4A1E-A46D-E288C53C0C68}" dt="2023-12-06T21:45:14.227" v="16074"/>
          <ac:spMkLst>
            <pc:docMk/>
            <pc:sldMk cId="622078465" sldId="269"/>
            <ac:spMk id="5" creationId="{741F9334-E578-1B1F-72DA-029A806F0AE3}"/>
          </ac:spMkLst>
        </pc:spChg>
        <pc:spChg chg="mod ord">
          <ac:chgData name="Joelle Brehm" userId="a518f54c-6985-42c0-8041-2bb16a414839" providerId="ADAL" clId="{34B1A95F-EFD8-4A1E-A46D-E288C53C0C68}" dt="2023-12-06T21:46:59.320" v="16999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46:59.366" v="17034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34B1A95F-EFD8-4A1E-A46D-E288C53C0C68}" dt="2023-12-06T21:46:59.336" v="17010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46:59.330" v="17006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46:59.332" v="17007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46:59.328" v="17004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46:59.330" v="17005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46:59.334" v="17008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46:59.335" v="17009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46:59.337" v="17011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46:59.339" v="17012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46:59.340" v="17013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46:59.341" v="17014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46:59.342" v="17015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46:59.344" v="17017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46:59.344" v="17018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46:59.348" v="17020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46:59.347" v="17019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46:59.351" v="17022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46:59.353" v="17023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46:59.350" v="17021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46:59.356" v="17025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46:59.364" v="17032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34B1A95F-EFD8-4A1E-A46D-E288C53C0C68}" dt="2023-12-06T21:46:59.365" v="17033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34B1A95F-EFD8-4A1E-A46D-E288C53C0C68}" dt="2023-12-06T21:46:59.363" v="17031"/>
          <ac:spMkLst>
            <pc:docMk/>
            <pc:sldMk cId="622078465" sldId="269"/>
            <ac:spMk id="34" creationId="{361A309D-582A-9EF2-AAA6-D0365E1E80AF}"/>
          </ac:spMkLst>
        </pc:spChg>
        <pc:spChg chg="mod">
          <ac:chgData name="Joelle Brehm" userId="a518f54c-6985-42c0-8041-2bb16a414839" providerId="ADAL" clId="{34B1A95F-EFD8-4A1E-A46D-E288C53C0C68}" dt="2023-12-06T21:46:59.369" v="17038"/>
          <ac:spMkLst>
            <pc:docMk/>
            <pc:sldMk cId="622078465" sldId="269"/>
            <ac:spMk id="36" creationId="{68733CF5-8A2C-4045-0CB9-423CA4B0F6E1}"/>
          </ac:spMkLst>
        </pc:spChg>
        <pc:spChg chg="mod">
          <ac:chgData name="Joelle Brehm" userId="a518f54c-6985-42c0-8041-2bb16a414839" providerId="ADAL" clId="{34B1A95F-EFD8-4A1E-A46D-E288C53C0C68}" dt="2023-12-06T21:46:59.367" v="17035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34B1A95F-EFD8-4A1E-A46D-E288C53C0C68}" dt="2023-12-06T21:46:59.368" v="17036"/>
          <ac:spMkLst>
            <pc:docMk/>
            <pc:sldMk cId="622078465" sldId="269"/>
            <ac:spMk id="38" creationId="{81A34C8B-3AB7-1E3C-EABE-00492913B3D2}"/>
          </ac:spMkLst>
        </pc:spChg>
        <pc:spChg chg="add del mod modVis">
          <ac:chgData name="Joelle Brehm" userId="a518f54c-6985-42c0-8041-2bb16a414839" providerId="ADAL" clId="{34B1A95F-EFD8-4A1E-A46D-E288C53C0C68}" dt="2023-12-06T21:46:48.438" v="16369"/>
          <ac:spMkLst>
            <pc:docMk/>
            <pc:sldMk cId="622078465" sldId="269"/>
            <ac:spMk id="39" creationId="{81B8048F-6CBD-BDD9-85B1-7570245D3F54}"/>
          </ac:spMkLst>
        </pc:spChg>
        <pc:spChg chg="mod">
          <ac:chgData name="Joelle Brehm" userId="a518f54c-6985-42c0-8041-2bb16a414839" providerId="ADAL" clId="{34B1A95F-EFD8-4A1E-A46D-E288C53C0C68}" dt="2023-12-06T21:46:59.369" v="17037"/>
          <ac:spMkLst>
            <pc:docMk/>
            <pc:sldMk cId="622078465" sldId="269"/>
            <ac:spMk id="40" creationId="{88D90EFE-E362-B516-8CB5-42E8A0F19B96}"/>
          </ac:spMkLst>
        </pc:spChg>
        <pc:spChg chg="add mod replST">
          <ac:chgData name="Joelle Brehm" userId="a518f54c-6985-42c0-8041-2bb16a414839" providerId="ADAL" clId="{34B1A95F-EFD8-4A1E-A46D-E288C53C0C68}" dt="2023-12-06T21:46:59.370" v="17039"/>
          <ac:spMkLst>
            <pc:docMk/>
            <pc:sldMk cId="622078465" sldId="269"/>
            <ac:spMk id="42" creationId="{D1BED0AC-AAFB-7B18-5C9F-F7242C07E3F7}"/>
          </ac:spMkLst>
        </pc:spChg>
        <pc:spChg chg="add del mod modVis">
          <ac:chgData name="Joelle Brehm" userId="a518f54c-6985-42c0-8041-2bb16a414839" providerId="ADAL" clId="{34B1A95F-EFD8-4A1E-A46D-E288C53C0C68}" dt="2023-12-06T21:46:55.880" v="16714"/>
          <ac:spMkLst>
            <pc:docMk/>
            <pc:sldMk cId="622078465" sldId="269"/>
            <ac:spMk id="43" creationId="{D3D982D0-7811-B541-E02C-7FB823FFDBC8}"/>
          </ac:spMkLst>
        </pc:spChg>
        <pc:spChg chg="add del mod modVis">
          <ac:chgData name="Joelle Brehm" userId="a518f54c-6985-42c0-8041-2bb16a414839" providerId="ADAL" clId="{34B1A95F-EFD8-4A1E-A46D-E288C53C0C68}" dt="2023-12-06T21:46:57.211" v="16888"/>
          <ac:spMkLst>
            <pc:docMk/>
            <pc:sldMk cId="622078465" sldId="269"/>
            <ac:spMk id="45" creationId="{C6DFFF3B-97AC-CEE5-0A51-952E5C4DE75C}"/>
          </ac:spMkLst>
        </pc:spChg>
        <pc:spChg chg="add del mod modVis">
          <ac:chgData name="Joelle Brehm" userId="a518f54c-6985-42c0-8041-2bb16a414839" providerId="ADAL" clId="{34B1A95F-EFD8-4A1E-A46D-E288C53C0C68}" dt="2023-12-06T21:46:59.404" v="17068"/>
          <ac:spMkLst>
            <pc:docMk/>
            <pc:sldMk cId="622078465" sldId="269"/>
            <ac:spMk id="47" creationId="{A69DE5AD-B307-3BB5-96C5-976F80F5B146}"/>
          </ac:spMkLst>
        </pc:spChg>
        <pc:spChg chg="mod">
          <ac:chgData name="Joelle Brehm" userId="a518f54c-6985-42c0-8041-2bb16a414839" providerId="ADAL" clId="{34B1A95F-EFD8-4A1E-A46D-E288C53C0C68}" dt="2023-12-06T21:46:59.393" v="17058"/>
          <ac:spMkLst>
            <pc:docMk/>
            <pc:sldMk cId="622078465" sldId="269"/>
            <ac:spMk id="50" creationId="{69BAD6A3-FF64-4C04-1D02-164463F908A1}"/>
          </ac:spMkLst>
        </pc:spChg>
        <pc:spChg chg="mod ord">
          <ac:chgData name="Joelle Brehm" userId="a518f54c-6985-42c0-8041-2bb16a414839" providerId="ADAL" clId="{34B1A95F-EFD8-4A1E-A46D-E288C53C0C68}" dt="2023-12-06T21:46:59.398" v="17062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34B1A95F-EFD8-4A1E-A46D-E288C53C0C68}" dt="2023-12-06T21:46:59.372" v="17041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46:59.374" v="17043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34B1A95F-EFD8-4A1E-A46D-E288C53C0C68}" dt="2023-12-06T21:46:58.953" v="16891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6:59.361" v="17028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6:59.362" v="17029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6:59.363" v="17030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46:59.376" v="17045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46:59.378" v="17047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46:59.380" v="17049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46:59.383" v="17051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46:59.388" v="17054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6:59.388" v="17055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6:59.390" v="17056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46:59.391" v="17057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46:59.446" v="17070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6:59.327" v="17003"/>
          <ac:graphicFrameMkLst>
            <pc:docMk/>
            <pc:sldMk cId="622078465" sldId="269"/>
            <ac:graphicFrameMk id="8" creationId="{CD5ACF19-9D21-09E5-5F5B-0F5EEDB9645F}"/>
          </ac:graphicFrameMkLst>
        </pc:graphicFrameChg>
        <pc:graphicFrameChg chg="del">
          <ac:chgData name="Joelle Brehm" userId="a518f54c-6985-42c0-8041-2bb16a414839" providerId="ADAL" clId="{34B1A95F-EFD8-4A1E-A46D-E288C53C0C68}" dt="2023-12-06T21:45:13.977" v="15991"/>
          <ac:graphicFrameMkLst>
            <pc:docMk/>
            <pc:sldMk cId="622078465" sldId="269"/>
            <ac:graphicFrameMk id="9" creationId="{97F03435-C130-66DB-3A5E-6D25299BE926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6:59.387" v="17053"/>
          <ac:graphicFrameMkLst>
            <pc:docMk/>
            <pc:sldMk cId="622078465" sldId="269"/>
            <ac:graphicFrameMk id="41" creationId="{B58A2A7A-A11B-2B8A-6A5E-E98E6C5BB20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6:56.966" v="16795"/>
          <ac:graphicFrameMkLst>
            <pc:docMk/>
            <pc:sldMk cId="622078465" sldId="269"/>
            <ac:graphicFrameMk id="44" creationId="{60A9D2BA-3973-7ED0-C008-FB4F071E071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6:59.227" v="16989"/>
          <ac:graphicFrameMkLst>
            <pc:docMk/>
            <pc:sldMk cId="622078465" sldId="269"/>
            <ac:graphicFrameMk id="46" creationId="{0010E81D-3371-A3CC-3BFE-7C3C36BCA7E5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6:59.359" v="17027"/>
          <ac:graphicFrameMkLst>
            <pc:docMk/>
            <pc:sldMk cId="622078465" sldId="269"/>
            <ac:graphicFrameMk id="48" creationId="{E7E4436C-0D7E-F748-2EE2-BE3FE478D720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6:55.645" v="16626"/>
          <ac:graphicFrameMkLst>
            <pc:docMk/>
            <pc:sldMk cId="622078465" sldId="269"/>
            <ac:graphicFrameMk id="49" creationId="{EB4C4B58-5513-EDE1-5055-F714F5960119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6:48.282" v="16290"/>
          <ac:graphicFrameMkLst>
            <pc:docMk/>
            <pc:sldMk cId="622078465" sldId="269"/>
            <ac:graphicFrameMk id="55" creationId="{A5733A45-2DDC-0311-5513-99ED10ED8773}"/>
          </ac:graphicFrameMkLst>
        </pc:graphicFrameChg>
        <pc:picChg chg="add mod ord">
          <ac:chgData name="Joelle Brehm" userId="a518f54c-6985-42c0-8041-2bb16a414839" providerId="ADAL" clId="{34B1A95F-EFD8-4A1E-A46D-E288C53C0C68}" dt="2023-12-06T21:46:59.316" v="16997"/>
          <ac:picMkLst>
            <pc:docMk/>
            <pc:sldMk cId="622078465" sldId="269"/>
            <ac:picMk id="31" creationId="{4E55038F-DA93-3645-B801-5707FFD91E71}"/>
          </ac:picMkLst>
        </pc:picChg>
        <pc:picChg chg="del mod ord">
          <ac:chgData name="Joelle Brehm" userId="a518f54c-6985-42c0-8041-2bb16a414839" providerId="ADAL" clId="{34B1A95F-EFD8-4A1E-A46D-E288C53C0C68}" dt="2023-12-06T21:46:33.340" v="16164" actId="478"/>
          <ac:picMkLst>
            <pc:docMk/>
            <pc:sldMk cId="622078465" sldId="269"/>
            <ac:picMk id="35" creationId="{4DF34143-6B5D-1804-1EF4-1CD8749E91BD}"/>
          </ac:picMkLst>
        </pc:picChg>
        <pc:picChg chg="mod ord">
          <ac:chgData name="Joelle Brehm" userId="a518f54c-6985-42c0-8041-2bb16a414839" providerId="ADAL" clId="{34B1A95F-EFD8-4A1E-A46D-E288C53C0C68}" dt="2023-12-06T21:46:59.396" v="17060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46:59.323" v="17001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2:01:50.220" v="32341"/>
        <pc:sldMkLst>
          <pc:docMk/>
          <pc:sldMk cId="1002023985" sldId="270"/>
        </pc:sldMkLst>
        <pc:spChg chg="mod ord">
          <ac:chgData name="Joelle Brehm" userId="a518f54c-6985-42c0-8041-2bb16a414839" providerId="ADAL" clId="{34B1A95F-EFD8-4A1E-A46D-E288C53C0C68}" dt="2023-12-06T22:01:50.171" v="32335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34B1A95F-EFD8-4A1E-A46D-E288C53C0C68}" dt="2023-12-06T22:01:01.159" v="30747" actId="478"/>
          <ac:spMkLst>
            <pc:docMk/>
            <pc:sldMk cId="1002023985" sldId="270"/>
            <ac:spMk id="3" creationId="{594A90B5-D6AD-59EA-C07F-E15A5030641D}"/>
          </ac:spMkLst>
        </pc:spChg>
        <pc:spChg chg="add del mod modVis">
          <ac:chgData name="Joelle Brehm" userId="a518f54c-6985-42c0-8041-2bb16a414839" providerId="ADAL" clId="{34B1A95F-EFD8-4A1E-A46D-E288C53C0C68}" dt="2023-12-06T22:01:07.320" v="30986"/>
          <ac:spMkLst>
            <pc:docMk/>
            <pc:sldMk cId="1002023985" sldId="270"/>
            <ac:spMk id="5" creationId="{33D2A7C3-250E-14A1-19BF-F1258681F46C}"/>
          </ac:spMkLst>
        </pc:spChg>
        <pc:spChg chg="mod ord">
          <ac:chgData name="Joelle Brehm" userId="a518f54c-6985-42c0-8041-2bb16a414839" providerId="ADAL" clId="{34B1A95F-EFD8-4A1E-A46D-E288C53C0C68}" dt="2023-12-06T22:01:50.087" v="32247"/>
          <ac:spMkLst>
            <pc:docMk/>
            <pc:sldMk cId="1002023985" sldId="270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2:01:50.132" v="32294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34B1A95F-EFD8-4A1E-A46D-E288C53C0C68}" dt="2023-12-06T22:01:50.098" v="32258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2:01:50.093" v="32254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2:01:50.094" v="32255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2:01:50.091" v="32252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2:01:50.092" v="32253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2:01:50.095" v="32256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2:01:50.096" v="32257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2:01:50.099" v="32259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2:01:50.100" v="32260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2:01:50.101" v="32261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2:01:50.101" v="32262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2:01:50.102" v="32263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2:01:50.104" v="32265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2:01:50.108" v="32268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2:01:50.109" v="32270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2:01:50.108" v="32269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2:01:50.112" v="32273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2:01:50.113" v="32274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2:01:50.111" v="32272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2:01:50.115" v="32276"/>
          <ac:spMkLst>
            <pc:docMk/>
            <pc:sldMk cId="1002023985" sldId="270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34B1A95F-EFD8-4A1E-A46D-E288C53C0C68}" dt="2023-12-06T22:01:50.147" v="32308"/>
          <ac:spMkLst>
            <pc:docMk/>
            <pc:sldMk cId="1002023985" sldId="270"/>
            <ac:spMk id="32" creationId="{08AA1604-C221-6E9B-740F-41449B8DB0E9}"/>
          </ac:spMkLst>
        </pc:spChg>
        <pc:spChg chg="mod ord">
          <ac:chgData name="Joelle Brehm" userId="a518f54c-6985-42c0-8041-2bb16a414839" providerId="ADAL" clId="{34B1A95F-EFD8-4A1E-A46D-E288C53C0C68}" dt="2023-12-06T22:01:50.131" v="32293"/>
          <ac:spMkLst>
            <pc:docMk/>
            <pc:sldMk cId="1002023985" sldId="270"/>
            <ac:spMk id="33" creationId="{F76D64DC-4154-E4CF-EF48-9A68CB6317E4}"/>
          </ac:spMkLst>
        </pc:spChg>
        <pc:spChg chg="add mod replST">
          <ac:chgData name="Joelle Brehm" userId="a518f54c-6985-42c0-8041-2bb16a414839" providerId="ADAL" clId="{34B1A95F-EFD8-4A1E-A46D-E288C53C0C68}" dt="2023-12-06T22:01:50.148" v="32309"/>
          <ac:spMkLst>
            <pc:docMk/>
            <pc:sldMk cId="1002023985" sldId="270"/>
            <ac:spMk id="34" creationId="{D8810295-9C9B-37E0-6CF6-C91E7262F475}"/>
          </ac:spMkLst>
        </pc:spChg>
        <pc:spChg chg="add del mod modVis">
          <ac:chgData name="Joelle Brehm" userId="a518f54c-6985-42c0-8041-2bb16a414839" providerId="ADAL" clId="{34B1A95F-EFD8-4A1E-A46D-E288C53C0C68}" dt="2023-12-06T22:01:38.524" v="31490"/>
          <ac:spMkLst>
            <pc:docMk/>
            <pc:sldMk cId="1002023985" sldId="270"/>
            <ac:spMk id="35" creationId="{CBCCD55D-6F17-BEA3-0416-36A0749B7884}"/>
          </ac:spMkLst>
        </pc:spChg>
        <pc:spChg chg="del mod">
          <ac:chgData name="Joelle Brehm" userId="a518f54c-6985-42c0-8041-2bb16a414839" providerId="ADAL" clId="{34B1A95F-EFD8-4A1E-A46D-E288C53C0C68}" dt="2023-12-06T22:01:41.210" v="31702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34B1A95F-EFD8-4A1E-A46D-E288C53C0C68}" dt="2023-12-06T22:01:50.106" v="32267"/>
          <ac:spMkLst>
            <pc:docMk/>
            <pc:sldMk cId="1002023985" sldId="270"/>
            <ac:spMk id="37" creationId="{6E6D97FF-E2E0-42EA-A83A-C3DF9F3514AE}"/>
          </ac:spMkLst>
        </pc:spChg>
        <pc:spChg chg="del mod">
          <ac:chgData name="Joelle Brehm" userId="a518f54c-6985-42c0-8041-2bb16a414839" providerId="ADAL" clId="{34B1A95F-EFD8-4A1E-A46D-E288C53C0C68}" dt="2023-12-06T22:01:41.209" v="31701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34B1A95F-EFD8-4A1E-A46D-E288C53C0C68}" dt="2023-12-06T22:01:50.125" v="32288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34B1A95F-EFD8-4A1E-A46D-E288C53C0C68}" dt="2023-12-06T22:01:50.124" v="32287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34B1A95F-EFD8-4A1E-A46D-E288C53C0C68}" dt="2023-12-06T22:01:50.128" v="32290"/>
          <ac:spMkLst>
            <pc:docMk/>
            <pc:sldMk cId="1002023985" sldId="270"/>
            <ac:spMk id="41" creationId="{51DF5FF8-D483-FA48-6208-139CC6F687D3}"/>
          </ac:spMkLst>
        </pc:spChg>
        <pc:spChg chg="mod">
          <ac:chgData name="Joelle Brehm" userId="a518f54c-6985-42c0-8041-2bb16a414839" providerId="ADAL" clId="{34B1A95F-EFD8-4A1E-A46D-E288C53C0C68}" dt="2023-12-06T22:01:50.126" v="32289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34B1A95F-EFD8-4A1E-A46D-E288C53C0C68}" dt="2023-12-06T22:01:50.130" v="32292"/>
          <ac:spMkLst>
            <pc:docMk/>
            <pc:sldMk cId="1002023985" sldId="270"/>
            <ac:spMk id="43" creationId="{29357330-070C-17EC-0CAB-CAD445419341}"/>
          </ac:spMkLst>
        </pc:spChg>
        <pc:spChg chg="mod">
          <ac:chgData name="Joelle Brehm" userId="a518f54c-6985-42c0-8041-2bb16a414839" providerId="ADAL" clId="{34B1A95F-EFD8-4A1E-A46D-E288C53C0C68}" dt="2023-12-06T22:01:50.128" v="32291"/>
          <ac:spMkLst>
            <pc:docMk/>
            <pc:sldMk cId="1002023985" sldId="270"/>
            <ac:spMk id="44" creationId="{D21335E5-EBC4-9286-DD2D-7735A09D41EB}"/>
          </ac:spMkLst>
        </pc:spChg>
        <pc:spChg chg="mod">
          <ac:chgData name="Joelle Brehm" userId="a518f54c-6985-42c0-8041-2bb16a414839" providerId="ADAL" clId="{34B1A95F-EFD8-4A1E-A46D-E288C53C0C68}" dt="2023-12-06T22:01:50.140" v="32301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34B1A95F-EFD8-4A1E-A46D-E288C53C0C68}" dt="2023-12-06T22:01:50.143" v="32303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34B1A95F-EFD8-4A1E-A46D-E288C53C0C68}" dt="2023-12-06T22:01:50.139" v="32300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34B1A95F-EFD8-4A1E-A46D-E288C53C0C68}" dt="2023-12-06T22:01:50.142" v="32302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34B1A95F-EFD8-4A1E-A46D-E288C53C0C68}" dt="2023-12-06T22:01:50.136" v="32297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34B1A95F-EFD8-4A1E-A46D-E288C53C0C68}" dt="2023-12-06T22:01:50.133" v="32295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34B1A95F-EFD8-4A1E-A46D-E288C53C0C68}" dt="2023-12-06T22:01:50.134" v="32296"/>
          <ac:spMkLst>
            <pc:docMk/>
            <pc:sldMk cId="1002023985" sldId="270"/>
            <ac:spMk id="52" creationId="{CDAA8CD8-B796-5FFD-8D34-2773F7AB7F1D}"/>
          </ac:spMkLst>
        </pc:spChg>
        <pc:spChg chg="mod">
          <ac:chgData name="Joelle Brehm" userId="a518f54c-6985-42c0-8041-2bb16a414839" providerId="ADAL" clId="{34B1A95F-EFD8-4A1E-A46D-E288C53C0C68}" dt="2023-12-06T22:01:50.146" v="32307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34B1A95F-EFD8-4A1E-A46D-E288C53C0C68}" dt="2023-12-06T22:01:50.144" v="32305"/>
          <ac:spMkLst>
            <pc:docMk/>
            <pc:sldMk cId="1002023985" sldId="270"/>
            <ac:spMk id="55" creationId="{E5519A9A-9BE6-DCEA-87DD-CC3F6748DE83}"/>
          </ac:spMkLst>
        </pc:spChg>
        <pc:spChg chg="mod">
          <ac:chgData name="Joelle Brehm" userId="a518f54c-6985-42c0-8041-2bb16a414839" providerId="ADAL" clId="{34B1A95F-EFD8-4A1E-A46D-E288C53C0C68}" dt="2023-12-06T22:01:50.149" v="32310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34B1A95F-EFD8-4A1E-A46D-E288C53C0C68}" dt="2023-12-06T22:01:50.138" v="32299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34B1A95F-EFD8-4A1E-A46D-E288C53C0C68}" dt="2023-12-06T22:01:50.137" v="32298"/>
          <ac:spMkLst>
            <pc:docMk/>
            <pc:sldMk cId="1002023985" sldId="270"/>
            <ac:spMk id="59" creationId="{15DED5C0-8834-6FCE-242E-76495D4381EE}"/>
          </ac:spMkLst>
        </pc:spChg>
        <pc:spChg chg="mod">
          <ac:chgData name="Joelle Brehm" userId="a518f54c-6985-42c0-8041-2bb16a414839" providerId="ADAL" clId="{34B1A95F-EFD8-4A1E-A46D-E288C53C0C68}" dt="2023-12-06T22:01:50.144" v="32304"/>
          <ac:spMkLst>
            <pc:docMk/>
            <pc:sldMk cId="1002023985" sldId="270"/>
            <ac:spMk id="60" creationId="{0C74CE89-8513-C13D-30DC-F81C311B717E}"/>
          </ac:spMkLst>
        </pc:spChg>
        <pc:spChg chg="mod">
          <ac:chgData name="Joelle Brehm" userId="a518f54c-6985-42c0-8041-2bb16a414839" providerId="ADAL" clId="{34B1A95F-EFD8-4A1E-A46D-E288C53C0C68}" dt="2023-12-06T22:01:50.124" v="32286"/>
          <ac:spMkLst>
            <pc:docMk/>
            <pc:sldMk cId="1002023985" sldId="270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2:01:39.548" v="31698"/>
          <ac:spMkLst>
            <pc:docMk/>
            <pc:sldMk cId="1002023985" sldId="270"/>
            <ac:spMk id="63" creationId="{8BA9CD30-6BED-B9AA-8FE6-4311781E45E6}"/>
          </ac:spMkLst>
        </pc:spChg>
        <pc:spChg chg="mod ord">
          <ac:chgData name="Joelle Brehm" userId="a518f54c-6985-42c0-8041-2bb16a414839" providerId="ADAL" clId="{34B1A95F-EFD8-4A1E-A46D-E288C53C0C68}" dt="2023-12-06T22:01:50.145" v="32306"/>
          <ac:spMkLst>
            <pc:docMk/>
            <pc:sldMk cId="1002023985" sldId="270"/>
            <ac:spMk id="64" creationId="{41EAF63A-0EB0-1655-3104-FBA53C392892}"/>
          </ac:spMkLst>
        </pc:spChg>
        <pc:spChg chg="add del mod modVis">
          <ac:chgData name="Joelle Brehm" userId="a518f54c-6985-42c0-8041-2bb16a414839" providerId="ADAL" clId="{34B1A95F-EFD8-4A1E-A46D-E288C53C0C68}" dt="2023-12-06T22:01:41.491" v="31953"/>
          <ac:spMkLst>
            <pc:docMk/>
            <pc:sldMk cId="1002023985" sldId="270"/>
            <ac:spMk id="66" creationId="{A8B0990A-5952-7F0F-7767-6B07737D0775}"/>
          </ac:spMkLst>
        </pc:spChg>
        <pc:spChg chg="mod">
          <ac:chgData name="Joelle Brehm" userId="a518f54c-6985-42c0-8041-2bb16a414839" providerId="ADAL" clId="{34B1A95F-EFD8-4A1E-A46D-E288C53C0C68}" dt="2023-12-06T22:01:50.117" v="32279"/>
          <ac:spMkLst>
            <pc:docMk/>
            <pc:sldMk cId="1002023985" sldId="270"/>
            <ac:spMk id="68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19" v="32280"/>
          <ac:spMkLst>
            <pc:docMk/>
            <pc:sldMk cId="1002023985" sldId="270"/>
            <ac:spMk id="69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19" v="32281"/>
          <ac:spMkLst>
            <pc:docMk/>
            <pc:sldMk cId="1002023985" sldId="270"/>
            <ac:spMk id="70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20" v="32282"/>
          <ac:spMkLst>
            <pc:docMk/>
            <pc:sldMk cId="1002023985" sldId="270"/>
            <ac:spMk id="71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22" v="32284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22" v="32285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10" v="32271"/>
          <ac:spMkLst>
            <pc:docMk/>
            <pc:sldMk cId="1002023985" sldId="270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34B1A95F-EFD8-4A1E-A46D-E288C53C0C68}" dt="2023-12-06T22:01:45.461" v="32145"/>
          <ac:spMkLst>
            <pc:docMk/>
            <pc:sldMk cId="1002023985" sldId="270"/>
            <ac:spMk id="75" creationId="{CB87A88D-3839-410F-FC19-4A0F6A038EE4}"/>
          </ac:spMkLst>
        </pc:spChg>
        <pc:spChg chg="add del mod modVis">
          <ac:chgData name="Joelle Brehm" userId="a518f54c-6985-42c0-8041-2bb16a414839" providerId="ADAL" clId="{34B1A95F-EFD8-4A1E-A46D-E288C53C0C68}" dt="2023-12-06T22:01:50.176" v="32339"/>
          <ac:spMkLst>
            <pc:docMk/>
            <pc:sldMk cId="1002023985" sldId="270"/>
            <ac:spMk id="77" creationId="{52E2015E-58B6-ACE1-AAB5-FB5AE0914CA9}"/>
          </ac:spMkLst>
        </pc:spChg>
        <pc:spChg chg="mod ord">
          <ac:chgData name="Joelle Brehm" userId="a518f54c-6985-42c0-8041-2bb16a414839" providerId="ADAL" clId="{34B1A95F-EFD8-4A1E-A46D-E288C53C0C68}" dt="2023-12-06T22:01:50.150" v="32312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2:01:50.152" v="32314"/>
          <ac:spMkLst>
            <pc:docMk/>
            <pc:sldMk cId="1002023985" sldId="270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2:01:50.154" v="32316"/>
          <ac:spMkLst>
            <pc:docMk/>
            <pc:sldMk cId="1002023985" sldId="270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2:01:50.156" v="32318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2:01:50.158" v="32320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2:01:50.159" v="32322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2:01:50.162" v="32325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63" v="32326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64" v="32327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1:50.165" v="32328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2:01:50.166" v="32329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34B1A95F-EFD8-4A1E-A46D-E288C53C0C68}" dt="2023-12-06T22:01:50.121" v="32283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34B1A95F-EFD8-4A1E-A46D-E288C53C0C68}" dt="2023-12-06T22:01:50.220" v="32341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1:50.090" v="32251"/>
          <ac:graphicFrameMkLst>
            <pc:docMk/>
            <pc:sldMk cId="1002023985" sldId="270"/>
            <ac:graphicFrameMk id="8" creationId="{F6E9AD4E-A56B-73B8-0427-4D70249B0E83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1:50.024" v="32237"/>
          <ac:graphicFrameMkLst>
            <pc:docMk/>
            <pc:sldMk cId="1002023985" sldId="270"/>
            <ac:graphicFrameMk id="45" creationId="{DDB87E63-E413-1EF9-E1AE-5CC542DF7976}"/>
          </ac:graphicFrameMkLst>
        </pc:graphicFrameChg>
        <pc:graphicFrameChg chg="del">
          <ac:chgData name="Joelle Brehm" userId="a518f54c-6985-42c0-8041-2bb16a414839" providerId="ADAL" clId="{34B1A95F-EFD8-4A1E-A46D-E288C53C0C68}" dt="2023-12-06T22:01:07.219" v="30878"/>
          <ac:graphicFrameMkLst>
            <pc:docMk/>
            <pc:sldMk cId="1002023985" sldId="270"/>
            <ac:graphicFrameMk id="53" creationId="{24A6FEA7-4EAA-49BF-F010-E7B24FBA216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1:39.435" v="31592"/>
          <ac:graphicFrameMkLst>
            <pc:docMk/>
            <pc:sldMk cId="1002023985" sldId="270"/>
            <ac:graphicFrameMk id="61" creationId="{3192CFF5-12B9-2D54-F25B-4B40FB73C87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1:41.397" v="31850"/>
          <ac:graphicFrameMkLst>
            <pc:docMk/>
            <pc:sldMk cId="1002023985" sldId="270"/>
            <ac:graphicFrameMk id="65" creationId="{135745CD-D332-63C8-A5FB-1007DF5C190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1:45.404" v="32043"/>
          <ac:graphicFrameMkLst>
            <pc:docMk/>
            <pc:sldMk cId="1002023985" sldId="270"/>
            <ac:graphicFrameMk id="67" creationId="{3D8EF265-A208-0D72-AB3C-A92A3D09D762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1:50.116" v="32278"/>
          <ac:graphicFrameMkLst>
            <pc:docMk/>
            <pc:sldMk cId="1002023985" sldId="270"/>
            <ac:graphicFrameMk id="76" creationId="{0FFDB30D-353D-6D9B-BFDE-92AAAAC7EB7F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1:50.161" v="32324"/>
          <ac:graphicFrameMkLst>
            <pc:docMk/>
            <pc:sldMk cId="1002023985" sldId="270"/>
            <ac:graphicFrameMk id="80" creationId="{AB081A0C-CBBD-9BAD-1C5E-EB18ED04D5CA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1:38.416" v="31384"/>
          <ac:graphicFrameMkLst>
            <pc:docMk/>
            <pc:sldMk cId="1002023985" sldId="270"/>
            <ac:graphicFrameMk id="81" creationId="{90FA4388-1C76-25B8-0C95-9E4E5BC3D8CD}"/>
          </ac:graphicFrameMkLst>
        </pc:graphicFrameChg>
        <pc:picChg chg="add mod ord">
          <ac:chgData name="Joelle Brehm" userId="a518f54c-6985-42c0-8041-2bb16a414839" providerId="ADAL" clId="{34B1A95F-EFD8-4A1E-A46D-E288C53C0C68}" dt="2023-12-06T22:01:50.086" v="32245"/>
          <ac:picMkLst>
            <pc:docMk/>
            <pc:sldMk cId="1002023985" sldId="270"/>
            <ac:picMk id="9" creationId="{4EA4E923-62BC-002E-F2C5-1E5CE359FDCC}"/>
          </ac:picMkLst>
        </pc:picChg>
        <pc:picChg chg="del mod ord">
          <ac:chgData name="Joelle Brehm" userId="a518f54c-6985-42c0-8041-2bb16a414839" providerId="ADAL" clId="{34B1A95F-EFD8-4A1E-A46D-E288C53C0C68}" dt="2023-12-06T22:01:27.246" v="31093" actId="478"/>
          <ac:picMkLst>
            <pc:docMk/>
            <pc:sldMk cId="1002023985" sldId="270"/>
            <ac:picMk id="31" creationId="{75A18656-958F-F3DD-D683-EBEA8954CBBE}"/>
          </ac:picMkLst>
        </pc:picChg>
        <pc:picChg chg="mod ord">
          <ac:chgData name="Joelle Brehm" userId="a518f54c-6985-42c0-8041-2bb16a414839" providerId="ADAL" clId="{34B1A95F-EFD8-4A1E-A46D-E288C53C0C68}" dt="2023-12-06T22:01:50.170" v="32333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34B1A95F-EFD8-4A1E-A46D-E288C53C0C68}" dt="2023-12-06T22:01:50.167" v="32331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2:01:50.089" v="32249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48:25.855" v="18889"/>
        <pc:sldMkLst>
          <pc:docMk/>
          <pc:sldMk cId="2815334483" sldId="271"/>
        </pc:sldMkLst>
        <pc:spChg chg="add del mod">
          <ac:chgData name="Joelle Brehm" userId="a518f54c-6985-42c0-8041-2bb16a414839" providerId="ADAL" clId="{34B1A95F-EFD8-4A1E-A46D-E288C53C0C68}" dt="2023-12-06T21:47:05.233" v="17071" actId="478"/>
          <ac:spMkLst>
            <pc:docMk/>
            <pc:sldMk cId="2815334483" sldId="271"/>
            <ac:spMk id="2" creationId="{378C0965-96BF-26DB-798E-EE46894FEF0E}"/>
          </ac:spMkLst>
        </pc:spChg>
        <pc:spChg chg="mod ord">
          <ac:chgData name="Joelle Brehm" userId="a518f54c-6985-42c0-8041-2bb16a414839" providerId="ADAL" clId="{34B1A95F-EFD8-4A1E-A46D-E288C53C0C68}" dt="2023-12-06T21:48:25.839" v="18885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34B1A95F-EFD8-4A1E-A46D-E288C53C0C68}" dt="2023-12-06T21:47:16.679" v="17280"/>
          <ac:spMkLst>
            <pc:docMk/>
            <pc:sldMk cId="2815334483" sldId="271"/>
            <ac:spMk id="5" creationId="{AA944E10-A1E5-4108-FB93-BEAF8855CC93}"/>
          </ac:spMkLst>
        </pc:spChg>
        <pc:spChg chg="mod ord">
          <ac:chgData name="Joelle Brehm" userId="a518f54c-6985-42c0-8041-2bb16a414839" providerId="ADAL" clId="{34B1A95F-EFD8-4A1E-A46D-E288C53C0C68}" dt="2023-12-06T21:48:25.819" v="18824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48:25.830" v="18855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34B1A95F-EFD8-4A1E-A46D-E288C53C0C68}" dt="2023-12-06T21:48:25.823" v="18835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48:25.822" v="18831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48:25.822" v="18832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48:25.821" v="18829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48:25.821" v="18830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48:25.822" v="18833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48:25.823" v="18834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48:25.823" v="18836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48:25.823" v="18837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48:25.824" v="18838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48:25.824" v="18839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48:25.824" v="18840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48:25.825" v="18842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48:25.825" v="18843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48:25.826" v="18845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48:25.826" v="18844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48:25.827" v="18847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48:25.827" v="18848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48:25.827" v="18846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48:25.828" v="18850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48:25.831" v="18858"/>
          <ac:spMkLst>
            <pc:docMk/>
            <pc:sldMk cId="2815334483" sldId="271"/>
            <ac:spMk id="32" creationId="{8777249A-D943-16C1-E900-269856ADE995}"/>
          </ac:spMkLst>
        </pc:spChg>
        <pc:spChg chg="add mod replST">
          <ac:chgData name="Joelle Brehm" userId="a518f54c-6985-42c0-8041-2bb16a414839" providerId="ADAL" clId="{34B1A95F-EFD8-4A1E-A46D-E288C53C0C68}" dt="2023-12-06T21:48:25.833" v="18864"/>
          <ac:spMkLst>
            <pc:docMk/>
            <pc:sldMk cId="2815334483" sldId="271"/>
            <ac:spMk id="34" creationId="{A8CE6006-892B-02A7-FD6F-1A7CFF52A860}"/>
          </ac:spMkLst>
        </pc:spChg>
        <pc:spChg chg="del mod">
          <ac:chgData name="Joelle Brehm" userId="a518f54c-6985-42c0-8041-2bb16a414839" providerId="ADAL" clId="{34B1A95F-EFD8-4A1E-A46D-E288C53C0C68}" dt="2023-12-06T21:47:58.313" v="18025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34B1A95F-EFD8-4A1E-A46D-E288C53C0C68}" dt="2023-12-06T21:48:25.829" v="18853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34B1A95F-EFD8-4A1E-A46D-E288C53C0C68}" dt="2023-12-06T21:48:25.829" v="18854"/>
          <ac:spMkLst>
            <pc:docMk/>
            <pc:sldMk cId="2815334483" sldId="271"/>
            <ac:spMk id="37" creationId="{3DD674ED-1D1B-D5B2-8B23-FE127DE17AA5}"/>
          </ac:spMkLst>
        </pc:spChg>
        <pc:spChg chg="del mod">
          <ac:chgData name="Joelle Brehm" userId="a518f54c-6985-42c0-8041-2bb16a414839" providerId="ADAL" clId="{34B1A95F-EFD8-4A1E-A46D-E288C53C0C68}" dt="2023-12-06T21:48:13.366" v="18504"/>
          <ac:spMkLst>
            <pc:docMk/>
            <pc:sldMk cId="2815334483" sldId="271"/>
            <ac:spMk id="38" creationId="{CC5FA94A-B8E0-E7C9-DB9D-BB5C4E4406D1}"/>
          </ac:spMkLst>
        </pc:spChg>
        <pc:spChg chg="mod">
          <ac:chgData name="Joelle Brehm" userId="a518f54c-6985-42c0-8041-2bb16a414839" providerId="ADAL" clId="{34B1A95F-EFD8-4A1E-A46D-E288C53C0C68}" dt="2023-12-06T21:48:25.833" v="18863"/>
          <ac:spMkLst>
            <pc:docMk/>
            <pc:sldMk cId="2815334483" sldId="271"/>
            <ac:spMk id="39" creationId="{3FE8D96F-1EA9-E112-7607-E4758CD02F39}"/>
          </ac:spMkLst>
        </pc:spChg>
        <pc:spChg chg="del mod">
          <ac:chgData name="Joelle Brehm" userId="a518f54c-6985-42c0-8041-2bb16a414839" providerId="ADAL" clId="{34B1A95F-EFD8-4A1E-A46D-E288C53C0C68}" dt="2023-12-06T21:48:13.369" v="18505"/>
          <ac:spMkLst>
            <pc:docMk/>
            <pc:sldMk cId="2815334483" sldId="271"/>
            <ac:spMk id="40" creationId="{B3CE3016-99B3-974F-1EC7-6BAAE2BADCD1}"/>
          </ac:spMkLst>
        </pc:spChg>
        <pc:spChg chg="mod">
          <ac:chgData name="Joelle Brehm" userId="a518f54c-6985-42c0-8041-2bb16a414839" providerId="ADAL" clId="{34B1A95F-EFD8-4A1E-A46D-E288C53C0C68}" dt="2023-12-06T21:48:25.831" v="18859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34B1A95F-EFD8-4A1E-A46D-E288C53C0C68}" dt="2023-12-06T21:48:25.830" v="18856"/>
          <ac:spMkLst>
            <pc:docMk/>
            <pc:sldMk cId="2815334483" sldId="271"/>
            <ac:spMk id="42" creationId="{6259DA9A-2854-0028-25DD-8E34BDEB2937}"/>
          </ac:spMkLst>
        </pc:spChg>
        <pc:spChg chg="add del mod modVis">
          <ac:chgData name="Joelle Brehm" userId="a518f54c-6985-42c0-8041-2bb16a414839" providerId="ADAL" clId="{34B1A95F-EFD8-4A1E-A46D-E288C53C0C68}" dt="2023-12-06T21:47:55.951" v="17849"/>
          <ac:spMkLst>
            <pc:docMk/>
            <pc:sldMk cId="2815334483" sldId="271"/>
            <ac:spMk id="43" creationId="{D62DFBFC-EE37-1E96-808A-50EC225A72BA}"/>
          </ac:spMkLst>
        </pc:spChg>
        <pc:spChg chg="mod">
          <ac:chgData name="Joelle Brehm" userId="a518f54c-6985-42c0-8041-2bb16a414839" providerId="ADAL" clId="{34B1A95F-EFD8-4A1E-A46D-E288C53C0C68}" dt="2023-12-06T21:48:25.832" v="18860"/>
          <ac:spMkLst>
            <pc:docMk/>
            <pc:sldMk cId="2815334483" sldId="271"/>
            <ac:spMk id="44" creationId="{2A226A46-FF6E-9786-3934-AE547CB60305}"/>
          </ac:spMkLst>
        </pc:spChg>
        <pc:spChg chg="add del mod ord replST">
          <ac:chgData name="Joelle Brehm" userId="a518f54c-6985-42c0-8041-2bb16a414839" providerId="ADAL" clId="{34B1A95F-EFD8-4A1E-A46D-E288C53C0C68}" dt="2023-12-06T21:48:20.814" v="18727"/>
          <ac:spMkLst>
            <pc:docMk/>
            <pc:sldMk cId="2815334483" sldId="271"/>
            <ac:spMk id="4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8:25.832" v="18861"/>
          <ac:spMkLst>
            <pc:docMk/>
            <pc:sldMk cId="2815334483" sldId="271"/>
            <ac:spMk id="46" creationId="{930ECC5A-4534-E4CB-B946-9975134BC620}"/>
          </ac:spMkLst>
        </pc:spChg>
        <pc:spChg chg="mod">
          <ac:chgData name="Joelle Brehm" userId="a518f54c-6985-42c0-8041-2bb16a414839" providerId="ADAL" clId="{34B1A95F-EFD8-4A1E-A46D-E288C53C0C68}" dt="2023-12-06T21:48:25.831" v="18857"/>
          <ac:spMkLst>
            <pc:docMk/>
            <pc:sldMk cId="2815334483" sldId="271"/>
            <ac:spMk id="48" creationId="{E51CFCE3-4E32-6059-9327-A1EFC827F040}"/>
          </ac:spMkLst>
        </pc:spChg>
        <pc:spChg chg="add del mod modVis">
          <ac:chgData name="Joelle Brehm" userId="a518f54c-6985-42c0-8041-2bb16a414839" providerId="ADAL" clId="{34B1A95F-EFD8-4A1E-A46D-E288C53C0C68}" dt="2023-12-06T21:47:56.794" v="18022"/>
          <ac:spMkLst>
            <pc:docMk/>
            <pc:sldMk cId="2815334483" sldId="271"/>
            <ac:spMk id="49" creationId="{9167DA85-4C3B-CB76-6AD1-4A35955FC237}"/>
          </ac:spMkLst>
        </pc:spChg>
        <pc:spChg chg="add del mod modVis">
          <ac:chgData name="Joelle Brehm" userId="a518f54c-6985-42c0-8041-2bb16a414839" providerId="ADAL" clId="{34B1A95F-EFD8-4A1E-A46D-E288C53C0C68}" dt="2023-12-06T21:47:58.701" v="18203"/>
          <ac:spMkLst>
            <pc:docMk/>
            <pc:sldMk cId="2815334483" sldId="271"/>
            <ac:spMk id="51" creationId="{324583BE-6399-9299-D1D0-21EA24789E2F}"/>
          </ac:spMkLst>
        </pc:spChg>
        <pc:spChg chg="add del mod modVis">
          <ac:chgData name="Joelle Brehm" userId="a518f54c-6985-42c0-8041-2bb16a414839" providerId="ADAL" clId="{34B1A95F-EFD8-4A1E-A46D-E288C53C0C68}" dt="2023-12-06T21:48:10.488" v="18388"/>
          <ac:spMkLst>
            <pc:docMk/>
            <pc:sldMk cId="2815334483" sldId="271"/>
            <ac:spMk id="53" creationId="{93AD3E0B-ABFA-C422-B4D6-865E9E1D27CF}"/>
          </ac:spMkLst>
        </pc:spChg>
        <pc:spChg chg="mod">
          <ac:chgData name="Joelle Brehm" userId="a518f54c-6985-42c0-8041-2bb16a414839" providerId="ADAL" clId="{34B1A95F-EFD8-4A1E-A46D-E288C53C0C68}" dt="2023-12-06T21:48:25.832" v="18862"/>
          <ac:spMkLst>
            <pc:docMk/>
            <pc:sldMk cId="2815334483" sldId="271"/>
            <ac:spMk id="54" creationId="{040A7AC0-BA49-481C-2E93-53505ECC740A}"/>
          </ac:spMkLst>
        </pc:spChg>
        <pc:spChg chg="add del mod modVis">
          <ac:chgData name="Joelle Brehm" userId="a518f54c-6985-42c0-8041-2bb16a414839" providerId="ADAL" clId="{34B1A95F-EFD8-4A1E-A46D-E288C53C0C68}" dt="2023-12-06T21:48:11.955" v="18501"/>
          <ac:spMkLst>
            <pc:docMk/>
            <pc:sldMk cId="2815334483" sldId="271"/>
            <ac:spMk id="56" creationId="{1609C6E4-67F1-B112-D8CB-B8CCE3D08773}"/>
          </ac:spMkLst>
        </pc:spChg>
        <pc:spChg chg="mod ord">
          <ac:chgData name="Joelle Brehm" userId="a518f54c-6985-42c0-8041-2bb16a414839" providerId="ADAL" clId="{34B1A95F-EFD8-4A1E-A46D-E288C53C0C68}" dt="2023-12-06T21:48:25.839" v="18883"/>
          <ac:spMkLst>
            <pc:docMk/>
            <pc:sldMk cId="2815334483" sldId="271"/>
            <ac:spMk id="58" creationId="{13D3C19C-081E-48C7-8BE2-5EF3E8A1DEEB}"/>
          </ac:spMkLst>
        </pc:spChg>
        <pc:spChg chg="del mod">
          <ac:chgData name="Joelle Brehm" userId="a518f54c-6985-42c0-8041-2bb16a414839" providerId="ADAL" clId="{34B1A95F-EFD8-4A1E-A46D-E288C53C0C68}" dt="2023-12-06T21:48:13.370" v="18506"/>
          <ac:spMkLst>
            <pc:docMk/>
            <pc:sldMk cId="2815334483" sldId="271"/>
            <ac:spMk id="59" creationId="{49EE5BBF-498B-527B-A37A-653D0B0482BD}"/>
          </ac:spMkLst>
        </pc:spChg>
        <pc:spChg chg="del mod">
          <ac:chgData name="Joelle Brehm" userId="a518f54c-6985-42c0-8041-2bb16a414839" providerId="ADAL" clId="{34B1A95F-EFD8-4A1E-A46D-E288C53C0C68}" dt="2023-12-06T21:48:13.371" v="18507"/>
          <ac:spMkLst>
            <pc:docMk/>
            <pc:sldMk cId="2815334483" sldId="271"/>
            <ac:spMk id="60" creationId="{D4B8985C-4680-260D-A11B-1E04CD36EDB2}"/>
          </ac:spMkLst>
        </pc:spChg>
        <pc:spChg chg="add del mod modVis">
          <ac:chgData name="Joelle Brehm" userId="a518f54c-6985-42c0-8041-2bb16a414839" providerId="ADAL" clId="{34B1A95F-EFD8-4A1E-A46D-E288C53C0C68}" dt="2023-12-06T21:48:20.864" v="18804"/>
          <ac:spMkLst>
            <pc:docMk/>
            <pc:sldMk cId="2815334483" sldId="271"/>
            <ac:spMk id="65" creationId="{169FF82A-50F2-0B8B-27E0-356D3B0CCFE3}"/>
          </ac:spMkLst>
        </pc:spChg>
        <pc:spChg chg="mod ord">
          <ac:chgData name="Joelle Brehm" userId="a518f54c-6985-42c0-8041-2bb16a414839" providerId="ADAL" clId="{34B1A95F-EFD8-4A1E-A46D-E288C53C0C68}" dt="2023-12-06T21:48:25.834" v="18866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48:25.834" v="18868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1:48:25.835" v="18870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48:25.835" v="18872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48:25.836" v="18874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48:25.837" v="18876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48:25.838" v="18879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48:25.855" v="18889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8:25.821" v="18828"/>
          <ac:graphicFrameMkLst>
            <pc:docMk/>
            <pc:sldMk cId="2815334483" sldId="271"/>
            <ac:graphicFrameMk id="8" creationId="{3D06FA19-715A-B50B-DC95-B4DD9F70DB4F}"/>
          </ac:graphicFrameMkLst>
        </pc:graphicFrameChg>
        <pc:graphicFrameChg chg="del">
          <ac:chgData name="Joelle Brehm" userId="a518f54c-6985-42c0-8041-2bb16a414839" providerId="ADAL" clId="{34B1A95F-EFD8-4A1E-A46D-E288C53C0C68}" dt="2023-12-06T21:47:16.525" v="17195"/>
          <ac:graphicFrameMkLst>
            <pc:docMk/>
            <pc:sldMk cId="2815334483" sldId="271"/>
            <ac:graphicFrameMk id="9" creationId="{7A90B6BF-CAEE-35BA-519F-463310F242FB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7:56.634" v="17929"/>
          <ac:graphicFrameMkLst>
            <pc:docMk/>
            <pc:sldMk cId="2815334483" sldId="271"/>
            <ac:graphicFrameMk id="47" creationId="{6E81EC32-3F8C-5C4F-E712-8EEBDBB9459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7:58.560" v="18122"/>
          <ac:graphicFrameMkLst>
            <pc:docMk/>
            <pc:sldMk cId="2815334483" sldId="271"/>
            <ac:graphicFrameMk id="50" creationId="{AD1FC4CC-D7C6-A7DA-49BE-E3A2C008E2F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8:20.816" v="18729"/>
          <ac:graphicFrameMkLst>
            <pc:docMk/>
            <pc:sldMk cId="2815334483" sldId="271"/>
            <ac:graphicFrameMk id="52" creationId="{21288749-E18D-FBE9-F7FA-7397AEB049E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8:11.796" v="18420"/>
          <ac:graphicFrameMkLst>
            <pc:docMk/>
            <pc:sldMk cId="2815334483" sldId="271"/>
            <ac:graphicFrameMk id="55" creationId="{4A4228C0-5292-1915-A244-5FEBA29BE4C5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7:55.846" v="17761"/>
          <ac:graphicFrameMkLst>
            <pc:docMk/>
            <pc:sldMk cId="2815334483" sldId="271"/>
            <ac:graphicFrameMk id="57" creationId="{41B16FE2-CF6A-77F5-3EA8-3D9EB97A3AF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8:13.395" v="18513"/>
          <ac:graphicFrameMkLst>
            <pc:docMk/>
            <pc:sldMk cId="2815334483" sldId="271"/>
            <ac:graphicFrameMk id="61" creationId="{911A10ED-FCC6-5983-EB99-9C8D2E79089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8:16.791" v="18598"/>
          <ac:graphicFrameMkLst>
            <pc:docMk/>
            <pc:sldMk cId="2815334483" sldId="271"/>
            <ac:graphicFrameMk id="62" creationId="{C7224FCD-1823-4945-0584-8145C650865E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8:25.789" v="18814"/>
          <ac:graphicFrameMkLst>
            <pc:docMk/>
            <pc:sldMk cId="2815334483" sldId="271"/>
            <ac:graphicFrameMk id="63" creationId="{21914CFF-DD4F-EE7C-CB06-71EE816A88DB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8:10.402" v="18307"/>
          <ac:graphicFrameMkLst>
            <pc:docMk/>
            <pc:sldMk cId="2815334483" sldId="271"/>
            <ac:graphicFrameMk id="64" creationId="{DAC0745D-15A5-D49F-B7F2-67FCE269C45A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8:25.829" v="18852"/>
          <ac:graphicFrameMkLst>
            <pc:docMk/>
            <pc:sldMk cId="2815334483" sldId="271"/>
            <ac:graphicFrameMk id="66" creationId="{39552D7C-EC73-3CDD-EBCE-1D04833A81B6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8:25.837" v="18878"/>
          <ac:graphicFrameMkLst>
            <pc:docMk/>
            <pc:sldMk cId="2815334483" sldId="271"/>
            <ac:graphicFrameMk id="67" creationId="{20841721-E1E6-F8E0-8BED-A69A4E299CA0}"/>
          </ac:graphicFrameMkLst>
        </pc:graphicFrameChg>
        <pc:picChg chg="add mod ord">
          <ac:chgData name="Joelle Brehm" userId="a518f54c-6985-42c0-8041-2bb16a414839" providerId="ADAL" clId="{34B1A95F-EFD8-4A1E-A46D-E288C53C0C68}" dt="2023-12-06T21:48:25.819" v="18822"/>
          <ac:picMkLst>
            <pc:docMk/>
            <pc:sldMk cId="2815334483" sldId="271"/>
            <ac:picMk id="31" creationId="{0B4B16A3-6F48-6A83-43AE-45EBAB090EDF}"/>
          </ac:picMkLst>
        </pc:picChg>
        <pc:picChg chg="del mod ord">
          <ac:chgData name="Joelle Brehm" userId="a518f54c-6985-42c0-8041-2bb16a414839" providerId="ADAL" clId="{34B1A95F-EFD8-4A1E-A46D-E288C53C0C68}" dt="2023-12-06T21:47:45.600" v="17371" actId="478"/>
          <ac:picMkLst>
            <pc:docMk/>
            <pc:sldMk cId="2815334483" sldId="271"/>
            <ac:picMk id="33" creationId="{C243DE61-881F-E84A-E146-A39CDB818CF8}"/>
          </ac:picMkLst>
        </pc:picChg>
        <pc:picChg chg="mod ord">
          <ac:chgData name="Joelle Brehm" userId="a518f54c-6985-42c0-8041-2bb16a414839" providerId="ADAL" clId="{34B1A95F-EFD8-4A1E-A46D-E288C53C0C68}" dt="2023-12-06T21:48:25.839" v="18881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48:25.820" v="18826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49:17.799" v="20269"/>
        <pc:sldMkLst>
          <pc:docMk/>
          <pc:sldMk cId="1407012127" sldId="272"/>
        </pc:sldMkLst>
        <pc:spChg chg="mod ord">
          <ac:chgData name="Joelle Brehm" userId="a518f54c-6985-42c0-8041-2bb16a414839" providerId="ADAL" clId="{34B1A95F-EFD8-4A1E-A46D-E288C53C0C68}" dt="2023-12-06T21:49:17.747" v="20263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34B1A95F-EFD8-4A1E-A46D-E288C53C0C68}" dt="2023-12-06T21:48:36.710" v="18890" actId="478"/>
          <ac:spMkLst>
            <pc:docMk/>
            <pc:sldMk cId="1407012127" sldId="272"/>
            <ac:spMk id="3" creationId="{93857122-8015-A655-FAB2-BB85E1DD6F2A}"/>
          </ac:spMkLst>
        </pc:spChg>
        <pc:spChg chg="add del mod modVis">
          <ac:chgData name="Joelle Brehm" userId="a518f54c-6985-42c0-8041-2bb16a414839" providerId="ADAL" clId="{34B1A95F-EFD8-4A1E-A46D-E288C53C0C68}" dt="2023-12-06T21:48:40.588" v="19101"/>
          <ac:spMkLst>
            <pc:docMk/>
            <pc:sldMk cId="1407012127" sldId="272"/>
            <ac:spMk id="5" creationId="{2F7D82E8-F807-C9E8-180F-9C547801F7F7}"/>
          </ac:spMkLst>
        </pc:spChg>
        <pc:spChg chg="mod ord">
          <ac:chgData name="Joelle Brehm" userId="a518f54c-6985-42c0-8041-2bb16a414839" providerId="ADAL" clId="{34B1A95F-EFD8-4A1E-A46D-E288C53C0C68}" dt="2023-12-06T21:49:17.677" v="20196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49:17.689" v="20207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49:17.685" v="20203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49:17.686" v="20204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49:17.683" v="20201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49:17.684" v="20202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49:17.687" v="20205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49:17.688" v="20206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49:17.690" v="20208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49:17.691" v="20209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49:17.692" v="20210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49:17.693" v="20211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49:17.693" v="20212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49:17.696" v="20214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49:17.697" v="20215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49:17.698" v="20217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49:17.697" v="20216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49:17.700" v="20219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49:17.701" v="20220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49:17.699" v="20218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49:17.702" v="20222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49:17.710" v="20232"/>
          <ac:spMkLst>
            <pc:docMk/>
            <pc:sldMk cId="1407012127" sldId="272"/>
            <ac:spMk id="31" creationId="{12D405BD-09A7-5DE2-D31C-098B6254BA48}"/>
          </ac:spMkLst>
        </pc:spChg>
        <pc:spChg chg="add mod replST">
          <ac:chgData name="Joelle Brehm" userId="a518f54c-6985-42c0-8041-2bb16a414839" providerId="ADAL" clId="{34B1A95F-EFD8-4A1E-A46D-E288C53C0C68}" dt="2023-12-06T21:49:17.714" v="20236"/>
          <ac:spMkLst>
            <pc:docMk/>
            <pc:sldMk cId="1407012127" sldId="272"/>
            <ac:spMk id="33" creationId="{DEE0E245-78E9-7A67-664E-EC2B0754BE35}"/>
          </ac:spMkLst>
        </pc:spChg>
        <pc:spChg chg="del mod">
          <ac:chgData name="Joelle Brehm" userId="a518f54c-6985-42c0-8041-2bb16a414839" providerId="ADAL" clId="{34B1A95F-EFD8-4A1E-A46D-E288C53C0C68}" dt="2023-12-06T21:49:09.646" v="19886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34B1A95F-EFD8-4A1E-A46D-E288C53C0C68}" dt="2023-12-06T21:49:17.704" v="20225"/>
          <ac:spMkLst>
            <pc:docMk/>
            <pc:sldMk cId="1407012127" sldId="272"/>
            <ac:spMk id="35" creationId="{4B6310D6-23E5-0588-F042-388EAC57E1DA}"/>
          </ac:spMkLst>
        </pc:spChg>
        <pc:spChg chg="mod">
          <ac:chgData name="Joelle Brehm" userId="a518f54c-6985-42c0-8041-2bb16a414839" providerId="ADAL" clId="{34B1A95F-EFD8-4A1E-A46D-E288C53C0C68}" dt="2023-12-06T21:49:17.712" v="20234"/>
          <ac:spMkLst>
            <pc:docMk/>
            <pc:sldMk cId="1407012127" sldId="272"/>
            <ac:spMk id="36" creationId="{C8D3E2C2-3C12-3A42-5737-E5E3D3EAF8EA}"/>
          </ac:spMkLst>
        </pc:spChg>
        <pc:spChg chg="mod">
          <ac:chgData name="Joelle Brehm" userId="a518f54c-6985-42c0-8041-2bb16a414839" providerId="ADAL" clId="{34B1A95F-EFD8-4A1E-A46D-E288C53C0C68}" dt="2023-12-06T21:49:17.704" v="20226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34B1A95F-EFD8-4A1E-A46D-E288C53C0C68}" dt="2023-12-06T21:49:17.705" v="20227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34B1A95F-EFD8-4A1E-A46D-E288C53C0C68}" dt="2023-12-06T21:49:17.707" v="20229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34B1A95F-EFD8-4A1E-A46D-E288C53C0C68}" dt="2023-12-06T21:49:17.709" v="20231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34B1A95F-EFD8-4A1E-A46D-E288C53C0C68}" dt="2023-12-06T21:49:17.705" v="20228"/>
          <ac:spMkLst>
            <pc:docMk/>
            <pc:sldMk cId="1407012127" sldId="272"/>
            <ac:spMk id="41" creationId="{3B0A3A52-5D18-7245-58AE-791EE368F68D}"/>
          </ac:spMkLst>
        </pc:spChg>
        <pc:spChg chg="mod">
          <ac:chgData name="Joelle Brehm" userId="a518f54c-6985-42c0-8041-2bb16a414839" providerId="ADAL" clId="{34B1A95F-EFD8-4A1E-A46D-E288C53C0C68}" dt="2023-12-06T21:49:17.713" v="20235"/>
          <ac:spMkLst>
            <pc:docMk/>
            <pc:sldMk cId="1407012127" sldId="272"/>
            <ac:spMk id="42" creationId="{1CCE2CD3-9785-B79A-EAFB-8C7C97C912CB}"/>
          </ac:spMkLst>
        </pc:spChg>
        <pc:spChg chg="mod">
          <ac:chgData name="Joelle Brehm" userId="a518f54c-6985-42c0-8041-2bb16a414839" providerId="ADAL" clId="{34B1A95F-EFD8-4A1E-A46D-E288C53C0C68}" dt="2023-12-06T21:49:17.707" v="20230"/>
          <ac:spMkLst>
            <pc:docMk/>
            <pc:sldMk cId="1407012127" sldId="272"/>
            <ac:spMk id="43" creationId="{FB4FB43F-D084-EE9C-5BF8-B064116032D0}"/>
          </ac:spMkLst>
        </pc:spChg>
        <pc:spChg chg="mod">
          <ac:chgData name="Joelle Brehm" userId="a518f54c-6985-42c0-8041-2bb16a414839" providerId="ADAL" clId="{34B1A95F-EFD8-4A1E-A46D-E288C53C0C68}" dt="2023-12-06T21:49:17.711" v="20233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34B1A95F-EFD8-4A1E-A46D-E288C53C0C68}" dt="2023-12-06T21:49:07.778" v="19705"/>
          <ac:spMkLst>
            <pc:docMk/>
            <pc:sldMk cId="1407012127" sldId="272"/>
            <ac:spMk id="45" creationId="{BF956F88-173C-8FF1-4C44-D2B71F0B3C8B}"/>
          </ac:spMkLst>
        </pc:spChg>
        <pc:spChg chg="add del mod ord replST">
          <ac:chgData name="Joelle Brehm" userId="a518f54c-6985-42c0-8041-2bb16a414839" providerId="ADAL" clId="{34B1A95F-EFD8-4A1E-A46D-E288C53C0C68}" dt="2023-12-06T21:49:09.888" v="19967"/>
          <ac:spMkLst>
            <pc:docMk/>
            <pc:sldMk cId="1407012127" sldId="272"/>
            <ac:spMk id="46" creationId="{7CAA3B95-4C78-4122-BECA-B5FB0F3F3764}"/>
          </ac:spMkLst>
        </pc:spChg>
        <pc:spChg chg="add mod ord replST">
          <ac:chgData name="Joelle Brehm" userId="a518f54c-6985-42c0-8041-2bb16a414839" providerId="ADAL" clId="{34B1A95F-EFD8-4A1E-A46D-E288C53C0C68}" dt="2023-12-06T21:49:17.717" v="20238"/>
          <ac:spMkLst>
            <pc:docMk/>
            <pc:sldMk cId="1407012127" sldId="272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1:49:09.197" v="19883"/>
          <ac:spMkLst>
            <pc:docMk/>
            <pc:sldMk cId="1407012127" sldId="272"/>
            <ac:spMk id="49" creationId="{15128F3C-B81F-A2A3-6340-F0AE8784DDD0}"/>
          </ac:spMkLst>
        </pc:spChg>
        <pc:spChg chg="add del mod modVis">
          <ac:chgData name="Joelle Brehm" userId="a518f54c-6985-42c0-8041-2bb16a414839" providerId="ADAL" clId="{34B1A95F-EFD8-4A1E-A46D-E288C53C0C68}" dt="2023-12-06T21:49:10.035" v="20067"/>
          <ac:spMkLst>
            <pc:docMk/>
            <pc:sldMk cId="1407012127" sldId="272"/>
            <ac:spMk id="51" creationId="{791628FC-0DDE-D103-1450-4324531CECED}"/>
          </ac:spMkLst>
        </pc:spChg>
        <pc:spChg chg="add del mod modVis">
          <ac:chgData name="Joelle Brehm" userId="a518f54c-6985-42c0-8041-2bb16a414839" providerId="ADAL" clId="{34B1A95F-EFD8-4A1E-A46D-E288C53C0C68}" dt="2023-12-06T21:49:17.750" v="20267"/>
          <ac:spMkLst>
            <pc:docMk/>
            <pc:sldMk cId="1407012127" sldId="272"/>
            <ac:spMk id="54" creationId="{B042B64B-E7CE-0B7C-0B60-8CBB2B169444}"/>
          </ac:spMkLst>
        </pc:spChg>
        <pc:spChg chg="mod ord">
          <ac:chgData name="Joelle Brehm" userId="a518f54c-6985-42c0-8041-2bb16a414839" providerId="ADAL" clId="{34B1A95F-EFD8-4A1E-A46D-E288C53C0C68}" dt="2023-12-06T21:49:17.741" v="20261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34B1A95F-EFD8-4A1E-A46D-E288C53C0C68}" dt="2023-12-06T21:49:17.719" v="20240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49:17.722" v="20242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1:49:17.724" v="20244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49:17.730" v="20246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49:17.732" v="20248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49:17.733" v="20250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49:17.735" v="20253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9:17.736" v="20254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9:17.737" v="20255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49:17.738" v="20256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49:17.739" v="20257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49:17.799" v="20269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9:17.682" v="20200"/>
          <ac:graphicFrameMkLst>
            <pc:docMk/>
            <pc:sldMk cId="1407012127" sldId="272"/>
            <ac:graphicFrameMk id="8" creationId="{E129E48F-A7D3-0889-8746-318FAADE142E}"/>
          </ac:graphicFrameMkLst>
        </pc:graphicFrameChg>
        <pc:graphicFrameChg chg="del">
          <ac:chgData name="Joelle Brehm" userId="a518f54c-6985-42c0-8041-2bb16a414839" providerId="ADAL" clId="{34B1A95F-EFD8-4A1E-A46D-E288C53C0C68}" dt="2023-12-06T21:48:40.430" v="19018"/>
          <ac:graphicFrameMkLst>
            <pc:docMk/>
            <pc:sldMk cId="1407012127" sldId="272"/>
            <ac:graphicFrameMk id="9" creationId="{C1975965-690B-8227-92D6-1EEF0118F02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9:09.014" v="19786"/>
          <ac:graphicFrameMkLst>
            <pc:docMk/>
            <pc:sldMk cId="1407012127" sldId="272"/>
            <ac:graphicFrameMk id="48" creationId="{744A32D2-F192-F1B1-051D-C3BFFEBED84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49:09.910" v="19986"/>
          <ac:graphicFrameMkLst>
            <pc:docMk/>
            <pc:sldMk cId="1407012127" sldId="272"/>
            <ac:graphicFrameMk id="50" creationId="{E87564F2-5D1B-28BB-300E-3C323871F045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9:07.630" v="19613"/>
          <ac:graphicFrameMkLst>
            <pc:docMk/>
            <pc:sldMk cId="1407012127" sldId="272"/>
            <ac:graphicFrameMk id="52" creationId="{5B6DFC2B-BC85-C14A-1F5E-7A395738BE68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9:17.703" v="20224"/>
          <ac:graphicFrameMkLst>
            <pc:docMk/>
            <pc:sldMk cId="1407012127" sldId="272"/>
            <ac:graphicFrameMk id="53" creationId="{EAD092AB-BC11-9FA8-2BDD-B1D51DDC459A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49:17.589" v="20186"/>
          <ac:graphicFrameMkLst>
            <pc:docMk/>
            <pc:sldMk cId="1407012127" sldId="272"/>
            <ac:graphicFrameMk id="55" creationId="{8969D31D-A40D-12EC-B317-E4F08772A6E7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49:17.734" v="20252"/>
          <ac:graphicFrameMkLst>
            <pc:docMk/>
            <pc:sldMk cId="1407012127" sldId="272"/>
            <ac:graphicFrameMk id="56" creationId="{665AEE9D-DA78-D63B-6739-D68F913105C3}"/>
          </ac:graphicFrameMkLst>
        </pc:graphicFrameChg>
        <pc:picChg chg="add mod ord">
          <ac:chgData name="Joelle Brehm" userId="a518f54c-6985-42c0-8041-2bb16a414839" providerId="ADAL" clId="{34B1A95F-EFD8-4A1E-A46D-E288C53C0C68}" dt="2023-12-06T21:49:17.674" v="20194"/>
          <ac:picMkLst>
            <pc:docMk/>
            <pc:sldMk cId="1407012127" sldId="272"/>
            <ac:picMk id="10" creationId="{E52FCE61-3011-9ADF-E8B5-060F1744E1F9}"/>
          </ac:picMkLst>
        </pc:picChg>
        <pc:picChg chg="del mod ord">
          <ac:chgData name="Joelle Brehm" userId="a518f54c-6985-42c0-8041-2bb16a414839" providerId="ADAL" clId="{34B1A95F-EFD8-4A1E-A46D-E288C53C0C68}" dt="2023-12-06T21:48:59.412" v="19184" actId="478"/>
          <ac:picMkLst>
            <pc:docMk/>
            <pc:sldMk cId="1407012127" sldId="272"/>
            <ac:picMk id="32" creationId="{C4A19C48-0A89-0C5F-6AC0-5E03108CB7D1}"/>
          </ac:picMkLst>
        </pc:picChg>
        <pc:picChg chg="mod ord">
          <ac:chgData name="Joelle Brehm" userId="a518f54c-6985-42c0-8041-2bb16a414839" providerId="ADAL" clId="{34B1A95F-EFD8-4A1E-A46D-E288C53C0C68}" dt="2023-12-06T21:49:17.740" v="20259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49:17.679" v="20198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51:03.524" v="21698"/>
        <pc:sldMkLst>
          <pc:docMk/>
          <pc:sldMk cId="4005475890" sldId="273"/>
        </pc:sldMkLst>
        <pc:spChg chg="mod ord">
          <ac:chgData name="Joelle Brehm" userId="a518f54c-6985-42c0-8041-2bb16a414839" providerId="ADAL" clId="{34B1A95F-EFD8-4A1E-A46D-E288C53C0C68}" dt="2023-12-06T21:51:03.508" v="21692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34B1A95F-EFD8-4A1E-A46D-E288C53C0C68}" dt="2023-12-06T21:49:54.504" v="20270" actId="478"/>
          <ac:spMkLst>
            <pc:docMk/>
            <pc:sldMk cId="4005475890" sldId="273"/>
            <ac:spMk id="3" creationId="{2103404B-0E6D-BBFF-A6AB-007F2D4EBEBF}"/>
          </ac:spMkLst>
        </pc:spChg>
        <pc:spChg chg="add del mod modVis">
          <ac:chgData name="Joelle Brehm" userId="a518f54c-6985-42c0-8041-2bb16a414839" providerId="ADAL" clId="{34B1A95F-EFD8-4A1E-A46D-E288C53C0C68}" dt="2023-12-06T21:50:05.061" v="20485"/>
          <ac:spMkLst>
            <pc:docMk/>
            <pc:sldMk cId="4005475890" sldId="273"/>
            <ac:spMk id="5" creationId="{1388EFEB-D742-1188-E2DB-02C33232D850}"/>
          </ac:spMkLst>
        </pc:spChg>
        <pc:spChg chg="mod ord">
          <ac:chgData name="Joelle Brehm" userId="a518f54c-6985-42c0-8041-2bb16a414839" providerId="ADAL" clId="{34B1A95F-EFD8-4A1E-A46D-E288C53C0C68}" dt="2023-12-06T21:51:03.485" v="21627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51:03.498" v="21666"/>
          <ac:spMkLst>
            <pc:docMk/>
            <pc:sldMk cId="4005475890" sldId="273"/>
            <ac:spMk id="10" creationId="{F4526B17-4D9D-5E61-CE0E-B2D48C5D6FAD}"/>
          </ac:spMkLst>
        </pc:spChg>
        <pc:spChg chg="mod">
          <ac:chgData name="Joelle Brehm" userId="a518f54c-6985-42c0-8041-2bb16a414839" providerId="ADAL" clId="{34B1A95F-EFD8-4A1E-A46D-E288C53C0C68}" dt="2023-12-06T21:51:03.488" v="21638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51:03.486" v="21634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51:03.487" v="21635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51:03.486" v="21632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51:03.486" v="21633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51:03.487" v="21636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51:03.488" v="21637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51:03.488" v="21639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51:03.488" v="21640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51:03.490" v="21641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51:03.490" v="21642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51:03.490" v="21643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51:03.491" v="21645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51:03.491" v="21646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51:03.492" v="21648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51:03.491" v="21647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51:03.492" v="21650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51:03.493" v="21651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51:03.492" v="21649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51:03.493" v="21653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51:03.496" v="21661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34B1A95F-EFD8-4A1E-A46D-E288C53C0C68}" dt="2023-12-06T21:51:03.496" v="21662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34B1A95F-EFD8-4A1E-A46D-E288C53C0C68}" dt="2023-12-06T21:51:03.495" v="21659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34B1A95F-EFD8-4A1E-A46D-E288C53C0C68}" dt="2023-12-06T21:51:03.495" v="21660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34B1A95F-EFD8-4A1E-A46D-E288C53C0C68}" dt="2023-12-06T21:51:03.496" v="21663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34B1A95F-EFD8-4A1E-A46D-E288C53C0C68}" dt="2023-12-06T21:51:03.497" v="21664"/>
          <ac:spMkLst>
            <pc:docMk/>
            <pc:sldMk cId="4005475890" sldId="273"/>
            <ac:spMk id="38" creationId="{8B5BCAB4-60F8-4FD5-A40F-97245FABCE9A}"/>
          </ac:spMkLst>
        </pc:spChg>
        <pc:spChg chg="add del mod modVis">
          <ac:chgData name="Joelle Brehm" userId="a518f54c-6985-42c0-8041-2bb16a414839" providerId="ADAL" clId="{34B1A95F-EFD8-4A1E-A46D-E288C53C0C68}" dt="2023-12-06T21:50:38.103" v="20769"/>
          <ac:spMkLst>
            <pc:docMk/>
            <pc:sldMk cId="4005475890" sldId="273"/>
            <ac:spMk id="39" creationId="{4ED9AFF7-2D41-DBD9-5661-90E01510A924}"/>
          </ac:spMkLst>
        </pc:spChg>
        <pc:spChg chg="mod">
          <ac:chgData name="Joelle Brehm" userId="a518f54c-6985-42c0-8041-2bb16a414839" providerId="ADAL" clId="{34B1A95F-EFD8-4A1E-A46D-E288C53C0C68}" dt="2023-12-06T21:51:03.497" v="21665"/>
          <ac:spMkLst>
            <pc:docMk/>
            <pc:sldMk cId="4005475890" sldId="273"/>
            <ac:spMk id="40" creationId="{6DF186F3-D7BB-E35B-BC5F-B5541CDFEBC5}"/>
          </ac:spMkLst>
        </pc:spChg>
        <pc:spChg chg="add mod replST">
          <ac:chgData name="Joelle Brehm" userId="a518f54c-6985-42c0-8041-2bb16a414839" providerId="ADAL" clId="{34B1A95F-EFD8-4A1E-A46D-E288C53C0C68}" dt="2023-12-06T21:51:03.499" v="21667"/>
          <ac:spMkLst>
            <pc:docMk/>
            <pc:sldMk cId="4005475890" sldId="273"/>
            <ac:spMk id="42" creationId="{7FC47C4A-8CF4-7E0B-5C11-19422C1D0358}"/>
          </ac:spMkLst>
        </pc:spChg>
        <pc:spChg chg="add del mod modVis">
          <ac:chgData name="Joelle Brehm" userId="a518f54c-6985-42c0-8041-2bb16a414839" providerId="ADAL" clId="{34B1A95F-EFD8-4A1E-A46D-E288C53C0C68}" dt="2023-12-06T21:50:43.791" v="21156"/>
          <ac:spMkLst>
            <pc:docMk/>
            <pc:sldMk cId="4005475890" sldId="273"/>
            <ac:spMk id="44" creationId="{BC5C5798-9937-ECAC-21CA-80E3443EA40D}"/>
          </ac:spMkLst>
        </pc:spChg>
        <pc:spChg chg="add del mod modVis">
          <ac:chgData name="Joelle Brehm" userId="a518f54c-6985-42c0-8041-2bb16a414839" providerId="ADAL" clId="{34B1A95F-EFD8-4A1E-A46D-E288C53C0C68}" dt="2023-12-06T21:50:46.286" v="21376"/>
          <ac:spMkLst>
            <pc:docMk/>
            <pc:sldMk cId="4005475890" sldId="273"/>
            <ac:spMk id="47" creationId="{7E432D0C-FDB8-10D6-441C-4D359B6E2BA4}"/>
          </ac:spMkLst>
        </pc:spChg>
        <pc:spChg chg="add del mod ord replST">
          <ac:chgData name="Joelle Brehm" userId="a518f54c-6985-42c0-8041-2bb16a414839" providerId="ADAL" clId="{34B1A95F-EFD8-4A1E-A46D-E288C53C0C68}" dt="2023-12-06T21:51:03.458" v="21615"/>
          <ac:spMkLst>
            <pc:docMk/>
            <pc:sldMk cId="4005475890" sldId="273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1:50:47.494" v="21559"/>
          <ac:spMkLst>
            <pc:docMk/>
            <pc:sldMk cId="4005475890" sldId="273"/>
            <ac:spMk id="50" creationId="{F27BA7C3-D360-3FDF-C2B8-8A87C4E75AE5}"/>
          </ac:spMkLst>
        </pc:spChg>
        <pc:spChg chg="add del mod modVis">
          <ac:chgData name="Joelle Brehm" userId="a518f54c-6985-42c0-8041-2bb16a414839" providerId="ADAL" clId="{34B1A95F-EFD8-4A1E-A46D-E288C53C0C68}" dt="2023-12-06T21:51:03.509" v="21696"/>
          <ac:spMkLst>
            <pc:docMk/>
            <pc:sldMk cId="4005475890" sldId="273"/>
            <ac:spMk id="52" creationId="{8CCFC5FF-250D-68D4-D15C-E53259947961}"/>
          </ac:spMkLst>
        </pc:spChg>
        <pc:spChg chg="mod ord">
          <ac:chgData name="Joelle Brehm" userId="a518f54c-6985-42c0-8041-2bb16a414839" providerId="ADAL" clId="{34B1A95F-EFD8-4A1E-A46D-E288C53C0C68}" dt="2023-12-06T21:51:03.507" v="21690"/>
          <ac:spMkLst>
            <pc:docMk/>
            <pc:sldMk cId="4005475890" sldId="273"/>
            <ac:spMk id="58" creationId="{FEC487CB-3123-46A1-8350-8669839FA870}"/>
          </ac:spMkLst>
        </pc:spChg>
        <pc:spChg chg="mod ord">
          <ac:chgData name="Joelle Brehm" userId="a518f54c-6985-42c0-8041-2bb16a414839" providerId="ADAL" clId="{34B1A95F-EFD8-4A1E-A46D-E288C53C0C68}" dt="2023-12-06T21:51:03.499" v="21669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51:03.500" v="21671"/>
          <ac:spMkLst>
            <pc:docMk/>
            <pc:sldMk cId="4005475890" sldId="273"/>
            <ac:spMk id="79" creationId="{F1476AC4-694B-4D83-BFD8-8DCAA4BB1923}"/>
          </ac:spMkLst>
        </pc:spChg>
        <pc:spChg chg="del mod">
          <ac:chgData name="Joelle Brehm" userId="a518f54c-6985-42c0-8041-2bb16a414839" providerId="ADAL" clId="{34B1A95F-EFD8-4A1E-A46D-E288C53C0C68}" dt="2023-12-06T21:50:47.162" v="21379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03.494" v="21656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03.494" v="21657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03.494" v="21658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51:03.501" v="21673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51:03.501" v="21675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51:03.503" v="21677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51:03.503" v="21679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51:03.504" v="21682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03.505" v="21683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03.505" v="21684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03.505" v="21685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51:03.506" v="21686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51:03.524" v="21698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1:50:04.882" v="20404"/>
          <ac:graphicFrameMkLst>
            <pc:docMk/>
            <pc:sldMk cId="4005475890" sldId="273"/>
            <ac:graphicFrameMk id="8" creationId="{D3917094-CD7A-D206-C780-2CD131BD401E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1:03.486" v="21631"/>
          <ac:graphicFrameMkLst>
            <pc:docMk/>
            <pc:sldMk cId="4005475890" sldId="273"/>
            <ac:graphicFrameMk id="31" creationId="{C99B7947-8D22-5579-CAF5-B8DA9F3817FB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1:03.504" v="21681"/>
          <ac:graphicFrameMkLst>
            <pc:docMk/>
            <pc:sldMk cId="4005475890" sldId="273"/>
            <ac:graphicFrameMk id="41" creationId="{D5BDBCBC-D182-6CD0-0331-FEAA3141033D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0:43.725" v="21068"/>
          <ac:graphicFrameMkLst>
            <pc:docMk/>
            <pc:sldMk cId="4005475890" sldId="273"/>
            <ac:graphicFrameMk id="43" creationId="{D85EFFC9-5E63-0CFB-4B65-DCF8A51CEC63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0:38.010" v="20690"/>
          <ac:graphicFrameMkLst>
            <pc:docMk/>
            <pc:sldMk cId="4005475890" sldId="273"/>
            <ac:graphicFrameMk id="45" creationId="{CABE77DD-BFFE-37CA-3A45-26B69B2F2B1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0:46.118" v="21281"/>
          <ac:graphicFrameMkLst>
            <pc:docMk/>
            <pc:sldMk cId="4005475890" sldId="273"/>
            <ac:graphicFrameMk id="46" creationId="{DE34A248-1E39-3BB6-007C-7ABB7AD84FAE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0:47.359" v="21478"/>
          <ac:graphicFrameMkLst>
            <pc:docMk/>
            <pc:sldMk cId="4005475890" sldId="273"/>
            <ac:graphicFrameMk id="49" creationId="{829A9CF2-3D53-02EA-ADA9-E02080E5329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1:03.460" v="21617"/>
          <ac:graphicFrameMkLst>
            <pc:docMk/>
            <pc:sldMk cId="4005475890" sldId="273"/>
            <ac:graphicFrameMk id="51" creationId="{73ECB5EB-88CA-7533-7E28-12D032A063B3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1:03.494" v="21655"/>
          <ac:graphicFrameMkLst>
            <pc:docMk/>
            <pc:sldMk cId="4005475890" sldId="273"/>
            <ac:graphicFrameMk id="53" creationId="{CEC64D2E-147C-3BFE-44A2-CA30D7AD32A3}"/>
          </ac:graphicFrameMkLst>
        </pc:graphicFrameChg>
        <pc:picChg chg="del mod ord">
          <ac:chgData name="Joelle Brehm" userId="a518f54c-6985-42c0-8041-2bb16a414839" providerId="ADAL" clId="{34B1A95F-EFD8-4A1E-A46D-E288C53C0C68}" dt="2023-12-06T21:50:25.095" v="20570" actId="478"/>
          <ac:picMkLst>
            <pc:docMk/>
            <pc:sldMk cId="4005475890" sldId="273"/>
            <ac:picMk id="9" creationId="{7E0EAB1C-861D-88A2-47A6-FBBDB9E33FF9}"/>
          </ac:picMkLst>
        </pc:picChg>
        <pc:picChg chg="add mod ord">
          <ac:chgData name="Joelle Brehm" userId="a518f54c-6985-42c0-8041-2bb16a414839" providerId="ADAL" clId="{34B1A95F-EFD8-4A1E-A46D-E288C53C0C68}" dt="2023-12-06T21:51:03.484" v="21625"/>
          <ac:picMkLst>
            <pc:docMk/>
            <pc:sldMk cId="4005475890" sldId="273"/>
            <ac:picMk id="35" creationId="{7BF4BE7A-50A0-1544-AB80-F2241E5E4379}"/>
          </ac:picMkLst>
        </pc:picChg>
        <pc:picChg chg="mod ord">
          <ac:chgData name="Joelle Brehm" userId="a518f54c-6985-42c0-8041-2bb16a414839" providerId="ADAL" clId="{34B1A95F-EFD8-4A1E-A46D-E288C53C0C68}" dt="2023-12-06T21:51:03.507" v="21688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51:03.485" v="21629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51:58.899" v="23183"/>
        <pc:sldMkLst>
          <pc:docMk/>
          <pc:sldMk cId="3374649050" sldId="274"/>
        </pc:sldMkLst>
        <pc:spChg chg="mod ord">
          <ac:chgData name="Joelle Brehm" userId="a518f54c-6985-42c0-8041-2bb16a414839" providerId="ADAL" clId="{34B1A95F-EFD8-4A1E-A46D-E288C53C0C68}" dt="2023-12-06T21:51:58.866" v="23177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34B1A95F-EFD8-4A1E-A46D-E288C53C0C68}" dt="2023-12-06T21:51:07.732" v="21699" actId="478"/>
          <ac:spMkLst>
            <pc:docMk/>
            <pc:sldMk cId="3374649050" sldId="274"/>
            <ac:spMk id="3" creationId="{461DDAA8-FE19-D67C-9104-704DBB4DE884}"/>
          </ac:spMkLst>
        </pc:spChg>
        <pc:spChg chg="add del mod modVis">
          <ac:chgData name="Joelle Brehm" userId="a518f54c-6985-42c0-8041-2bb16a414839" providerId="ADAL" clId="{34B1A95F-EFD8-4A1E-A46D-E288C53C0C68}" dt="2023-12-06T21:51:18.760" v="21908"/>
          <ac:spMkLst>
            <pc:docMk/>
            <pc:sldMk cId="3374649050" sldId="274"/>
            <ac:spMk id="5" creationId="{F499BF9F-72CF-A4AD-33F3-6AD63B1BA9A1}"/>
          </ac:spMkLst>
        </pc:spChg>
        <pc:spChg chg="mod ord">
          <ac:chgData name="Joelle Brehm" userId="a518f54c-6985-42c0-8041-2bb16a414839" providerId="ADAL" clId="{34B1A95F-EFD8-4A1E-A46D-E288C53C0C68}" dt="2023-12-06T21:51:58.820" v="23112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51:58.825" v="23123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51:58.823" v="23119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51:58.823" v="23120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51:58.822" v="23117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51:58.822" v="23118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51:58.824" v="23121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51:58.824" v="23122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51:58.825" v="23124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51:58.826" v="23125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51:58.826" v="23126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51:58.827" v="23127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51:58.827" v="23128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51:58.828" v="23130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51:58.829" v="23131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51:58.831" v="23133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51:58.830" v="23132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51:58.832" v="23135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51:58.833" v="23136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51:58.831" v="23134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51:58.835" v="23138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51:58.842" v="23147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34B1A95F-EFD8-4A1E-A46D-E288C53C0C68}" dt="2023-12-06T21:51:58.840" v="23144"/>
          <ac:spMkLst>
            <pc:docMk/>
            <pc:sldMk cId="3374649050" sldId="274"/>
            <ac:spMk id="33" creationId="{8A5C4479-0363-6F13-F887-8871FD03F34C}"/>
          </ac:spMkLst>
        </pc:spChg>
        <pc:spChg chg="add del mod modVis">
          <ac:chgData name="Joelle Brehm" userId="a518f54c-6985-42c0-8041-2bb16a414839" providerId="ADAL" clId="{34B1A95F-EFD8-4A1E-A46D-E288C53C0C68}" dt="2023-12-06T21:51:46.222" v="22199"/>
          <ac:spMkLst>
            <pc:docMk/>
            <pc:sldMk cId="3374649050" sldId="274"/>
            <ac:spMk id="34" creationId="{30611B61-047D-7653-2C64-8E5BC80B00BF}"/>
          </ac:spMkLst>
        </pc:spChg>
        <pc:spChg chg="mod">
          <ac:chgData name="Joelle Brehm" userId="a518f54c-6985-42c0-8041-2bb16a414839" providerId="ADAL" clId="{34B1A95F-EFD8-4A1E-A46D-E288C53C0C68}" dt="2023-12-06T21:51:58.841" v="23146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34B1A95F-EFD8-4A1E-A46D-E288C53C0C68}" dt="2023-12-06T21:51:58.842" v="23148"/>
          <ac:spMkLst>
            <pc:docMk/>
            <pc:sldMk cId="3374649050" sldId="274"/>
            <ac:spMk id="36" creationId="{88575725-6998-54DE-FE5F-DCCF247F6A3F}"/>
          </ac:spMkLst>
        </pc:spChg>
        <pc:spChg chg="mod">
          <ac:chgData name="Joelle Brehm" userId="a518f54c-6985-42c0-8041-2bb16a414839" providerId="ADAL" clId="{34B1A95F-EFD8-4A1E-A46D-E288C53C0C68}" dt="2023-12-06T21:51:58.840" v="23145"/>
          <ac:spMkLst>
            <pc:docMk/>
            <pc:sldMk cId="3374649050" sldId="274"/>
            <ac:spMk id="38" creationId="{1995B1DD-126C-92BA-1668-3B87C2F5B1E5}"/>
          </ac:spMkLst>
        </pc:spChg>
        <pc:spChg chg="add mod replST">
          <ac:chgData name="Joelle Brehm" userId="a518f54c-6985-42c0-8041-2bb16a414839" providerId="ADAL" clId="{34B1A95F-EFD8-4A1E-A46D-E288C53C0C68}" dt="2023-12-06T21:51:58.845" v="23152"/>
          <ac:spMkLst>
            <pc:docMk/>
            <pc:sldMk cId="3374649050" sldId="274"/>
            <ac:spMk id="39" creationId="{89E6B1B8-FAF0-A6A0-1BC8-497F71E112CB}"/>
          </ac:spMkLst>
        </pc:spChg>
        <pc:spChg chg="mod">
          <ac:chgData name="Joelle Brehm" userId="a518f54c-6985-42c0-8041-2bb16a414839" providerId="ADAL" clId="{34B1A95F-EFD8-4A1E-A46D-E288C53C0C68}" dt="2023-12-06T21:51:58.843" v="23149"/>
          <ac:spMkLst>
            <pc:docMk/>
            <pc:sldMk cId="3374649050" sldId="274"/>
            <ac:spMk id="40" creationId="{8BA31CDF-8D43-74CD-D3E4-26F103CC0D3B}"/>
          </ac:spMkLst>
        </pc:spChg>
        <pc:spChg chg="mod">
          <ac:chgData name="Joelle Brehm" userId="a518f54c-6985-42c0-8041-2bb16a414839" providerId="ADAL" clId="{34B1A95F-EFD8-4A1E-A46D-E288C53C0C68}" dt="2023-12-06T21:51:58.844" v="23150"/>
          <ac:spMkLst>
            <pc:docMk/>
            <pc:sldMk cId="3374649050" sldId="274"/>
            <ac:spMk id="41" creationId="{B7AB9DCF-AEC0-1EB4-2709-C783258EE0AF}"/>
          </ac:spMkLst>
        </pc:spChg>
        <pc:spChg chg="mod">
          <ac:chgData name="Joelle Brehm" userId="a518f54c-6985-42c0-8041-2bb16a414839" providerId="ADAL" clId="{34B1A95F-EFD8-4A1E-A46D-E288C53C0C68}" dt="2023-12-06T21:51:58.844" v="23151"/>
          <ac:spMkLst>
            <pc:docMk/>
            <pc:sldMk cId="3374649050" sldId="274"/>
            <ac:spMk id="42" creationId="{41583D19-C077-7FD0-6F5A-DBE565BC62CF}"/>
          </ac:spMkLst>
        </pc:spChg>
        <pc:spChg chg="mod">
          <ac:chgData name="Joelle Brehm" userId="a518f54c-6985-42c0-8041-2bb16a414839" providerId="ADAL" clId="{34B1A95F-EFD8-4A1E-A46D-E288C53C0C68}" dt="2023-12-06T21:51:58.859" v="23167"/>
          <ac:spMkLst>
            <pc:docMk/>
            <pc:sldMk cId="3374649050" sldId="274"/>
            <ac:spMk id="43" creationId="{71A50278-0560-C951-1F18-CA11BF2F6494}"/>
          </ac:spMkLst>
        </pc:spChg>
        <pc:spChg chg="add del mod modVis">
          <ac:chgData name="Joelle Brehm" userId="a518f54c-6985-42c0-8041-2bb16a414839" providerId="ADAL" clId="{34B1A95F-EFD8-4A1E-A46D-E288C53C0C68}" dt="2023-12-06T21:51:51.926" v="22684"/>
          <ac:spMkLst>
            <pc:docMk/>
            <pc:sldMk cId="3374649050" sldId="274"/>
            <ac:spMk id="44" creationId="{40D91606-E9D6-7D0B-D077-9918089DA9C9}"/>
          </ac:spMkLst>
        </pc:spChg>
        <pc:spChg chg="add del mod ord replST">
          <ac:chgData name="Joelle Brehm" userId="a518f54c-6985-42c0-8041-2bb16a414839" providerId="ADAL" clId="{34B1A95F-EFD8-4A1E-A46D-E288C53C0C68}" dt="2023-12-06T21:51:58.777" v="23100"/>
          <ac:spMkLst>
            <pc:docMk/>
            <pc:sldMk cId="3374649050" sldId="274"/>
            <ac:spMk id="45" creationId="{7CAA3B95-4C78-4122-BECA-B5FB0F3F3764}"/>
          </ac:spMkLst>
        </pc:spChg>
        <pc:spChg chg="add del mod ord replST">
          <ac:chgData name="Joelle Brehm" userId="a518f54c-6985-42c0-8041-2bb16a414839" providerId="ADAL" clId="{34B1A95F-EFD8-4A1E-A46D-E288C53C0C68}" dt="2023-12-06T21:51:55.272" v="22940"/>
          <ac:spMkLst>
            <pc:docMk/>
            <pc:sldMk cId="3374649050" sldId="274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1:51:52.398" v="22859"/>
          <ac:spMkLst>
            <pc:docMk/>
            <pc:sldMk cId="3374649050" sldId="274"/>
            <ac:spMk id="48" creationId="{A3468EA9-A60E-B276-FBF4-EB94427390FE}"/>
          </ac:spMkLst>
        </pc:spChg>
        <pc:spChg chg="add del mod modVis">
          <ac:chgData name="Joelle Brehm" userId="a518f54c-6985-42c0-8041-2bb16a414839" providerId="ADAL" clId="{34B1A95F-EFD8-4A1E-A46D-E288C53C0C68}" dt="2023-12-06T21:51:55.371" v="23044"/>
          <ac:spMkLst>
            <pc:docMk/>
            <pc:sldMk cId="3374649050" sldId="274"/>
            <ac:spMk id="50" creationId="{0A6019E5-1B87-08DD-5369-AF110B9153BA}"/>
          </ac:spMkLst>
        </pc:spChg>
        <pc:spChg chg="add del mod modVis">
          <ac:chgData name="Joelle Brehm" userId="a518f54c-6985-42c0-8041-2bb16a414839" providerId="ADAL" clId="{34B1A95F-EFD8-4A1E-A46D-E288C53C0C68}" dt="2023-12-06T21:51:58.871" v="23181"/>
          <ac:spMkLst>
            <pc:docMk/>
            <pc:sldMk cId="3374649050" sldId="274"/>
            <ac:spMk id="52" creationId="{4F742219-CDF7-BB0A-429E-7E40EC2FB452}"/>
          </ac:spMkLst>
        </pc:spChg>
        <pc:spChg chg="mod ord">
          <ac:chgData name="Joelle Brehm" userId="a518f54c-6985-42c0-8041-2bb16a414839" providerId="ADAL" clId="{34B1A95F-EFD8-4A1E-A46D-E288C53C0C68}" dt="2023-12-06T21:51:58.865" v="23175"/>
          <ac:spMkLst>
            <pc:docMk/>
            <pc:sldMk cId="3374649050" sldId="274"/>
            <ac:spMk id="58" creationId="{5BBF118A-F952-4AA1-8B74-92A00B5F6171}"/>
          </ac:spMkLst>
        </pc:spChg>
        <pc:spChg chg="mod ord">
          <ac:chgData name="Joelle Brehm" userId="a518f54c-6985-42c0-8041-2bb16a414839" providerId="ADAL" clId="{34B1A95F-EFD8-4A1E-A46D-E288C53C0C68}" dt="2023-12-06T21:51:58.846" v="23154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51:58.847" v="23156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34B1A95F-EFD8-4A1E-A46D-E288C53C0C68}" dt="2023-12-06T21:51:55.181" v="22862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58.836" v="23141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58.838" v="23142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58.839" v="23143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51:58.848" v="23158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51:58.850" v="23160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51:58.857" v="23162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51:58.858" v="23164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51:58.860" v="23168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58.861" v="23169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1:58.862" v="23170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51:58.863" v="23171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51:58.899" v="23183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1:58.821" v="23116"/>
          <ac:graphicFrameMkLst>
            <pc:docMk/>
            <pc:sldMk cId="3374649050" sldId="274"/>
            <ac:graphicFrameMk id="8" creationId="{5C069909-F2C2-0109-A669-32160B26934D}"/>
          </ac:graphicFrameMkLst>
        </pc:graphicFrameChg>
        <pc:graphicFrameChg chg="del">
          <ac:chgData name="Joelle Brehm" userId="a518f54c-6985-42c0-8041-2bb16a414839" providerId="ADAL" clId="{34B1A95F-EFD8-4A1E-A46D-E288C53C0C68}" dt="2023-12-06T21:51:18.533" v="21823"/>
          <ac:graphicFrameMkLst>
            <pc:docMk/>
            <pc:sldMk cId="3374649050" sldId="274"/>
            <ac:graphicFrameMk id="10" creationId="{1E98D54F-8D4B-BB6A-56D0-CCB777D6E2B5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1:58.859" v="23166"/>
          <ac:graphicFrameMkLst>
            <pc:docMk/>
            <pc:sldMk cId="3374649050" sldId="274"/>
            <ac:graphicFrameMk id="37" creationId="{A200475F-1A3B-A34D-8BC1-2FCC6BA4B11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1:52.299" v="22764"/>
          <ac:graphicFrameMkLst>
            <pc:docMk/>
            <pc:sldMk cId="3374649050" sldId="274"/>
            <ac:graphicFrameMk id="47" creationId="{0C7E2785-3EBD-C9A9-4E42-997D1912DCE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1:55.289" v="22963"/>
          <ac:graphicFrameMkLst>
            <pc:docMk/>
            <pc:sldMk cId="3374649050" sldId="274"/>
            <ac:graphicFrameMk id="49" creationId="{857421F3-DD0A-7A75-E505-484F16F1D40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1:58.780" v="23102"/>
          <ac:graphicFrameMkLst>
            <pc:docMk/>
            <pc:sldMk cId="3374649050" sldId="274"/>
            <ac:graphicFrameMk id="51" creationId="{48B2C8ED-3D9A-4CB3-9692-D3FEB37BD0D5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1:58.836" v="23140"/>
          <ac:graphicFrameMkLst>
            <pc:docMk/>
            <pc:sldMk cId="3374649050" sldId="274"/>
            <ac:graphicFrameMk id="53" creationId="{C6AF2AF5-A2EC-0910-5679-DB2D6925BF09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1:46.077" v="22120"/>
          <ac:graphicFrameMkLst>
            <pc:docMk/>
            <pc:sldMk cId="3374649050" sldId="274"/>
            <ac:graphicFrameMk id="55" creationId="{110EA48B-7759-F1FB-92ED-CA0D362B1D30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1:51.847" v="22596"/>
          <ac:graphicFrameMkLst>
            <pc:docMk/>
            <pc:sldMk cId="3374649050" sldId="274"/>
            <ac:graphicFrameMk id="57" creationId="{EB1A9C6B-181C-17F7-2858-CF3D10FE364F}"/>
          </ac:graphicFrameMkLst>
        </pc:graphicFrameChg>
        <pc:picChg chg="add mod ord">
          <ac:chgData name="Joelle Brehm" userId="a518f54c-6985-42c0-8041-2bb16a414839" providerId="ADAL" clId="{34B1A95F-EFD8-4A1E-A46D-E288C53C0C68}" dt="2023-12-06T21:51:58.819" v="23110"/>
          <ac:picMkLst>
            <pc:docMk/>
            <pc:sldMk cId="3374649050" sldId="274"/>
            <ac:picMk id="9" creationId="{FF776E9B-FE0B-1E50-638F-2CF22FC72C60}"/>
          </ac:picMkLst>
        </pc:picChg>
        <pc:picChg chg="del mod ord">
          <ac:chgData name="Joelle Brehm" userId="a518f54c-6985-42c0-8041-2bb16a414839" providerId="ADAL" clId="{34B1A95F-EFD8-4A1E-A46D-E288C53C0C68}" dt="2023-12-06T21:51:38.098" v="21991" actId="478"/>
          <ac:picMkLst>
            <pc:docMk/>
            <pc:sldMk cId="3374649050" sldId="274"/>
            <ac:picMk id="31" creationId="{B37218C4-FA5F-C457-75AD-8EAE6010EC9B}"/>
          </ac:picMkLst>
        </pc:picChg>
        <pc:picChg chg="mod ord">
          <ac:chgData name="Joelle Brehm" userId="a518f54c-6985-42c0-8041-2bb16a414839" providerId="ADAL" clId="{34B1A95F-EFD8-4A1E-A46D-E288C53C0C68}" dt="2023-12-06T21:51:58.863" v="23173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51:58.821" v="23114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53:49.079" v="24730"/>
        <pc:sldMkLst>
          <pc:docMk/>
          <pc:sldMk cId="592117244" sldId="275"/>
        </pc:sldMkLst>
        <pc:spChg chg="add del mod">
          <ac:chgData name="Joelle Brehm" userId="a518f54c-6985-42c0-8041-2bb16a414839" providerId="ADAL" clId="{34B1A95F-EFD8-4A1E-A46D-E288C53C0C68}" dt="2023-12-06T21:52:17.327" v="23184" actId="478"/>
          <ac:spMkLst>
            <pc:docMk/>
            <pc:sldMk cId="592117244" sldId="275"/>
            <ac:spMk id="2" creationId="{8A52EEDC-6FF0-E90C-E421-C054A84F4F94}"/>
          </ac:spMkLst>
        </pc:spChg>
        <pc:spChg chg="mod ord">
          <ac:chgData name="Joelle Brehm" userId="a518f54c-6985-42c0-8041-2bb16a414839" providerId="ADAL" clId="{34B1A95F-EFD8-4A1E-A46D-E288C53C0C68}" dt="2023-12-06T21:53:49.063" v="24724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34B1A95F-EFD8-4A1E-A46D-E288C53C0C68}" dt="2023-12-06T21:52:21.641" v="23401"/>
          <ac:spMkLst>
            <pc:docMk/>
            <pc:sldMk cId="592117244" sldId="275"/>
            <ac:spMk id="5" creationId="{9F5CA701-C262-9C9A-60EC-FDC0C49977D5}"/>
          </ac:spMkLst>
        </pc:spChg>
        <pc:spChg chg="mod ord">
          <ac:chgData name="Joelle Brehm" userId="a518f54c-6985-42c0-8041-2bb16a414839" providerId="ADAL" clId="{34B1A95F-EFD8-4A1E-A46D-E288C53C0C68}" dt="2023-12-06T21:53:49.042" v="24659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53:49.045" v="24670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53:49.044" v="24666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53:49.044" v="24667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53:49.043" v="24664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53:49.043" v="24665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53:49.044" v="24668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53:49.045" v="24669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53:49.045" v="24671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53:49.046" v="24672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53:49.046" v="24673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53:49.046" v="24674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53:49.046" v="24675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53:49.047" v="24677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53:49.047" v="24678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53:49.049" v="24680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53:49.048" v="24679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53:49.050" v="24682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53:49.050" v="24683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53:49.049" v="24681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53:49.051" v="24685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53:49.054" v="24693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34B1A95F-EFD8-4A1E-A46D-E288C53C0C68}" dt="2023-12-06T21:53:49.054" v="24694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34B1A95F-EFD8-4A1E-A46D-E288C53C0C68}" dt="2023-12-06T21:53:49.054" v="24696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34B1A95F-EFD8-4A1E-A46D-E288C53C0C68}" dt="2023-12-06T21:53:49.054" v="24695"/>
          <ac:spMkLst>
            <pc:docMk/>
            <pc:sldMk cId="592117244" sldId="275"/>
            <ac:spMk id="35" creationId="{8A659545-7F46-0F9C-1180-4340FFF52971}"/>
          </ac:spMkLst>
        </pc:spChg>
        <pc:spChg chg="mod">
          <ac:chgData name="Joelle Brehm" userId="a518f54c-6985-42c0-8041-2bb16a414839" providerId="ADAL" clId="{34B1A95F-EFD8-4A1E-A46D-E288C53C0C68}" dt="2023-12-06T21:53:49.055" v="24698"/>
          <ac:spMkLst>
            <pc:docMk/>
            <pc:sldMk cId="592117244" sldId="275"/>
            <ac:spMk id="36" creationId="{C43BE2CA-3914-FB60-BCFB-2D4A26000593}"/>
          </ac:spMkLst>
        </pc:spChg>
        <pc:spChg chg="mod">
          <ac:chgData name="Joelle Brehm" userId="a518f54c-6985-42c0-8041-2bb16a414839" providerId="ADAL" clId="{34B1A95F-EFD8-4A1E-A46D-E288C53C0C68}" dt="2023-12-06T21:53:49.053" v="24692"/>
          <ac:spMkLst>
            <pc:docMk/>
            <pc:sldMk cId="592117244" sldId="275"/>
            <ac:spMk id="37" creationId="{90FA8FF8-BF43-F8ED-7D69-4D34F348E5E1}"/>
          </ac:spMkLst>
        </pc:spChg>
        <pc:spChg chg="add del mod modVis">
          <ac:chgData name="Joelle Brehm" userId="a518f54c-6985-42c0-8041-2bb16a414839" providerId="ADAL" clId="{34B1A95F-EFD8-4A1E-A46D-E288C53C0C68}" dt="2023-12-06T21:53:27.949" v="23682"/>
          <ac:spMkLst>
            <pc:docMk/>
            <pc:sldMk cId="592117244" sldId="275"/>
            <ac:spMk id="38" creationId="{F36FD77B-4F51-563A-B586-F3F8A7C6AA65}"/>
          </ac:spMkLst>
        </pc:spChg>
        <pc:spChg chg="mod">
          <ac:chgData name="Joelle Brehm" userId="a518f54c-6985-42c0-8041-2bb16a414839" providerId="ADAL" clId="{34B1A95F-EFD8-4A1E-A46D-E288C53C0C68}" dt="2023-12-06T21:53:49.053" v="24691"/>
          <ac:spMkLst>
            <pc:docMk/>
            <pc:sldMk cId="592117244" sldId="275"/>
            <ac:spMk id="39" creationId="{1EFCB791-16E1-BC87-1C92-0DDD24DA7D5F}"/>
          </ac:spMkLst>
        </pc:spChg>
        <pc:spChg chg="mod">
          <ac:chgData name="Joelle Brehm" userId="a518f54c-6985-42c0-8041-2bb16a414839" providerId="ADAL" clId="{34B1A95F-EFD8-4A1E-A46D-E288C53C0C68}" dt="2023-12-06T21:53:49.055" v="24697"/>
          <ac:spMkLst>
            <pc:docMk/>
            <pc:sldMk cId="592117244" sldId="275"/>
            <ac:spMk id="40" creationId="{EA684AFB-C218-2E57-6C22-6AF81611FBE3}"/>
          </ac:spMkLst>
        </pc:spChg>
        <pc:spChg chg="add mod replST">
          <ac:chgData name="Joelle Brehm" userId="a518f54c-6985-42c0-8041-2bb16a414839" providerId="ADAL" clId="{34B1A95F-EFD8-4A1E-A46D-E288C53C0C68}" dt="2023-12-06T21:53:49.055" v="24699"/>
          <ac:spMkLst>
            <pc:docMk/>
            <pc:sldMk cId="592117244" sldId="275"/>
            <ac:spMk id="42" creationId="{7AECD966-6D66-1191-E056-C35E4AC93D68}"/>
          </ac:spMkLst>
        </pc:spChg>
        <pc:spChg chg="add del mod modVis">
          <ac:chgData name="Joelle Brehm" userId="a518f54c-6985-42c0-8041-2bb16a414839" providerId="ADAL" clId="{34B1A95F-EFD8-4A1E-A46D-E288C53C0C68}" dt="2023-12-06T21:53:37.596" v="24110"/>
          <ac:spMkLst>
            <pc:docMk/>
            <pc:sldMk cId="592117244" sldId="275"/>
            <ac:spMk id="43" creationId="{38D6D574-6085-5DD8-D608-0FCEAC03A2D9}"/>
          </ac:spMkLst>
        </pc:spChg>
        <pc:spChg chg="add del mod ord replST">
          <ac:chgData name="Joelle Brehm" userId="a518f54c-6985-42c0-8041-2bb16a414839" providerId="ADAL" clId="{34B1A95F-EFD8-4A1E-A46D-E288C53C0C68}" dt="2023-12-06T21:53:40.775" v="24376"/>
          <ac:spMkLst>
            <pc:docMk/>
            <pc:sldMk cId="592117244" sldId="275"/>
            <ac:spMk id="44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1:53:39.062" v="24283"/>
          <ac:spMkLst>
            <pc:docMk/>
            <pc:sldMk cId="592117244" sldId="275"/>
            <ac:spMk id="46" creationId="{D8A77136-A4BC-2088-9F6B-C15AF9C17ACB}"/>
          </ac:spMkLst>
        </pc:spChg>
        <pc:spChg chg="add del mod modVis">
          <ac:chgData name="Joelle Brehm" userId="a518f54c-6985-42c0-8041-2bb16a414839" providerId="ADAL" clId="{34B1A95F-EFD8-4A1E-A46D-E288C53C0C68}" dt="2023-12-06T21:53:40.910" v="24464"/>
          <ac:spMkLst>
            <pc:docMk/>
            <pc:sldMk cId="592117244" sldId="275"/>
            <ac:spMk id="49" creationId="{CE71CF9C-A247-0FCC-F207-47CFFD81940B}"/>
          </ac:spMkLst>
        </pc:spChg>
        <pc:spChg chg="add del mod modVis">
          <ac:chgData name="Joelle Brehm" userId="a518f54c-6985-42c0-8041-2bb16a414839" providerId="ADAL" clId="{34B1A95F-EFD8-4A1E-A46D-E288C53C0C68}" dt="2023-12-06T21:53:45.353" v="24596"/>
          <ac:spMkLst>
            <pc:docMk/>
            <pc:sldMk cId="592117244" sldId="275"/>
            <ac:spMk id="51" creationId="{47415E7E-1311-3AB8-0E8E-8A84643DC3FB}"/>
          </ac:spMkLst>
        </pc:spChg>
        <pc:spChg chg="add del mod modVis">
          <ac:chgData name="Joelle Brehm" userId="a518f54c-6985-42c0-8041-2bb16a414839" providerId="ADAL" clId="{34B1A95F-EFD8-4A1E-A46D-E288C53C0C68}" dt="2023-12-06T21:53:49.065" v="24728"/>
          <ac:spMkLst>
            <pc:docMk/>
            <pc:sldMk cId="592117244" sldId="275"/>
            <ac:spMk id="54" creationId="{EEEBA425-ADBC-27B7-1330-788C3018C9A9}"/>
          </ac:spMkLst>
        </pc:spChg>
        <pc:spChg chg="mod ord">
          <ac:chgData name="Joelle Brehm" userId="a518f54c-6985-42c0-8041-2bb16a414839" providerId="ADAL" clId="{34B1A95F-EFD8-4A1E-A46D-E288C53C0C68}" dt="2023-12-06T21:53:49.063" v="24722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34B1A95F-EFD8-4A1E-A46D-E288C53C0C68}" dt="2023-12-06T21:53:49.056" v="24701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53:49.057" v="24703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34B1A95F-EFD8-4A1E-A46D-E288C53C0C68}" dt="2023-12-06T21:53:40.600" v="24286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3:49.052" v="24688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3:49.052" v="24689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3:49.053" v="24690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53:49.057" v="24705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53:49.058" v="24707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53:49.059" v="24709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53:49.059" v="24711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53:49.060" v="24714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3:49.061" v="24715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3:49.061" v="24716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3:49.061" v="24717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53:49.062" v="24718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53:49.079" v="24730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1:52:21.529" v="23318"/>
          <ac:graphicFrameMkLst>
            <pc:docMk/>
            <pc:sldMk cId="592117244" sldId="275"/>
            <ac:graphicFrameMk id="8" creationId="{447D923D-73CC-FEEA-AADB-B51D03D36C2C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3:49.043" v="24663"/>
          <ac:graphicFrameMkLst>
            <pc:docMk/>
            <pc:sldMk cId="592117244" sldId="275"/>
            <ac:graphicFrameMk id="9" creationId="{F4FA1353-58D4-BA3F-A600-3A9C8BF8BDA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3:49.060" v="24713"/>
          <ac:graphicFrameMkLst>
            <pc:docMk/>
            <pc:sldMk cId="592117244" sldId="275"/>
            <ac:graphicFrameMk id="41" creationId="{4832E055-1E32-B6F6-8AAB-0C9D76FB08F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3:38.903" v="24190"/>
          <ac:graphicFrameMkLst>
            <pc:docMk/>
            <pc:sldMk cId="592117244" sldId="275"/>
            <ac:graphicFrameMk id="45" creationId="{1A816F30-ADE5-45E4-8345-41D2A7029D96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3:37.414" v="24022"/>
          <ac:graphicFrameMkLst>
            <pc:docMk/>
            <pc:sldMk cId="592117244" sldId="275"/>
            <ac:graphicFrameMk id="47" creationId="{5146C9D6-FDCE-B550-0DF4-F1460DECB76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3:40.787" v="24385"/>
          <ac:graphicFrameMkLst>
            <pc:docMk/>
            <pc:sldMk cId="592117244" sldId="275"/>
            <ac:graphicFrameMk id="48" creationId="{DC2B5636-3644-9FF5-9916-B3B6DB1D2524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3:45.188" v="24517"/>
          <ac:graphicFrameMkLst>
            <pc:docMk/>
            <pc:sldMk cId="592117244" sldId="275"/>
            <ac:graphicFrameMk id="50" creationId="{99B20B19-3DC4-734D-1A14-106E5F918358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3:27.876" v="23603"/>
          <ac:graphicFrameMkLst>
            <pc:docMk/>
            <pc:sldMk cId="592117244" sldId="275"/>
            <ac:graphicFrameMk id="52" creationId="{68B6EF25-3BF2-F374-DB7A-A90679F798A1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3:49.014" v="24649"/>
          <ac:graphicFrameMkLst>
            <pc:docMk/>
            <pc:sldMk cId="592117244" sldId="275"/>
            <ac:graphicFrameMk id="53" creationId="{7AFBFF7D-C881-069D-3BD9-22943EACD70B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3:49.052" v="24687"/>
          <ac:graphicFrameMkLst>
            <pc:docMk/>
            <pc:sldMk cId="592117244" sldId="275"/>
            <ac:graphicFrameMk id="55" creationId="{757E458B-8FA6-827E-60E9-6A28EB81458F}"/>
          </ac:graphicFrameMkLst>
        </pc:graphicFrameChg>
        <pc:picChg chg="add mod ord">
          <ac:chgData name="Joelle Brehm" userId="a518f54c-6985-42c0-8041-2bb16a414839" providerId="ADAL" clId="{34B1A95F-EFD8-4A1E-A46D-E288C53C0C68}" dt="2023-12-06T21:53:49.041" v="24657"/>
          <ac:picMkLst>
            <pc:docMk/>
            <pc:sldMk cId="592117244" sldId="275"/>
            <ac:picMk id="10" creationId="{BE53C81F-C5BC-243F-FDCA-D269D1141B2C}"/>
          </ac:picMkLst>
        </pc:picChg>
        <pc:picChg chg="del mod ord">
          <ac:chgData name="Joelle Brehm" userId="a518f54c-6985-42c0-8041-2bb16a414839" providerId="ADAL" clId="{34B1A95F-EFD8-4A1E-A46D-E288C53C0C68}" dt="2023-12-06T21:52:40.961" v="23488" actId="478"/>
          <ac:picMkLst>
            <pc:docMk/>
            <pc:sldMk cId="592117244" sldId="275"/>
            <ac:picMk id="31" creationId="{EAE47032-BB3F-55A6-7B27-F4A15F8D151F}"/>
          </ac:picMkLst>
        </pc:picChg>
        <pc:picChg chg="mod ord">
          <ac:chgData name="Joelle Brehm" userId="a518f54c-6985-42c0-8041-2bb16a414839" providerId="ADAL" clId="{34B1A95F-EFD8-4A1E-A46D-E288C53C0C68}" dt="2023-12-06T21:53:49.062" v="24720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53:49.042" v="24661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54:35.811" v="26335"/>
        <pc:sldMkLst>
          <pc:docMk/>
          <pc:sldMk cId="3358644479" sldId="276"/>
        </pc:sldMkLst>
        <pc:spChg chg="mod ord">
          <ac:chgData name="Joelle Brehm" userId="a518f54c-6985-42c0-8041-2bb16a414839" providerId="ADAL" clId="{34B1A95F-EFD8-4A1E-A46D-E288C53C0C68}" dt="2023-12-06T21:54:35.774" v="26329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34B1A95F-EFD8-4A1E-A46D-E288C53C0C68}" dt="2023-12-06T21:53:53.050" v="24731" actId="478"/>
          <ac:spMkLst>
            <pc:docMk/>
            <pc:sldMk cId="3358644479" sldId="276"/>
            <ac:spMk id="3" creationId="{2D665029-C32D-84A5-944F-C38461FC66AE}"/>
          </ac:spMkLst>
        </pc:spChg>
        <pc:spChg chg="add del mod modVis">
          <ac:chgData name="Joelle Brehm" userId="a518f54c-6985-42c0-8041-2bb16a414839" providerId="ADAL" clId="{34B1A95F-EFD8-4A1E-A46D-E288C53C0C68}" dt="2023-12-06T21:54:04.946" v="24930"/>
          <ac:spMkLst>
            <pc:docMk/>
            <pc:sldMk cId="3358644479" sldId="276"/>
            <ac:spMk id="5" creationId="{84806A14-F492-FE43-0BB5-1AA7D6B27AC3}"/>
          </ac:spMkLst>
        </pc:spChg>
        <pc:spChg chg="mod ord">
          <ac:chgData name="Joelle Brehm" userId="a518f54c-6985-42c0-8041-2bb16a414839" providerId="ADAL" clId="{34B1A95F-EFD8-4A1E-A46D-E288C53C0C68}" dt="2023-12-06T21:54:35.729" v="26264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54:35.751" v="26297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34B1A95F-EFD8-4A1E-A46D-E288C53C0C68}" dt="2023-12-06T21:54:35.734" v="26275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54:35.732" v="26271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54:35.733" v="26272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54:35.732" v="26269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54:35.732" v="26270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54:35.733" v="26273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54:35.733" v="26274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54:35.736" v="26276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54:35.737" v="26277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54:35.738" v="26278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54:35.738" v="26279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54:35.739" v="26280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54:35.741" v="26282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54:35.742" v="26283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54:35.743" v="26285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54:35.742" v="26284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54:35.745" v="26287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54:35.746" v="26288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54:35.744" v="26286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54:35.747" v="26290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54:35.750" v="26294"/>
          <ac:spMkLst>
            <pc:docMk/>
            <pc:sldMk cId="3358644479" sldId="276"/>
            <ac:spMk id="32" creationId="{8D25BC14-41C5-8647-5CC0-BE12A57BA555}"/>
          </ac:spMkLst>
        </pc:spChg>
        <pc:spChg chg="add del mod modVis">
          <ac:chgData name="Joelle Brehm" userId="a518f54c-6985-42c0-8041-2bb16a414839" providerId="ADAL" clId="{34B1A95F-EFD8-4A1E-A46D-E288C53C0C68}" dt="2023-12-06T21:54:24.578" v="25230"/>
          <ac:spMkLst>
            <pc:docMk/>
            <pc:sldMk cId="3358644479" sldId="276"/>
            <ac:spMk id="34" creationId="{E06861F2-9C7A-700F-602F-6F3F0DACC299}"/>
          </ac:spMkLst>
        </pc:spChg>
        <pc:spChg chg="del mod">
          <ac:chgData name="Joelle Brehm" userId="a518f54c-6985-42c0-8041-2bb16a414839" providerId="ADAL" clId="{34B1A95F-EFD8-4A1E-A46D-E288C53C0C68}" dt="2023-12-06T21:54:35.506" v="26155"/>
          <ac:spMkLst>
            <pc:docMk/>
            <pc:sldMk cId="3358644479" sldId="276"/>
            <ac:spMk id="35" creationId="{F6E5A8F3-72AC-F44C-CACB-ED952FD27440}"/>
          </ac:spMkLst>
        </pc:spChg>
        <pc:spChg chg="mod">
          <ac:chgData name="Joelle Brehm" userId="a518f54c-6985-42c0-8041-2bb16a414839" providerId="ADAL" clId="{34B1A95F-EFD8-4A1E-A46D-E288C53C0C68}" dt="2023-12-06T21:54:35.754" v="26303"/>
          <ac:spMkLst>
            <pc:docMk/>
            <pc:sldMk cId="3358644479" sldId="276"/>
            <ac:spMk id="36" creationId="{4467CB91-DB37-223E-6BCD-75143BB1B4BC}"/>
          </ac:spMkLst>
        </pc:spChg>
        <pc:spChg chg="mod">
          <ac:chgData name="Joelle Brehm" userId="a518f54c-6985-42c0-8041-2bb16a414839" providerId="ADAL" clId="{34B1A95F-EFD8-4A1E-A46D-E288C53C0C68}" dt="2023-12-06T21:54:35.749" v="26293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34B1A95F-EFD8-4A1E-A46D-E288C53C0C68}" dt="2023-12-06T21:54:35.750" v="26295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34B1A95F-EFD8-4A1E-A46D-E288C53C0C68}" dt="2023-12-06T21:54:35.768" v="26321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34B1A95F-EFD8-4A1E-A46D-E288C53C0C68}" dt="2023-12-06T21:54:35.769" v="26322"/>
          <ac:spMkLst>
            <pc:docMk/>
            <pc:sldMk cId="3358644479" sldId="276"/>
            <ac:spMk id="40" creationId="{BF422452-141B-CCA7-F304-DD7C41C4B026}"/>
          </ac:spMkLst>
        </pc:spChg>
        <pc:spChg chg="mod">
          <ac:chgData name="Joelle Brehm" userId="a518f54c-6985-42c0-8041-2bb16a414839" providerId="ADAL" clId="{34B1A95F-EFD8-4A1E-A46D-E288C53C0C68}" dt="2023-12-06T21:54:35.752" v="26300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34B1A95F-EFD8-4A1E-A46D-E288C53C0C68}" dt="2023-12-06T21:54:35.751" v="26298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34B1A95F-EFD8-4A1E-A46D-E288C53C0C68}" dt="2023-12-06T21:54:35.750" v="26296"/>
          <ac:spMkLst>
            <pc:docMk/>
            <pc:sldMk cId="3358644479" sldId="276"/>
            <ac:spMk id="44" creationId="{5C64EA04-B56C-CC91-D9A7-8AB0C80D5C79}"/>
          </ac:spMkLst>
        </pc:spChg>
        <pc:spChg chg="mod">
          <ac:chgData name="Joelle Brehm" userId="a518f54c-6985-42c0-8041-2bb16a414839" providerId="ADAL" clId="{34B1A95F-EFD8-4A1E-A46D-E288C53C0C68}" dt="2023-12-06T21:54:35.753" v="26301"/>
          <ac:spMkLst>
            <pc:docMk/>
            <pc:sldMk cId="3358644479" sldId="276"/>
            <ac:spMk id="45" creationId="{E2BF77D0-7FDB-BE38-6486-446042D2E6CA}"/>
          </ac:spMkLst>
        </pc:spChg>
        <pc:spChg chg="add del mod modVis">
          <ac:chgData name="Joelle Brehm" userId="a518f54c-6985-42c0-8041-2bb16a414839" providerId="ADAL" clId="{34B1A95F-EFD8-4A1E-A46D-E288C53C0C68}" dt="2023-12-06T21:54:26.791" v="25599"/>
          <ac:spMkLst>
            <pc:docMk/>
            <pc:sldMk cId="3358644479" sldId="276"/>
            <ac:spMk id="46" creationId="{BD5AD5E5-019E-085E-4CA7-5DDC7A4A497A}"/>
          </ac:spMkLst>
        </pc:spChg>
        <pc:spChg chg="add del mod replST">
          <ac:chgData name="Joelle Brehm" userId="a518f54c-6985-42c0-8041-2bb16a414839" providerId="ADAL" clId="{34B1A95F-EFD8-4A1E-A46D-E288C53C0C68}" dt="2023-12-06T21:54:28.056" v="25652"/>
          <ac:spMkLst>
            <pc:docMk/>
            <pc:sldMk cId="3358644479" sldId="276"/>
            <ac:spMk id="47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4:35.752" v="26299"/>
          <ac:spMkLst>
            <pc:docMk/>
            <pc:sldMk cId="3358644479" sldId="276"/>
            <ac:spMk id="49" creationId="{D4F90E1C-EAB9-BF7D-5820-940E92571336}"/>
          </ac:spMkLst>
        </pc:spChg>
        <pc:spChg chg="mod">
          <ac:chgData name="Joelle Brehm" userId="a518f54c-6985-42c0-8041-2bb16a414839" providerId="ADAL" clId="{34B1A95F-EFD8-4A1E-A46D-E288C53C0C68}" dt="2023-12-06T21:54:35.753" v="26302"/>
          <ac:spMkLst>
            <pc:docMk/>
            <pc:sldMk cId="3358644479" sldId="276"/>
            <ac:spMk id="50" creationId="{EBF57C44-6BCA-2A9E-015B-FE2A2654B397}"/>
          </ac:spMkLst>
        </pc:spChg>
        <pc:spChg chg="add del mod modVis">
          <ac:chgData name="Joelle Brehm" userId="a518f54c-6985-42c0-8041-2bb16a414839" providerId="ADAL" clId="{34B1A95F-EFD8-4A1E-A46D-E288C53C0C68}" dt="2023-12-06T21:54:28.220" v="25733"/>
          <ac:spMkLst>
            <pc:docMk/>
            <pc:sldMk cId="3358644479" sldId="276"/>
            <ac:spMk id="51" creationId="{042E821E-9609-C80C-832F-303002B89109}"/>
          </ac:spMkLst>
        </pc:spChg>
        <pc:spChg chg="add mod replST">
          <ac:chgData name="Joelle Brehm" userId="a518f54c-6985-42c0-8041-2bb16a414839" providerId="ADAL" clId="{34B1A95F-EFD8-4A1E-A46D-E288C53C0C68}" dt="2023-12-06T21:54:35.755" v="26304"/>
          <ac:spMkLst>
            <pc:docMk/>
            <pc:sldMk cId="3358644479" sldId="276"/>
            <ac:spMk id="53" creationId="{319F4068-5046-76B4-073D-72CEC16CD1EA}"/>
          </ac:spMkLst>
        </pc:spChg>
        <pc:spChg chg="add del mod modVis">
          <ac:chgData name="Joelle Brehm" userId="a518f54c-6985-42c0-8041-2bb16a414839" providerId="ADAL" clId="{34B1A95F-EFD8-4A1E-A46D-E288C53C0C68}" dt="2023-12-06T21:54:31.474" v="26015"/>
          <ac:spMkLst>
            <pc:docMk/>
            <pc:sldMk cId="3358644479" sldId="276"/>
            <ac:spMk id="54" creationId="{C9166EC5-C1DC-4FAB-B39C-B17A61BD3432}"/>
          </ac:spMkLst>
        </pc:spChg>
        <pc:spChg chg="add del mod ord replST">
          <ac:chgData name="Joelle Brehm" userId="a518f54c-6985-42c0-8041-2bb16a414839" providerId="ADAL" clId="{34B1A95F-EFD8-4A1E-A46D-E288C53C0C68}" dt="2023-12-06T21:54:35.653" v="26231"/>
          <ac:spMkLst>
            <pc:docMk/>
            <pc:sldMk cId="3358644479" sldId="276"/>
            <ac:spMk id="55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1:54:35.773" v="26327"/>
          <ac:spMkLst>
            <pc:docMk/>
            <pc:sldMk cId="3358644479" sldId="276"/>
            <ac:spMk id="58" creationId="{0CB06D1E-8664-4C1B-9ACF-854D6C46B776}"/>
          </ac:spMkLst>
        </pc:spChg>
        <pc:spChg chg="mod">
          <ac:chgData name="Joelle Brehm" userId="a518f54c-6985-42c0-8041-2bb16a414839" providerId="ADAL" clId="{34B1A95F-EFD8-4A1E-A46D-E288C53C0C68}" dt="2023-12-06T21:54:35.770" v="26323"/>
          <ac:spMkLst>
            <pc:docMk/>
            <pc:sldMk cId="3358644479" sldId="276"/>
            <ac:spMk id="59" creationId="{5164D3E0-C681-43D3-E345-132BB4AD109F}"/>
          </ac:spMkLst>
        </pc:spChg>
        <pc:spChg chg="add del mod modVis">
          <ac:chgData name="Joelle Brehm" userId="a518f54c-6985-42c0-8041-2bb16a414839" providerId="ADAL" clId="{34B1A95F-EFD8-4A1E-A46D-E288C53C0C68}" dt="2023-12-06T21:54:33.970" v="26152"/>
          <ac:spMkLst>
            <pc:docMk/>
            <pc:sldMk cId="3358644479" sldId="276"/>
            <ac:spMk id="60" creationId="{F3CFD76D-11B2-A0EC-529A-E5BF2DE597B5}"/>
          </ac:spMkLst>
        </pc:spChg>
        <pc:spChg chg="add del mod modVis">
          <ac:chgData name="Joelle Brehm" userId="a518f54c-6985-42c0-8041-2bb16a414839" providerId="ADAL" clId="{34B1A95F-EFD8-4A1E-A46D-E288C53C0C68}" dt="2023-12-06T21:54:35.778" v="26333"/>
          <ac:spMkLst>
            <pc:docMk/>
            <pc:sldMk cId="3358644479" sldId="276"/>
            <ac:spMk id="62" creationId="{26A9AB37-E6BB-0684-3A25-CDE61AFD7587}"/>
          </ac:spMkLst>
        </pc:spChg>
        <pc:spChg chg="mod ord">
          <ac:chgData name="Joelle Brehm" userId="a518f54c-6985-42c0-8041-2bb16a414839" providerId="ADAL" clId="{34B1A95F-EFD8-4A1E-A46D-E288C53C0C68}" dt="2023-12-06T21:54:35.756" v="26306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54:35.758" v="26308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1:54:35.759" v="26310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54:35.761" v="26312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54:35.762" v="26314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54:35.764" v="26316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54:35.766" v="26319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4:35.767" v="26320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34B1A95F-EFD8-4A1E-A46D-E288C53C0C68}" dt="2023-12-06T21:54:35.811" v="26335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1:54:04.860" v="24842"/>
          <ac:graphicFrameMkLst>
            <pc:docMk/>
            <pc:sldMk cId="3358644479" sldId="276"/>
            <ac:graphicFrameMk id="8" creationId="{7BE8D314-9437-604B-0FB9-C87420345213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4:35.731" v="26268"/>
          <ac:graphicFrameMkLst>
            <pc:docMk/>
            <pc:sldMk cId="3358644479" sldId="276"/>
            <ac:graphicFrameMk id="9" creationId="{5B26DAC3-551D-4056-7256-746E653C7CED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4:35.765" v="26318"/>
          <ac:graphicFrameMkLst>
            <pc:docMk/>
            <pc:sldMk cId="3358644479" sldId="276"/>
            <ac:graphicFrameMk id="43" creationId="{88E32A7D-16AB-6ED0-15FC-97DAA8616DF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4:28.061" v="25654"/>
          <ac:graphicFrameMkLst>
            <pc:docMk/>
            <pc:sldMk cId="3358644479" sldId="276"/>
            <ac:graphicFrameMk id="48" creationId="{5A51A4FB-29EF-1519-A846-E411836A19B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4:31.406" v="25922"/>
          <ac:graphicFrameMkLst>
            <pc:docMk/>
            <pc:sldMk cId="3358644479" sldId="276"/>
            <ac:graphicFrameMk id="52" creationId="{CF9E9AB4-C56C-E394-988C-79E9A5713510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4:26.718" v="25517"/>
          <ac:graphicFrameMkLst>
            <pc:docMk/>
            <pc:sldMk cId="3358644479" sldId="276"/>
            <ac:graphicFrameMk id="56" creationId="{E207C654-CE72-83C0-DB0B-4F07EA0C8C5E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4:33.903" v="26070"/>
          <ac:graphicFrameMkLst>
            <pc:docMk/>
            <pc:sldMk cId="3358644479" sldId="276"/>
            <ac:graphicFrameMk id="57" creationId="{0A806D07-27B9-EB27-51F7-BCA463311B32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4:35.675" v="26254"/>
          <ac:graphicFrameMkLst>
            <pc:docMk/>
            <pc:sldMk cId="3358644479" sldId="276"/>
            <ac:graphicFrameMk id="61" creationId="{50662DF3-7671-192B-C5C4-D2B2CC037FB4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4:24.450" v="25151"/>
          <ac:graphicFrameMkLst>
            <pc:docMk/>
            <pc:sldMk cId="3358644479" sldId="276"/>
            <ac:graphicFrameMk id="63" creationId="{FCD5B4A8-56BC-E7CD-BDF8-74BE7C56997E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4:35.749" v="26292"/>
          <ac:graphicFrameMkLst>
            <pc:docMk/>
            <pc:sldMk cId="3358644479" sldId="276"/>
            <ac:graphicFrameMk id="64" creationId="{50D0B91C-117E-CBEE-34BA-DAF259F6E607}"/>
          </ac:graphicFrameMkLst>
        </pc:graphicFrameChg>
        <pc:picChg chg="add mod ord">
          <ac:chgData name="Joelle Brehm" userId="a518f54c-6985-42c0-8041-2bb16a414839" providerId="ADAL" clId="{34B1A95F-EFD8-4A1E-A46D-E288C53C0C68}" dt="2023-12-06T21:54:35.727" v="26262"/>
          <ac:picMkLst>
            <pc:docMk/>
            <pc:sldMk cId="3358644479" sldId="276"/>
            <ac:picMk id="31" creationId="{978FD691-4A7B-3CB5-993B-008E086C7157}"/>
          </ac:picMkLst>
        </pc:picChg>
        <pc:picChg chg="del mod ord">
          <ac:chgData name="Joelle Brehm" userId="a518f54c-6985-42c0-8041-2bb16a414839" providerId="ADAL" clId="{34B1A95F-EFD8-4A1E-A46D-E288C53C0C68}" dt="2023-12-06T21:54:16.091" v="25013" actId="478"/>
          <ac:picMkLst>
            <pc:docMk/>
            <pc:sldMk cId="3358644479" sldId="276"/>
            <ac:picMk id="33" creationId="{24F72C68-593E-3C46-2F6F-60618E58FC49}"/>
          </ac:picMkLst>
        </pc:picChg>
        <pc:picChg chg="mod ord">
          <ac:chgData name="Joelle Brehm" userId="a518f54c-6985-42c0-8041-2bb16a414839" providerId="ADAL" clId="{34B1A95F-EFD8-4A1E-A46D-E288C53C0C68}" dt="2023-12-06T21:54:35.771" v="26325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54:35.730" v="26266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57:23.409" v="27630"/>
        <pc:sldMkLst>
          <pc:docMk/>
          <pc:sldMk cId="1336352168" sldId="277"/>
        </pc:sldMkLst>
        <pc:spChg chg="mod ord">
          <ac:chgData name="Joelle Brehm" userId="a518f54c-6985-42c0-8041-2bb16a414839" providerId="ADAL" clId="{34B1A95F-EFD8-4A1E-A46D-E288C53C0C68}" dt="2023-12-06T21:57:23.381" v="27624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34B1A95F-EFD8-4A1E-A46D-E288C53C0C68}" dt="2023-12-06T21:56:31.125" v="26336" actId="478"/>
          <ac:spMkLst>
            <pc:docMk/>
            <pc:sldMk cId="1336352168" sldId="277"/>
            <ac:spMk id="3" creationId="{2D6DF94F-DEE1-E789-B905-910F441C47B2}"/>
          </ac:spMkLst>
        </pc:spChg>
        <pc:spChg chg="add del mod modVis">
          <ac:chgData name="Joelle Brehm" userId="a518f54c-6985-42c0-8041-2bb16a414839" providerId="ADAL" clId="{34B1A95F-EFD8-4A1E-A46D-E288C53C0C68}" dt="2023-12-06T21:56:36.635" v="26563"/>
          <ac:spMkLst>
            <pc:docMk/>
            <pc:sldMk cId="1336352168" sldId="277"/>
            <ac:spMk id="5" creationId="{B1E5CBB7-2184-781B-B7AF-6927DA119B7E}"/>
          </ac:spMkLst>
        </pc:spChg>
        <pc:spChg chg="mod ord">
          <ac:chgData name="Joelle Brehm" userId="a518f54c-6985-42c0-8041-2bb16a414839" providerId="ADAL" clId="{34B1A95F-EFD8-4A1E-A46D-E288C53C0C68}" dt="2023-12-06T21:57:23.345" v="27559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57:23.351" v="27570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57:23.349" v="27566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57:23.349" v="27567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57:23.348" v="27564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57:23.348" v="27565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57:23.350" v="27568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57:23.350" v="27569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57:23.351" v="27571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57:23.351" v="27572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57:23.352" v="27573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57:23.352" v="27574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57:23.353" v="27575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57:23.353" v="27577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57:23.354" v="27578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57:23.355" v="27580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57:23.354" v="27579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57:23.356" v="27582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57:23.356" v="27583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57:23.355" v="27581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57:23.357" v="27585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57:23.365" v="27598"/>
          <ac:spMkLst>
            <pc:docMk/>
            <pc:sldMk cId="1336352168" sldId="277"/>
            <ac:spMk id="32" creationId="{74CF8B3F-36F6-9332-CFE2-CF317BED3193}"/>
          </ac:spMkLst>
        </pc:spChg>
        <pc:spChg chg="add del mod modVis">
          <ac:chgData name="Joelle Brehm" userId="a518f54c-6985-42c0-8041-2bb16a414839" providerId="ADAL" clId="{34B1A95F-EFD8-4A1E-A46D-E288C53C0C68}" dt="2023-12-06T21:57:12.918" v="26840"/>
          <ac:spMkLst>
            <pc:docMk/>
            <pc:sldMk cId="1336352168" sldId="277"/>
            <ac:spMk id="33" creationId="{37A46BAE-709C-BC22-7329-1188541CD7C3}"/>
          </ac:spMkLst>
        </pc:spChg>
        <pc:spChg chg="del mod">
          <ac:chgData name="Joelle Brehm" userId="a518f54c-6985-42c0-8041-2bb16a414839" providerId="ADAL" clId="{34B1A95F-EFD8-4A1E-A46D-E288C53C0C68}" dt="2023-12-06T21:57:23.188" v="27448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34B1A95F-EFD8-4A1E-A46D-E288C53C0C68}" dt="2023-12-06T21:57:23.359" v="27588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34B1A95F-EFD8-4A1E-A46D-E288C53C0C68}" dt="2023-12-06T21:57:23.360" v="27589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34B1A95F-EFD8-4A1E-A46D-E288C53C0C68}" dt="2023-12-06T21:57:23.360" v="27590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34B1A95F-EFD8-4A1E-A46D-E288C53C0C68}" dt="2023-12-06T21:57:23.362" v="27592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34B1A95F-EFD8-4A1E-A46D-E288C53C0C68}" dt="2023-12-06T21:57:23.362" v="27593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34B1A95F-EFD8-4A1E-A46D-E288C53C0C68}" dt="2023-12-06T21:57:23.364" v="27595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34B1A95F-EFD8-4A1E-A46D-E288C53C0C68}" dt="2023-12-06T21:57:23.364" v="27596"/>
          <ac:spMkLst>
            <pc:docMk/>
            <pc:sldMk cId="1336352168" sldId="277"/>
            <ac:spMk id="42" creationId="{04656030-ED65-550D-E841-3EC7F85E35CF}"/>
          </ac:spMkLst>
        </pc:spChg>
        <pc:spChg chg="mod">
          <ac:chgData name="Joelle Brehm" userId="a518f54c-6985-42c0-8041-2bb16a414839" providerId="ADAL" clId="{34B1A95F-EFD8-4A1E-A46D-E288C53C0C68}" dt="2023-12-06T21:57:23.361" v="27591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34B1A95F-EFD8-4A1E-A46D-E288C53C0C68}" dt="2023-12-06T21:57:23.363" v="27594"/>
          <ac:spMkLst>
            <pc:docMk/>
            <pc:sldMk cId="1336352168" sldId="277"/>
            <ac:spMk id="44" creationId="{948C7430-EE17-A200-FEA6-849EEC95829A}"/>
          </ac:spMkLst>
        </pc:spChg>
        <pc:spChg chg="add mod replST">
          <ac:chgData name="Joelle Brehm" userId="a518f54c-6985-42c0-8041-2bb16a414839" providerId="ADAL" clId="{34B1A95F-EFD8-4A1E-A46D-E288C53C0C68}" dt="2023-12-06T21:57:23.366" v="27599"/>
          <ac:spMkLst>
            <pc:docMk/>
            <pc:sldMk cId="1336352168" sldId="277"/>
            <ac:spMk id="45" creationId="{D04E5C9A-B84D-E68D-0174-8A803F9459C0}"/>
          </ac:spMkLst>
        </pc:spChg>
        <pc:spChg chg="mod">
          <ac:chgData name="Joelle Brehm" userId="a518f54c-6985-42c0-8041-2bb16a414839" providerId="ADAL" clId="{34B1A95F-EFD8-4A1E-A46D-E288C53C0C68}" dt="2023-12-06T21:57:23.365" v="27597"/>
          <ac:spMkLst>
            <pc:docMk/>
            <pc:sldMk cId="1336352168" sldId="277"/>
            <ac:spMk id="46" creationId="{F7A7DC41-8925-BEE0-D237-2FE7B5C8A67F}"/>
          </ac:spMkLst>
        </pc:spChg>
        <pc:spChg chg="add del mod modVis">
          <ac:chgData name="Joelle Brehm" userId="a518f54c-6985-42c0-8041-2bb16a414839" providerId="ADAL" clId="{34B1A95F-EFD8-4A1E-A46D-E288C53C0C68}" dt="2023-12-06T21:57:19.904" v="27270"/>
          <ac:spMkLst>
            <pc:docMk/>
            <pc:sldMk cId="1336352168" sldId="277"/>
            <ac:spMk id="47" creationId="{68B5E69F-7817-3362-0682-13DBE5BB2DC4}"/>
          </ac:spMkLst>
        </pc:spChg>
        <pc:spChg chg="add del mod ord replST">
          <ac:chgData name="Joelle Brehm" userId="a518f54c-6985-42c0-8041-2bb16a414839" providerId="ADAL" clId="{34B1A95F-EFD8-4A1E-A46D-E288C53C0C68}" dt="2023-12-06T21:57:23.294" v="27530"/>
          <ac:spMkLst>
            <pc:docMk/>
            <pc:sldMk cId="1336352168" sldId="277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1:57:21.350" v="27445"/>
          <ac:spMkLst>
            <pc:docMk/>
            <pc:sldMk cId="1336352168" sldId="277"/>
            <ac:spMk id="50" creationId="{5DAB03B8-FDFE-B559-4213-753CB3EBA3C6}"/>
          </ac:spMkLst>
        </pc:spChg>
        <pc:spChg chg="add del mod modVis">
          <ac:chgData name="Joelle Brehm" userId="a518f54c-6985-42c0-8041-2bb16a414839" providerId="ADAL" clId="{34B1A95F-EFD8-4A1E-A46D-E288C53C0C68}" dt="2023-12-06T21:57:23.385" v="27628"/>
          <ac:spMkLst>
            <pc:docMk/>
            <pc:sldMk cId="1336352168" sldId="277"/>
            <ac:spMk id="52" creationId="{6AF32970-858A-2822-E538-69EC7DD2206A}"/>
          </ac:spMkLst>
        </pc:spChg>
        <pc:spChg chg="mod ord">
          <ac:chgData name="Joelle Brehm" userId="a518f54c-6985-42c0-8041-2bb16a414839" providerId="ADAL" clId="{34B1A95F-EFD8-4A1E-A46D-E288C53C0C68}" dt="2023-12-06T21:57:23.380" v="27622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34B1A95F-EFD8-4A1E-A46D-E288C53C0C68}" dt="2023-12-06T21:57:23.368" v="27601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57:23.369" v="27603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1:57:23.370" v="27605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57:23.371" v="27607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57:23.372" v="27609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57:23.373" v="27611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57:23.374" v="27614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7:23.375" v="27615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7:23.376" v="27616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7:23.377" v="27617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1:57:23.378" v="27618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1:57:23.409" v="27630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7:23.348" v="27563"/>
          <ac:graphicFrameMkLst>
            <pc:docMk/>
            <pc:sldMk cId="1336352168" sldId="277"/>
            <ac:graphicFrameMk id="8" creationId="{4C51C088-0419-2EF3-3707-BF23069CB56F}"/>
          </ac:graphicFrameMkLst>
        </pc:graphicFrameChg>
        <pc:graphicFrameChg chg="del">
          <ac:chgData name="Joelle Brehm" userId="a518f54c-6985-42c0-8041-2bb16a414839" providerId="ADAL" clId="{34B1A95F-EFD8-4A1E-A46D-E288C53C0C68}" dt="2023-12-06T21:56:36.563" v="26482"/>
          <ac:graphicFrameMkLst>
            <pc:docMk/>
            <pc:sldMk cId="1336352168" sldId="277"/>
            <ac:graphicFrameMk id="9" creationId="{62AB3B02-B972-E068-774A-0A2E1DFAD754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7:23.374" v="27613"/>
          <ac:graphicFrameMkLst>
            <pc:docMk/>
            <pc:sldMk cId="1336352168" sldId="277"/>
            <ac:graphicFrameMk id="34" creationId="{639F9853-D24E-4D5C-6E5F-152D554FA682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7:21.207" v="27352"/>
          <ac:graphicFrameMkLst>
            <pc:docMk/>
            <pc:sldMk cId="1336352168" sldId="277"/>
            <ac:graphicFrameMk id="49" creationId="{C5A3DFBE-8667-043F-4B9A-E08E50D64EF2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7:23.306" v="27549"/>
          <ac:graphicFrameMkLst>
            <pc:docMk/>
            <pc:sldMk cId="1336352168" sldId="277"/>
            <ac:graphicFrameMk id="51" creationId="{41230D3B-9621-A3BA-5387-EF5B3F201A54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7:23.358" v="27587"/>
          <ac:graphicFrameMkLst>
            <pc:docMk/>
            <pc:sldMk cId="1336352168" sldId="277"/>
            <ac:graphicFrameMk id="53" creationId="{9DF0A94F-4179-9FB2-9A1E-075C960E0099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7:19.799" v="27182"/>
          <ac:graphicFrameMkLst>
            <pc:docMk/>
            <pc:sldMk cId="1336352168" sldId="277"/>
            <ac:graphicFrameMk id="55" creationId="{B94F994C-858D-8529-FB91-8834E86471DF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7:12.803" v="26761"/>
          <ac:graphicFrameMkLst>
            <pc:docMk/>
            <pc:sldMk cId="1336352168" sldId="277"/>
            <ac:graphicFrameMk id="59" creationId="{CA46F2BD-37EC-E687-7760-1CE9B777B84C}"/>
          </ac:graphicFrameMkLst>
        </pc:graphicFrameChg>
        <pc:picChg chg="del mod ord">
          <ac:chgData name="Joelle Brehm" userId="a518f54c-6985-42c0-8041-2bb16a414839" providerId="ADAL" clId="{34B1A95F-EFD8-4A1E-A46D-E288C53C0C68}" dt="2023-12-06T21:57:01.232" v="26646" actId="478"/>
          <ac:picMkLst>
            <pc:docMk/>
            <pc:sldMk cId="1336352168" sldId="277"/>
            <ac:picMk id="10" creationId="{42D4CCB2-FC17-21F8-9166-6186C196CC7A}"/>
          </ac:picMkLst>
        </pc:picChg>
        <pc:picChg chg="add mod ord">
          <ac:chgData name="Joelle Brehm" userId="a518f54c-6985-42c0-8041-2bb16a414839" providerId="ADAL" clId="{34B1A95F-EFD8-4A1E-A46D-E288C53C0C68}" dt="2023-12-06T21:57:23.344" v="27557"/>
          <ac:picMkLst>
            <pc:docMk/>
            <pc:sldMk cId="1336352168" sldId="277"/>
            <ac:picMk id="31" creationId="{D98B4E7E-E332-0CC5-EE54-5E441EB0FAAD}"/>
          </ac:picMkLst>
        </pc:picChg>
        <pc:picChg chg="mod ord">
          <ac:chgData name="Joelle Brehm" userId="a518f54c-6985-42c0-8041-2bb16a414839" providerId="ADAL" clId="{34B1A95F-EFD8-4A1E-A46D-E288C53C0C68}" dt="2023-12-06T21:57:23.379" v="27620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57:23.347" v="27561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1:58:29.150" v="29062"/>
        <pc:sldMkLst>
          <pc:docMk/>
          <pc:sldMk cId="1379386497" sldId="278"/>
        </pc:sldMkLst>
        <pc:spChg chg="mod ord">
          <ac:chgData name="Joelle Brehm" userId="a518f54c-6985-42c0-8041-2bb16a414839" providerId="ADAL" clId="{34B1A95F-EFD8-4A1E-A46D-E288C53C0C68}" dt="2023-12-06T21:58:29.130" v="29056"/>
          <ac:spMkLst>
            <pc:docMk/>
            <pc:sldMk cId="1379386497" sldId="278"/>
            <ac:spMk id="2" creationId="{F45C2660-F634-4943-BD78-279946171050}"/>
          </ac:spMkLst>
        </pc:spChg>
        <pc:spChg chg="add del mod">
          <ac:chgData name="Joelle Brehm" userId="a518f54c-6985-42c0-8041-2bb16a414839" providerId="ADAL" clId="{34B1A95F-EFD8-4A1E-A46D-E288C53C0C68}" dt="2023-12-06T21:57:39.054" v="27631" actId="478"/>
          <ac:spMkLst>
            <pc:docMk/>
            <pc:sldMk cId="1379386497" sldId="278"/>
            <ac:spMk id="3" creationId="{0E798B6A-85BB-A4E6-3D8C-80704C584A51}"/>
          </ac:spMkLst>
        </pc:spChg>
        <pc:spChg chg="add del mod modVis">
          <ac:chgData name="Joelle Brehm" userId="a518f54c-6985-42c0-8041-2bb16a414839" providerId="ADAL" clId="{34B1A95F-EFD8-4A1E-A46D-E288C53C0C68}" dt="2023-12-06T21:57:42.658" v="27852"/>
          <ac:spMkLst>
            <pc:docMk/>
            <pc:sldMk cId="1379386497" sldId="278"/>
            <ac:spMk id="5" creationId="{0DEB056F-A877-CFA9-DDDD-859DAB3E5B94}"/>
          </ac:spMkLst>
        </pc:spChg>
        <pc:spChg chg="mod ord">
          <ac:chgData name="Joelle Brehm" userId="a518f54c-6985-42c0-8041-2bb16a414839" providerId="ADAL" clId="{34B1A95F-EFD8-4A1E-A46D-E288C53C0C68}" dt="2023-12-06T21:58:29.105" v="28991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1:58:29.109" v="29002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1:58:29.108" v="28998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1:58:29.108" v="28999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1:58:29.107" v="28996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1:58:29.107" v="28997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1:58:29.108" v="29000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1:58:29.109" v="29001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1:58:29.110" v="29003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1:58:29.110" v="29004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1:58:29.110" v="29005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1:58:29.111" v="29006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1:58:29.111" v="29007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1:58:29.112" v="29009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1:58:29.112" v="29010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1:58:29.113" v="29012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1:58:29.112" v="29011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1:58:29.114" v="29014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1:58:29.114" v="29015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1:58:29.113" v="29013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1:58:29.115" v="29017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1:58:29.116" v="29022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34B1A95F-EFD8-4A1E-A46D-E288C53C0C68}" dt="2023-12-06T21:58:29.119" v="29030"/>
          <ac:spMkLst>
            <pc:docMk/>
            <pc:sldMk cId="1379386497" sldId="278"/>
            <ac:spMk id="33" creationId="{D9441170-0215-A7D1-2B94-1AA18159DA2E}"/>
          </ac:spMkLst>
        </pc:spChg>
        <pc:spChg chg="add del mod modVis">
          <ac:chgData name="Joelle Brehm" userId="a518f54c-6985-42c0-8041-2bb16a414839" providerId="ADAL" clId="{34B1A95F-EFD8-4A1E-A46D-E288C53C0C68}" dt="2023-12-06T21:58:10.005" v="28149"/>
          <ac:spMkLst>
            <pc:docMk/>
            <pc:sldMk cId="1379386497" sldId="278"/>
            <ac:spMk id="34" creationId="{61A94D1F-F6D4-DE6B-947F-CF6883788052}"/>
          </ac:spMkLst>
        </pc:spChg>
        <pc:spChg chg="del mod">
          <ac:chgData name="Joelle Brehm" userId="a518f54c-6985-42c0-8041-2bb16a414839" providerId="ADAL" clId="{34B1A95F-EFD8-4A1E-A46D-E288C53C0C68}" dt="2023-12-06T21:58:21.570" v="28753"/>
          <ac:spMkLst>
            <pc:docMk/>
            <pc:sldMk cId="1379386497" sldId="278"/>
            <ac:spMk id="35" creationId="{F2CF5D67-71BE-8A59-E229-76C2662CAC06}"/>
          </ac:spMkLst>
        </pc:spChg>
        <pc:spChg chg="mod">
          <ac:chgData name="Joelle Brehm" userId="a518f54c-6985-42c0-8041-2bb16a414839" providerId="ADAL" clId="{34B1A95F-EFD8-4A1E-A46D-E288C53C0C68}" dt="2023-12-06T21:58:29.116" v="29021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34B1A95F-EFD8-4A1E-A46D-E288C53C0C68}" dt="2023-12-06T21:58:29.126" v="29048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34B1A95F-EFD8-4A1E-A46D-E288C53C0C68}" dt="2023-12-06T21:58:29.127" v="29050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34B1A95F-EFD8-4A1E-A46D-E288C53C0C68}" dt="2023-12-06T21:58:29.116" v="29020"/>
          <ac:spMkLst>
            <pc:docMk/>
            <pc:sldMk cId="1379386497" sldId="278"/>
            <ac:spMk id="40" creationId="{19EAC242-0641-3DCA-CBDC-E602B8F0CB05}"/>
          </ac:spMkLst>
        </pc:spChg>
        <pc:spChg chg="mod">
          <ac:chgData name="Joelle Brehm" userId="a518f54c-6985-42c0-8041-2bb16a414839" providerId="ADAL" clId="{34B1A95F-EFD8-4A1E-A46D-E288C53C0C68}" dt="2023-12-06T21:58:29.119" v="29028"/>
          <ac:spMkLst>
            <pc:docMk/>
            <pc:sldMk cId="1379386497" sldId="278"/>
            <ac:spMk id="41" creationId="{2CE2D9E3-933C-589B-9FDF-AD85A36D3F72}"/>
          </ac:spMkLst>
        </pc:spChg>
        <pc:spChg chg="add mod replST">
          <ac:chgData name="Joelle Brehm" userId="a518f54c-6985-42c0-8041-2bb16a414839" providerId="ADAL" clId="{34B1A95F-EFD8-4A1E-A46D-E288C53C0C68}" dt="2023-12-06T21:58:29.120" v="29031"/>
          <ac:spMkLst>
            <pc:docMk/>
            <pc:sldMk cId="1379386497" sldId="278"/>
            <ac:spMk id="42" creationId="{0660EA24-A2FF-39AF-6D53-5A6B463F1F4A}"/>
          </ac:spMkLst>
        </pc:spChg>
        <pc:spChg chg="mod">
          <ac:chgData name="Joelle Brehm" userId="a518f54c-6985-42c0-8041-2bb16a414839" providerId="ADAL" clId="{34B1A95F-EFD8-4A1E-A46D-E288C53C0C68}" dt="2023-12-06T21:58:29.118" v="29026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34B1A95F-EFD8-4A1E-A46D-E288C53C0C68}" dt="2023-12-06T21:58:29.117" v="29024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34B1A95F-EFD8-4A1E-A46D-E288C53C0C68}" dt="2023-12-06T21:58:29.119" v="29029"/>
          <ac:spMkLst>
            <pc:docMk/>
            <pc:sldMk cId="1379386497" sldId="278"/>
            <ac:spMk id="45" creationId="{905B75A0-9675-8F59-A2F9-EC525ACC9D40}"/>
          </ac:spMkLst>
        </pc:spChg>
        <pc:spChg chg="mod">
          <ac:chgData name="Joelle Brehm" userId="a518f54c-6985-42c0-8041-2bb16a414839" providerId="ADAL" clId="{34B1A95F-EFD8-4A1E-A46D-E288C53C0C68}" dt="2023-12-06T21:58:29.117" v="29023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34B1A95F-EFD8-4A1E-A46D-E288C53C0C68}" dt="2023-12-06T21:58:29.118" v="29027"/>
          <ac:spMkLst>
            <pc:docMk/>
            <pc:sldMk cId="1379386497" sldId="278"/>
            <ac:spMk id="47" creationId="{6057FFE7-9F54-EBDD-8215-FE17C631267E}"/>
          </ac:spMkLst>
        </pc:spChg>
        <pc:spChg chg="add del mod modVis">
          <ac:chgData name="Joelle Brehm" userId="a518f54c-6985-42c0-8041-2bb16a414839" providerId="ADAL" clId="{34B1A95F-EFD8-4A1E-A46D-E288C53C0C68}" dt="2023-12-06T21:58:18.172" v="28583"/>
          <ac:spMkLst>
            <pc:docMk/>
            <pc:sldMk cId="1379386497" sldId="278"/>
            <ac:spMk id="48" creationId="{A59D15EA-826B-C450-1CA2-F5D3688000D7}"/>
          </ac:spMkLst>
        </pc:spChg>
        <pc:spChg chg="add del mod ord replST">
          <ac:chgData name="Joelle Brehm" userId="a518f54c-6985-42c0-8041-2bb16a414839" providerId="ADAL" clId="{34B1A95F-EFD8-4A1E-A46D-E288C53C0C68}" dt="2023-12-06T21:58:29.074" v="28979"/>
          <ac:spMkLst>
            <pc:docMk/>
            <pc:sldMk cId="1379386497" sldId="278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1:58:19.598" v="28750"/>
          <ac:spMkLst>
            <pc:docMk/>
            <pc:sldMk cId="1379386497" sldId="278"/>
            <ac:spMk id="51" creationId="{12E0ADBB-E46E-109B-03A7-FD626E40979D}"/>
          </ac:spMkLst>
        </pc:spChg>
        <pc:spChg chg="add del mod modVis">
          <ac:chgData name="Joelle Brehm" userId="a518f54c-6985-42c0-8041-2bb16a414839" providerId="ADAL" clId="{34B1A95F-EFD8-4A1E-A46D-E288C53C0C68}" dt="2023-12-06T21:58:21.756" v="28927"/>
          <ac:spMkLst>
            <pc:docMk/>
            <pc:sldMk cId="1379386497" sldId="278"/>
            <ac:spMk id="53" creationId="{071DCA07-2D10-4E85-408C-A9C8EE00C2A8}"/>
          </ac:spMkLst>
        </pc:spChg>
        <pc:spChg chg="add del mod modVis">
          <ac:chgData name="Joelle Brehm" userId="a518f54c-6985-42c0-8041-2bb16a414839" providerId="ADAL" clId="{34B1A95F-EFD8-4A1E-A46D-E288C53C0C68}" dt="2023-12-06T21:58:29.132" v="29060"/>
          <ac:spMkLst>
            <pc:docMk/>
            <pc:sldMk cId="1379386497" sldId="278"/>
            <ac:spMk id="55" creationId="{9A9A1938-D5D3-40E0-A650-C456056708A7}"/>
          </ac:spMkLst>
        </pc:spChg>
        <pc:spChg chg="mod ord">
          <ac:chgData name="Joelle Brehm" userId="a518f54c-6985-42c0-8041-2bb16a414839" providerId="ADAL" clId="{34B1A95F-EFD8-4A1E-A46D-E288C53C0C68}" dt="2023-12-06T21:58:29.129" v="29054"/>
          <ac:spMkLst>
            <pc:docMk/>
            <pc:sldMk cId="1379386497" sldId="278"/>
            <ac:spMk id="58" creationId="{78B81F80-FD88-43AD-B1EA-9D49D321CFA2}"/>
          </ac:spMkLst>
        </pc:spChg>
        <pc:spChg chg="mod">
          <ac:chgData name="Joelle Brehm" userId="a518f54c-6985-42c0-8041-2bb16a414839" providerId="ADAL" clId="{34B1A95F-EFD8-4A1E-A46D-E288C53C0C68}" dt="2023-12-06T21:58:29.117" v="29025"/>
          <ac:spMkLst>
            <pc:docMk/>
            <pc:sldMk cId="1379386497" sldId="278"/>
            <ac:spMk id="60" creationId="{2B15A064-F539-2DBC-4751-EC9AD27E414F}"/>
          </ac:spMkLst>
        </pc:spChg>
        <pc:spChg chg="mod ord">
          <ac:chgData name="Joelle Brehm" userId="a518f54c-6985-42c0-8041-2bb16a414839" providerId="ADAL" clId="{34B1A95F-EFD8-4A1E-A46D-E288C53C0C68}" dt="2023-12-06T21:58:29.121" v="29033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1:58:29.122" v="29035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1:58:29.122" v="29037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1:58:29.123" v="29039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1:58:29.124" v="29041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1:58:29.124" v="29043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1:58:29.126" v="29046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8:29.126" v="29047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1:58:29.127" v="29049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34B1A95F-EFD8-4A1E-A46D-E288C53C0C68}" dt="2023-12-06T21:58:29.150" v="29062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8:29.107" v="28995"/>
          <ac:graphicFrameMkLst>
            <pc:docMk/>
            <pc:sldMk cId="1379386497" sldId="278"/>
            <ac:graphicFrameMk id="8" creationId="{B45884BB-A3B6-C890-3929-C6AE98BE41C8}"/>
          </ac:graphicFrameMkLst>
        </pc:graphicFrameChg>
        <pc:graphicFrameChg chg="del">
          <ac:chgData name="Joelle Brehm" userId="a518f54c-6985-42c0-8041-2bb16a414839" providerId="ADAL" clId="{34B1A95F-EFD8-4A1E-A46D-E288C53C0C68}" dt="2023-12-06T21:57:42.553" v="27767"/>
          <ac:graphicFrameMkLst>
            <pc:docMk/>
            <pc:sldMk cId="1379386497" sldId="278"/>
            <ac:graphicFrameMk id="9" creationId="{A277B8FB-9C6B-50BB-4A81-693406A16FFC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8:29.125" v="29045"/>
          <ac:graphicFrameMkLst>
            <pc:docMk/>
            <pc:sldMk cId="1379386497" sldId="278"/>
            <ac:graphicFrameMk id="36" creationId="{57D67F20-26E8-DD10-661F-05839F25C3C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8:19.504" v="28659"/>
          <ac:graphicFrameMkLst>
            <pc:docMk/>
            <pc:sldMk cId="1379386497" sldId="278"/>
            <ac:graphicFrameMk id="50" creationId="{06F40CA8-6F92-C5F7-B5A5-0C7D5251F13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8:21.680" v="28846"/>
          <ac:graphicFrameMkLst>
            <pc:docMk/>
            <pc:sldMk cId="1379386497" sldId="278"/>
            <ac:graphicFrameMk id="52" creationId="{AB2D7CC5-020D-AAF9-0F83-100279530ABD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1:58:29.075" v="28981"/>
          <ac:graphicFrameMkLst>
            <pc:docMk/>
            <pc:sldMk cId="1379386497" sldId="278"/>
            <ac:graphicFrameMk id="54" creationId="{FF72A6BA-17E1-88B5-926F-2BE726CC737A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8:18.083" v="28497"/>
          <ac:graphicFrameMkLst>
            <pc:docMk/>
            <pc:sldMk cId="1379386497" sldId="278"/>
            <ac:graphicFrameMk id="56" creationId="{DC410F66-12FE-BF90-3C74-C2FB5FD51B70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1:58:29.115" v="29019"/>
          <ac:graphicFrameMkLst>
            <pc:docMk/>
            <pc:sldMk cId="1379386497" sldId="278"/>
            <ac:graphicFrameMk id="57" creationId="{136923A0-2C10-325D-92AB-86667CBFAB20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1:58:09.909" v="28070"/>
          <ac:graphicFrameMkLst>
            <pc:docMk/>
            <pc:sldMk cId="1379386497" sldId="278"/>
            <ac:graphicFrameMk id="59" creationId="{F3DCC188-9809-6313-E96B-07093B161DC6}"/>
          </ac:graphicFrameMkLst>
        </pc:graphicFrameChg>
        <pc:picChg chg="del mod ord">
          <ac:chgData name="Joelle Brehm" userId="a518f54c-6985-42c0-8041-2bb16a414839" providerId="ADAL" clId="{34B1A95F-EFD8-4A1E-A46D-E288C53C0C68}" dt="2023-12-06T21:58:02.439" v="27939" actId="478"/>
          <ac:picMkLst>
            <pc:docMk/>
            <pc:sldMk cId="1379386497" sldId="278"/>
            <ac:picMk id="10" creationId="{1F907FD1-9055-CA8E-B544-7AD4261FEFBB}"/>
          </ac:picMkLst>
        </pc:picChg>
        <pc:picChg chg="add mod ord">
          <ac:chgData name="Joelle Brehm" userId="a518f54c-6985-42c0-8041-2bb16a414839" providerId="ADAL" clId="{34B1A95F-EFD8-4A1E-A46D-E288C53C0C68}" dt="2023-12-06T21:58:29.105" v="28989"/>
          <ac:picMkLst>
            <pc:docMk/>
            <pc:sldMk cId="1379386497" sldId="278"/>
            <ac:picMk id="31" creationId="{A5CC3D41-D71D-6FF1-48FA-722FB00B05CD}"/>
          </ac:picMkLst>
        </pc:picChg>
        <pc:picChg chg="mod ord">
          <ac:chgData name="Joelle Brehm" userId="a518f54c-6985-42c0-8041-2bb16a414839" providerId="ADAL" clId="{34B1A95F-EFD8-4A1E-A46D-E288C53C0C68}" dt="2023-12-06T21:58:29.129" v="29052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1:58:29.106" v="28993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2:00:47.438" v="30746"/>
        <pc:sldMkLst>
          <pc:docMk/>
          <pc:sldMk cId="1917659360" sldId="279"/>
        </pc:sldMkLst>
        <pc:spChg chg="add del mod">
          <ac:chgData name="Joelle Brehm" userId="a518f54c-6985-42c0-8041-2bb16a414839" providerId="ADAL" clId="{34B1A95F-EFD8-4A1E-A46D-E288C53C0C68}" dt="2023-12-06T21:59:44.425" v="29063" actId="478"/>
          <ac:spMkLst>
            <pc:docMk/>
            <pc:sldMk cId="1917659360" sldId="279"/>
            <ac:spMk id="2" creationId="{A47640F7-E6D0-A9E0-8500-A6C0E1A47D45}"/>
          </ac:spMkLst>
        </pc:spChg>
        <pc:spChg chg="mod ord">
          <ac:chgData name="Joelle Brehm" userId="a518f54c-6985-42c0-8041-2bb16a414839" providerId="ADAL" clId="{34B1A95F-EFD8-4A1E-A46D-E288C53C0C68}" dt="2023-12-06T22:00:47.422" v="30740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34B1A95F-EFD8-4A1E-A46D-E288C53C0C68}" dt="2023-12-06T22:00:00.106" v="29276"/>
          <ac:spMkLst>
            <pc:docMk/>
            <pc:sldMk cId="1917659360" sldId="279"/>
            <ac:spMk id="5" creationId="{943155A9-2C00-F109-74A0-2AB90ABA0396}"/>
          </ac:spMkLst>
        </pc:spChg>
        <pc:spChg chg="mod ord">
          <ac:chgData name="Joelle Brehm" userId="a518f54c-6985-42c0-8041-2bb16a414839" providerId="ADAL" clId="{34B1A95F-EFD8-4A1E-A46D-E288C53C0C68}" dt="2023-12-06T22:00:47.400" v="30675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2:00:47.411" v="30706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34B1A95F-EFD8-4A1E-A46D-E288C53C0C68}" dt="2023-12-06T22:00:47.404" v="30686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2:00:47.402" v="30682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2:00:47.403" v="30683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2:00:47.402" v="30680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2:00:47.402" v="30681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2:00:47.403" v="30684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2:00:47.403" v="30685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2:00:47.404" v="30687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2:00:47.405" v="30688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2:00:47.405" v="30689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2:00:47.406" v="30690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2:00:47.406" v="30691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2:00:47.407" v="30693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2:00:47.407" v="30694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2:00:47.408" v="30696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2:00:47.408" v="30695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2:00:47.409" v="30698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2:00:47.409" v="30699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2:00:47.409" v="30697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2:00:47.410" v="30701"/>
          <ac:spMkLst>
            <pc:docMk/>
            <pc:sldMk cId="1917659360" sldId="279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2:00:47.414" v="30714"/>
          <ac:spMkLst>
            <pc:docMk/>
            <pc:sldMk cId="1917659360" sldId="279"/>
            <ac:spMk id="33" creationId="{5E0420EB-DE56-49B0-A849-5880286E1551}"/>
          </ac:spMkLst>
        </pc:spChg>
        <pc:spChg chg="add del mod modVis">
          <ac:chgData name="Joelle Brehm" userId="a518f54c-6985-42c0-8041-2bb16a414839" providerId="ADAL" clId="{34B1A95F-EFD8-4A1E-A46D-E288C53C0C68}" dt="2023-12-06T22:00:30.124" v="29559"/>
          <ac:spMkLst>
            <pc:docMk/>
            <pc:sldMk cId="1917659360" sldId="279"/>
            <ac:spMk id="34" creationId="{DB4F86F2-F53E-9582-CC67-96EF5F282FDA}"/>
          </ac:spMkLst>
        </pc:spChg>
        <pc:spChg chg="del mod">
          <ac:chgData name="Joelle Brehm" userId="a518f54c-6985-42c0-8041-2bb16a414839" providerId="ADAL" clId="{34B1A95F-EFD8-4A1E-A46D-E288C53C0C68}" dt="2023-12-06T22:00:40.516" v="30206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34B1A95F-EFD8-4A1E-A46D-E288C53C0C68}" dt="2023-12-06T22:00:47.411" v="30704"/>
          <ac:spMkLst>
            <pc:docMk/>
            <pc:sldMk cId="1917659360" sldId="279"/>
            <ac:spMk id="36" creationId="{1DD7BBF4-6C80-7EAE-8C4B-809D66ECE570}"/>
          </ac:spMkLst>
        </pc:spChg>
        <pc:spChg chg="mod">
          <ac:chgData name="Joelle Brehm" userId="a518f54c-6985-42c0-8041-2bb16a414839" providerId="ADAL" clId="{34B1A95F-EFD8-4A1E-A46D-E288C53C0C68}" dt="2023-12-06T22:00:47.412" v="30708"/>
          <ac:spMkLst>
            <pc:docMk/>
            <pc:sldMk cId="1917659360" sldId="279"/>
            <ac:spMk id="38" creationId="{F98146E0-0CDE-47DF-A82C-B29BE329AD84}"/>
          </ac:spMkLst>
        </pc:spChg>
        <pc:spChg chg="add mod replST">
          <ac:chgData name="Joelle Brehm" userId="a518f54c-6985-42c0-8041-2bb16a414839" providerId="ADAL" clId="{34B1A95F-EFD8-4A1E-A46D-E288C53C0C68}" dt="2023-12-06T22:00:47.414" v="30715"/>
          <ac:spMkLst>
            <pc:docMk/>
            <pc:sldMk cId="1917659360" sldId="279"/>
            <ac:spMk id="39" creationId="{D6233669-6C61-F88A-CA74-14C4A4F6BEAC}"/>
          </ac:spMkLst>
        </pc:spChg>
        <pc:spChg chg="mod">
          <ac:chgData name="Joelle Brehm" userId="a518f54c-6985-42c0-8041-2bb16a414839" providerId="ADAL" clId="{34B1A95F-EFD8-4A1E-A46D-E288C53C0C68}" dt="2023-12-06T22:00:47.412" v="30707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34B1A95F-EFD8-4A1E-A46D-E288C53C0C68}" dt="2023-12-06T22:00:47.414" v="30713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34B1A95F-EFD8-4A1E-A46D-E288C53C0C68}" dt="2023-12-06T22:00:47.413" v="30711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34B1A95F-EFD8-4A1E-A46D-E288C53C0C68}" dt="2023-12-06T22:00:47.414" v="30712"/>
          <ac:spMkLst>
            <pc:docMk/>
            <pc:sldMk cId="1917659360" sldId="279"/>
            <ac:spMk id="43" creationId="{BBDFBA71-A567-2AC1-EC82-8D2F9B910F5F}"/>
          </ac:spMkLst>
        </pc:spChg>
        <pc:spChg chg="mod">
          <ac:chgData name="Joelle Brehm" userId="a518f54c-6985-42c0-8041-2bb16a414839" providerId="ADAL" clId="{34B1A95F-EFD8-4A1E-A46D-E288C53C0C68}" dt="2023-12-06T22:00:47.411" v="30705"/>
          <ac:spMkLst>
            <pc:docMk/>
            <pc:sldMk cId="1917659360" sldId="279"/>
            <ac:spMk id="44" creationId="{6D0C749E-E8C8-88F8-DDE8-851FCBBEB3E2}"/>
          </ac:spMkLst>
        </pc:spChg>
        <pc:spChg chg="add del mod modVis">
          <ac:chgData name="Joelle Brehm" userId="a518f54c-6985-42c0-8041-2bb16a414839" providerId="ADAL" clId="{34B1A95F-EFD8-4A1E-A46D-E288C53C0C68}" dt="2023-12-06T22:00:36.598" v="30028"/>
          <ac:spMkLst>
            <pc:docMk/>
            <pc:sldMk cId="1917659360" sldId="279"/>
            <ac:spMk id="45" creationId="{25604814-AF89-09D9-B06E-7B9D3032A4CD}"/>
          </ac:spMkLst>
        </pc:spChg>
        <pc:spChg chg="mod">
          <ac:chgData name="Joelle Brehm" userId="a518f54c-6985-42c0-8041-2bb16a414839" providerId="ADAL" clId="{34B1A95F-EFD8-4A1E-A46D-E288C53C0C68}" dt="2023-12-06T22:00:47.412" v="30709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34B1A95F-EFD8-4A1E-A46D-E288C53C0C68}" dt="2023-12-06T22:00:47.413" v="30710"/>
          <ac:spMkLst>
            <pc:docMk/>
            <pc:sldMk cId="1917659360" sldId="279"/>
            <ac:spMk id="47" creationId="{698A62C7-0861-3196-719C-E48F5560BE43}"/>
          </ac:spMkLst>
        </pc:spChg>
        <pc:spChg chg="add del mod ord replST">
          <ac:chgData name="Joelle Brehm" userId="a518f54c-6985-42c0-8041-2bb16a414839" providerId="ADAL" clId="{34B1A95F-EFD8-4A1E-A46D-E288C53C0C68}" dt="2023-12-06T22:00:47.374" v="30663"/>
          <ac:spMkLst>
            <pc:docMk/>
            <pc:sldMk cId="1917659360" sldId="279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2:00:39.077" v="30203"/>
          <ac:spMkLst>
            <pc:docMk/>
            <pc:sldMk cId="1917659360" sldId="279"/>
            <ac:spMk id="50" creationId="{2BBB8B3D-12C6-9F73-A74B-531B75DD0610}"/>
          </ac:spMkLst>
        </pc:spChg>
        <pc:spChg chg="add del mod modVis">
          <ac:chgData name="Joelle Brehm" userId="a518f54c-6985-42c0-8041-2bb16a414839" providerId="ADAL" clId="{34B1A95F-EFD8-4A1E-A46D-E288C53C0C68}" dt="2023-12-06T22:00:40.988" v="30467"/>
          <ac:spMkLst>
            <pc:docMk/>
            <pc:sldMk cId="1917659360" sldId="279"/>
            <ac:spMk id="52" creationId="{4F8104FB-580B-3001-B29F-FE7E671A86C3}"/>
          </ac:spMkLst>
        </pc:spChg>
        <pc:spChg chg="add del mod ord replST">
          <ac:chgData name="Joelle Brehm" userId="a518f54c-6985-42c0-8041-2bb16a414839" providerId="ADAL" clId="{34B1A95F-EFD8-4A1E-A46D-E288C53C0C68}" dt="2023-12-06T22:00:44.949" v="30524"/>
          <ac:spMkLst>
            <pc:docMk/>
            <pc:sldMk cId="1917659360" sldId="279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2:00:44.998" v="30607"/>
          <ac:spMkLst>
            <pc:docMk/>
            <pc:sldMk cId="1917659360" sldId="279"/>
            <ac:spMk id="56" creationId="{7497DAC0-9709-A754-61F6-B19E2A4DF400}"/>
          </ac:spMkLst>
        </pc:spChg>
        <pc:spChg chg="mod ord">
          <ac:chgData name="Joelle Brehm" userId="a518f54c-6985-42c0-8041-2bb16a414839" providerId="ADAL" clId="{34B1A95F-EFD8-4A1E-A46D-E288C53C0C68}" dt="2023-12-06T22:00:47.421" v="30738"/>
          <ac:spMkLst>
            <pc:docMk/>
            <pc:sldMk cId="1917659360" sldId="279"/>
            <ac:spMk id="58" creationId="{C2B29D16-5A5D-43B3-B972-0B57287E081A}"/>
          </ac:spMkLst>
        </pc:spChg>
        <pc:spChg chg="add del mod modVis">
          <ac:chgData name="Joelle Brehm" userId="a518f54c-6985-42c0-8041-2bb16a414839" providerId="ADAL" clId="{34B1A95F-EFD8-4A1E-A46D-E288C53C0C68}" dt="2023-12-06T22:00:47.424" v="30744"/>
          <ac:spMkLst>
            <pc:docMk/>
            <pc:sldMk cId="1917659360" sldId="279"/>
            <ac:spMk id="59" creationId="{CB9D198D-6D97-B5F2-033B-27F1A47CF8F2}"/>
          </ac:spMkLst>
        </pc:spChg>
        <pc:spChg chg="mod ord">
          <ac:chgData name="Joelle Brehm" userId="a518f54c-6985-42c0-8041-2bb16a414839" providerId="ADAL" clId="{34B1A95F-EFD8-4A1E-A46D-E288C53C0C68}" dt="2023-12-06T22:00:47.415" v="30717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2:00:47.415" v="30719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2:00:47.416" v="30721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2:00:47.417" v="30723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2:00:47.418" v="30725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2:00:47.418" v="30727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2:00:47.419" v="30730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0:47.419" v="30731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0:47.419" v="30732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0:47.420" v="30733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2:00:47.420" v="30734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2:00:47.438" v="30746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0:47.401" v="30679"/>
          <ac:graphicFrameMkLst>
            <pc:docMk/>
            <pc:sldMk cId="1917659360" sldId="279"/>
            <ac:graphicFrameMk id="8" creationId="{B1137A7C-7547-B0A3-1286-FB001D6FA1AC}"/>
          </ac:graphicFrameMkLst>
        </pc:graphicFrameChg>
        <pc:graphicFrameChg chg="del">
          <ac:chgData name="Joelle Brehm" userId="a518f54c-6985-42c0-8041-2bb16a414839" providerId="ADAL" clId="{34B1A95F-EFD8-4A1E-A46D-E288C53C0C68}" dt="2023-12-06T21:59:59.856" v="29195"/>
          <ac:graphicFrameMkLst>
            <pc:docMk/>
            <pc:sldMk cId="1917659360" sldId="279"/>
            <ac:graphicFrameMk id="9" creationId="{69D29464-4EF7-6A64-30EA-72B28BF446D6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0:47.418" v="30729"/>
          <ac:graphicFrameMkLst>
            <pc:docMk/>
            <pc:sldMk cId="1917659360" sldId="279"/>
            <ac:graphicFrameMk id="37" creationId="{F781EA16-12A7-78C8-04B7-534314E07B0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0:38.961" v="30110"/>
          <ac:graphicFrameMkLst>
            <pc:docMk/>
            <pc:sldMk cId="1917659360" sldId="279"/>
            <ac:graphicFrameMk id="49" creationId="{0AEA5C6E-4A7E-C982-9734-30468E9F668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0:40.849" v="30373"/>
          <ac:graphicFrameMkLst>
            <pc:docMk/>
            <pc:sldMk cId="1917659360" sldId="279"/>
            <ac:graphicFrameMk id="51" creationId="{EDBE1BD5-4334-05DF-BDEC-33895567A29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0:44.951" v="30526"/>
          <ac:graphicFrameMkLst>
            <pc:docMk/>
            <pc:sldMk cId="1917659360" sldId="279"/>
            <ac:graphicFrameMk id="54" creationId="{4FE6EE41-E513-F4D8-F704-6AC6783E8D39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0:36.513" v="29940"/>
          <ac:graphicFrameMkLst>
            <pc:docMk/>
            <pc:sldMk cId="1917659360" sldId="279"/>
            <ac:graphicFrameMk id="55" creationId="{1E5888BF-482B-5A65-5B92-238B3F808324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0:47.376" v="30665"/>
          <ac:graphicFrameMkLst>
            <pc:docMk/>
            <pc:sldMk cId="1917659360" sldId="279"/>
            <ac:graphicFrameMk id="57" creationId="{5C093F1E-ECA2-499C-AA24-E86B2EADDBC2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0:30.033" v="29480"/>
          <ac:graphicFrameMkLst>
            <pc:docMk/>
            <pc:sldMk cId="1917659360" sldId="279"/>
            <ac:graphicFrameMk id="60" creationId="{C100011D-5369-EE71-759D-41F6D8C50810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0:47.410" v="30703"/>
          <ac:graphicFrameMkLst>
            <pc:docMk/>
            <pc:sldMk cId="1917659360" sldId="279"/>
            <ac:graphicFrameMk id="61" creationId="{9F8DB3DE-AA7F-CC52-7292-4006C77B9C9B}"/>
          </ac:graphicFrameMkLst>
        </pc:graphicFrameChg>
        <pc:picChg chg="add mod ord">
          <ac:chgData name="Joelle Brehm" userId="a518f54c-6985-42c0-8041-2bb16a414839" providerId="ADAL" clId="{34B1A95F-EFD8-4A1E-A46D-E288C53C0C68}" dt="2023-12-06T22:00:47.400" v="30673"/>
          <ac:picMkLst>
            <pc:docMk/>
            <pc:sldMk cId="1917659360" sldId="279"/>
            <ac:picMk id="31" creationId="{103F04EC-6D59-3E67-3875-333BE875105B}"/>
          </ac:picMkLst>
        </pc:picChg>
        <pc:picChg chg="del mod ord">
          <ac:chgData name="Joelle Brehm" userId="a518f54c-6985-42c0-8041-2bb16a414839" providerId="ADAL" clId="{34B1A95F-EFD8-4A1E-A46D-E288C53C0C68}" dt="2023-12-06T22:00:17.228" v="29362" actId="478"/>
          <ac:picMkLst>
            <pc:docMk/>
            <pc:sldMk cId="1917659360" sldId="279"/>
            <ac:picMk id="32" creationId="{77A82E29-676A-122B-2BF1-33AD8021610A}"/>
          </ac:picMkLst>
        </pc:picChg>
        <pc:picChg chg="mod ord">
          <ac:chgData name="Joelle Brehm" userId="a518f54c-6985-42c0-8041-2bb16a414839" providerId="ADAL" clId="{34B1A95F-EFD8-4A1E-A46D-E288C53C0C68}" dt="2023-12-06T22:00:47.421" v="30736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2:00:47.401" v="30677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2:04:37.823" v="33972"/>
        <pc:sldMkLst>
          <pc:docMk/>
          <pc:sldMk cId="168389892" sldId="281"/>
        </pc:sldMkLst>
        <pc:spChg chg="mod ord">
          <ac:chgData name="Joelle Brehm" userId="a518f54c-6985-42c0-8041-2bb16a414839" providerId="ADAL" clId="{34B1A95F-EFD8-4A1E-A46D-E288C53C0C68}" dt="2023-12-06T22:04:37.795" v="33966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34B1A95F-EFD8-4A1E-A46D-E288C53C0C68}" dt="2023-12-06T22:03:49.700" v="32342" actId="478"/>
          <ac:spMkLst>
            <pc:docMk/>
            <pc:sldMk cId="168389892" sldId="281"/>
            <ac:spMk id="3" creationId="{9F4420EB-753E-6E83-570C-A213D766FF32}"/>
          </ac:spMkLst>
        </pc:spChg>
        <pc:spChg chg="add del mod modVis">
          <ac:chgData name="Joelle Brehm" userId="a518f54c-6985-42c0-8041-2bb16a414839" providerId="ADAL" clId="{34B1A95F-EFD8-4A1E-A46D-E288C53C0C68}" dt="2023-12-06T22:03:58.205" v="32593"/>
          <ac:spMkLst>
            <pc:docMk/>
            <pc:sldMk cId="168389892" sldId="281"/>
            <ac:spMk id="5" creationId="{A12C1978-081A-0516-E65F-B8269E44BFB6}"/>
          </ac:spMkLst>
        </pc:spChg>
        <pc:spChg chg="mod ord">
          <ac:chgData name="Joelle Brehm" userId="a518f54c-6985-42c0-8041-2bb16a414839" providerId="ADAL" clId="{34B1A95F-EFD8-4A1E-A46D-E288C53C0C68}" dt="2023-12-06T22:04:37.749" v="33878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2:04:37.778" v="33934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34B1A95F-EFD8-4A1E-A46D-E288C53C0C68}" dt="2023-12-06T22:04:37.772" v="33923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34B1A95F-EFD8-4A1E-A46D-E288C53C0C68}" dt="2023-12-06T22:04:37.754" v="33889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2:04:37.752" v="33885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2:04:37.753" v="33886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2:04:37.751" v="33883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2:04:37.752" v="33884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2:04:37.753" v="33887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2:04:37.754" v="33888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2:04:37.755" v="33890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2:04:37.755" v="33891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2:04:37.756" v="33892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2:04:37.756" v="33893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2:04:37.757" v="33894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2:04:37.758" v="33896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2:04:37.760" v="33899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2:04:37.762" v="33901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2:04:37.761" v="33900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2:04:37.763" v="33904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2:04:37.763" v="33905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2:04:37.763" v="33903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2:04:37.765" v="33907"/>
          <ac:spMkLst>
            <pc:docMk/>
            <pc:sldMk cId="168389892" sldId="281"/>
            <ac:spMk id="30" creationId="{121A2A89-FB4E-4B9A-840D-28523B0B457F}"/>
          </ac:spMkLst>
        </pc:spChg>
        <pc:spChg chg="del mod">
          <ac:chgData name="Joelle Brehm" userId="a518f54c-6985-42c0-8041-2bb16a414839" providerId="ADAL" clId="{34B1A95F-EFD8-4A1E-A46D-E288C53C0C68}" dt="2023-12-06T22:04:33.329" v="33530"/>
          <ac:spMkLst>
            <pc:docMk/>
            <pc:sldMk cId="168389892" sldId="281"/>
            <ac:spMk id="33" creationId="{B1E9DD7B-A017-14DB-FDC5-572B2A809BD1}"/>
          </ac:spMkLst>
        </pc:spChg>
        <pc:spChg chg="mod">
          <ac:chgData name="Joelle Brehm" userId="a518f54c-6985-42c0-8041-2bb16a414839" providerId="ADAL" clId="{34B1A95F-EFD8-4A1E-A46D-E288C53C0C68}" dt="2023-12-06T22:04:37.781" v="33938"/>
          <ac:spMkLst>
            <pc:docMk/>
            <pc:sldMk cId="168389892" sldId="281"/>
            <ac:spMk id="34" creationId="{0E8E46D7-D2A7-7EA2-D456-4F5AC1475AED}"/>
          </ac:spMkLst>
        </pc:spChg>
        <pc:spChg chg="add del mod modVis">
          <ac:chgData name="Joelle Brehm" userId="a518f54c-6985-42c0-8041-2bb16a414839" providerId="ADAL" clId="{34B1A95F-EFD8-4A1E-A46D-E288C53C0C68}" dt="2023-12-06T22:04:22.549" v="32912"/>
          <ac:spMkLst>
            <pc:docMk/>
            <pc:sldMk cId="168389892" sldId="281"/>
            <ac:spMk id="36" creationId="{7C15CE7D-3400-195D-04BB-E33401EDF04A}"/>
          </ac:spMkLst>
        </pc:spChg>
        <pc:spChg chg="mod ord">
          <ac:chgData name="Joelle Brehm" userId="a518f54c-6985-42c0-8041-2bb16a414839" providerId="ADAL" clId="{34B1A95F-EFD8-4A1E-A46D-E288C53C0C68}" dt="2023-12-06T22:04:37.759" v="33898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34B1A95F-EFD8-4A1E-A46D-E288C53C0C68}" dt="2023-12-06T22:04:37.772" v="33922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34B1A95F-EFD8-4A1E-A46D-E288C53C0C68}" dt="2023-12-06T22:04:37.771" v="33919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34B1A95F-EFD8-4A1E-A46D-E288C53C0C68}" dt="2023-12-06T22:04:37.770" v="33918"/>
          <ac:spMkLst>
            <pc:docMk/>
            <pc:sldMk cId="168389892" sldId="281"/>
            <ac:spMk id="41" creationId="{FDBDB5F4-8253-DAFB-C27E-59BA58987D05}"/>
          </ac:spMkLst>
        </pc:spChg>
        <pc:spChg chg="del mod">
          <ac:chgData name="Joelle Brehm" userId="a518f54c-6985-42c0-8041-2bb16a414839" providerId="ADAL" clId="{34B1A95F-EFD8-4A1E-A46D-E288C53C0C68}" dt="2023-12-06T22:04:33.327" v="33529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34B1A95F-EFD8-4A1E-A46D-E288C53C0C68}" dt="2023-12-06T22:04:37.771" v="33921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34B1A95F-EFD8-4A1E-A46D-E288C53C0C68}" dt="2023-12-06T22:04:37.767" v="33911"/>
          <ac:spMkLst>
            <pc:docMk/>
            <pc:sldMk cId="168389892" sldId="281"/>
            <ac:spMk id="44" creationId="{7CAA3B95-4C78-4122-BECA-B5FB0F3F3764}"/>
          </ac:spMkLst>
        </pc:spChg>
        <pc:spChg chg="add mod replST">
          <ac:chgData name="Joelle Brehm" userId="a518f54c-6985-42c0-8041-2bb16a414839" providerId="ADAL" clId="{34B1A95F-EFD8-4A1E-A46D-E288C53C0C68}" dt="2023-12-06T22:04:37.781" v="33939"/>
          <ac:spMkLst>
            <pc:docMk/>
            <pc:sldMk cId="168389892" sldId="281"/>
            <ac:spMk id="45" creationId="{B489755F-21EB-39D7-16FB-197494E2C1A4}"/>
          </ac:spMkLst>
        </pc:spChg>
        <pc:spChg chg="mod">
          <ac:chgData name="Joelle Brehm" userId="a518f54c-6985-42c0-8041-2bb16a414839" providerId="ADAL" clId="{34B1A95F-EFD8-4A1E-A46D-E288C53C0C68}" dt="2023-12-06T22:04:37.780" v="33937"/>
          <ac:spMkLst>
            <pc:docMk/>
            <pc:sldMk cId="168389892" sldId="281"/>
            <ac:spMk id="46" creationId="{D7E2D47E-9249-E731-F2B0-9D4421FC27B7}"/>
          </ac:spMkLst>
        </pc:spChg>
        <pc:spChg chg="add mod ord replST">
          <ac:chgData name="Joelle Brehm" userId="a518f54c-6985-42c0-8041-2bb16a414839" providerId="ADAL" clId="{34B1A95F-EFD8-4A1E-A46D-E288C53C0C68}" dt="2023-12-06T22:04:37.782" v="33940"/>
          <ac:spMkLst>
            <pc:docMk/>
            <pc:sldMk cId="168389892" sldId="281"/>
            <ac:spMk id="47" creationId="{C9F7A368-91BD-AFB9-D004-F672E6C15DDD}"/>
          </ac:spMkLst>
        </pc:spChg>
        <pc:spChg chg="mod">
          <ac:chgData name="Joelle Brehm" userId="a518f54c-6985-42c0-8041-2bb16a414839" providerId="ADAL" clId="{34B1A95F-EFD8-4A1E-A46D-E288C53C0C68}" dt="2023-12-06T22:04:37.771" v="33920"/>
          <ac:spMkLst>
            <pc:docMk/>
            <pc:sldMk cId="168389892" sldId="281"/>
            <ac:spMk id="48" creationId="{D7C724F5-3AF0-C1C4-489C-1D5CE45F0FB0}"/>
          </ac:spMkLst>
        </pc:spChg>
        <pc:spChg chg="mod ord">
          <ac:chgData name="Joelle Brehm" userId="a518f54c-6985-42c0-8041-2bb16a414839" providerId="ADAL" clId="{34B1A95F-EFD8-4A1E-A46D-E288C53C0C68}" dt="2023-12-06T22:04:37.777" v="33933"/>
          <ac:spMkLst>
            <pc:docMk/>
            <pc:sldMk cId="168389892" sldId="281"/>
            <ac:spMk id="49" creationId="{C06AD811-F54D-296F-21A9-ACC2CBDA832A}"/>
          </ac:spMkLst>
        </pc:spChg>
        <pc:spChg chg="add del mod modVis">
          <ac:chgData name="Joelle Brehm" userId="a518f54c-6985-42c0-8041-2bb16a414839" providerId="ADAL" clId="{34B1A95F-EFD8-4A1E-A46D-E288C53C0C68}" dt="2023-12-06T22:04:29.780" v="33313"/>
          <ac:spMkLst>
            <pc:docMk/>
            <pc:sldMk cId="168389892" sldId="281"/>
            <ac:spMk id="50" creationId="{1B612981-BB5C-D0C0-B5AA-5FCE1DE90483}"/>
          </ac:spMkLst>
        </pc:spChg>
        <pc:spChg chg="mod">
          <ac:chgData name="Joelle Brehm" userId="a518f54c-6985-42c0-8041-2bb16a414839" providerId="ADAL" clId="{34B1A95F-EFD8-4A1E-A46D-E288C53C0C68}" dt="2023-12-06T22:04:37.777" v="33930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34B1A95F-EFD8-4A1E-A46D-E288C53C0C68}" dt="2023-12-06T22:04:37.776" v="33928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34B1A95F-EFD8-4A1E-A46D-E288C53C0C68}" dt="2023-12-06T22:04:37.774" v="33927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34B1A95F-EFD8-4A1E-A46D-E288C53C0C68}" dt="2023-12-06T22:04:37.774" v="33925"/>
          <ac:spMkLst>
            <pc:docMk/>
            <pc:sldMk cId="168389892" sldId="281"/>
            <ac:spMk id="54" creationId="{622603CE-58AD-807F-F76A-AA9426112C20}"/>
          </ac:spMkLst>
        </pc:spChg>
        <pc:spChg chg="mod">
          <ac:chgData name="Joelle Brehm" userId="a518f54c-6985-42c0-8041-2bb16a414839" providerId="ADAL" clId="{34B1A95F-EFD8-4A1E-A46D-E288C53C0C68}" dt="2023-12-06T22:04:37.773" v="33924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34B1A95F-EFD8-4A1E-A46D-E288C53C0C68}" dt="2023-12-06T22:04:37.774" v="33926"/>
          <ac:spMkLst>
            <pc:docMk/>
            <pc:sldMk cId="168389892" sldId="281"/>
            <ac:spMk id="57" creationId="{C5C40907-46F2-01D7-4DFC-21E722FD6F82}"/>
          </ac:spMkLst>
        </pc:spChg>
        <pc:spChg chg="add del mod modVis">
          <ac:chgData name="Joelle Brehm" userId="a518f54c-6985-42c0-8041-2bb16a414839" providerId="ADAL" clId="{34B1A95F-EFD8-4A1E-A46D-E288C53C0C68}" dt="2023-12-06T22:04:31.717" v="33524"/>
          <ac:spMkLst>
            <pc:docMk/>
            <pc:sldMk cId="168389892" sldId="281"/>
            <ac:spMk id="58" creationId="{721E0334-9AE2-394A-8470-ED89344DF57A}"/>
          </ac:spMkLst>
        </pc:spChg>
        <pc:spChg chg="mod">
          <ac:chgData name="Joelle Brehm" userId="a518f54c-6985-42c0-8041-2bb16a414839" providerId="ADAL" clId="{34B1A95F-EFD8-4A1E-A46D-E288C53C0C68}" dt="2023-12-06T22:04:37.776" v="33929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34B1A95F-EFD8-4A1E-A46D-E288C53C0C68}" dt="2023-12-06T22:04:37.782" v="33941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34B1A95F-EFD8-4A1E-A46D-E288C53C0C68}" dt="2023-12-06T22:04:37.780" v="33936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34B1A95F-EFD8-4A1E-A46D-E288C53C0C68}" dt="2023-12-06T22:04:37.777" v="33932"/>
          <ac:spMkLst>
            <pc:docMk/>
            <pc:sldMk cId="168389892" sldId="281"/>
            <ac:spMk id="62" creationId="{DE7D5BF8-193E-8278-7BAE-2D4FE573EB09}"/>
          </ac:spMkLst>
        </pc:spChg>
        <pc:spChg chg="mod">
          <ac:chgData name="Joelle Brehm" userId="a518f54c-6985-42c0-8041-2bb16a414839" providerId="ADAL" clId="{34B1A95F-EFD8-4A1E-A46D-E288C53C0C68}" dt="2023-12-06T22:04:37.779" v="33935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34B1A95F-EFD8-4A1E-A46D-E288C53C0C68}" dt="2023-12-06T22:04:33.817" v="33779"/>
          <ac:spMkLst>
            <pc:docMk/>
            <pc:sldMk cId="168389892" sldId="281"/>
            <ac:spMk id="65" creationId="{1E1533F7-A1B5-D52D-E3D3-42ADB55DD67C}"/>
          </ac:spMkLst>
        </pc:spChg>
        <pc:spChg chg="mod">
          <ac:chgData name="Joelle Brehm" userId="a518f54c-6985-42c0-8041-2bb16a414839" providerId="ADAL" clId="{34B1A95F-EFD8-4A1E-A46D-E288C53C0C68}" dt="2023-12-06T22:04:37.777" v="33931"/>
          <ac:spMkLst>
            <pc:docMk/>
            <pc:sldMk cId="168389892" sldId="281"/>
            <ac:spMk id="67" creationId="{7E34EA90-F698-215B-99E3-B598F96FF491}"/>
          </ac:spMkLst>
        </pc:spChg>
        <pc:spChg chg="add del mod modVis">
          <ac:chgData name="Joelle Brehm" userId="a518f54c-6985-42c0-8041-2bb16a414839" providerId="ADAL" clId="{34B1A95F-EFD8-4A1E-A46D-E288C53C0C68}" dt="2023-12-06T22:04:37.798" v="33970"/>
          <ac:spMkLst>
            <pc:docMk/>
            <pc:sldMk cId="168389892" sldId="281"/>
            <ac:spMk id="68" creationId="{8CF7B43A-105B-FA4A-42DC-D47289D001E0}"/>
          </ac:spMkLst>
        </pc:spChg>
        <pc:spChg chg="mod">
          <ac:chgData name="Joelle Brehm" userId="a518f54c-6985-42c0-8041-2bb16a414839" providerId="ADAL" clId="{34B1A95F-EFD8-4A1E-A46D-E288C53C0C68}" dt="2023-12-06T22:04:37.770" v="33917"/>
          <ac:spMkLst>
            <pc:docMk/>
            <pc:sldMk cId="168389892" sldId="281"/>
            <ac:spMk id="72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66" v="33910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62" v="33902"/>
          <ac:spMkLst>
            <pc:docMk/>
            <pc:sldMk cId="168389892" sldId="281"/>
            <ac:spMk id="74" creationId="{1E5392BC-349C-45B4-8F81-52F83DA74F43}"/>
          </ac:spMkLst>
        </pc:spChg>
        <pc:spChg chg="mod">
          <ac:chgData name="Joelle Brehm" userId="a518f54c-6985-42c0-8041-2bb16a414839" providerId="ADAL" clId="{34B1A95F-EFD8-4A1E-A46D-E288C53C0C68}" dt="2023-12-06T22:04:37.767" v="33912"/>
          <ac:spMkLst>
            <pc:docMk/>
            <pc:sldMk cId="168389892" sldId="281"/>
            <ac:spMk id="7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68" v="33913"/>
          <ac:spMkLst>
            <pc:docMk/>
            <pc:sldMk cId="168389892" sldId="281"/>
            <ac:spMk id="7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68" v="33914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2:04:37.783" v="33943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2:04:37.784" v="33945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34B1A95F-EFD8-4A1E-A46D-E288C53C0C68}" dt="2023-12-06T22:04:37.769" v="33915"/>
          <ac:spMkLst>
            <pc:docMk/>
            <pc:sldMk cId="168389892" sldId="281"/>
            <ac:spMk id="80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69" v="33916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2:04:37.785" v="33947"/>
          <ac:spMkLst>
            <pc:docMk/>
            <pc:sldMk cId="168389892" sldId="281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2:04:37.786" v="33949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2:04:37.787" v="33951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2:04:37.788" v="33953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2:04:37.789" v="33956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90" v="33957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91" v="33958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4:37.791" v="33959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2:04:37.792" v="33960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2:04:37.823" v="33972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2:03:58.095" v="32483"/>
          <ac:graphicFrameMkLst>
            <pc:docMk/>
            <pc:sldMk cId="168389892" sldId="281"/>
            <ac:graphicFrameMk id="8" creationId="{7D0572F8-AFCF-3891-CD8D-74BC1164E75B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4:37.751" v="33882"/>
          <ac:graphicFrameMkLst>
            <pc:docMk/>
            <pc:sldMk cId="168389892" sldId="281"/>
            <ac:graphicFrameMk id="32" creationId="{3A5EF28E-700C-5FD4-7158-86BD17B33A60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4:37.789" v="33955"/>
          <ac:graphicFrameMkLst>
            <pc:docMk/>
            <pc:sldMk cId="168389892" sldId="281"/>
            <ac:graphicFrameMk id="38" creationId="{FC055DB0-98AE-CC1D-08E0-3EF5C80C8BE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4:31.527" v="33416"/>
          <ac:graphicFrameMkLst>
            <pc:docMk/>
            <pc:sldMk cId="168389892" sldId="281"/>
            <ac:graphicFrameMk id="55" creationId="{96D89729-3040-CBC8-A02A-90E6A8F5828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4:33.637" v="33676"/>
          <ac:graphicFrameMkLst>
            <pc:docMk/>
            <pc:sldMk cId="168389892" sldId="281"/>
            <ac:graphicFrameMk id="64" creationId="{D24823A9-86BD-8C50-EB5E-1FD09EA64C8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4:37.711" v="33868"/>
          <ac:graphicFrameMkLst>
            <pc:docMk/>
            <pc:sldMk cId="168389892" sldId="281"/>
            <ac:graphicFrameMk id="66" creationId="{DB85FC9C-83EF-3768-FB67-9A9526C56B6B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4:37.766" v="33909"/>
          <ac:graphicFrameMkLst>
            <pc:docMk/>
            <pc:sldMk cId="168389892" sldId="281"/>
            <ac:graphicFrameMk id="69" creationId="{6B9E219F-B9DC-277C-1EB8-FC76A07358A1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4:29.647" v="33205"/>
          <ac:graphicFrameMkLst>
            <pc:docMk/>
            <pc:sldMk cId="168389892" sldId="281"/>
            <ac:graphicFrameMk id="84" creationId="{1610EFAC-9FC1-96B8-5A3F-E2D7706EA9FA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4:22.415" v="32808"/>
          <ac:graphicFrameMkLst>
            <pc:docMk/>
            <pc:sldMk cId="168389892" sldId="281"/>
            <ac:graphicFrameMk id="87" creationId="{A3949B62-46F5-DC82-6405-2AE66D6B9F4F}"/>
          </ac:graphicFrameMkLst>
        </pc:graphicFrameChg>
        <pc:picChg chg="del mod ord">
          <ac:chgData name="Joelle Brehm" userId="a518f54c-6985-42c0-8041-2bb16a414839" providerId="ADAL" clId="{34B1A95F-EFD8-4A1E-A46D-E288C53C0C68}" dt="2023-12-06T22:04:13.359" v="32704" actId="478"/>
          <ac:picMkLst>
            <pc:docMk/>
            <pc:sldMk cId="168389892" sldId="281"/>
            <ac:picMk id="31" creationId="{80D4105C-E631-7BA1-C74B-2283BE202E29}"/>
          </ac:picMkLst>
        </pc:picChg>
        <pc:picChg chg="add mod ord">
          <ac:chgData name="Joelle Brehm" userId="a518f54c-6985-42c0-8041-2bb16a414839" providerId="ADAL" clId="{34B1A95F-EFD8-4A1E-A46D-E288C53C0C68}" dt="2023-12-06T22:04:37.748" v="33876"/>
          <ac:picMkLst>
            <pc:docMk/>
            <pc:sldMk cId="168389892" sldId="281"/>
            <ac:picMk id="35" creationId="{66ED65E2-556D-A782-CEB8-72A53857AAAA}"/>
          </ac:picMkLst>
        </pc:picChg>
        <pc:picChg chg="mod ord">
          <ac:chgData name="Joelle Brehm" userId="a518f54c-6985-42c0-8041-2bb16a414839" providerId="ADAL" clId="{34B1A95F-EFD8-4A1E-A46D-E288C53C0C68}" dt="2023-12-06T22:04:37.794" v="33964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34B1A95F-EFD8-4A1E-A46D-E288C53C0C68}" dt="2023-12-06T22:04:37.793" v="33962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2:04:37.750" v="33880"/>
          <ac:cxnSpMkLst>
            <pc:docMk/>
            <pc:sldMk cId="168389892" sldId="281"/>
            <ac:cxnSpMk id="7" creationId="{81C3ADD2-FBA2-4990-9325-1C3084F656B8}"/>
          </ac:cxnSpMkLst>
        </pc:cxnChg>
        <pc:cxnChg chg="del mod ord">
          <ac:chgData name="Joelle Brehm" userId="a518f54c-6985-42c0-8041-2bb16a414839" providerId="ADAL" clId="{34B1A95F-EFD8-4A1E-A46D-E288C53C0C68}" dt="2023-12-06T22:04:33.324" v="33528"/>
          <ac:cxnSpMkLst>
            <pc:docMk/>
            <pc:sldMk cId="168389892" sldId="281"/>
            <ac:cxnSpMk id="70" creationId="{B150A430-82BB-DF76-4B97-9DAE5EC41DAD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2:05:42.619" v="36315"/>
        <pc:sldMkLst>
          <pc:docMk/>
          <pc:sldMk cId="3564961532" sldId="282"/>
        </pc:sldMkLst>
        <pc:spChg chg="mod ord">
          <ac:chgData name="Joelle Brehm" userId="a518f54c-6985-42c0-8041-2bb16a414839" providerId="ADAL" clId="{34B1A95F-EFD8-4A1E-A46D-E288C53C0C68}" dt="2023-12-06T22:05:42.598" v="36309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34B1A95F-EFD8-4A1E-A46D-E288C53C0C68}" dt="2023-12-06T22:04:50.271" v="33973" actId="478"/>
          <ac:spMkLst>
            <pc:docMk/>
            <pc:sldMk cId="3564961532" sldId="282"/>
            <ac:spMk id="3" creationId="{BB1C85EF-98F6-D8EE-C528-0F113D94E5D8}"/>
          </ac:spMkLst>
        </pc:spChg>
        <pc:spChg chg="add del mod modVis">
          <ac:chgData name="Joelle Brehm" userId="a518f54c-6985-42c0-8041-2bb16a414839" providerId="ADAL" clId="{34B1A95F-EFD8-4A1E-A46D-E288C53C0C68}" dt="2023-12-06T22:04:55.429" v="34220"/>
          <ac:spMkLst>
            <pc:docMk/>
            <pc:sldMk cId="3564961532" sldId="282"/>
            <ac:spMk id="5" creationId="{AB69D5A1-D37D-D8BB-7975-3FA930E94CFC}"/>
          </ac:spMkLst>
        </pc:spChg>
        <pc:spChg chg="mod ord">
          <ac:chgData name="Joelle Brehm" userId="a518f54c-6985-42c0-8041-2bb16a414839" providerId="ADAL" clId="{34B1A95F-EFD8-4A1E-A46D-E288C53C0C68}" dt="2023-12-06T22:05:42.566" v="36222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2:05:42.583" v="3626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34B1A95F-EFD8-4A1E-A46D-E288C53C0C68}" dt="2023-12-06T22:05:42.570" v="36233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2:05:42.568" v="36229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2:05:42.569" v="36230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2:05:42.568" v="36227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2:05:42.568" v="36228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2:05:42.569" v="36231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2:05:42.570" v="36232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2:05:42.570" v="36234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2:05:42.571" v="36235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2:05:42.571" v="36236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2:05:42.571" v="36237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2:05:42.571" v="36238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2:05:42.572" v="36240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2:05:42.573" v="36243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2:05:42.574" v="36245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2:05:42.574" v="36244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2:05:42.575" v="36248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2:05:42.576" v="36249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2:05:42.575" v="36247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2:05:42.577" v="36251"/>
          <ac:spMkLst>
            <pc:docMk/>
            <pc:sldMk cId="3564961532" sldId="282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2:05:42.582" v="36265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34B1A95F-EFD8-4A1E-A46D-E288C53C0C68}" dt="2023-12-06T22:05:42.588" v="36282"/>
          <ac:spMkLst>
            <pc:docMk/>
            <pc:sldMk cId="3564961532" sldId="282"/>
            <ac:spMk id="34" creationId="{5449B49A-6F6A-898A-2D6E-3B98A8E86022}"/>
          </ac:spMkLst>
        </pc:spChg>
        <pc:spChg chg="add del mod modVis">
          <ac:chgData name="Joelle Brehm" userId="a518f54c-6985-42c0-8041-2bb16a414839" providerId="ADAL" clId="{34B1A95F-EFD8-4A1E-A46D-E288C53C0C68}" dt="2023-12-06T22:05:16.086" v="34568"/>
          <ac:spMkLst>
            <pc:docMk/>
            <pc:sldMk cId="3564961532" sldId="282"/>
            <ac:spMk id="35" creationId="{6E2E7E68-DEDA-7F7D-0EAE-1DAD89395DD2}"/>
          </ac:spMkLst>
        </pc:spChg>
        <pc:spChg chg="mod ord">
          <ac:chgData name="Joelle Brehm" userId="a518f54c-6985-42c0-8041-2bb16a414839" providerId="ADAL" clId="{34B1A95F-EFD8-4A1E-A46D-E288C53C0C68}" dt="2023-12-06T22:05:42.573" v="36242"/>
          <ac:spMkLst>
            <pc:docMk/>
            <pc:sldMk cId="3564961532" sldId="282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34B1A95F-EFD8-4A1E-A46D-E288C53C0C68}" dt="2023-12-06T22:05:42.588" v="36283"/>
          <ac:spMkLst>
            <pc:docMk/>
            <pc:sldMk cId="3564961532" sldId="282"/>
            <ac:spMk id="38" creationId="{CC249A73-3953-259C-3458-D4FAFD8A9D0B}"/>
          </ac:spMkLst>
        </pc:spChg>
        <pc:spChg chg="add mod replST">
          <ac:chgData name="Joelle Brehm" userId="a518f54c-6985-42c0-8041-2bb16a414839" providerId="ADAL" clId="{34B1A95F-EFD8-4A1E-A46D-E288C53C0C68}" dt="2023-12-06T22:05:42.589" v="36284"/>
          <ac:spMkLst>
            <pc:docMk/>
            <pc:sldMk cId="3564961532" sldId="282"/>
            <ac:spMk id="39" creationId="{CEC7EE6E-A856-A6AD-4F8A-2BEBB154E0B8}"/>
          </ac:spMkLst>
        </pc:spChg>
        <pc:spChg chg="del mod">
          <ac:chgData name="Joelle Brehm" userId="a518f54c-6985-42c0-8041-2bb16a414839" providerId="ADAL" clId="{34B1A95F-EFD8-4A1E-A46D-E288C53C0C68}" dt="2023-12-06T22:05:25.068" v="35206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34B1A95F-EFD8-4A1E-A46D-E288C53C0C68}" dt="2023-12-06T22:05:42.581" v="36262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34B1A95F-EFD8-4A1E-A46D-E288C53C0C68}" dt="2023-12-06T22:05:42.580" v="36261"/>
          <ac:spMkLst>
            <pc:docMk/>
            <pc:sldMk cId="3564961532" sldId="282"/>
            <ac:spMk id="42" creationId="{029DF0F0-1819-B6C9-E910-A68F2546536E}"/>
          </ac:spMkLst>
        </pc:spChg>
        <pc:spChg chg="del mod">
          <ac:chgData name="Joelle Brehm" userId="a518f54c-6985-42c0-8041-2bb16a414839" providerId="ADAL" clId="{34B1A95F-EFD8-4A1E-A46D-E288C53C0C68}" dt="2023-12-06T22:05:25.066" v="35205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34B1A95F-EFD8-4A1E-A46D-E288C53C0C68}" dt="2023-12-06T22:05:42.582" v="36264"/>
          <ac:spMkLst>
            <pc:docMk/>
            <pc:sldMk cId="3564961532" sldId="282"/>
            <ac:spMk id="44" creationId="{1F6C7A4E-3741-C604-E97F-BC7B1D2FF004}"/>
          </ac:spMkLst>
        </pc:spChg>
        <pc:spChg chg="mod">
          <ac:chgData name="Joelle Brehm" userId="a518f54c-6985-42c0-8041-2bb16a414839" providerId="ADAL" clId="{34B1A95F-EFD8-4A1E-A46D-E288C53C0C68}" dt="2023-12-06T22:05:42.582" v="36263"/>
          <ac:spMkLst>
            <pc:docMk/>
            <pc:sldMk cId="3564961532" sldId="282"/>
            <ac:spMk id="45" creationId="{13402A60-D873-7DF2-943A-0976851061CD}"/>
          </ac:spMkLst>
        </pc:spChg>
        <pc:spChg chg="add del mod modVis">
          <ac:chgData name="Joelle Brehm" userId="a518f54c-6985-42c0-8041-2bb16a414839" providerId="ADAL" clId="{34B1A95F-EFD8-4A1E-A46D-E288C53C0C68}" dt="2023-12-06T22:05:21.984" v="34986"/>
          <ac:spMkLst>
            <pc:docMk/>
            <pc:sldMk cId="3564961532" sldId="282"/>
            <ac:spMk id="46" creationId="{EBDA15E7-6DB0-598E-DECC-DA5C7FA96C84}"/>
          </ac:spMkLst>
        </pc:spChg>
        <pc:spChg chg="mod ord">
          <ac:chgData name="Joelle Brehm" userId="a518f54c-6985-42c0-8041-2bb16a414839" providerId="ADAL" clId="{34B1A95F-EFD8-4A1E-A46D-E288C53C0C68}" dt="2023-12-06T22:05:42.588" v="36281"/>
          <ac:spMkLst>
            <pc:docMk/>
            <pc:sldMk cId="3564961532" sldId="282"/>
            <ac:spMk id="47" creationId="{38F805B2-3D74-F0ED-4C65-55D891954B72}"/>
          </ac:spMkLst>
        </pc:spChg>
        <pc:spChg chg="mod">
          <ac:chgData name="Joelle Brehm" userId="a518f54c-6985-42c0-8041-2bb16a414839" providerId="ADAL" clId="{34B1A95F-EFD8-4A1E-A46D-E288C53C0C68}" dt="2023-12-06T22:05:42.585" v="36274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34B1A95F-EFD8-4A1E-A46D-E288C53C0C68}" dt="2023-12-06T22:05:42.585" v="36273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34B1A95F-EFD8-4A1E-A46D-E288C53C0C68}" dt="2023-12-06T22:05:42.583" v="36268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34B1A95F-EFD8-4A1E-A46D-E288C53C0C68}" dt="2023-12-06T22:05:42.587" v="36278"/>
          <ac:spMkLst>
            <pc:docMk/>
            <pc:sldMk cId="3564961532" sldId="282"/>
            <ac:spMk id="51" creationId="{7D7C884D-D57C-725C-5AC2-3935B0668B1E}"/>
          </ac:spMkLst>
        </pc:spChg>
        <pc:spChg chg="mod">
          <ac:chgData name="Joelle Brehm" userId="a518f54c-6985-42c0-8041-2bb16a414839" providerId="ADAL" clId="{34B1A95F-EFD8-4A1E-A46D-E288C53C0C68}" dt="2023-12-06T22:05:42.583" v="36267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34B1A95F-EFD8-4A1E-A46D-E288C53C0C68}" dt="2023-12-06T22:05:42.584" v="36270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34B1A95F-EFD8-4A1E-A46D-E288C53C0C68}" dt="2023-12-06T22:05:42.587" v="36280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34B1A95F-EFD8-4A1E-A46D-E288C53C0C68}" dt="2023-12-06T22:05:42.586" v="36276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34B1A95F-EFD8-4A1E-A46D-E288C53C0C68}" dt="2023-12-06T22:05:42.584" v="36269"/>
          <ac:spMkLst>
            <pc:docMk/>
            <pc:sldMk cId="3564961532" sldId="282"/>
            <ac:spMk id="56" creationId="{524D0E2B-EC88-5451-10B4-9BAED81D2D7E}"/>
          </ac:spMkLst>
        </pc:spChg>
        <pc:spChg chg="mod">
          <ac:chgData name="Joelle Brehm" userId="a518f54c-6985-42c0-8041-2bb16a414839" providerId="ADAL" clId="{34B1A95F-EFD8-4A1E-A46D-E288C53C0C68}" dt="2023-12-06T22:05:42.586" v="36277"/>
          <ac:spMkLst>
            <pc:docMk/>
            <pc:sldMk cId="3564961532" sldId="282"/>
            <ac:spMk id="57" creationId="{6C3836C5-4B8F-D1FF-D868-DEBFC10CBCF3}"/>
          </ac:spMkLst>
        </pc:spChg>
        <pc:spChg chg="mod">
          <ac:chgData name="Joelle Brehm" userId="a518f54c-6985-42c0-8041-2bb16a414839" providerId="ADAL" clId="{34B1A95F-EFD8-4A1E-A46D-E288C53C0C68}" dt="2023-12-06T22:05:42.587" v="36279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34B1A95F-EFD8-4A1E-A46D-E288C53C0C68}" dt="2023-12-06T22:05:42.586" v="36275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34B1A95F-EFD8-4A1E-A46D-E288C53C0C68}" dt="2023-12-06T22:05:23.260" v="35202"/>
          <ac:spMkLst>
            <pc:docMk/>
            <pc:sldMk cId="3564961532" sldId="282"/>
            <ac:spMk id="61" creationId="{84C48124-D9D9-0938-DF40-7B8771C6E3E4}"/>
          </ac:spMkLst>
        </pc:spChg>
        <pc:spChg chg="mod">
          <ac:chgData name="Joelle Brehm" userId="a518f54c-6985-42c0-8041-2bb16a414839" providerId="ADAL" clId="{34B1A95F-EFD8-4A1E-A46D-E288C53C0C68}" dt="2023-12-06T22:05:42.585" v="36272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34B1A95F-EFD8-4A1E-A46D-E288C53C0C68}" dt="2023-12-06T22:05:25.613" v="35460"/>
          <ac:spMkLst>
            <pc:docMk/>
            <pc:sldMk cId="3564961532" sldId="282"/>
            <ac:spMk id="64" creationId="{731343D7-4A21-8A6A-04F1-F64156BB4F5D}"/>
          </ac:spMkLst>
        </pc:spChg>
        <pc:spChg chg="mod">
          <ac:chgData name="Joelle Brehm" userId="a518f54c-6985-42c0-8041-2bb16a414839" providerId="ADAL" clId="{34B1A95F-EFD8-4A1E-A46D-E288C53C0C68}" dt="2023-12-06T22:05:42.584" v="36271"/>
          <ac:spMkLst>
            <pc:docMk/>
            <pc:sldMk cId="3564961532" sldId="282"/>
            <ac:spMk id="66" creationId="{C4A33F4F-7FD9-EA78-EDDC-D0E322FB3032}"/>
          </ac:spMkLst>
        </pc:spChg>
        <pc:spChg chg="del mod">
          <ac:chgData name="Joelle Brehm" userId="a518f54c-6985-42c0-8041-2bb16a414839" providerId="ADAL" clId="{34B1A95F-EFD8-4A1E-A46D-E288C53C0C68}" dt="2023-12-06T22:05:33.655" v="35513"/>
          <ac:spMkLst>
            <pc:docMk/>
            <pc:sldMk cId="3564961532" sldId="282"/>
            <ac:spMk id="67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2:05:33.655" v="35512"/>
          <ac:spMkLst>
            <pc:docMk/>
            <pc:sldMk cId="3564961532" sldId="282"/>
            <ac:spMk id="68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2:05:33.655" v="35511"/>
          <ac:spMkLst>
            <pc:docMk/>
            <pc:sldMk cId="3564961532" sldId="282"/>
            <ac:spMk id="70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2:05:34.099" v="35929"/>
          <ac:spMkLst>
            <pc:docMk/>
            <pc:sldMk cId="3564961532" sldId="282"/>
            <ac:spMk id="71" creationId="{93F37E69-7AC2-7AD4-DF61-6835F3D41C5A}"/>
          </ac:spMkLst>
        </pc:spChg>
        <pc:spChg chg="del mod">
          <ac:chgData name="Joelle Brehm" userId="a518f54c-6985-42c0-8041-2bb16a414839" providerId="ADAL" clId="{34B1A95F-EFD8-4A1E-A46D-E288C53C0C68}" dt="2023-12-06T22:05:33.654" v="35510"/>
          <ac:spMkLst>
            <pc:docMk/>
            <pc:sldMk cId="3564961532" sldId="282"/>
            <ac:spMk id="72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2:05:33.654" v="35509"/>
          <ac:spMkLst>
            <pc:docMk/>
            <pc:sldMk cId="3564961532" sldId="282"/>
            <ac:spMk id="7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5:42.574" v="36246"/>
          <ac:spMkLst>
            <pc:docMk/>
            <pc:sldMk cId="3564961532" sldId="282"/>
            <ac:spMk id="74" creationId="{1E5392BC-349C-45B4-8F81-52F83DA74F43}"/>
          </ac:spMkLst>
        </pc:spChg>
        <pc:spChg chg="add mod replST">
          <ac:chgData name="Joelle Brehm" userId="a518f54c-6985-42c0-8041-2bb16a414839" providerId="ADAL" clId="{34B1A95F-EFD8-4A1E-A46D-E288C53C0C68}" dt="2023-12-06T22:05:42.579" v="36259"/>
          <ac:spMkLst>
            <pc:docMk/>
            <pc:sldMk cId="3564961532" sldId="282"/>
            <ac:spMk id="76" creationId="{7CAA3B95-4C78-4122-BECA-B5FB0F3F3764}"/>
          </ac:spMkLst>
        </pc:spChg>
        <pc:spChg chg="add mod replST">
          <ac:chgData name="Joelle Brehm" userId="a518f54c-6985-42c0-8041-2bb16a414839" providerId="ADAL" clId="{34B1A95F-EFD8-4A1E-A46D-E288C53C0C68}" dt="2023-12-06T22:05:42.580" v="36260"/>
          <ac:spMkLst>
            <pc:docMk/>
            <pc:sldMk cId="3564961532" sldId="282"/>
            <ac:spMk id="77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2:05:42.590" v="36286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2:05:42.590" v="36288"/>
          <ac:spMkLst>
            <pc:docMk/>
            <pc:sldMk cId="3564961532" sldId="282"/>
            <ac:spMk id="79" creationId="{F1476AC4-694B-4D83-BFD8-8DCAA4BB1923}"/>
          </ac:spMkLst>
        </pc:spChg>
        <pc:spChg chg="add del mod modVis">
          <ac:chgData name="Joelle Brehm" userId="a518f54c-6985-42c0-8041-2bb16a414839" providerId="ADAL" clId="{34B1A95F-EFD8-4A1E-A46D-E288C53C0C68}" dt="2023-12-06T22:05:37.201" v="36125"/>
          <ac:spMkLst>
            <pc:docMk/>
            <pc:sldMk cId="3564961532" sldId="282"/>
            <ac:spMk id="82" creationId="{3871A845-A1DD-EF08-A1FE-BC354029FEE4}"/>
          </ac:spMkLst>
        </pc:spChg>
        <pc:spChg chg="add del mod modVis">
          <ac:chgData name="Joelle Brehm" userId="a518f54c-6985-42c0-8041-2bb16a414839" providerId="ADAL" clId="{34B1A95F-EFD8-4A1E-A46D-E288C53C0C68}" dt="2023-12-06T22:05:42.601" v="36313"/>
          <ac:spMkLst>
            <pc:docMk/>
            <pc:sldMk cId="3564961532" sldId="282"/>
            <ac:spMk id="84" creationId="{9DC2AEDB-4BF2-C55E-02B7-CA6374D195D8}"/>
          </ac:spMkLst>
        </pc:spChg>
        <pc:spChg chg="mod ord">
          <ac:chgData name="Joelle Brehm" userId="a518f54c-6985-42c0-8041-2bb16a414839" providerId="ADAL" clId="{34B1A95F-EFD8-4A1E-A46D-E288C53C0C68}" dt="2023-12-06T22:05:42.598" v="36307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34B1A95F-EFD8-4A1E-A46D-E288C53C0C68}" dt="2023-12-06T22:05:42.579" v="36257"/>
          <ac:spMkLst>
            <pc:docMk/>
            <pc:sldMk cId="3564961532" sldId="282"/>
            <ac:spMk id="97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2:05:42.591" v="36290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34B1A95F-EFD8-4A1E-A46D-E288C53C0C68}" dt="2023-12-06T22:05:42.578" v="36255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2:05:42.592" v="36292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2:05:42.593" v="36294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2:05:42.594" v="36296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2:05:42.578" v="36254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5:42.579" v="36256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5:42.579" v="36258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5:42.595" v="36299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5:42.595" v="36300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5:42.596" v="36301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5:42.596" v="36302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2:05:42.597" v="36303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2:05:42.619" v="36315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5:42.567" v="36226"/>
          <ac:graphicFrameMkLst>
            <pc:docMk/>
            <pc:sldMk cId="3564961532" sldId="282"/>
            <ac:graphicFrameMk id="8" creationId="{5568CF92-EFD6-E4E9-85D2-EA3F1F6B2759}"/>
          </ac:graphicFrameMkLst>
        </pc:graphicFrameChg>
        <pc:graphicFrameChg chg="del">
          <ac:chgData name="Joelle Brehm" userId="a518f54c-6985-42c0-8041-2bb16a414839" providerId="ADAL" clId="{34B1A95F-EFD8-4A1E-A46D-E288C53C0C68}" dt="2023-12-06T22:04:55.204" v="34110"/>
          <ac:graphicFrameMkLst>
            <pc:docMk/>
            <pc:sldMk cId="3564961532" sldId="282"/>
            <ac:graphicFrameMk id="9" creationId="{628DAFD1-56BA-0EFB-AC1D-845F60F9D35E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5:42.594" v="36298"/>
          <ac:graphicFrameMkLst>
            <pc:docMk/>
            <pc:sldMk cId="3564961532" sldId="282"/>
            <ac:graphicFrameMk id="36" creationId="{D4136899-F3D3-F18D-E447-5A3BD3878BF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5:23.030" v="35095"/>
          <ac:graphicFrameMkLst>
            <pc:docMk/>
            <pc:sldMk cId="3564961532" sldId="282"/>
            <ac:graphicFrameMk id="60" creationId="{206DE1E2-BDFE-F637-1711-704B9C62B7F7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5:25.444" v="35355"/>
          <ac:graphicFrameMkLst>
            <pc:docMk/>
            <pc:sldMk cId="3564961532" sldId="282"/>
            <ac:graphicFrameMk id="63" creationId="{BFAE9C31-5326-FC75-F8BB-FD41D9008842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5:34.014" v="35825"/>
          <ac:graphicFrameMkLst>
            <pc:docMk/>
            <pc:sldMk cId="3564961532" sldId="282"/>
            <ac:graphicFrameMk id="65" creationId="{C0E932B2-4D47-8EB8-DB33-EED53B54CCEC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5:21.807" v="34879"/>
          <ac:graphicFrameMkLst>
            <pc:docMk/>
            <pc:sldMk cId="3564961532" sldId="282"/>
            <ac:graphicFrameMk id="69" creationId="{64E7F5B1-42AF-7316-25EB-B5C635B0C6AD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5:15.981" v="34464"/>
          <ac:graphicFrameMkLst>
            <pc:docMk/>
            <pc:sldMk cId="3564961532" sldId="282"/>
            <ac:graphicFrameMk id="75" creationId="{8D713002-743B-E0D6-1495-BE1E4285440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5:37.098" v="36022"/>
          <ac:graphicFrameMkLst>
            <pc:docMk/>
            <pc:sldMk cId="3564961532" sldId="282"/>
            <ac:graphicFrameMk id="81" creationId="{D416594E-22D9-CD50-85DC-E53462BE5BB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5:42.534" v="36212"/>
          <ac:graphicFrameMkLst>
            <pc:docMk/>
            <pc:sldMk cId="3564961532" sldId="282"/>
            <ac:graphicFrameMk id="83" creationId="{FFFD546F-180C-D74D-1536-621919FBFC2C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5:42.577" v="36253"/>
          <ac:graphicFrameMkLst>
            <pc:docMk/>
            <pc:sldMk cId="3564961532" sldId="282"/>
            <ac:graphicFrameMk id="85" creationId="{4C4EEDA4-F6D6-2A4E-BD94-D29115C86181}"/>
          </ac:graphicFrameMkLst>
        </pc:graphicFrameChg>
        <pc:picChg chg="add mod ord">
          <ac:chgData name="Joelle Brehm" userId="a518f54c-6985-42c0-8041-2bb16a414839" providerId="ADAL" clId="{34B1A95F-EFD8-4A1E-A46D-E288C53C0C68}" dt="2023-12-06T22:05:42.565" v="36220"/>
          <ac:picMkLst>
            <pc:docMk/>
            <pc:sldMk cId="3564961532" sldId="282"/>
            <ac:picMk id="31" creationId="{A2D8F945-3DB2-4B8B-FA00-2F485262180A}"/>
          </ac:picMkLst>
        </pc:picChg>
        <pc:picChg chg="del mod ord">
          <ac:chgData name="Joelle Brehm" userId="a518f54c-6985-42c0-8041-2bb16a414839" providerId="ADAL" clId="{34B1A95F-EFD8-4A1E-A46D-E288C53C0C68}" dt="2023-12-06T22:05:07.820" v="34333" actId="478"/>
          <ac:picMkLst>
            <pc:docMk/>
            <pc:sldMk cId="3564961532" sldId="282"/>
            <ac:picMk id="32" creationId="{CD44A3C7-7365-9612-4ACE-5C6E02C88ADE}"/>
          </ac:picMkLst>
        </pc:picChg>
        <pc:picChg chg="mod ord">
          <ac:chgData name="Joelle Brehm" userId="a518f54c-6985-42c0-8041-2bb16a414839" providerId="ADAL" clId="{34B1A95F-EFD8-4A1E-A46D-E288C53C0C68}" dt="2023-12-06T22:05:42.597" v="36305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2:05:42.567" v="36224"/>
          <ac:cxnSpMkLst>
            <pc:docMk/>
            <pc:sldMk cId="3564961532" sldId="282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34B1A95F-EFD8-4A1E-A46D-E288C53C0C68}" dt="2023-12-06T22:05:42.533" v="36210"/>
          <ac:cxnSpMkLst>
            <pc:docMk/>
            <pc:sldMk cId="3564961532" sldId="282"/>
            <ac:cxnSpMk id="80" creationId="{9B2EDBA9-19C2-2482-A929-2BEA10B3EC9E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2:06:38.962" v="37885"/>
        <pc:sldMkLst>
          <pc:docMk/>
          <pc:sldMk cId="2958919186" sldId="284"/>
        </pc:sldMkLst>
        <pc:spChg chg="mod ord">
          <ac:chgData name="Joelle Brehm" userId="a518f54c-6985-42c0-8041-2bb16a414839" providerId="ADAL" clId="{34B1A95F-EFD8-4A1E-A46D-E288C53C0C68}" dt="2023-12-06T22:06:38.921" v="37879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34B1A95F-EFD8-4A1E-A46D-E288C53C0C68}" dt="2023-12-06T22:05:56.558" v="36316" actId="478"/>
          <ac:spMkLst>
            <pc:docMk/>
            <pc:sldMk cId="2958919186" sldId="284"/>
            <ac:spMk id="3" creationId="{13C4FA91-73A2-7F01-BFF5-88B75084A621}"/>
          </ac:spMkLst>
        </pc:spChg>
        <pc:spChg chg="add del mod modVis">
          <ac:chgData name="Joelle Brehm" userId="a518f54c-6985-42c0-8041-2bb16a414839" providerId="ADAL" clId="{34B1A95F-EFD8-4A1E-A46D-E288C53C0C68}" dt="2023-12-06T22:06:04.458" v="36553"/>
          <ac:spMkLst>
            <pc:docMk/>
            <pc:sldMk cId="2958919186" sldId="284"/>
            <ac:spMk id="5" creationId="{D869AD5B-E9B2-5B19-8835-FC3F30ECD1C8}"/>
          </ac:spMkLst>
        </pc:spChg>
        <pc:spChg chg="mod ord">
          <ac:chgData name="Joelle Brehm" userId="a518f54c-6985-42c0-8041-2bb16a414839" providerId="ADAL" clId="{34B1A95F-EFD8-4A1E-A46D-E288C53C0C68}" dt="2023-12-06T22:06:38.835" v="37793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2:06:38.898" v="37852"/>
          <ac:spMkLst>
            <pc:docMk/>
            <pc:sldMk cId="2958919186" sldId="284"/>
            <ac:spMk id="10" creationId="{9719655D-B1E7-347B-4560-8C174CD823A0}"/>
          </ac:spMkLst>
        </pc:spChg>
        <pc:spChg chg="mod">
          <ac:chgData name="Joelle Brehm" userId="a518f54c-6985-42c0-8041-2bb16a414839" providerId="ADAL" clId="{34B1A95F-EFD8-4A1E-A46D-E288C53C0C68}" dt="2023-12-06T22:06:38.847" v="37804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2:06:38.843" v="37800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2:06:38.844" v="37801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2:06:38.840" v="37798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2:06:38.842" v="37799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2:06:38.845" v="37802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2:06:38.846" v="37803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2:06:38.848" v="37805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2:06:38.849" v="37806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2:06:38.850" v="37807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2:06:38.851" v="37808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2:06:38.851" v="37809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2:06:38.853" v="37811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2:06:38.856" v="37814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2:06:38.858" v="37816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2:06:38.857" v="37815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2:06:38.862" v="37819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2:06:38.862" v="37820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2:06:38.861" v="37818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2:06:38.864" v="37822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2:06:38.880" v="37834"/>
          <ac:spMkLst>
            <pc:docMk/>
            <pc:sldMk cId="2958919186" sldId="284"/>
            <ac:spMk id="31" creationId="{125088B1-BC05-E61C-E778-A5953B0A5CC9}"/>
          </ac:spMkLst>
        </pc:spChg>
        <pc:spChg chg="mod ord">
          <ac:chgData name="Joelle Brehm" userId="a518f54c-6985-42c0-8041-2bb16a414839" providerId="ADAL" clId="{34B1A95F-EFD8-4A1E-A46D-E288C53C0C68}" dt="2023-12-06T22:06:38.898" v="37851"/>
          <ac:spMkLst>
            <pc:docMk/>
            <pc:sldMk cId="2958919186" sldId="284"/>
            <ac:spMk id="32" creationId="{A7F15473-C481-F557-18F4-5334C151E8F4}"/>
          </ac:spMkLst>
        </pc:spChg>
        <pc:spChg chg="mod">
          <ac:chgData name="Joelle Brehm" userId="a518f54c-6985-42c0-8041-2bb16a414839" providerId="ADAL" clId="{34B1A95F-EFD8-4A1E-A46D-E288C53C0C68}" dt="2023-12-06T22:06:38.879" v="37833"/>
          <ac:spMkLst>
            <pc:docMk/>
            <pc:sldMk cId="2958919186" sldId="284"/>
            <ac:spMk id="33" creationId="{4B94C134-301E-FFE0-B344-351A0F3A058C}"/>
          </ac:spMkLst>
        </pc:spChg>
        <pc:spChg chg="add del mod modVis">
          <ac:chgData name="Joelle Brehm" userId="a518f54c-6985-42c0-8041-2bb16a414839" providerId="ADAL" clId="{34B1A95F-EFD8-4A1E-A46D-E288C53C0C68}" dt="2023-12-06T22:06:26.674" v="36863"/>
          <ac:spMkLst>
            <pc:docMk/>
            <pc:sldMk cId="2958919186" sldId="284"/>
            <ac:spMk id="36" creationId="{41E78BA2-4590-5231-673E-DCB18C2A6998}"/>
          </ac:spMkLst>
        </pc:spChg>
        <pc:spChg chg="mod ord">
          <ac:chgData name="Joelle Brehm" userId="a518f54c-6985-42c0-8041-2bb16a414839" providerId="ADAL" clId="{34B1A95F-EFD8-4A1E-A46D-E288C53C0C68}" dt="2023-12-06T22:06:38.855" v="37813"/>
          <ac:spMkLst>
            <pc:docMk/>
            <pc:sldMk cId="2958919186" sldId="284"/>
            <ac:spMk id="37" creationId="{6E6D97FF-E2E0-42EA-A83A-C3DF9F3514AE}"/>
          </ac:spMkLst>
        </pc:spChg>
        <pc:spChg chg="del mod">
          <ac:chgData name="Joelle Brehm" userId="a518f54c-6985-42c0-8041-2bb16a414839" providerId="ADAL" clId="{34B1A95F-EFD8-4A1E-A46D-E288C53C0C68}" dt="2023-12-06T22:06:35.316" v="37459"/>
          <ac:spMkLst>
            <pc:docMk/>
            <pc:sldMk cId="2958919186" sldId="284"/>
            <ac:spMk id="38" creationId="{64FE4593-24F9-360D-B61A-345C6A72C704}"/>
          </ac:spMkLst>
        </pc:spChg>
        <pc:spChg chg="mod">
          <ac:chgData name="Joelle Brehm" userId="a518f54c-6985-42c0-8041-2bb16a414839" providerId="ADAL" clId="{34B1A95F-EFD8-4A1E-A46D-E288C53C0C68}" dt="2023-12-06T22:06:38.882" v="37836"/>
          <ac:spMkLst>
            <pc:docMk/>
            <pc:sldMk cId="2958919186" sldId="284"/>
            <ac:spMk id="40" creationId="{65B69A5C-0F9E-A4F4-3815-34C5AD49C7B7}"/>
          </ac:spMkLst>
        </pc:spChg>
        <pc:spChg chg="mod">
          <ac:chgData name="Joelle Brehm" userId="a518f54c-6985-42c0-8041-2bb16a414839" providerId="ADAL" clId="{34B1A95F-EFD8-4A1E-A46D-E288C53C0C68}" dt="2023-12-06T22:06:38.881" v="37835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34B1A95F-EFD8-4A1E-A46D-E288C53C0C68}" dt="2023-12-06T22:06:38.895" v="37848"/>
          <ac:spMkLst>
            <pc:docMk/>
            <pc:sldMk cId="2958919186" sldId="284"/>
            <ac:spMk id="42" creationId="{907D7408-F4BF-634D-C4A3-6AB144A133E9}"/>
          </ac:spMkLst>
        </pc:spChg>
        <pc:spChg chg="del mod">
          <ac:chgData name="Joelle Brehm" userId="a518f54c-6985-42c0-8041-2bb16a414839" providerId="ADAL" clId="{34B1A95F-EFD8-4A1E-A46D-E288C53C0C68}" dt="2023-12-06T22:06:35.315" v="37458"/>
          <ac:spMkLst>
            <pc:docMk/>
            <pc:sldMk cId="2958919186" sldId="284"/>
            <ac:spMk id="43" creationId="{37188F03-F6CA-EE9D-F6C7-47E8CCD42E86}"/>
          </ac:spMkLst>
        </pc:spChg>
        <pc:spChg chg="mod">
          <ac:chgData name="Joelle Brehm" userId="a518f54c-6985-42c0-8041-2bb16a414839" providerId="ADAL" clId="{34B1A95F-EFD8-4A1E-A46D-E288C53C0C68}" dt="2023-12-06T22:06:38.894" v="37847"/>
          <ac:spMkLst>
            <pc:docMk/>
            <pc:sldMk cId="2958919186" sldId="284"/>
            <ac:spMk id="44" creationId="{77917790-2F42-F887-E684-5C13E341F164}"/>
          </ac:spMkLst>
        </pc:spChg>
        <pc:spChg chg="mod">
          <ac:chgData name="Joelle Brehm" userId="a518f54c-6985-42c0-8041-2bb16a414839" providerId="ADAL" clId="{34B1A95F-EFD8-4A1E-A46D-E288C53C0C68}" dt="2023-12-06T22:06:38.878" v="37832"/>
          <ac:spMkLst>
            <pc:docMk/>
            <pc:sldMk cId="2958919186" sldId="284"/>
            <ac:spMk id="45" creationId="{BA6D2150-ACED-DB3B-247D-B1C7D75594BC}"/>
          </ac:spMkLst>
        </pc:spChg>
        <pc:spChg chg="mod">
          <ac:chgData name="Joelle Brehm" userId="a518f54c-6985-42c0-8041-2bb16a414839" providerId="ADAL" clId="{34B1A95F-EFD8-4A1E-A46D-E288C53C0C68}" dt="2023-12-06T22:06:38.875" v="37831"/>
          <ac:spMkLst>
            <pc:docMk/>
            <pc:sldMk cId="2958919186" sldId="284"/>
            <ac:spMk id="46" creationId="{57979B6E-92A7-E2CD-D125-48728C290A15}"/>
          </ac:spMkLst>
        </pc:spChg>
        <pc:spChg chg="mod">
          <ac:chgData name="Joelle Brehm" userId="a518f54c-6985-42c0-8041-2bb16a414839" providerId="ADAL" clId="{34B1A95F-EFD8-4A1E-A46D-E288C53C0C68}" dt="2023-12-06T22:06:38.889" v="37843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34B1A95F-EFD8-4A1E-A46D-E288C53C0C68}" dt="2023-12-06T22:06:38.896" v="37850"/>
          <ac:spMkLst>
            <pc:docMk/>
            <pc:sldMk cId="2958919186" sldId="284"/>
            <ac:spMk id="48" creationId="{5D20D0D7-37CC-29AE-8F09-41EE1C3042D6}"/>
          </ac:spMkLst>
        </pc:spChg>
        <pc:spChg chg="add mod replST">
          <ac:chgData name="Joelle Brehm" userId="a518f54c-6985-42c0-8041-2bb16a414839" providerId="ADAL" clId="{34B1A95F-EFD8-4A1E-A46D-E288C53C0C68}" dt="2023-12-06T22:06:38.899" v="37853"/>
          <ac:spMkLst>
            <pc:docMk/>
            <pc:sldMk cId="2958919186" sldId="284"/>
            <ac:spMk id="49" creationId="{CB11A0CB-368B-A60B-EDC1-4AB20B197FE5}"/>
          </ac:spMkLst>
        </pc:spChg>
        <pc:spChg chg="add mod replST">
          <ac:chgData name="Joelle Brehm" userId="a518f54c-6985-42c0-8041-2bb16a414839" providerId="ADAL" clId="{34B1A95F-EFD8-4A1E-A46D-E288C53C0C68}" dt="2023-12-06T22:06:38.900" v="37854"/>
          <ac:spMkLst>
            <pc:docMk/>
            <pc:sldMk cId="2958919186" sldId="284"/>
            <ac:spMk id="50" creationId="{2C405B0B-A40D-DA13-F823-C48F9BB223C3}"/>
          </ac:spMkLst>
        </pc:spChg>
        <pc:spChg chg="mod">
          <ac:chgData name="Joelle Brehm" userId="a518f54c-6985-42c0-8041-2bb16a414839" providerId="ADAL" clId="{34B1A95F-EFD8-4A1E-A46D-E288C53C0C68}" dt="2023-12-06T22:06:38.895" v="37849"/>
          <ac:spMkLst>
            <pc:docMk/>
            <pc:sldMk cId="2958919186" sldId="284"/>
            <ac:spMk id="51" creationId="{5919439C-F2E5-38EE-454C-6197DCE4A0B6}"/>
          </ac:spMkLst>
        </pc:spChg>
        <pc:spChg chg="mod">
          <ac:chgData name="Joelle Brehm" userId="a518f54c-6985-42c0-8041-2bb16a414839" providerId="ADAL" clId="{34B1A95F-EFD8-4A1E-A46D-E288C53C0C68}" dt="2023-12-06T22:06:38.884" v="37838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34B1A95F-EFD8-4A1E-A46D-E288C53C0C68}" dt="2023-12-06T22:06:38.883" v="37837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34B1A95F-EFD8-4A1E-A46D-E288C53C0C68}" dt="2023-12-06T22:06:38.893" v="37846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34B1A95F-EFD8-4A1E-A46D-E288C53C0C68}" dt="2023-12-06T22:06:38.891" v="37845"/>
          <ac:spMkLst>
            <pc:docMk/>
            <pc:sldMk cId="2958919186" sldId="284"/>
            <ac:spMk id="55" creationId="{2BAA32C5-1C92-8614-2678-B94A36FCDC54}"/>
          </ac:spMkLst>
        </pc:spChg>
        <pc:spChg chg="add del mod modVis">
          <ac:chgData name="Joelle Brehm" userId="a518f54c-6985-42c0-8041-2bb16a414839" providerId="ADAL" clId="{34B1A95F-EFD8-4A1E-A46D-E288C53C0C68}" dt="2023-12-06T22:06:32.947" v="37251"/>
          <ac:spMkLst>
            <pc:docMk/>
            <pc:sldMk cId="2958919186" sldId="284"/>
            <ac:spMk id="56" creationId="{8DE87857-F18C-367B-87CB-C3AF340644D9}"/>
          </ac:spMkLst>
        </pc:spChg>
        <pc:spChg chg="mod">
          <ac:chgData name="Joelle Brehm" userId="a518f54c-6985-42c0-8041-2bb16a414839" providerId="ADAL" clId="{34B1A95F-EFD8-4A1E-A46D-E288C53C0C68}" dt="2023-12-06T22:06:38.888" v="37842"/>
          <ac:spMkLst>
            <pc:docMk/>
            <pc:sldMk cId="2958919186" sldId="284"/>
            <ac:spMk id="58" creationId="{1FE8095F-70AA-80E7-5AB4-793D17F07A13}"/>
          </ac:spMkLst>
        </pc:spChg>
        <pc:spChg chg="add del mod modVis">
          <ac:chgData name="Joelle Brehm" userId="a518f54c-6985-42c0-8041-2bb16a414839" providerId="ADAL" clId="{34B1A95F-EFD8-4A1E-A46D-E288C53C0C68}" dt="2023-12-06T22:06:34.318" v="37455"/>
          <ac:spMkLst>
            <pc:docMk/>
            <pc:sldMk cId="2958919186" sldId="284"/>
            <ac:spMk id="59" creationId="{C7D55977-E4BD-F9A4-74FA-E655575556CD}"/>
          </ac:spMkLst>
        </pc:spChg>
        <pc:spChg chg="mod">
          <ac:chgData name="Joelle Brehm" userId="a518f54c-6985-42c0-8041-2bb16a414839" providerId="ADAL" clId="{34B1A95F-EFD8-4A1E-A46D-E288C53C0C68}" dt="2023-12-06T22:06:38.886" v="37840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34B1A95F-EFD8-4A1E-A46D-E288C53C0C68}" dt="2023-12-06T22:06:38.885" v="37839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34B1A95F-EFD8-4A1E-A46D-E288C53C0C68}" dt="2023-12-06T22:06:35.751" v="37701"/>
          <ac:spMkLst>
            <pc:docMk/>
            <pc:sldMk cId="2958919186" sldId="284"/>
            <ac:spMk id="63" creationId="{578CEB23-58EE-6472-0948-A645F5AFD699}"/>
          </ac:spMkLst>
        </pc:spChg>
        <pc:spChg chg="mod">
          <ac:chgData name="Joelle Brehm" userId="a518f54c-6985-42c0-8041-2bb16a414839" providerId="ADAL" clId="{34B1A95F-EFD8-4A1E-A46D-E288C53C0C68}" dt="2023-12-06T22:06:38.887" v="37841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34B1A95F-EFD8-4A1E-A46D-E288C53C0C68}" dt="2023-12-06T22:06:38.926" v="37883"/>
          <ac:spMkLst>
            <pc:docMk/>
            <pc:sldMk cId="2958919186" sldId="284"/>
            <ac:spMk id="67" creationId="{A2A75ED5-5EA8-023F-5376-87C0F846C2A3}"/>
          </ac:spMkLst>
        </pc:spChg>
        <pc:spChg chg="mod">
          <ac:chgData name="Joelle Brehm" userId="a518f54c-6985-42c0-8041-2bb16a414839" providerId="ADAL" clId="{34B1A95F-EFD8-4A1E-A46D-E288C53C0C68}" dt="2023-12-06T22:06:38.870" v="37826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6:38.871" v="37827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6:38.873" v="37829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6:38.874" v="37830"/>
          <ac:spMkLst>
            <pc:docMk/>
            <pc:sldMk cId="2958919186" sldId="284"/>
            <ac:spMk id="71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6:38.860" v="37817"/>
          <ac:spMkLst>
            <pc:docMk/>
            <pc:sldMk cId="2958919186" sldId="284"/>
            <ac:spMk id="74" creationId="{1E5392BC-349C-45B4-8F81-52F83DA74F43}"/>
          </ac:spMkLst>
        </pc:spChg>
        <pc:spChg chg="mod">
          <ac:chgData name="Joelle Brehm" userId="a518f54c-6985-42c0-8041-2bb16a414839" providerId="ADAL" clId="{34B1A95F-EFD8-4A1E-A46D-E288C53C0C68}" dt="2023-12-06T22:06:38.891" v="37844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34B1A95F-EFD8-4A1E-A46D-E288C53C0C68}" dt="2023-12-06T22:06:38.902" v="37856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2:06:38.903" v="37858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34B1A95F-EFD8-4A1E-A46D-E288C53C0C68}" dt="2023-12-06T22:06:38.868" v="37825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2:06:38.920" v="37877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34B1A95F-EFD8-4A1E-A46D-E288C53C0C68}" dt="2023-12-06T22:06:38.905" v="37860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2:06:38.906" v="37862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2:06:38.908" v="37864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2:06:38.910" v="37866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2:06:38.913" v="37869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6:38.914" v="37870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6:38.914" v="37871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6:38.915" v="37872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2:06:38.916" v="37873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34B1A95F-EFD8-4A1E-A46D-E288C53C0C68}" dt="2023-12-06T22:06:38.872" v="37828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34B1A95F-EFD8-4A1E-A46D-E288C53C0C68}" dt="2023-12-06T22:06:38.962" v="37885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2:06:04.315" v="36449"/>
          <ac:graphicFrameMkLst>
            <pc:docMk/>
            <pc:sldMk cId="2958919186" sldId="284"/>
            <ac:graphicFrameMk id="8" creationId="{52F3CED3-435D-9AF4-B138-20213182B993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6:38.839" v="37797"/>
          <ac:graphicFrameMkLst>
            <pc:docMk/>
            <pc:sldMk cId="2958919186" sldId="284"/>
            <ac:graphicFrameMk id="34" creationId="{7D6E7279-BAEA-5401-BB15-3A0E8E795CC4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6:38.912" v="37868"/>
          <ac:graphicFrameMkLst>
            <pc:docMk/>
            <pc:sldMk cId="2958919186" sldId="284"/>
            <ac:graphicFrameMk id="39" creationId="{A94EFCEB-E2C1-C792-0FD0-D5081C41690B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6:34.159" v="37352"/>
          <ac:graphicFrameMkLst>
            <pc:docMk/>
            <pc:sldMk cId="2958919186" sldId="284"/>
            <ac:graphicFrameMk id="57" creationId="{3D44864B-61E1-A3FB-0657-9C6871D0817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6:35.600" v="37600"/>
          <ac:graphicFrameMkLst>
            <pc:docMk/>
            <pc:sldMk cId="2958919186" sldId="284"/>
            <ac:graphicFrameMk id="62" creationId="{8801DFE1-E040-2119-AE52-FB99E856ACF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6:38.762" v="37783"/>
          <ac:graphicFrameMkLst>
            <pc:docMk/>
            <pc:sldMk cId="2958919186" sldId="284"/>
            <ac:graphicFrameMk id="65" creationId="{40D482E6-977A-8DAB-819F-211D21484303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6:32.803" v="37148"/>
          <ac:graphicFrameMkLst>
            <pc:docMk/>
            <pc:sldMk cId="2958919186" sldId="284"/>
            <ac:graphicFrameMk id="66" creationId="{A0F068AA-0628-3892-2C2C-4BB7237BBAD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6:38.866" v="37824"/>
          <ac:graphicFrameMkLst>
            <pc:docMk/>
            <pc:sldMk cId="2958919186" sldId="284"/>
            <ac:graphicFrameMk id="72" creationId="{77F895CD-A876-5335-1B26-03A06C8F9DF4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6:26.526" v="36763"/>
          <ac:graphicFrameMkLst>
            <pc:docMk/>
            <pc:sldMk cId="2958919186" sldId="284"/>
            <ac:graphicFrameMk id="73" creationId="{7111E6D8-5C95-74C5-5C48-6D77E5A71187}"/>
          </ac:graphicFrameMkLst>
        </pc:graphicFrameChg>
        <pc:picChg chg="del mod ord">
          <ac:chgData name="Joelle Brehm" userId="a518f54c-6985-42c0-8041-2bb16a414839" providerId="ADAL" clId="{34B1A95F-EFD8-4A1E-A46D-E288C53C0C68}" dt="2023-12-06T22:06:18.589" v="36664" actId="478"/>
          <ac:picMkLst>
            <pc:docMk/>
            <pc:sldMk cId="2958919186" sldId="284"/>
            <ac:picMk id="9" creationId="{8DBB5982-CB70-EB55-85D3-B6CDE00632C8}"/>
          </ac:picMkLst>
        </pc:picChg>
        <pc:picChg chg="add mod ord">
          <ac:chgData name="Joelle Brehm" userId="a518f54c-6985-42c0-8041-2bb16a414839" providerId="ADAL" clId="{34B1A95F-EFD8-4A1E-A46D-E288C53C0C68}" dt="2023-12-06T22:06:38.833" v="37791"/>
          <ac:picMkLst>
            <pc:docMk/>
            <pc:sldMk cId="2958919186" sldId="284"/>
            <ac:picMk id="35" creationId="{83AF50AF-D263-86AA-F4D8-6EC9BED14CE2}"/>
          </ac:picMkLst>
        </pc:picChg>
        <pc:picChg chg="mod ord">
          <ac:chgData name="Joelle Brehm" userId="a518f54c-6985-42c0-8041-2bb16a414839" providerId="ADAL" clId="{34B1A95F-EFD8-4A1E-A46D-E288C53C0C68}" dt="2023-12-06T22:06:38.918" v="37875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2:06:38.837" v="37795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2:07:34.669" v="39594"/>
        <pc:sldMkLst>
          <pc:docMk/>
          <pc:sldMk cId="3959601197" sldId="285"/>
        </pc:sldMkLst>
        <pc:spChg chg="mod ord">
          <ac:chgData name="Joelle Brehm" userId="a518f54c-6985-42c0-8041-2bb16a414839" providerId="ADAL" clId="{34B1A95F-EFD8-4A1E-A46D-E288C53C0C68}" dt="2023-12-06T22:07:34.646" v="39588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34B1A95F-EFD8-4A1E-A46D-E288C53C0C68}" dt="2023-12-06T22:06:52.232" v="37886" actId="478"/>
          <ac:spMkLst>
            <pc:docMk/>
            <pc:sldMk cId="3959601197" sldId="285"/>
            <ac:spMk id="3" creationId="{A3FDFD10-6CA1-F8CC-541B-D00D5B08F7BD}"/>
          </ac:spMkLst>
        </pc:spChg>
        <pc:spChg chg="add del mod modVis">
          <ac:chgData name="Joelle Brehm" userId="a518f54c-6985-42c0-8041-2bb16a414839" providerId="ADAL" clId="{34B1A95F-EFD8-4A1E-A46D-E288C53C0C68}" dt="2023-12-06T22:06:56.846" v="38105"/>
          <ac:spMkLst>
            <pc:docMk/>
            <pc:sldMk cId="3959601197" sldId="285"/>
            <ac:spMk id="5" creationId="{4D6ECB4F-917A-DBBC-397A-F1D47BC5D499}"/>
          </ac:spMkLst>
        </pc:spChg>
        <pc:spChg chg="mod ord">
          <ac:chgData name="Joelle Brehm" userId="a518f54c-6985-42c0-8041-2bb16a414839" providerId="ADAL" clId="{34B1A95F-EFD8-4A1E-A46D-E288C53C0C68}" dt="2023-12-06T22:07:34.617" v="39520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2:07:34.631" v="39552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34B1A95F-EFD8-4A1E-A46D-E288C53C0C68}" dt="2023-12-06T22:07:34.621" v="39531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2:07:34.620" v="39527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2:07:34.620" v="39528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2:07:34.619" v="39525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2:07:34.619" v="39526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2:07:34.620" v="39529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2:07:34.620" v="39530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2:07:34.621" v="39532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2:07:34.622" v="39533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2:07:34.622" v="39534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2:07:34.622" v="39535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2:07:34.623" v="39536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2:07:34.624" v="39538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2:07:34.625" v="39541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2:07:34.626" v="39543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2:07:34.625" v="39542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2:07:34.628" v="39546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2:07:34.628" v="39547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2:07:34.627" v="39545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2:07:34.629" v="39549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2:07:34.632" v="39554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34B1A95F-EFD8-4A1E-A46D-E288C53C0C68}" dt="2023-12-06T22:07:34.635" v="39562"/>
          <ac:spMkLst>
            <pc:docMk/>
            <pc:sldMk cId="3959601197" sldId="285"/>
            <ac:spMk id="33" creationId="{5E6D8718-1100-5B0D-03C4-984A1480256E}"/>
          </ac:spMkLst>
        </pc:spChg>
        <pc:spChg chg="mod">
          <ac:chgData name="Joelle Brehm" userId="a518f54c-6985-42c0-8041-2bb16a414839" providerId="ADAL" clId="{34B1A95F-EFD8-4A1E-A46D-E288C53C0C68}" dt="2023-12-06T22:07:34.631" v="39553"/>
          <ac:spMkLst>
            <pc:docMk/>
            <pc:sldMk cId="3959601197" sldId="285"/>
            <ac:spMk id="35" creationId="{92EBFCAE-7CF8-1287-AE5E-630381F4864A}"/>
          </ac:spMkLst>
        </pc:spChg>
        <pc:spChg chg="add del mod modVis">
          <ac:chgData name="Joelle Brehm" userId="a518f54c-6985-42c0-8041-2bb16a414839" providerId="ADAL" clId="{34B1A95F-EFD8-4A1E-A46D-E288C53C0C68}" dt="2023-12-06T22:07:19.277" v="38397"/>
          <ac:spMkLst>
            <pc:docMk/>
            <pc:sldMk cId="3959601197" sldId="285"/>
            <ac:spMk id="36" creationId="{E71367BB-75C3-7944-3A68-E6B66D5F5739}"/>
          </ac:spMkLst>
        </pc:spChg>
        <pc:spChg chg="mod ord">
          <ac:chgData name="Joelle Brehm" userId="a518f54c-6985-42c0-8041-2bb16a414839" providerId="ADAL" clId="{34B1A95F-EFD8-4A1E-A46D-E288C53C0C68}" dt="2023-12-06T22:07:34.624" v="39540"/>
          <ac:spMkLst>
            <pc:docMk/>
            <pc:sldMk cId="3959601197" sldId="285"/>
            <ac:spMk id="37" creationId="{6E6D97FF-E2E0-42EA-A83A-C3DF9F3514AE}"/>
          </ac:spMkLst>
        </pc:spChg>
        <pc:spChg chg="mod">
          <ac:chgData name="Joelle Brehm" userId="a518f54c-6985-42c0-8041-2bb16a414839" providerId="ADAL" clId="{34B1A95F-EFD8-4A1E-A46D-E288C53C0C68}" dt="2023-12-06T22:07:34.634" v="39561"/>
          <ac:spMkLst>
            <pc:docMk/>
            <pc:sldMk cId="3959601197" sldId="285"/>
            <ac:spMk id="38" creationId="{2FB404D9-C000-431B-6310-4B69B0746585}"/>
          </ac:spMkLst>
        </pc:spChg>
        <pc:spChg chg="mod">
          <ac:chgData name="Joelle Brehm" userId="a518f54c-6985-42c0-8041-2bb16a414839" providerId="ADAL" clId="{34B1A95F-EFD8-4A1E-A46D-E288C53C0C68}" dt="2023-12-06T22:07:34.633" v="39558"/>
          <ac:spMkLst>
            <pc:docMk/>
            <pc:sldMk cId="3959601197" sldId="285"/>
            <ac:spMk id="39" creationId="{49E3BF94-A3A3-6D9E-A640-936C4D588482}"/>
          </ac:spMkLst>
        </pc:spChg>
        <pc:spChg chg="mod">
          <ac:chgData name="Joelle Brehm" userId="a518f54c-6985-42c0-8041-2bb16a414839" providerId="ADAL" clId="{34B1A95F-EFD8-4A1E-A46D-E288C53C0C68}" dt="2023-12-06T22:07:34.634" v="39559"/>
          <ac:spMkLst>
            <pc:docMk/>
            <pc:sldMk cId="3959601197" sldId="285"/>
            <ac:spMk id="40" creationId="{EA599A54-45AC-0837-D7C5-3771AA871AAD}"/>
          </ac:spMkLst>
        </pc:spChg>
        <pc:spChg chg="mod">
          <ac:chgData name="Joelle Brehm" userId="a518f54c-6985-42c0-8041-2bb16a414839" providerId="ADAL" clId="{34B1A95F-EFD8-4A1E-A46D-E288C53C0C68}" dt="2023-12-06T22:07:34.634" v="39560"/>
          <ac:spMkLst>
            <pc:docMk/>
            <pc:sldMk cId="3959601197" sldId="285"/>
            <ac:spMk id="41" creationId="{EEDF60F4-83FD-2158-5CFE-740630E662A0}"/>
          </ac:spMkLst>
        </pc:spChg>
        <pc:spChg chg="mod">
          <ac:chgData name="Joelle Brehm" userId="a518f54c-6985-42c0-8041-2bb16a414839" providerId="ADAL" clId="{34B1A95F-EFD8-4A1E-A46D-E288C53C0C68}" dt="2023-12-06T22:07:34.632" v="39556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34B1A95F-EFD8-4A1E-A46D-E288C53C0C68}" dt="2023-12-06T22:07:34.632" v="39555"/>
          <ac:spMkLst>
            <pc:docMk/>
            <pc:sldMk cId="3959601197" sldId="285"/>
            <ac:spMk id="43" creationId="{7A0654C5-E72A-A91E-A2D8-90D96122F7D7}"/>
          </ac:spMkLst>
        </pc:spChg>
        <pc:spChg chg="del mod">
          <ac:chgData name="Joelle Brehm" userId="a518f54c-6985-42c0-8041-2bb16a414839" providerId="ADAL" clId="{34B1A95F-EFD8-4A1E-A46D-E288C53C0C68}" dt="2023-12-06T22:07:28.579" v="39042"/>
          <ac:spMkLst>
            <pc:docMk/>
            <pc:sldMk cId="3959601197" sldId="285"/>
            <ac:spMk id="45" creationId="{C0C2677E-B02A-A9FD-C32D-94A1D148E0A5}"/>
          </ac:spMkLst>
        </pc:spChg>
        <pc:spChg chg="add mod replST">
          <ac:chgData name="Joelle Brehm" userId="a518f54c-6985-42c0-8041-2bb16a414839" providerId="ADAL" clId="{34B1A95F-EFD8-4A1E-A46D-E288C53C0C68}" dt="2023-12-06T22:07:34.635" v="39563"/>
          <ac:spMkLst>
            <pc:docMk/>
            <pc:sldMk cId="3959601197" sldId="285"/>
            <ac:spMk id="46" creationId="{529E40B7-0A04-6402-DEF9-2538E4023CED}"/>
          </ac:spMkLst>
        </pc:spChg>
        <pc:spChg chg="mod">
          <ac:chgData name="Joelle Brehm" userId="a518f54c-6985-42c0-8041-2bb16a414839" providerId="ADAL" clId="{34B1A95F-EFD8-4A1E-A46D-E288C53C0C68}" dt="2023-12-06T22:07:34.633" v="39557"/>
          <ac:spMkLst>
            <pc:docMk/>
            <pc:sldMk cId="3959601197" sldId="285"/>
            <ac:spMk id="47" creationId="{E68B1E78-8D9D-3E69-597C-1E05491CF1D5}"/>
          </ac:spMkLst>
        </pc:spChg>
        <pc:spChg chg="add del mod modVis">
          <ac:chgData name="Joelle Brehm" userId="a518f54c-6985-42c0-8041-2bb16a414839" providerId="ADAL" clId="{34B1A95F-EFD8-4A1E-A46D-E288C53C0C68}" dt="2023-12-06T22:07:25.559" v="38860"/>
          <ac:spMkLst>
            <pc:docMk/>
            <pc:sldMk cId="3959601197" sldId="285"/>
            <ac:spMk id="48" creationId="{7E299353-2655-219B-286C-08F633DF7349}"/>
          </ac:spMkLst>
        </pc:spChg>
        <pc:spChg chg="add del mod ord replST">
          <ac:chgData name="Joelle Brehm" userId="a518f54c-6985-42c0-8041-2bb16a414839" providerId="ADAL" clId="{34B1A95F-EFD8-4A1E-A46D-E288C53C0C68}" dt="2023-12-06T22:07:32.826" v="39365"/>
          <ac:spMkLst>
            <pc:docMk/>
            <pc:sldMk cId="3959601197" sldId="285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2:07:27.179" v="39039"/>
          <ac:spMkLst>
            <pc:docMk/>
            <pc:sldMk cId="3959601197" sldId="285"/>
            <ac:spMk id="51" creationId="{E2320803-4BD0-9372-70C8-42966A6F07CD}"/>
          </ac:spMkLst>
        </pc:spChg>
        <pc:spChg chg="add del mod modVis">
          <ac:chgData name="Joelle Brehm" userId="a518f54c-6985-42c0-8041-2bb16a414839" providerId="ADAL" clId="{34B1A95F-EFD8-4A1E-A46D-E288C53C0C68}" dt="2023-12-06T22:07:29.265" v="39307"/>
          <ac:spMkLst>
            <pc:docMk/>
            <pc:sldMk cId="3959601197" sldId="285"/>
            <ac:spMk id="53" creationId="{577AB7D0-9F49-35DA-A4D4-9392422BF6D8}"/>
          </ac:spMkLst>
        </pc:spChg>
        <pc:spChg chg="add del mod ord replST">
          <ac:chgData name="Joelle Brehm" userId="a518f54c-6985-42c0-8041-2bb16a414839" providerId="ADAL" clId="{34B1A95F-EFD8-4A1E-A46D-E288C53C0C68}" dt="2023-12-06T22:07:34.584" v="39508"/>
          <ac:spMkLst>
            <pc:docMk/>
            <pc:sldMk cId="3959601197" sldId="285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2:07:32.906" v="39451"/>
          <ac:spMkLst>
            <pc:docMk/>
            <pc:sldMk cId="3959601197" sldId="285"/>
            <ac:spMk id="56" creationId="{EA4A60AE-50CB-F643-5A4C-E53985F02C42}"/>
          </ac:spMkLst>
        </pc:spChg>
        <pc:spChg chg="add del mod modVis">
          <ac:chgData name="Joelle Brehm" userId="a518f54c-6985-42c0-8041-2bb16a414839" providerId="ADAL" clId="{34B1A95F-EFD8-4A1E-A46D-E288C53C0C68}" dt="2023-12-06T22:07:34.649" v="39592"/>
          <ac:spMkLst>
            <pc:docMk/>
            <pc:sldMk cId="3959601197" sldId="285"/>
            <ac:spMk id="58" creationId="{01148CD6-93D3-46A8-BC41-B5A6C49BECE9}"/>
          </ac:spMkLst>
        </pc:spChg>
        <pc:spChg chg="mod">
          <ac:chgData name="Joelle Brehm" userId="a518f54c-6985-42c0-8041-2bb16a414839" providerId="ADAL" clId="{34B1A95F-EFD8-4A1E-A46D-E288C53C0C68}" dt="2023-12-06T22:07:34.627" v="39544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34B1A95F-EFD8-4A1E-A46D-E288C53C0C68}" dt="2023-12-06T22:07:34.636" v="39565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2:07:34.637" v="39567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2:07:34.645" v="39586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34B1A95F-EFD8-4A1E-A46D-E288C53C0C68}" dt="2023-12-06T22:07:34.637" v="39569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2:07:34.638" v="39571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2:07:34.639" v="39573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2:07:34.640" v="39575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2:07:34.640" v="39578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7:34.641" v="39579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7:34.641" v="39580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7:34.642" v="39581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2:07:34.642" v="39582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2:07:34.669" v="39594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2:06:56.685" v="38019"/>
          <ac:graphicFrameMkLst>
            <pc:docMk/>
            <pc:sldMk cId="3959601197" sldId="285"/>
            <ac:graphicFrameMk id="8" creationId="{0A18CBFC-C8D1-E754-A773-B43C019E807F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7:34.619" v="39524"/>
          <ac:graphicFrameMkLst>
            <pc:docMk/>
            <pc:sldMk cId="3959601197" sldId="285"/>
            <ac:graphicFrameMk id="31" creationId="{3CDBAD56-D538-96E8-4D25-572381D24AE7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7:34.640" v="39577"/>
          <ac:graphicFrameMkLst>
            <pc:docMk/>
            <pc:sldMk cId="3959601197" sldId="285"/>
            <ac:graphicFrameMk id="44" creationId="{2F7F2AAF-AE94-6E08-FE10-4E25158056A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7:26.917" v="38943"/>
          <ac:graphicFrameMkLst>
            <pc:docMk/>
            <pc:sldMk cId="3959601197" sldId="285"/>
            <ac:graphicFrameMk id="50" creationId="{07FD5480-0CC6-372D-1FA7-82943F967674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7:29.055" v="39210"/>
          <ac:graphicFrameMkLst>
            <pc:docMk/>
            <pc:sldMk cId="3959601197" sldId="285"/>
            <ac:graphicFrameMk id="52" creationId="{E6E25501-198E-B7E7-8098-707E7296B01E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7:32.827" v="39367"/>
          <ac:graphicFrameMkLst>
            <pc:docMk/>
            <pc:sldMk cId="3959601197" sldId="285"/>
            <ac:graphicFrameMk id="55" creationId="{3F598328-C2CA-F1DF-DEA9-F932C122E41E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7:34.586" v="39510"/>
          <ac:graphicFrameMkLst>
            <pc:docMk/>
            <pc:sldMk cId="3959601197" sldId="285"/>
            <ac:graphicFrameMk id="57" creationId="{F7107CDF-7165-4B32-EB41-959612F375CC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7:34.630" v="39551"/>
          <ac:graphicFrameMkLst>
            <pc:docMk/>
            <pc:sldMk cId="3959601197" sldId="285"/>
            <ac:graphicFrameMk id="59" creationId="{47C3CA02-058C-8460-6667-28C2B480D6F7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7:25.427" v="38764"/>
          <ac:graphicFrameMkLst>
            <pc:docMk/>
            <pc:sldMk cId="3959601197" sldId="285"/>
            <ac:graphicFrameMk id="75" creationId="{79CE6B05-278F-3354-73B9-808A576A79E8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7:19.160" v="38315"/>
          <ac:graphicFrameMkLst>
            <pc:docMk/>
            <pc:sldMk cId="3959601197" sldId="285"/>
            <ac:graphicFrameMk id="77" creationId="{F36982BF-813F-4785-EDC6-E759A266B665}"/>
          </ac:graphicFrameMkLst>
        </pc:graphicFrameChg>
        <pc:picChg chg="del mod ord">
          <ac:chgData name="Joelle Brehm" userId="a518f54c-6985-42c0-8041-2bb16a414839" providerId="ADAL" clId="{34B1A95F-EFD8-4A1E-A46D-E288C53C0C68}" dt="2023-12-06T22:07:11.482" v="38197" actId="478"/>
          <ac:picMkLst>
            <pc:docMk/>
            <pc:sldMk cId="3959601197" sldId="285"/>
            <ac:picMk id="10" creationId="{10DBFD40-D10B-5F68-2688-5CC69C42FF35}"/>
          </ac:picMkLst>
        </pc:picChg>
        <pc:picChg chg="add mod ord">
          <ac:chgData name="Joelle Brehm" userId="a518f54c-6985-42c0-8041-2bb16a414839" providerId="ADAL" clId="{34B1A95F-EFD8-4A1E-A46D-E288C53C0C68}" dt="2023-12-06T22:07:34.617" v="39518"/>
          <ac:picMkLst>
            <pc:docMk/>
            <pc:sldMk cId="3959601197" sldId="285"/>
            <ac:picMk id="34" creationId="{14B9463A-4B01-7944-5B83-F4FD6D7478B8}"/>
          </ac:picMkLst>
        </pc:picChg>
        <pc:picChg chg="mod ord">
          <ac:chgData name="Joelle Brehm" userId="a518f54c-6985-42c0-8041-2bb16a414839" providerId="ADAL" clId="{34B1A95F-EFD8-4A1E-A46D-E288C53C0C68}" dt="2023-12-06T22:07:34.644" v="39584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2:07:34.618" v="39522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22:08:44.764" v="41464"/>
        <pc:sldMkLst>
          <pc:docMk/>
          <pc:sldMk cId="3093897313" sldId="286"/>
        </pc:sldMkLst>
        <pc:spChg chg="mod ord">
          <ac:chgData name="Joelle Brehm" userId="a518f54c-6985-42c0-8041-2bb16a414839" providerId="ADAL" clId="{34B1A95F-EFD8-4A1E-A46D-E288C53C0C68}" dt="2023-12-06T22:08:44.731" v="41458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34B1A95F-EFD8-4A1E-A46D-E288C53C0C68}" dt="2023-12-06T22:07:51.668" v="39595" actId="478"/>
          <ac:spMkLst>
            <pc:docMk/>
            <pc:sldMk cId="3093897313" sldId="286"/>
            <ac:spMk id="3" creationId="{BD98658E-B0E0-B39A-F988-505C2C80F2AF}"/>
          </ac:spMkLst>
        </pc:spChg>
        <pc:spChg chg="add del mod modVis">
          <ac:chgData name="Joelle Brehm" userId="a518f54c-6985-42c0-8041-2bb16a414839" providerId="ADAL" clId="{34B1A95F-EFD8-4A1E-A46D-E288C53C0C68}" dt="2023-12-06T22:07:55.551" v="39816"/>
          <ac:spMkLst>
            <pc:docMk/>
            <pc:sldMk cId="3093897313" sldId="286"/>
            <ac:spMk id="5" creationId="{7D499953-F88C-064D-5B04-22526BD2FB08}"/>
          </ac:spMkLst>
        </pc:spChg>
        <pc:spChg chg="mod ord">
          <ac:chgData name="Joelle Brehm" userId="a518f54c-6985-42c0-8041-2bb16a414839" providerId="ADAL" clId="{34B1A95F-EFD8-4A1E-A46D-E288C53C0C68}" dt="2023-12-06T22:08:44.668" v="41390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6T22:08:44.699" v="41424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34B1A95F-EFD8-4A1E-A46D-E288C53C0C68}" dt="2023-12-06T22:08:44.680" v="41401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6T22:08:44.676" v="41397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6T22:08:44.678" v="41398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6T22:08:44.674" v="41395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6T22:08:44.675" v="41396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6T22:08:44.678" v="41399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6T22:08:44.679" v="41400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6T22:08:44.680" v="41402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6T22:08:44.681" v="41403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6T22:08:44.682" v="41404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6T22:08:44.684" v="41405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6T22:08:44.684" v="41406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6T22:08:44.686" v="41408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6T22:08:44.688" v="41411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6T22:08:44.689" v="41413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6T22:08:44.689" v="41412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6T22:08:44.691" v="41416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6T22:08:44.692" v="41417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6T22:08:44.690" v="41415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6T22:08:44.693" v="41419"/>
          <ac:spMkLst>
            <pc:docMk/>
            <pc:sldMk cId="3093897313" sldId="286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6T22:08:44.707" v="41432"/>
          <ac:spMkLst>
            <pc:docMk/>
            <pc:sldMk cId="3093897313" sldId="286"/>
            <ac:spMk id="32" creationId="{C8E615F0-CA56-2254-DC6C-F9BA32C5557A}"/>
          </ac:spMkLst>
        </pc:spChg>
        <pc:spChg chg="mod">
          <ac:chgData name="Joelle Brehm" userId="a518f54c-6985-42c0-8041-2bb16a414839" providerId="ADAL" clId="{34B1A95F-EFD8-4A1E-A46D-E288C53C0C68}" dt="2023-12-06T22:08:44.696" v="41422"/>
          <ac:spMkLst>
            <pc:docMk/>
            <pc:sldMk cId="3093897313" sldId="286"/>
            <ac:spMk id="33" creationId="{1334CF39-A6F8-7069-C022-3F7175A20401}"/>
          </ac:spMkLst>
        </pc:spChg>
        <pc:spChg chg="add del mod modVis">
          <ac:chgData name="Joelle Brehm" userId="a518f54c-6985-42c0-8041-2bb16a414839" providerId="ADAL" clId="{34B1A95F-EFD8-4A1E-A46D-E288C53C0C68}" dt="2023-12-06T22:08:18.547" v="40119"/>
          <ac:spMkLst>
            <pc:docMk/>
            <pc:sldMk cId="3093897313" sldId="286"/>
            <ac:spMk id="35" creationId="{C382CF0B-1708-C4FF-6C9D-5FD332876558}"/>
          </ac:spMkLst>
        </pc:spChg>
        <pc:spChg chg="mod">
          <ac:chgData name="Joelle Brehm" userId="a518f54c-6985-42c0-8041-2bb16a414839" providerId="ADAL" clId="{34B1A95F-EFD8-4A1E-A46D-E288C53C0C68}" dt="2023-12-06T22:08:44.697" v="41423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34B1A95F-EFD8-4A1E-A46D-E288C53C0C68}" dt="2023-12-06T22:08:44.687" v="41410"/>
          <ac:spMkLst>
            <pc:docMk/>
            <pc:sldMk cId="3093897313" sldId="286"/>
            <ac:spMk id="37" creationId="{6E6D97FF-E2E0-42EA-A83A-C3DF9F3514AE}"/>
          </ac:spMkLst>
        </pc:spChg>
        <pc:spChg chg="mod">
          <ac:chgData name="Joelle Brehm" userId="a518f54c-6985-42c0-8041-2bb16a414839" providerId="ADAL" clId="{34B1A95F-EFD8-4A1E-A46D-E288C53C0C68}" dt="2023-12-06T22:08:44.703" v="41428"/>
          <ac:spMkLst>
            <pc:docMk/>
            <pc:sldMk cId="3093897313" sldId="286"/>
            <ac:spMk id="39" creationId="{148BD74F-B08A-D055-2827-72B7638D08C5}"/>
          </ac:spMkLst>
        </pc:spChg>
        <pc:spChg chg="del mod">
          <ac:chgData name="Joelle Brehm" userId="a518f54c-6985-42c0-8041-2bb16a414839" providerId="ADAL" clId="{34B1A95F-EFD8-4A1E-A46D-E288C53C0C68}" dt="2023-12-06T22:08:27.115" v="40739"/>
          <ac:spMkLst>
            <pc:docMk/>
            <pc:sldMk cId="3093897313" sldId="286"/>
            <ac:spMk id="40" creationId="{C9855917-BD95-0D5A-6B07-14EBAD7B2828}"/>
          </ac:spMkLst>
        </pc:spChg>
        <pc:spChg chg="mod">
          <ac:chgData name="Joelle Brehm" userId="a518f54c-6985-42c0-8041-2bb16a414839" providerId="ADAL" clId="{34B1A95F-EFD8-4A1E-A46D-E288C53C0C68}" dt="2023-12-06T22:08:44.705" v="41429"/>
          <ac:spMkLst>
            <pc:docMk/>
            <pc:sldMk cId="3093897313" sldId="286"/>
            <ac:spMk id="41" creationId="{FA3F9D1B-56DF-7D88-3CCF-9C83CF37CE74}"/>
          </ac:spMkLst>
        </pc:spChg>
        <pc:spChg chg="mod">
          <ac:chgData name="Joelle Brehm" userId="a518f54c-6985-42c0-8041-2bb16a414839" providerId="ADAL" clId="{34B1A95F-EFD8-4A1E-A46D-E288C53C0C68}" dt="2023-12-06T22:08:44.700" v="41425"/>
          <ac:spMkLst>
            <pc:docMk/>
            <pc:sldMk cId="3093897313" sldId="286"/>
            <ac:spMk id="42" creationId="{D859979A-C7CC-20E7-C4CA-F18D382485A8}"/>
          </ac:spMkLst>
        </pc:spChg>
        <pc:spChg chg="mod">
          <ac:chgData name="Joelle Brehm" userId="a518f54c-6985-42c0-8041-2bb16a414839" providerId="ADAL" clId="{34B1A95F-EFD8-4A1E-A46D-E288C53C0C68}" dt="2023-12-06T22:08:44.706" v="41430"/>
          <ac:spMkLst>
            <pc:docMk/>
            <pc:sldMk cId="3093897313" sldId="286"/>
            <ac:spMk id="43" creationId="{4123BF06-FBEE-9624-4928-4F1CA3AC4FBB}"/>
          </ac:spMkLst>
        </pc:spChg>
        <pc:spChg chg="mod">
          <ac:chgData name="Joelle Brehm" userId="a518f54c-6985-42c0-8041-2bb16a414839" providerId="ADAL" clId="{34B1A95F-EFD8-4A1E-A46D-E288C53C0C68}" dt="2023-12-06T22:08:44.701" v="41426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34B1A95F-EFD8-4A1E-A46D-E288C53C0C68}" dt="2023-12-06T22:08:44.702" v="41427"/>
          <ac:spMkLst>
            <pc:docMk/>
            <pc:sldMk cId="3093897313" sldId="286"/>
            <ac:spMk id="45" creationId="{0F9CEF9A-7834-B39E-CB12-DD7EDCF963B1}"/>
          </ac:spMkLst>
        </pc:spChg>
        <pc:spChg chg="add mod replST">
          <ac:chgData name="Joelle Brehm" userId="a518f54c-6985-42c0-8041-2bb16a414839" providerId="ADAL" clId="{34B1A95F-EFD8-4A1E-A46D-E288C53C0C68}" dt="2023-12-06T22:08:44.709" v="41433"/>
          <ac:spMkLst>
            <pc:docMk/>
            <pc:sldMk cId="3093897313" sldId="286"/>
            <ac:spMk id="46" creationId="{EF399F64-CC33-2C7F-0BB7-8B8FA3A1318D}"/>
          </ac:spMkLst>
        </pc:spChg>
        <pc:spChg chg="add del mod modVis">
          <ac:chgData name="Joelle Brehm" userId="a518f54c-6985-42c0-8041-2bb16a414839" providerId="ADAL" clId="{34B1A95F-EFD8-4A1E-A46D-E288C53C0C68}" dt="2023-12-06T22:08:24.931" v="40557"/>
          <ac:spMkLst>
            <pc:docMk/>
            <pc:sldMk cId="3093897313" sldId="286"/>
            <ac:spMk id="47" creationId="{522E3728-8167-9247-A329-85EFFA724BFD}"/>
          </ac:spMkLst>
        </pc:spChg>
        <pc:spChg chg="add del mod ord replST">
          <ac:chgData name="Joelle Brehm" userId="a518f54c-6985-42c0-8041-2bb16a414839" providerId="ADAL" clId="{34B1A95F-EFD8-4A1E-A46D-E288C53C0C68}" dt="2023-12-06T22:08:31.031" v="40980"/>
          <ac:spMkLst>
            <pc:docMk/>
            <pc:sldMk cId="3093897313" sldId="286"/>
            <ac:spMk id="48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8:44.707" v="41431"/>
          <ac:spMkLst>
            <pc:docMk/>
            <pc:sldMk cId="3093897313" sldId="286"/>
            <ac:spMk id="49" creationId="{E1413394-7EF3-221F-2D8D-F13494FCD19F}"/>
          </ac:spMkLst>
        </pc:spChg>
        <pc:spChg chg="add del mod modVis">
          <ac:chgData name="Joelle Brehm" userId="a518f54c-6985-42c0-8041-2bb16a414839" providerId="ADAL" clId="{34B1A95F-EFD8-4A1E-A46D-E288C53C0C68}" dt="2023-12-06T22:08:25.654" v="40736"/>
          <ac:spMkLst>
            <pc:docMk/>
            <pc:sldMk cId="3093897313" sldId="286"/>
            <ac:spMk id="51" creationId="{40D3409F-B63B-6E40-BEAB-D3A017F0D59F}"/>
          </ac:spMkLst>
        </pc:spChg>
        <pc:spChg chg="add del mod modVis">
          <ac:chgData name="Joelle Brehm" userId="a518f54c-6985-42c0-8041-2bb16a414839" providerId="ADAL" clId="{34B1A95F-EFD8-4A1E-A46D-E288C53C0C68}" dt="2023-12-06T22:08:27.450" v="40925"/>
          <ac:spMkLst>
            <pc:docMk/>
            <pc:sldMk cId="3093897313" sldId="286"/>
            <ac:spMk id="53" creationId="{51EEEB4B-D554-2299-B172-B9357C4602A5}"/>
          </ac:spMkLst>
        </pc:spChg>
        <pc:spChg chg="add del mod modVis">
          <ac:chgData name="Joelle Brehm" userId="a518f54c-6985-42c0-8041-2bb16a414839" providerId="ADAL" clId="{34B1A95F-EFD8-4A1E-A46D-E288C53C0C68}" dt="2023-12-06T22:08:31.111" v="41064"/>
          <ac:spMkLst>
            <pc:docMk/>
            <pc:sldMk cId="3093897313" sldId="286"/>
            <ac:spMk id="55" creationId="{66730DC3-B562-4540-E579-E732139B1390}"/>
          </ac:spMkLst>
        </pc:spChg>
        <pc:spChg chg="add del mod modVis">
          <ac:chgData name="Joelle Brehm" userId="a518f54c-6985-42c0-8041-2bb16a414839" providerId="ADAL" clId="{34B1A95F-EFD8-4A1E-A46D-E288C53C0C68}" dt="2023-12-06T22:08:34.920" v="41200"/>
          <ac:spMkLst>
            <pc:docMk/>
            <pc:sldMk cId="3093897313" sldId="286"/>
            <ac:spMk id="57" creationId="{8DEFE185-3571-6BC1-EBE2-A1F128167302}"/>
          </ac:spMkLst>
        </pc:spChg>
        <pc:spChg chg="add del mod modVis">
          <ac:chgData name="Joelle Brehm" userId="a518f54c-6985-42c0-8041-2bb16a414839" providerId="ADAL" clId="{34B1A95F-EFD8-4A1E-A46D-E288C53C0C68}" dt="2023-12-06T22:08:38.262" v="41334"/>
          <ac:spMkLst>
            <pc:docMk/>
            <pc:sldMk cId="3093897313" sldId="286"/>
            <ac:spMk id="59" creationId="{F63652E2-661C-7D57-C6C0-8A37E0C7B0D0}"/>
          </ac:spMkLst>
        </pc:spChg>
        <pc:spChg chg="add del mod modVis">
          <ac:chgData name="Joelle Brehm" userId="a518f54c-6985-42c0-8041-2bb16a414839" providerId="ADAL" clId="{34B1A95F-EFD8-4A1E-A46D-E288C53C0C68}" dt="2023-12-06T22:08:44.734" v="41462"/>
          <ac:spMkLst>
            <pc:docMk/>
            <pc:sldMk cId="3093897313" sldId="286"/>
            <ac:spMk id="61" creationId="{528537B5-B03A-8A2C-EFF8-6BD4AE1039D7}"/>
          </ac:spMkLst>
        </pc:spChg>
        <pc:spChg chg="mod">
          <ac:chgData name="Joelle Brehm" userId="a518f54c-6985-42c0-8041-2bb16a414839" providerId="ADAL" clId="{34B1A95F-EFD8-4A1E-A46D-E288C53C0C68}" dt="2023-12-06T22:08:44.690" v="41414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34B1A95F-EFD8-4A1E-A46D-E288C53C0C68}" dt="2023-12-06T22:08:44.710" v="41435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6T22:08:44.712" v="41437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6T22:08:44.728" v="41456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34B1A95F-EFD8-4A1E-A46D-E288C53C0C68}" dt="2023-12-06T22:08:44.714" v="41439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6T22:08:44.715" v="41441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6T22:08:44.717" v="41443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6T22:08:44.718" v="41445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6T22:08:44.720" v="41448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8:44.721" v="41449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8:44.722" v="41450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2:08:44.722" v="41451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6T22:08:44.723" v="41452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6T22:08:44.764" v="41464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6T22:07:55.443" v="39730"/>
          <ac:graphicFrameMkLst>
            <pc:docMk/>
            <pc:sldMk cId="3093897313" sldId="286"/>
            <ac:graphicFrameMk id="8" creationId="{6065C3E7-05F6-6C41-D7C8-3FEC8AD4EAF8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8:44.672" v="41394"/>
          <ac:graphicFrameMkLst>
            <pc:docMk/>
            <pc:sldMk cId="3093897313" sldId="286"/>
            <ac:graphicFrameMk id="31" creationId="{724D1AF0-4D1C-1DFE-787D-536AE195EF91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8:44.589" v="41380"/>
          <ac:graphicFrameMkLst>
            <pc:docMk/>
            <pc:sldMk cId="3093897313" sldId="286"/>
            <ac:graphicFrameMk id="38" creationId="{5E921F1C-CED0-CD1B-B1D9-675F34C01F0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8:25.497" v="40638"/>
          <ac:graphicFrameMkLst>
            <pc:docMk/>
            <pc:sldMk cId="3093897313" sldId="286"/>
            <ac:graphicFrameMk id="50" creationId="{1D0AA7BB-8873-2969-28B1-2FE7FE449E4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8:27.329" v="40841"/>
          <ac:graphicFrameMkLst>
            <pc:docMk/>
            <pc:sldMk cId="3093897313" sldId="286"/>
            <ac:graphicFrameMk id="52" creationId="{189722AF-F28C-A4C8-E16B-E1FA28F0118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8:31.033" v="40982"/>
          <ac:graphicFrameMkLst>
            <pc:docMk/>
            <pc:sldMk cId="3093897313" sldId="286"/>
            <ac:graphicFrameMk id="54" creationId="{91CB5116-84D8-356C-BF8B-7728775AC154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8:34.806" v="41118"/>
          <ac:graphicFrameMkLst>
            <pc:docMk/>
            <pc:sldMk cId="3093897313" sldId="286"/>
            <ac:graphicFrameMk id="56" creationId="{3859E8CC-AD5F-8536-2819-9297940B1FC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2:08:38.201" v="41252"/>
          <ac:graphicFrameMkLst>
            <pc:docMk/>
            <pc:sldMk cId="3093897313" sldId="286"/>
            <ac:graphicFrameMk id="58" creationId="{886D3824-B1EC-7A8D-8E28-D250E31A7743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8:44.695" v="41421"/>
          <ac:graphicFrameMkLst>
            <pc:docMk/>
            <pc:sldMk cId="3093897313" sldId="286"/>
            <ac:graphicFrameMk id="60" creationId="{3DEF834C-0FA2-5504-01D7-AC8699C7720B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8:24.778" v="40464"/>
          <ac:graphicFrameMkLst>
            <pc:docMk/>
            <pc:sldMk cId="3093897313" sldId="286"/>
            <ac:graphicFrameMk id="62" creationId="{2BF30C0A-ADCD-CF44-8C71-8CCB2D3B3704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2:08:44.720" v="41447"/>
          <ac:graphicFrameMkLst>
            <pc:docMk/>
            <pc:sldMk cId="3093897313" sldId="286"/>
            <ac:graphicFrameMk id="63" creationId="{61AD86F2-55F1-5B08-77A7-7CFD2131D4B3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2:08:18.419" v="40037"/>
          <ac:graphicFrameMkLst>
            <pc:docMk/>
            <pc:sldMk cId="3093897313" sldId="286"/>
            <ac:graphicFrameMk id="67" creationId="{686C7DFC-9985-D3AA-4063-09E62523DFBC}"/>
          </ac:graphicFrameMkLst>
        </pc:graphicFrameChg>
        <pc:picChg chg="del mod ord">
          <ac:chgData name="Joelle Brehm" userId="a518f54c-6985-42c0-8041-2bb16a414839" providerId="ADAL" clId="{34B1A95F-EFD8-4A1E-A46D-E288C53C0C68}" dt="2023-12-06T22:08:10.937" v="39910" actId="478"/>
          <ac:picMkLst>
            <pc:docMk/>
            <pc:sldMk cId="3093897313" sldId="286"/>
            <ac:picMk id="9" creationId="{34B3B82E-7347-218A-6FE9-7C246DE2350F}"/>
          </ac:picMkLst>
        </pc:picChg>
        <pc:picChg chg="add mod ord">
          <ac:chgData name="Joelle Brehm" userId="a518f54c-6985-42c0-8041-2bb16a414839" providerId="ADAL" clId="{34B1A95F-EFD8-4A1E-A46D-E288C53C0C68}" dt="2023-12-06T22:08:44.666" v="41388"/>
          <ac:picMkLst>
            <pc:docMk/>
            <pc:sldMk cId="3093897313" sldId="286"/>
            <ac:picMk id="34" creationId="{6663E5A1-4C2D-D5C4-1E3F-5F1A262C67D0}"/>
          </ac:picMkLst>
        </pc:picChg>
        <pc:picChg chg="mod ord">
          <ac:chgData name="Joelle Brehm" userId="a518f54c-6985-42c0-8041-2bb16a414839" providerId="ADAL" clId="{34B1A95F-EFD8-4A1E-A46D-E288C53C0C68}" dt="2023-12-06T22:08:44.724" v="41454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6T22:08:44.670" v="41392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7T19:22:32.117" v="46267"/>
        <pc:sldMkLst>
          <pc:docMk/>
          <pc:sldMk cId="1459118046" sldId="288"/>
        </pc:sldMkLst>
        <pc:spChg chg="mod ord">
          <ac:chgData name="Joelle Brehm" userId="a518f54c-6985-42c0-8041-2bb16a414839" providerId="ADAL" clId="{34B1A95F-EFD8-4A1E-A46D-E288C53C0C68}" dt="2023-12-07T19:22:32.057" v="46231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34B1A95F-EFD8-4A1E-A46D-E288C53C0C68}" dt="2023-12-07T19:20:41.759" v="44974" actId="478"/>
          <ac:spMkLst>
            <pc:docMk/>
            <pc:sldMk cId="1459118046" sldId="288"/>
            <ac:spMk id="3" creationId="{DFD72163-462D-6757-C4F3-4D8270F06B4E}"/>
          </ac:spMkLst>
        </pc:spChg>
        <pc:spChg chg="add del mod modVis">
          <ac:chgData name="Joelle Brehm" userId="a518f54c-6985-42c0-8041-2bb16a414839" providerId="ADAL" clId="{34B1A95F-EFD8-4A1E-A46D-E288C53C0C68}" dt="2023-12-07T19:20:48.637" v="45197"/>
          <ac:spMkLst>
            <pc:docMk/>
            <pc:sldMk cId="1459118046" sldId="288"/>
            <ac:spMk id="5" creationId="{7CC46EE2-E239-9E54-2F02-3BDC6D2CE8B6}"/>
          </ac:spMkLst>
        </pc:spChg>
        <pc:spChg chg="mod ord">
          <ac:chgData name="Joelle Brehm" userId="a518f54c-6985-42c0-8041-2bb16a414839" providerId="ADAL" clId="{34B1A95F-EFD8-4A1E-A46D-E288C53C0C68}" dt="2023-12-07T19:22:32.041" v="46193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7T19:22:32.057" v="46211"/>
          <ac:spMkLst>
            <pc:docMk/>
            <pc:sldMk cId="1459118046" sldId="288"/>
            <ac:spMk id="10" creationId="{F330FDA5-01AA-960D-FADC-74B8E7D526E8}"/>
          </ac:spMkLst>
        </pc:spChg>
        <pc:spChg chg="add del mod modVis">
          <ac:chgData name="Joelle Brehm" userId="a518f54c-6985-42c0-8041-2bb16a414839" providerId="ADAL" clId="{34B1A95F-EFD8-4A1E-A46D-E288C53C0C68}" dt="2023-12-07T19:22:21.211" v="45524"/>
          <ac:spMkLst>
            <pc:docMk/>
            <pc:sldMk cId="1459118046" sldId="288"/>
            <ac:spMk id="13" creationId="{EEDC7D61-CC44-4B53-0C10-2F0DE6E913A5}"/>
          </ac:spMkLst>
        </pc:spChg>
        <pc:spChg chg="mod">
          <ac:chgData name="Joelle Brehm" userId="a518f54c-6985-42c0-8041-2bb16a414839" providerId="ADAL" clId="{34B1A95F-EFD8-4A1E-A46D-E288C53C0C68}" dt="2023-12-07T19:22:32.057" v="46202"/>
          <ac:spMkLst>
            <pc:docMk/>
            <pc:sldMk cId="1459118046" sldId="288"/>
            <ac:spMk id="14" creationId="{25D946D5-9986-579D-41E4-6C10E6C340A5}"/>
          </ac:spMkLst>
        </pc:spChg>
        <pc:spChg chg="mod">
          <ac:chgData name="Joelle Brehm" userId="a518f54c-6985-42c0-8041-2bb16a414839" providerId="ADAL" clId="{34B1A95F-EFD8-4A1E-A46D-E288C53C0C68}" dt="2023-12-07T19:22:32.057" v="46212"/>
          <ac:spMkLst>
            <pc:docMk/>
            <pc:sldMk cId="1459118046" sldId="288"/>
            <ac:spMk id="15" creationId="{D494E85D-4F3D-3204-35FB-2E48C65A19C6}"/>
          </ac:spMkLst>
        </pc:spChg>
        <pc:spChg chg="mod">
          <ac:chgData name="Joelle Brehm" userId="a518f54c-6985-42c0-8041-2bb16a414839" providerId="ADAL" clId="{34B1A95F-EFD8-4A1E-A46D-E288C53C0C68}" dt="2023-12-07T19:22:32.057" v="46204"/>
          <ac:spMkLst>
            <pc:docMk/>
            <pc:sldMk cId="1459118046" sldId="288"/>
            <ac:spMk id="16" creationId="{E786FDCD-6056-755C-3E9C-F6856B555A83}"/>
          </ac:spMkLst>
        </pc:spChg>
        <pc:spChg chg="del mod">
          <ac:chgData name="Joelle Brehm" userId="a518f54c-6985-42c0-8041-2bb16a414839" providerId="ADAL" clId="{34B1A95F-EFD8-4A1E-A46D-E288C53C0C68}" dt="2023-12-07T19:22:31.936" v="46084"/>
          <ac:spMkLst>
            <pc:docMk/>
            <pc:sldMk cId="1459118046" sldId="288"/>
            <ac:spMk id="17" creationId="{DBE0A1F6-A1CF-2057-B929-F159E2F0790D}"/>
          </ac:spMkLst>
        </pc:spChg>
        <pc:spChg chg="mod">
          <ac:chgData name="Joelle Brehm" userId="a518f54c-6985-42c0-8041-2bb16a414839" providerId="ADAL" clId="{34B1A95F-EFD8-4A1E-A46D-E288C53C0C68}" dt="2023-12-07T19:22:32.057" v="46209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34B1A95F-EFD8-4A1E-A46D-E288C53C0C68}" dt="2023-12-07T19:22:32.057" v="46203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34B1A95F-EFD8-4A1E-A46D-E288C53C0C68}" dt="2023-12-07T19:22:32.057" v="46210"/>
          <ac:spMkLst>
            <pc:docMk/>
            <pc:sldMk cId="1459118046" sldId="288"/>
            <ac:spMk id="20" creationId="{1E04F6C7-C5CE-0639-E6EE-4EA6F2501082}"/>
          </ac:spMkLst>
        </pc:spChg>
        <pc:spChg chg="mod">
          <ac:chgData name="Joelle Brehm" userId="a518f54c-6985-42c0-8041-2bb16a414839" providerId="ADAL" clId="{34B1A95F-EFD8-4A1E-A46D-E288C53C0C68}" dt="2023-12-07T19:22:32.057" v="46205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34B1A95F-EFD8-4A1E-A46D-E288C53C0C68}" dt="2023-12-07T19:22:32.057" v="46208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34B1A95F-EFD8-4A1E-A46D-E288C53C0C68}" dt="2023-12-07T19:22:32.057" v="46197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7T19:22:32.057" v="46206"/>
          <ac:spMkLst>
            <pc:docMk/>
            <pc:sldMk cId="1459118046" sldId="288"/>
            <ac:spMk id="24" creationId="{C635EC53-592F-A2D5-EF91-370516B08014}"/>
          </ac:spMkLst>
        </pc:spChg>
        <pc:spChg chg="add mod replST">
          <ac:chgData name="Joelle Brehm" userId="a518f54c-6985-42c0-8041-2bb16a414839" providerId="ADAL" clId="{34B1A95F-EFD8-4A1E-A46D-E288C53C0C68}" dt="2023-12-07T19:22:32.057" v="46213"/>
          <ac:spMkLst>
            <pc:docMk/>
            <pc:sldMk cId="1459118046" sldId="288"/>
            <ac:spMk id="26" creationId="{F420E5CB-3D9D-458C-56DF-AF2792018047}"/>
          </ac:spMkLst>
        </pc:spChg>
        <pc:spChg chg="add del mod modVis">
          <ac:chgData name="Joelle Brehm" userId="a518f54c-6985-42c0-8041-2bb16a414839" providerId="ADAL" clId="{34B1A95F-EFD8-4A1E-A46D-E288C53C0C68}" dt="2023-12-07T19:22:28.205" v="45905"/>
          <ac:spMkLst>
            <pc:docMk/>
            <pc:sldMk cId="1459118046" sldId="288"/>
            <ac:spMk id="27" creationId="{AA60B948-83E6-4894-D6F9-1CD43E9C5C8B}"/>
          </ac:spMkLst>
        </pc:spChg>
        <pc:spChg chg="add del mod modVis">
          <ac:chgData name="Joelle Brehm" userId="a518f54c-6985-42c0-8041-2bb16a414839" providerId="ADAL" clId="{34B1A95F-EFD8-4A1E-A46D-E288C53C0C68}" dt="2023-12-07T19:22:29.769" v="46081"/>
          <ac:spMkLst>
            <pc:docMk/>
            <pc:sldMk cId="1459118046" sldId="288"/>
            <ac:spMk id="29" creationId="{4B538B7B-3C1B-4E9D-2927-067D6397DFFC}"/>
          </ac:spMkLst>
        </pc:spChg>
        <pc:spChg chg="mod ord">
          <ac:chgData name="Joelle Brehm" userId="a518f54c-6985-42c0-8041-2bb16a414839" providerId="ADAL" clId="{34B1A95F-EFD8-4A1E-A46D-E288C53C0C68}" dt="2023-12-07T19:22:32.057" v="46199"/>
          <ac:spMkLst>
            <pc:docMk/>
            <pc:sldMk cId="1459118046" sldId="288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7T19:22:32.057" v="46207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34B1A95F-EFD8-4A1E-A46D-E288C53C0C68}" dt="2023-12-07T19:22:32.073" v="46265"/>
          <ac:spMkLst>
            <pc:docMk/>
            <pc:sldMk cId="1459118046" sldId="288"/>
            <ac:spMk id="34" creationId="{A5866EB4-AD07-DE43-CD63-3069F8574637}"/>
          </ac:spMkLst>
        </pc:spChg>
        <pc:spChg chg="mod">
          <ac:chgData name="Joelle Brehm" userId="a518f54c-6985-42c0-8041-2bb16a414839" providerId="ADAL" clId="{34B1A95F-EFD8-4A1E-A46D-E288C53C0C68}" dt="2023-12-07T19:22:32.073" v="46261"/>
          <ac:spMkLst>
            <pc:docMk/>
            <pc:sldMk cId="1459118046" sldId="288"/>
            <ac:spMk id="35" creationId="{6B934B86-5715-3E83-5B96-BD8EBE06A322}"/>
          </ac:spMkLst>
        </pc:spChg>
        <pc:spChg chg="mod ord">
          <ac:chgData name="Joelle Brehm" userId="a518f54c-6985-42c0-8041-2bb16a414839" providerId="ADAL" clId="{34B1A95F-EFD8-4A1E-A46D-E288C53C0C68}" dt="2023-12-07T19:22:32.057" v="46215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7T19:22:32.057" v="46217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34B1A95F-EFD8-4A1E-A46D-E288C53C0C68}" dt="2023-12-07T19:22:32.073" v="46245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34B1A95F-EFD8-4A1E-A46D-E288C53C0C68}" dt="2023-12-07T19:22:32.057" v="46234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34B1A95F-EFD8-4A1E-A46D-E288C53C0C68}" dt="2023-12-07T19:22:32.057" v="46229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34B1A95F-EFD8-4A1E-A46D-E288C53C0C68}" dt="2023-12-07T19:22:32.073" v="46240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34B1A95F-EFD8-4A1E-A46D-E288C53C0C68}" dt="2023-12-07T19:22:32.057" v="46235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34B1A95F-EFD8-4A1E-A46D-E288C53C0C68}" dt="2023-12-07T19:22:32.073" v="46239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34B1A95F-EFD8-4A1E-A46D-E288C53C0C68}" dt="2023-12-07T19:22:32.057" v="46219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34B1A95F-EFD8-4A1E-A46D-E288C53C0C68}" dt="2023-12-07T19:22:32.057" v="46236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34B1A95F-EFD8-4A1E-A46D-E288C53C0C68}" dt="2023-12-07T19:22:32.057" v="46237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34B1A95F-EFD8-4A1E-A46D-E288C53C0C68}" dt="2023-12-07T19:22:32.073" v="46241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34B1A95F-EFD8-4A1E-A46D-E288C53C0C68}" dt="2023-12-07T19:22:32.057" v="46238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34B1A95F-EFD8-4A1E-A46D-E288C53C0C68}" dt="2023-12-07T19:22:32.073" v="46242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34B1A95F-EFD8-4A1E-A46D-E288C53C0C68}" dt="2023-12-07T19:22:32.073" v="46243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34B1A95F-EFD8-4A1E-A46D-E288C53C0C68}" dt="2023-12-07T19:22:32.073" v="46244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34B1A95F-EFD8-4A1E-A46D-E288C53C0C68}" dt="2023-12-07T19:22:32.057" v="46221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7T19:22:32.057" v="46223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7T19:22:32.057" v="46225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7T19:22:32.073" v="46250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34B1A95F-EFD8-4A1E-A46D-E288C53C0C68}" dt="2023-12-07T19:22:32.073" v="46249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34B1A95F-EFD8-4A1E-A46D-E288C53C0C68}" dt="2023-12-07T19:22:32.073" v="46248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34B1A95F-EFD8-4A1E-A46D-E288C53C0C68}" dt="2023-12-07T19:22:32.073" v="46247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34B1A95F-EFD8-4A1E-A46D-E288C53C0C68}" dt="2023-12-07T19:22:32.073" v="46254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34B1A95F-EFD8-4A1E-A46D-E288C53C0C68}" dt="2023-12-07T19:22:32.073" v="46252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34B1A95F-EFD8-4A1E-A46D-E288C53C0C68}" dt="2023-12-07T19:22:32.073" v="46251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34B1A95F-EFD8-4A1E-A46D-E288C53C0C68}" dt="2023-12-07T19:22:32.073" v="46253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34B1A95F-EFD8-4A1E-A46D-E288C53C0C68}" dt="2023-12-07T19:22:32.073" v="46259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34B1A95F-EFD8-4A1E-A46D-E288C53C0C68}" dt="2023-12-07T19:22:32.073" v="46258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34B1A95F-EFD8-4A1E-A46D-E288C53C0C68}" dt="2023-12-07T19:22:32.073" v="46257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34B1A95F-EFD8-4A1E-A46D-E288C53C0C68}" dt="2023-12-07T19:22:32.073" v="46260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34B1A95F-EFD8-4A1E-A46D-E288C53C0C68}" dt="2023-12-07T19:22:32.117" v="46267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2:32.057" v="46233"/>
          <ac:graphicFrameMkLst>
            <pc:docMk/>
            <pc:sldMk cId="1459118046" sldId="288"/>
            <ac:graphicFrameMk id="8" creationId="{4FE073FA-AE99-1BA2-3F0C-B3C06C715007}"/>
          </ac:graphicFrameMkLst>
        </pc:graphicFrameChg>
        <pc:graphicFrameChg chg="del">
          <ac:chgData name="Joelle Brehm" userId="a518f54c-6985-42c0-8041-2bb16a414839" providerId="ADAL" clId="{34B1A95F-EFD8-4A1E-A46D-E288C53C0C68}" dt="2023-12-07T19:20:48.551" v="45109"/>
          <ac:graphicFrameMkLst>
            <pc:docMk/>
            <pc:sldMk cId="1459118046" sldId="288"/>
            <ac:graphicFrameMk id="11" creationId="{AAFE62C0-9060-1465-8905-EF2A8D281706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2:32.073" v="46256"/>
          <ac:graphicFrameMkLst>
            <pc:docMk/>
            <pc:sldMk cId="1459118046" sldId="288"/>
            <ac:graphicFrameMk id="25" creationId="{9A2DEFA8-3892-BEA2-99FF-06A2F48AFE5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2:29.694" v="45987"/>
          <ac:graphicFrameMkLst>
            <pc:docMk/>
            <pc:sldMk cId="1459118046" sldId="288"/>
            <ac:graphicFrameMk id="28" creationId="{26DA40AF-2A42-749B-8479-5E296224F15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2:32.015" v="46183"/>
          <ac:graphicFrameMkLst>
            <pc:docMk/>
            <pc:sldMk cId="1459118046" sldId="288"/>
            <ac:graphicFrameMk id="31" creationId="{9C9FBDFA-39E6-0E22-55F3-2F7DA93085C6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22:28.142" v="45816"/>
          <ac:graphicFrameMkLst>
            <pc:docMk/>
            <pc:sldMk cId="1459118046" sldId="288"/>
            <ac:graphicFrameMk id="33" creationId="{F72F4936-3C56-3327-FEEF-FAEA32FF2719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2:32.057" v="46201"/>
          <ac:graphicFrameMkLst>
            <pc:docMk/>
            <pc:sldMk cId="1459118046" sldId="288"/>
            <ac:graphicFrameMk id="36" creationId="{BCCA9846-1791-F8F0-5D3E-D660FE51933B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22:21.163" v="45442"/>
          <ac:graphicFrameMkLst>
            <pc:docMk/>
            <pc:sldMk cId="1459118046" sldId="288"/>
            <ac:graphicFrameMk id="37" creationId="{68200B72-2968-57BA-1451-F3E69AAFD319}"/>
          </ac:graphicFrameMkLst>
        </pc:graphicFrameChg>
        <pc:picChg chg="add mod ord">
          <ac:chgData name="Joelle Brehm" userId="a518f54c-6985-42c0-8041-2bb16a414839" providerId="ADAL" clId="{34B1A95F-EFD8-4A1E-A46D-E288C53C0C68}" dt="2023-12-07T19:22:32.041" v="46191"/>
          <ac:picMkLst>
            <pc:docMk/>
            <pc:sldMk cId="1459118046" sldId="288"/>
            <ac:picMk id="9" creationId="{01609BD0-437C-887A-6596-B27165CAECFF}"/>
          </ac:picMkLst>
        </pc:picChg>
        <pc:picChg chg="del mod ord">
          <ac:chgData name="Joelle Brehm" userId="a518f54c-6985-42c0-8041-2bb16a414839" providerId="ADAL" clId="{34B1A95F-EFD8-4A1E-A46D-E288C53C0C68}" dt="2023-12-07T19:21:12.560" v="45301" actId="478"/>
          <ac:picMkLst>
            <pc:docMk/>
            <pc:sldMk cId="1459118046" sldId="288"/>
            <ac:picMk id="12" creationId="{6C09F467-6A76-BEC6-B690-FB9BB9D249E8}"/>
          </ac:picMkLst>
        </pc:picChg>
        <pc:picChg chg="mod ord">
          <ac:chgData name="Joelle Brehm" userId="a518f54c-6985-42c0-8041-2bb16a414839" providerId="ADAL" clId="{34B1A95F-EFD8-4A1E-A46D-E288C53C0C68}" dt="2023-12-07T19:22:32.057" v="46227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7T19:22:32.057" v="46195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7T19:24:38.265" v="47873"/>
        <pc:sldMkLst>
          <pc:docMk/>
          <pc:sldMk cId="10849840" sldId="290"/>
        </pc:sldMkLst>
        <pc:spChg chg="add del mod">
          <ac:chgData name="Joelle Brehm" userId="a518f54c-6985-42c0-8041-2bb16a414839" providerId="ADAL" clId="{34B1A95F-EFD8-4A1E-A46D-E288C53C0C68}" dt="2023-12-07T19:23:26.950" v="46268" actId="478"/>
          <ac:spMkLst>
            <pc:docMk/>
            <pc:sldMk cId="10849840" sldId="290"/>
            <ac:spMk id="2" creationId="{1391A346-1607-3B89-E234-4BADC0763596}"/>
          </ac:spMkLst>
        </pc:spChg>
        <pc:spChg chg="mod ord">
          <ac:chgData name="Joelle Brehm" userId="a518f54c-6985-42c0-8041-2bb16a414839" providerId="ADAL" clId="{34B1A95F-EFD8-4A1E-A46D-E288C53C0C68}" dt="2023-12-07T19:24:38.265" v="47867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34B1A95F-EFD8-4A1E-A46D-E288C53C0C68}" dt="2023-12-07T19:24:38.249" v="47836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34B1A95F-EFD8-4A1E-A46D-E288C53C0C68}" dt="2023-12-07T19:24:38.232" v="47799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34B1A95F-EFD8-4A1E-A46D-E288C53C0C68}" dt="2023-12-07T19:23:42.430" v="46491"/>
          <ac:spMkLst>
            <pc:docMk/>
            <pc:sldMk cId="10849840" sldId="290"/>
            <ac:spMk id="8" creationId="{F27788DA-1BA8-2BF2-7756-33377541106A}"/>
          </ac:spMkLst>
        </pc:spChg>
        <pc:spChg chg="mod">
          <ac:chgData name="Joelle Brehm" userId="a518f54c-6985-42c0-8041-2bb16a414839" providerId="ADAL" clId="{34B1A95F-EFD8-4A1E-A46D-E288C53C0C68}" dt="2023-12-07T19:24:38.232" v="47810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7T19:24:38.232" v="47806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7T19:24:38.232" v="47807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7T19:24:38.232" v="47804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7T19:24:38.232" v="47805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7T19:24:38.232" v="47808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7T19:24:38.232" v="47809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7T19:24:38.232" v="47811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7T19:24:38.232" v="47812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7T19:24:38.232" v="47813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7T19:24:38.232" v="47814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7T19:24:38.232" v="47815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7T19:24:38.248" v="47817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7T19:24:38.249" v="47820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7T19:24:38.249" v="47822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7T19:24:38.249" v="47821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7T19:24:38.249" v="47825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7T19:24:38.249" v="47826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7T19:24:38.249" v="47824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7T19:24:38.249" v="47828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7T19:24:38.249" v="47841"/>
          <ac:spMkLst>
            <pc:docMk/>
            <pc:sldMk cId="10849840" sldId="290"/>
            <ac:spMk id="32" creationId="{6EC9F26A-A939-514C-7EDB-F425DFFD4036}"/>
          </ac:spMkLst>
        </pc:spChg>
        <pc:spChg chg="mod">
          <ac:chgData name="Joelle Brehm" userId="a518f54c-6985-42c0-8041-2bb16a414839" providerId="ADAL" clId="{34B1A95F-EFD8-4A1E-A46D-E288C53C0C68}" dt="2023-12-07T19:24:38.249" v="47837"/>
          <ac:spMkLst>
            <pc:docMk/>
            <pc:sldMk cId="10849840" sldId="290"/>
            <ac:spMk id="33" creationId="{A55B1EF4-73C4-D584-0203-A74707EA08E2}"/>
          </ac:spMkLst>
        </pc:spChg>
        <pc:spChg chg="del mod">
          <ac:chgData name="Joelle Brehm" userId="a518f54c-6985-42c0-8041-2bb16a414839" providerId="ADAL" clId="{34B1A95F-EFD8-4A1E-A46D-E288C53C0C68}" dt="2023-12-07T19:24:30.117" v="47415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34B1A95F-EFD8-4A1E-A46D-E288C53C0C68}" dt="2023-12-07T19:24:38.249" v="47831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34B1A95F-EFD8-4A1E-A46D-E288C53C0C68}" dt="2023-12-07T19:24:38.249" v="47819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34B1A95F-EFD8-4A1E-A46D-E288C53C0C68}" dt="2023-12-07T19:24:38.249" v="47832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34B1A95F-EFD8-4A1E-A46D-E288C53C0C68}" dt="2023-12-07T19:24:38.249" v="47833"/>
          <ac:spMkLst>
            <pc:docMk/>
            <pc:sldMk cId="10849840" sldId="290"/>
            <ac:spMk id="39" creationId="{810C784D-B902-D4A3-E0DE-5483A97F9C49}"/>
          </ac:spMkLst>
        </pc:spChg>
        <pc:spChg chg="add del mod modVis">
          <ac:chgData name="Joelle Brehm" userId="a518f54c-6985-42c0-8041-2bb16a414839" providerId="ADAL" clId="{34B1A95F-EFD8-4A1E-A46D-E288C53C0C68}" dt="2023-12-07T19:24:19.607" v="46799"/>
          <ac:spMkLst>
            <pc:docMk/>
            <pc:sldMk cId="10849840" sldId="290"/>
            <ac:spMk id="40" creationId="{AB669B16-F174-7936-A415-FA2A203C5EBC}"/>
          </ac:spMkLst>
        </pc:spChg>
        <pc:spChg chg="mod">
          <ac:chgData name="Joelle Brehm" userId="a518f54c-6985-42c0-8041-2bb16a414839" providerId="ADAL" clId="{34B1A95F-EFD8-4A1E-A46D-E288C53C0C68}" dt="2023-12-07T19:24:38.249" v="47838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34B1A95F-EFD8-4A1E-A46D-E288C53C0C68}" dt="2023-12-07T19:24:38.249" v="47839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34B1A95F-EFD8-4A1E-A46D-E288C53C0C68}" dt="2023-12-07T19:24:38.249" v="47834"/>
          <ac:spMkLst>
            <pc:docMk/>
            <pc:sldMk cId="10849840" sldId="290"/>
            <ac:spMk id="44" creationId="{16E8BB2B-0284-4130-9494-7152E71E09E4}"/>
          </ac:spMkLst>
        </pc:spChg>
        <pc:spChg chg="add mod replST">
          <ac:chgData name="Joelle Brehm" userId="a518f54c-6985-42c0-8041-2bb16a414839" providerId="ADAL" clId="{34B1A95F-EFD8-4A1E-A46D-E288C53C0C68}" dt="2023-12-07T19:24:38.249" v="47842"/>
          <ac:spMkLst>
            <pc:docMk/>
            <pc:sldMk cId="10849840" sldId="290"/>
            <ac:spMk id="45" creationId="{552BD52A-8984-63D8-5FA9-87FE57296EC3}"/>
          </ac:spMkLst>
        </pc:spChg>
        <pc:spChg chg="mod">
          <ac:chgData name="Joelle Brehm" userId="a518f54c-6985-42c0-8041-2bb16a414839" providerId="ADAL" clId="{34B1A95F-EFD8-4A1E-A46D-E288C53C0C68}" dt="2023-12-07T19:24:38.249" v="47835"/>
          <ac:spMkLst>
            <pc:docMk/>
            <pc:sldMk cId="10849840" sldId="290"/>
            <ac:spMk id="46" creationId="{3E1C433A-5376-E641-B9A1-4367058A9B7F}"/>
          </ac:spMkLst>
        </pc:spChg>
        <pc:spChg chg="mod">
          <ac:chgData name="Joelle Brehm" userId="a518f54c-6985-42c0-8041-2bb16a414839" providerId="ADAL" clId="{34B1A95F-EFD8-4A1E-A46D-E288C53C0C68}" dt="2023-12-07T19:24:38.249" v="47840"/>
          <ac:spMkLst>
            <pc:docMk/>
            <pc:sldMk cId="10849840" sldId="290"/>
            <ac:spMk id="47" creationId="{0E162DBF-E60F-A83B-56A5-E40D4E5B4D77}"/>
          </ac:spMkLst>
        </pc:spChg>
        <pc:spChg chg="add del mod modVis">
          <ac:chgData name="Joelle Brehm" userId="a518f54c-6985-42c0-8041-2bb16a414839" providerId="ADAL" clId="{34B1A95F-EFD8-4A1E-A46D-E288C53C0C68}" dt="2023-12-07T19:24:26.667" v="47239"/>
          <ac:spMkLst>
            <pc:docMk/>
            <pc:sldMk cId="10849840" sldId="290"/>
            <ac:spMk id="48" creationId="{C3309BF3-A2FC-3832-8AF5-EAE4DAD7FB71}"/>
          </ac:spMkLst>
        </pc:spChg>
        <pc:spChg chg="add del mod ord replST">
          <ac:chgData name="Joelle Brehm" userId="a518f54c-6985-42c0-8041-2bb16a414839" providerId="ADAL" clId="{34B1A95F-EFD8-4A1E-A46D-E288C53C0C68}" dt="2023-12-07T19:24:38.216" v="47787"/>
          <ac:spMkLst>
            <pc:docMk/>
            <pc:sldMk cId="10849840" sldId="290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7T19:24:27.926" v="47412"/>
          <ac:spMkLst>
            <pc:docMk/>
            <pc:sldMk cId="10849840" sldId="290"/>
            <ac:spMk id="51" creationId="{98A69B00-D1B2-87F2-E276-78D4BDB85346}"/>
          </ac:spMkLst>
        </pc:spChg>
        <pc:spChg chg="add del mod modVis">
          <ac:chgData name="Joelle Brehm" userId="a518f54c-6985-42c0-8041-2bb16a414839" providerId="ADAL" clId="{34B1A95F-EFD8-4A1E-A46D-E288C53C0C68}" dt="2023-12-07T19:24:30.295" v="47593"/>
          <ac:spMkLst>
            <pc:docMk/>
            <pc:sldMk cId="10849840" sldId="290"/>
            <ac:spMk id="53" creationId="{9C53A258-68AD-FC97-EA4B-36FEF99A66BA}"/>
          </ac:spMkLst>
        </pc:spChg>
        <pc:spChg chg="add del mod modVis">
          <ac:chgData name="Joelle Brehm" userId="a518f54c-6985-42c0-8041-2bb16a414839" providerId="ADAL" clId="{34B1A95F-EFD8-4A1E-A46D-E288C53C0C68}" dt="2023-12-07T19:24:36.424" v="47734"/>
          <ac:spMkLst>
            <pc:docMk/>
            <pc:sldMk cId="10849840" sldId="290"/>
            <ac:spMk id="55" creationId="{3F64A498-EF1C-B514-7BF5-F5266098F554}"/>
          </ac:spMkLst>
        </pc:spChg>
        <pc:spChg chg="add del mod modVis">
          <ac:chgData name="Joelle Brehm" userId="a518f54c-6985-42c0-8041-2bb16a414839" providerId="ADAL" clId="{34B1A95F-EFD8-4A1E-A46D-E288C53C0C68}" dt="2023-12-07T19:24:38.265" v="47871"/>
          <ac:spMkLst>
            <pc:docMk/>
            <pc:sldMk cId="10849840" sldId="290"/>
            <ac:spMk id="57" creationId="{7B22890E-6642-BC5F-3B02-DDD9125DFE81}"/>
          </ac:spMkLst>
        </pc:spChg>
        <pc:spChg chg="mod ord">
          <ac:chgData name="Joelle Brehm" userId="a518f54c-6985-42c0-8041-2bb16a414839" providerId="ADAL" clId="{34B1A95F-EFD8-4A1E-A46D-E288C53C0C68}" dt="2023-12-07T19:24:38.249" v="47865"/>
          <ac:spMkLst>
            <pc:docMk/>
            <pc:sldMk cId="10849840" sldId="290"/>
            <ac:spMk id="60" creationId="{AB5689A7-20F6-4DF1-88AE-FB8557333BFB}"/>
          </ac:spMkLst>
        </pc:spChg>
        <pc:spChg chg="mod">
          <ac:chgData name="Joelle Brehm" userId="a518f54c-6985-42c0-8041-2bb16a414839" providerId="ADAL" clId="{34B1A95F-EFD8-4A1E-A46D-E288C53C0C68}" dt="2023-12-07T19:24:38.249" v="47823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34B1A95F-EFD8-4A1E-A46D-E288C53C0C68}" dt="2023-12-07T19:24:38.249" v="47844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7T19:24:38.249" v="47846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7T19:24:38.249" v="47848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7T19:24:38.249" v="47850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7T19:24:38.249" v="47852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7T19:24:38.249" v="47854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7T19:24:38.249" v="47857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24:38.249" v="47858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24:38.249" v="47859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24:38.249" v="47860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7T19:24:38.249" v="47861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7T19:24:38.265" v="47873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4B1A95F-EFD8-4A1E-A46D-E288C53C0C68}" dt="2023-12-07T19:23:42.365" v="46403"/>
          <ac:graphicFrameMkLst>
            <pc:docMk/>
            <pc:sldMk cId="10849840" sldId="290"/>
            <ac:graphicFrameMk id="9" creationId="{22DB777F-EEEA-C039-120C-E608610CB6BB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4:38.232" v="47803"/>
          <ac:graphicFrameMkLst>
            <pc:docMk/>
            <pc:sldMk cId="10849840" sldId="290"/>
            <ac:graphicFrameMk id="31" creationId="{4066A31F-4730-483C-E25B-452881C8D910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4:38.249" v="47856"/>
          <ac:graphicFrameMkLst>
            <pc:docMk/>
            <pc:sldMk cId="10849840" sldId="290"/>
            <ac:graphicFrameMk id="41" creationId="{4AE55013-D774-6CB5-9EA7-4156CEA76E2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4:27.844" v="47316"/>
          <ac:graphicFrameMkLst>
            <pc:docMk/>
            <pc:sldMk cId="10849840" sldId="290"/>
            <ac:graphicFrameMk id="50" creationId="{7DF59BB5-CAC4-0FB9-2231-6EA2271C86DF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4:30.211" v="47509"/>
          <ac:graphicFrameMkLst>
            <pc:docMk/>
            <pc:sldMk cId="10849840" sldId="290"/>
            <ac:graphicFrameMk id="52" creationId="{E435EF2F-6574-FB87-38A1-458C9E0650B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4:36.377" v="47650"/>
          <ac:graphicFrameMkLst>
            <pc:docMk/>
            <pc:sldMk cId="10849840" sldId="290"/>
            <ac:graphicFrameMk id="54" creationId="{0C3223FC-125F-422A-3658-14FF8426481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4:38.216" v="47789"/>
          <ac:graphicFrameMkLst>
            <pc:docMk/>
            <pc:sldMk cId="10849840" sldId="290"/>
            <ac:graphicFrameMk id="56" creationId="{30C69D37-70F8-6E4F-8F42-A74E0077B197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24:26.600" v="47148"/>
          <ac:graphicFrameMkLst>
            <pc:docMk/>
            <pc:sldMk cId="10849840" sldId="290"/>
            <ac:graphicFrameMk id="58" creationId="{CC304FD5-57C0-A78C-F017-9F22A1E3E56B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4:38.249" v="47830"/>
          <ac:graphicFrameMkLst>
            <pc:docMk/>
            <pc:sldMk cId="10849840" sldId="290"/>
            <ac:graphicFrameMk id="59" creationId="{F6881827-C08F-0C71-7DEE-0E7E60D08A4B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24:19.541" v="46717"/>
          <ac:graphicFrameMkLst>
            <pc:docMk/>
            <pc:sldMk cId="10849840" sldId="290"/>
            <ac:graphicFrameMk id="61" creationId="{F7497C03-35F3-F262-1D70-A151EBA2A2DA}"/>
          </ac:graphicFrameMkLst>
        </pc:graphicFrameChg>
        <pc:picChg chg="del mod ord">
          <ac:chgData name="Joelle Brehm" userId="a518f54c-6985-42c0-8041-2bb16a414839" providerId="ADAL" clId="{34B1A95F-EFD8-4A1E-A46D-E288C53C0C68}" dt="2023-12-07T19:24:04.878" v="46587" actId="478"/>
          <ac:picMkLst>
            <pc:docMk/>
            <pc:sldMk cId="10849840" sldId="290"/>
            <ac:picMk id="10" creationId="{7B485F5B-A7B4-8942-78AB-EA5EB2422139}"/>
          </ac:picMkLst>
        </pc:picChg>
        <pc:picChg chg="add mod ord">
          <ac:chgData name="Joelle Brehm" userId="a518f54c-6985-42c0-8041-2bb16a414839" providerId="ADAL" clId="{34B1A95F-EFD8-4A1E-A46D-E288C53C0C68}" dt="2023-12-07T19:24:38.232" v="47797"/>
          <ac:picMkLst>
            <pc:docMk/>
            <pc:sldMk cId="10849840" sldId="290"/>
            <ac:picMk id="34" creationId="{81A0098A-7406-CE0A-4D98-8249EA93C80D}"/>
          </ac:picMkLst>
        </pc:picChg>
        <pc:picChg chg="mod ord">
          <ac:chgData name="Joelle Brehm" userId="a518f54c-6985-42c0-8041-2bb16a414839" providerId="ADAL" clId="{34B1A95F-EFD8-4A1E-A46D-E288C53C0C68}" dt="2023-12-07T19:24:38.249" v="47863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7T19:24:38.232" v="47801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7T19:32:31.114" v="50998"/>
        <pc:sldMkLst>
          <pc:docMk/>
          <pc:sldMk cId="996393659" sldId="291"/>
        </pc:sldMkLst>
        <pc:spChg chg="mod ord">
          <ac:chgData name="Joelle Brehm" userId="a518f54c-6985-42c0-8041-2bb16a414839" providerId="ADAL" clId="{34B1A95F-EFD8-4A1E-A46D-E288C53C0C68}" dt="2023-12-07T19:32:31.099" v="50992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34B1A95F-EFD8-4A1E-A46D-E288C53C0C68}" dt="2023-12-07T19:27:21.132" v="49328" actId="478"/>
          <ac:spMkLst>
            <pc:docMk/>
            <pc:sldMk cId="996393659" sldId="291"/>
            <ac:spMk id="3" creationId="{D7C2DAAA-73A2-6DE5-4BE3-92AFFAA9CBD6}"/>
          </ac:spMkLst>
        </pc:spChg>
        <pc:spChg chg="add del mod modVis">
          <ac:chgData name="Joelle Brehm" userId="a518f54c-6985-42c0-8041-2bb16a414839" providerId="ADAL" clId="{34B1A95F-EFD8-4A1E-A46D-E288C53C0C68}" dt="2023-12-07T19:27:34.860" v="49547"/>
          <ac:spMkLst>
            <pc:docMk/>
            <pc:sldMk cId="996393659" sldId="291"/>
            <ac:spMk id="5" creationId="{49DF2BE7-C7CD-499F-1F2A-CB7548BE205A}"/>
          </ac:spMkLst>
        </pc:spChg>
        <pc:spChg chg="mod ord">
          <ac:chgData name="Joelle Brehm" userId="a518f54c-6985-42c0-8041-2bb16a414839" providerId="ADAL" clId="{34B1A95F-EFD8-4A1E-A46D-E288C53C0C68}" dt="2023-12-07T19:32:31.067" v="50924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7T19:32:31.083" v="50935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7T19:32:31.083" v="50931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7T19:32:31.083" v="50932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7T19:32:31.083" v="50929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7T19:32:31.083" v="50930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7T19:32:31.083" v="50933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7T19:32:31.083" v="50934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7T19:32:31.083" v="50936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7T19:32:31.083" v="50937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7T19:32:31.083" v="50938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7T19:32:31.083" v="50939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7T19:32:31.083" v="50940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7T19:32:31.083" v="50942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7T19:32:31.083" v="50945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7T19:32:31.083" v="50947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7T19:32:31.083" v="50946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7T19:32:31.083" v="50950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7T19:32:31.083" v="50951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7T19:32:31.083" v="50949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7T19:32:31.083" v="50953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7T19:32:31.083" v="50966"/>
          <ac:spMkLst>
            <pc:docMk/>
            <pc:sldMk cId="996393659" sldId="291"/>
            <ac:spMk id="32" creationId="{27A91E20-CA24-9C21-342D-ABA565F5471B}"/>
          </ac:spMkLst>
        </pc:spChg>
        <pc:spChg chg="add del mod modVis">
          <ac:chgData name="Joelle Brehm" userId="a518f54c-6985-42c0-8041-2bb16a414839" providerId="ADAL" clId="{34B1A95F-EFD8-4A1E-A46D-E288C53C0C68}" dt="2023-12-07T19:29:58.030" v="49811"/>
          <ac:spMkLst>
            <pc:docMk/>
            <pc:sldMk cId="996393659" sldId="291"/>
            <ac:spMk id="33" creationId="{63D7FE41-C7D1-D9CD-152E-42420440E22E}"/>
          </ac:spMkLst>
        </pc:spChg>
        <pc:spChg chg="del mod">
          <ac:chgData name="Joelle Brehm" userId="a518f54c-6985-42c0-8041-2bb16a414839" providerId="ADAL" clId="{34B1A95F-EFD8-4A1E-A46D-E288C53C0C68}" dt="2023-12-07T19:32:25.423" v="50689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34B1A95F-EFD8-4A1E-A46D-E288C53C0C68}" dt="2023-12-07T19:32:31.083" v="50956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34B1A95F-EFD8-4A1E-A46D-E288C53C0C68}" dt="2023-12-07T19:32:31.083" v="50944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34B1A95F-EFD8-4A1E-A46D-E288C53C0C68}" dt="2023-12-07T19:32:31.083" v="50957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34B1A95F-EFD8-4A1E-A46D-E288C53C0C68}" dt="2023-12-07T19:32:31.083" v="50958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34B1A95F-EFD8-4A1E-A46D-E288C53C0C68}" dt="2023-12-07T19:32:31.083" v="50961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34B1A95F-EFD8-4A1E-A46D-E288C53C0C68}" dt="2023-12-07T19:32:31.083" v="50962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34B1A95F-EFD8-4A1E-A46D-E288C53C0C68}" dt="2023-12-07T19:32:31.083" v="50959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34B1A95F-EFD8-4A1E-A46D-E288C53C0C68}" dt="2023-12-07T19:32:31.083" v="50963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34B1A95F-EFD8-4A1E-A46D-E288C53C0C68}" dt="2023-12-07T19:32:31.083" v="50960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34B1A95F-EFD8-4A1E-A46D-E288C53C0C68}" dt="2023-12-07T19:32:31.083" v="50964"/>
          <ac:spMkLst>
            <pc:docMk/>
            <pc:sldMk cId="996393659" sldId="291"/>
            <ac:spMk id="45" creationId="{7A6869B6-C6F2-DDAD-D4B2-6D5DE21E6DC6}"/>
          </ac:spMkLst>
        </pc:spChg>
        <pc:spChg chg="add del mod modVis">
          <ac:chgData name="Joelle Brehm" userId="a518f54c-6985-42c0-8041-2bb16a414839" providerId="ADAL" clId="{34B1A95F-EFD8-4A1E-A46D-E288C53C0C68}" dt="2023-12-07T19:30:01.220" v="50196"/>
          <ac:spMkLst>
            <pc:docMk/>
            <pc:sldMk cId="996393659" sldId="291"/>
            <ac:spMk id="46" creationId="{67C3FF68-D232-6B9D-1114-DCE1C6247A05}"/>
          </ac:spMkLst>
        </pc:spChg>
        <pc:spChg chg="mod">
          <ac:chgData name="Joelle Brehm" userId="a518f54c-6985-42c0-8041-2bb16a414839" providerId="ADAL" clId="{34B1A95F-EFD8-4A1E-A46D-E288C53C0C68}" dt="2023-12-07T19:32:31.083" v="50965"/>
          <ac:spMkLst>
            <pc:docMk/>
            <pc:sldMk cId="996393659" sldId="291"/>
            <ac:spMk id="47" creationId="{954547EF-AD33-B12C-24C3-BC43A057FE8B}"/>
          </ac:spMkLst>
        </pc:spChg>
        <pc:spChg chg="add del mod replST">
          <ac:chgData name="Joelle Brehm" userId="a518f54c-6985-42c0-8041-2bb16a414839" providerId="ADAL" clId="{34B1A95F-EFD8-4A1E-A46D-E288C53C0C68}" dt="2023-12-07T19:30:02.565" v="50246"/>
          <ac:spMkLst>
            <pc:docMk/>
            <pc:sldMk cId="996393659" sldId="291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7T19:30:02.645" v="50330"/>
          <ac:spMkLst>
            <pc:docMk/>
            <pc:sldMk cId="996393659" sldId="291"/>
            <ac:spMk id="50" creationId="{44D0A5A8-8A85-FA78-9733-3A72B4F72FA4}"/>
          </ac:spMkLst>
        </pc:spChg>
        <pc:spChg chg="add mod replST">
          <ac:chgData name="Joelle Brehm" userId="a518f54c-6985-42c0-8041-2bb16a414839" providerId="ADAL" clId="{34B1A95F-EFD8-4A1E-A46D-E288C53C0C68}" dt="2023-12-07T19:32:31.083" v="50967"/>
          <ac:spMkLst>
            <pc:docMk/>
            <pc:sldMk cId="996393659" sldId="291"/>
            <ac:spMk id="53" creationId="{BBEFF6A7-9912-F6A1-9F12-1B2BB6B5B810}"/>
          </ac:spMkLst>
        </pc:spChg>
        <pc:spChg chg="add del mod modVis">
          <ac:chgData name="Joelle Brehm" userId="a518f54c-6985-42c0-8041-2bb16a414839" providerId="ADAL" clId="{34B1A95F-EFD8-4A1E-A46D-E288C53C0C68}" dt="2023-12-07T19:32:19.409" v="50550"/>
          <ac:spMkLst>
            <pc:docMk/>
            <pc:sldMk cId="996393659" sldId="291"/>
            <ac:spMk id="55" creationId="{54A26C6C-8048-EEA0-6442-CDD79BC4FFF8}"/>
          </ac:spMkLst>
        </pc:spChg>
        <pc:spChg chg="add del mod modVis">
          <ac:chgData name="Joelle Brehm" userId="a518f54c-6985-42c0-8041-2bb16a414839" providerId="ADAL" clId="{34B1A95F-EFD8-4A1E-A46D-E288C53C0C68}" dt="2023-12-07T19:32:23.331" v="50686"/>
          <ac:spMkLst>
            <pc:docMk/>
            <pc:sldMk cId="996393659" sldId="291"/>
            <ac:spMk id="57" creationId="{4330B878-8738-6E07-3676-2F54A02A4E95}"/>
          </ac:spMkLst>
        </pc:spChg>
        <pc:spChg chg="add del mod modVis">
          <ac:chgData name="Joelle Brehm" userId="a518f54c-6985-42c0-8041-2bb16a414839" providerId="ADAL" clId="{34B1A95F-EFD8-4A1E-A46D-E288C53C0C68}" dt="2023-12-07T19:32:25.530" v="50864"/>
          <ac:spMkLst>
            <pc:docMk/>
            <pc:sldMk cId="996393659" sldId="291"/>
            <ac:spMk id="59" creationId="{F1401E1D-04A1-2DDA-5821-A22AC4078E48}"/>
          </ac:spMkLst>
        </pc:spChg>
        <pc:spChg chg="add del mod modVis">
          <ac:chgData name="Joelle Brehm" userId="a518f54c-6985-42c0-8041-2bb16a414839" providerId="ADAL" clId="{34B1A95F-EFD8-4A1E-A46D-E288C53C0C68}" dt="2023-12-07T19:32:31.099" v="50996"/>
          <ac:spMkLst>
            <pc:docMk/>
            <pc:sldMk cId="996393659" sldId="291"/>
            <ac:spMk id="61" creationId="{41D2E8F6-42B0-CC72-B07D-D6F9D8607A85}"/>
          </ac:spMkLst>
        </pc:spChg>
        <pc:spChg chg="mod">
          <ac:chgData name="Joelle Brehm" userId="a518f54c-6985-42c0-8041-2bb16a414839" providerId="ADAL" clId="{34B1A95F-EFD8-4A1E-A46D-E288C53C0C68}" dt="2023-12-07T19:32:31.083" v="50948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34B1A95F-EFD8-4A1E-A46D-E288C53C0C68}" dt="2023-12-07T19:32:31.083" v="50969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7T19:32:31.083" v="50971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7T19:32:31.099" v="50990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34B1A95F-EFD8-4A1E-A46D-E288C53C0C68}" dt="2023-12-07T19:32:31.083" v="50973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7T19:32:31.083" v="50975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7T19:32:31.083" v="50977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7T19:32:31.099" v="50979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7T19:32:31.099" v="50982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32:31.099" v="50983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32:31.099" v="50984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32:31.099" v="50985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7T19:32:31.099" v="50986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7T19:32:31.114" v="50998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32:31.067" v="50928"/>
          <ac:graphicFrameMkLst>
            <pc:docMk/>
            <pc:sldMk cId="996393659" sldId="291"/>
            <ac:graphicFrameMk id="8" creationId="{643F85B0-C598-6FD0-2B8C-6D3B315F0FE8}"/>
          </ac:graphicFrameMkLst>
        </pc:graphicFrameChg>
        <pc:graphicFrameChg chg="del">
          <ac:chgData name="Joelle Brehm" userId="a518f54c-6985-42c0-8041-2bb16a414839" providerId="ADAL" clId="{34B1A95F-EFD8-4A1E-A46D-E288C53C0C68}" dt="2023-12-07T19:27:34.796" v="49463"/>
          <ac:graphicFrameMkLst>
            <pc:docMk/>
            <pc:sldMk cId="996393659" sldId="291"/>
            <ac:graphicFrameMk id="9" creationId="{F4AC875D-0236-9B5C-7612-E62CC566BC80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32:31.099" v="50981"/>
          <ac:graphicFrameMkLst>
            <pc:docMk/>
            <pc:sldMk cId="996393659" sldId="291"/>
            <ac:graphicFrameMk id="34" creationId="{5F30A328-24F7-9BE6-1EC1-CE6F2940F4E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30:02.565" v="50248"/>
          <ac:graphicFrameMkLst>
            <pc:docMk/>
            <pc:sldMk cId="996393659" sldId="291"/>
            <ac:graphicFrameMk id="49" creationId="{F4B67AC1-CDCE-D0CD-BC7A-2DA5063B7D0A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32:19.353" v="50454"/>
          <ac:graphicFrameMkLst>
            <pc:docMk/>
            <pc:sldMk cId="996393659" sldId="291"/>
            <ac:graphicFrameMk id="51" creationId="{66C48B43-B5E9-6CD7-97A4-A0A3A7786C80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30:01.156" v="50100"/>
          <ac:graphicFrameMkLst>
            <pc:docMk/>
            <pc:sldMk cId="996393659" sldId="291"/>
            <ac:graphicFrameMk id="52" creationId="{6C3386B9-02D1-B862-0A1D-5B81ED57638F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29:57.985" v="49729"/>
          <ac:graphicFrameMkLst>
            <pc:docMk/>
            <pc:sldMk cId="996393659" sldId="291"/>
            <ac:graphicFrameMk id="54" creationId="{89BC077B-5992-78FD-6F23-28D1C352441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32:23.267" v="50603"/>
          <ac:graphicFrameMkLst>
            <pc:docMk/>
            <pc:sldMk cId="996393659" sldId="291"/>
            <ac:graphicFrameMk id="56" creationId="{1F3BD58E-ACEA-292F-1446-C7B4003F473B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32:25.486" v="50782"/>
          <ac:graphicFrameMkLst>
            <pc:docMk/>
            <pc:sldMk cId="996393659" sldId="291"/>
            <ac:graphicFrameMk id="58" creationId="{3E4ADEFD-583C-2844-442E-5255035598C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32:31.046" v="50914"/>
          <ac:graphicFrameMkLst>
            <pc:docMk/>
            <pc:sldMk cId="996393659" sldId="291"/>
            <ac:graphicFrameMk id="60" creationId="{7E13405E-2287-C158-714F-F333018CCBDD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32:31.083" v="50955"/>
          <ac:graphicFrameMkLst>
            <pc:docMk/>
            <pc:sldMk cId="996393659" sldId="291"/>
            <ac:graphicFrameMk id="62" creationId="{4628491D-8524-5680-A423-337CC6DBEC06}"/>
          </ac:graphicFrameMkLst>
        </pc:graphicFrameChg>
        <pc:picChg chg="del mod ord">
          <ac:chgData name="Joelle Brehm" userId="a518f54c-6985-42c0-8041-2bb16a414839" providerId="ADAL" clId="{34B1A95F-EFD8-4A1E-A46D-E288C53C0C68}" dt="2023-12-07T19:29:40.457" v="49639" actId="478"/>
          <ac:picMkLst>
            <pc:docMk/>
            <pc:sldMk cId="996393659" sldId="291"/>
            <ac:picMk id="10" creationId="{56AD758D-35C8-21B3-E826-D99EF330A655}"/>
          </ac:picMkLst>
        </pc:picChg>
        <pc:picChg chg="add mod ord">
          <ac:chgData name="Joelle Brehm" userId="a518f54c-6985-42c0-8041-2bb16a414839" providerId="ADAL" clId="{34B1A95F-EFD8-4A1E-A46D-E288C53C0C68}" dt="2023-12-07T19:32:31.067" v="50922"/>
          <ac:picMkLst>
            <pc:docMk/>
            <pc:sldMk cId="996393659" sldId="291"/>
            <ac:picMk id="31" creationId="{AA75321F-E622-B92C-AEC8-39D7F55A42A2}"/>
          </ac:picMkLst>
        </pc:picChg>
        <pc:picChg chg="mod ord">
          <ac:chgData name="Joelle Brehm" userId="a518f54c-6985-42c0-8041-2bb16a414839" providerId="ADAL" clId="{34B1A95F-EFD8-4A1E-A46D-E288C53C0C68}" dt="2023-12-07T19:32:31.099" v="50988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7T19:32:31.067" v="50926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7T19:25:47.341" v="49327"/>
        <pc:sldMkLst>
          <pc:docMk/>
          <pc:sldMk cId="3635637425" sldId="292"/>
        </pc:sldMkLst>
        <pc:spChg chg="mod ord">
          <ac:chgData name="Joelle Brehm" userId="a518f54c-6985-42c0-8041-2bb16a414839" providerId="ADAL" clId="{34B1A95F-EFD8-4A1E-A46D-E288C53C0C68}" dt="2023-12-07T19:25:47.325" v="49321"/>
          <ac:spMkLst>
            <pc:docMk/>
            <pc:sldMk cId="3635637425" sldId="292"/>
            <ac:spMk id="2" creationId="{9445A78E-5217-4459-B540-57B5B2359A2E}"/>
          </ac:spMkLst>
        </pc:spChg>
        <pc:spChg chg="add del mod">
          <ac:chgData name="Joelle Brehm" userId="a518f54c-6985-42c0-8041-2bb16a414839" providerId="ADAL" clId="{34B1A95F-EFD8-4A1E-A46D-E288C53C0C68}" dt="2023-12-07T19:24:47.206" v="47874" actId="478"/>
          <ac:spMkLst>
            <pc:docMk/>
            <pc:sldMk cId="3635637425" sldId="292"/>
            <ac:spMk id="3" creationId="{0352D6F7-BB88-1AE7-59D3-61E6BFD47296}"/>
          </ac:spMkLst>
        </pc:spChg>
        <pc:spChg chg="add del mod modVis">
          <ac:chgData name="Joelle Brehm" userId="a518f54c-6985-42c0-8041-2bb16a414839" providerId="ADAL" clId="{34B1A95F-EFD8-4A1E-A46D-E288C53C0C68}" dt="2023-12-07T19:24:55.996" v="48095"/>
          <ac:spMkLst>
            <pc:docMk/>
            <pc:sldMk cId="3635637425" sldId="292"/>
            <ac:spMk id="5" creationId="{73AA5A73-2F10-D88F-881E-22D593CA9465}"/>
          </ac:spMkLst>
        </pc:spChg>
        <pc:spChg chg="mod ord">
          <ac:chgData name="Joelle Brehm" userId="a518f54c-6985-42c0-8041-2bb16a414839" providerId="ADAL" clId="{34B1A95F-EFD8-4A1E-A46D-E288C53C0C68}" dt="2023-12-07T19:25:47.309" v="49253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34B1A95F-EFD8-4A1E-A46D-E288C53C0C68}" dt="2023-12-07T19:25:47.309" v="49264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34B1A95F-EFD8-4A1E-A46D-E288C53C0C68}" dt="2023-12-07T19:25:47.309" v="49260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34B1A95F-EFD8-4A1E-A46D-E288C53C0C68}" dt="2023-12-07T19:25:47.309" v="49261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34B1A95F-EFD8-4A1E-A46D-E288C53C0C68}" dt="2023-12-07T19:25:47.309" v="49258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34B1A95F-EFD8-4A1E-A46D-E288C53C0C68}" dt="2023-12-07T19:25:47.309" v="49259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34B1A95F-EFD8-4A1E-A46D-E288C53C0C68}" dt="2023-12-07T19:25:47.309" v="49262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34B1A95F-EFD8-4A1E-A46D-E288C53C0C68}" dt="2023-12-07T19:25:47.309" v="49263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34B1A95F-EFD8-4A1E-A46D-E288C53C0C68}" dt="2023-12-07T19:25:47.309" v="49265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34B1A95F-EFD8-4A1E-A46D-E288C53C0C68}" dt="2023-12-07T19:25:47.309" v="49266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34B1A95F-EFD8-4A1E-A46D-E288C53C0C68}" dt="2023-12-07T19:25:47.309" v="49267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34B1A95F-EFD8-4A1E-A46D-E288C53C0C68}" dt="2023-12-07T19:25:47.309" v="49268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34B1A95F-EFD8-4A1E-A46D-E288C53C0C68}" dt="2023-12-07T19:25:47.309" v="49269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34B1A95F-EFD8-4A1E-A46D-E288C53C0C68}" dt="2023-12-07T19:25:47.309" v="49271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34B1A95F-EFD8-4A1E-A46D-E288C53C0C68}" dt="2023-12-07T19:25:47.309" v="49274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34B1A95F-EFD8-4A1E-A46D-E288C53C0C68}" dt="2023-12-07T19:25:47.309" v="49276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34B1A95F-EFD8-4A1E-A46D-E288C53C0C68}" dt="2023-12-07T19:25:47.309" v="49275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34B1A95F-EFD8-4A1E-A46D-E288C53C0C68}" dt="2023-12-07T19:25:47.309" v="49279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34B1A95F-EFD8-4A1E-A46D-E288C53C0C68}" dt="2023-12-07T19:25:47.309" v="49280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34B1A95F-EFD8-4A1E-A46D-E288C53C0C68}" dt="2023-12-07T19:25:47.309" v="49278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34B1A95F-EFD8-4A1E-A46D-E288C53C0C68}" dt="2023-12-07T19:25:47.309" v="49282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34B1A95F-EFD8-4A1E-A46D-E288C53C0C68}" dt="2023-12-07T19:25:47.309" v="49286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34B1A95F-EFD8-4A1E-A46D-E288C53C0C68}" dt="2023-12-07T19:25:47.309" v="49295"/>
          <ac:spMkLst>
            <pc:docMk/>
            <pc:sldMk cId="3635637425" sldId="292"/>
            <ac:spMk id="33" creationId="{FC0BC779-DB08-9C64-2173-284503839894}"/>
          </ac:spMkLst>
        </pc:spChg>
        <pc:spChg chg="add del mod modVis">
          <ac:chgData name="Joelle Brehm" userId="a518f54c-6985-42c0-8041-2bb16a414839" providerId="ADAL" clId="{34B1A95F-EFD8-4A1E-A46D-E288C53C0C68}" dt="2023-12-07T19:25:32.762" v="48375"/>
          <ac:spMkLst>
            <pc:docMk/>
            <pc:sldMk cId="3635637425" sldId="292"/>
            <ac:spMk id="34" creationId="{64B5C8FD-C4EF-122A-905A-0C7A3FB2A64D}"/>
          </ac:spMkLst>
        </pc:spChg>
        <pc:spChg chg="mod">
          <ac:chgData name="Joelle Brehm" userId="a518f54c-6985-42c0-8041-2bb16a414839" providerId="ADAL" clId="{34B1A95F-EFD8-4A1E-A46D-E288C53C0C68}" dt="2023-12-07T19:25:47.309" v="49287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34B1A95F-EFD8-4A1E-A46D-E288C53C0C68}" dt="2023-12-07T19:25:47.309" v="49273"/>
          <ac:spMkLst>
            <pc:docMk/>
            <pc:sldMk cId="3635637425" sldId="292"/>
            <ac:spMk id="37" creationId="{6E6D97FF-E2E0-42EA-A83A-C3DF9F3514AE}"/>
          </ac:spMkLst>
        </pc:spChg>
        <pc:spChg chg="del mod">
          <ac:chgData name="Joelle Brehm" userId="a518f54c-6985-42c0-8041-2bb16a414839" providerId="ADAL" clId="{34B1A95F-EFD8-4A1E-A46D-E288C53C0C68}" dt="2023-12-07T19:25:43.088" v="49008"/>
          <ac:spMkLst>
            <pc:docMk/>
            <pc:sldMk cId="3635637425" sldId="292"/>
            <ac:spMk id="38" creationId="{3FFCD1FD-A1E7-E0E9-3B0A-272DB96B6E85}"/>
          </ac:spMkLst>
        </pc:spChg>
        <pc:spChg chg="mod">
          <ac:chgData name="Joelle Brehm" userId="a518f54c-6985-42c0-8041-2bb16a414839" providerId="ADAL" clId="{34B1A95F-EFD8-4A1E-A46D-E288C53C0C68}" dt="2023-12-07T19:25:47.309" v="49290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34B1A95F-EFD8-4A1E-A46D-E288C53C0C68}" dt="2023-12-07T19:25:47.309" v="49291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34B1A95F-EFD8-4A1E-A46D-E288C53C0C68}" dt="2023-12-07T19:25:47.309" v="49292"/>
          <ac:spMkLst>
            <pc:docMk/>
            <pc:sldMk cId="3635637425" sldId="292"/>
            <ac:spMk id="41" creationId="{CAD662BE-DA77-C496-2C1F-D8B2218DD0E5}"/>
          </ac:spMkLst>
        </pc:spChg>
        <pc:spChg chg="mod">
          <ac:chgData name="Joelle Brehm" userId="a518f54c-6985-42c0-8041-2bb16a414839" providerId="ADAL" clId="{34B1A95F-EFD8-4A1E-A46D-E288C53C0C68}" dt="2023-12-07T19:25:47.309" v="49285"/>
          <ac:spMkLst>
            <pc:docMk/>
            <pc:sldMk cId="3635637425" sldId="292"/>
            <ac:spMk id="42" creationId="{668AF5D9-4E8D-2E4B-2079-072182484759}"/>
          </ac:spMkLst>
        </pc:spChg>
        <pc:spChg chg="mod">
          <ac:chgData name="Joelle Brehm" userId="a518f54c-6985-42c0-8041-2bb16a414839" providerId="ADAL" clId="{34B1A95F-EFD8-4A1E-A46D-E288C53C0C68}" dt="2023-12-07T19:25:47.309" v="49293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34B1A95F-EFD8-4A1E-A46D-E288C53C0C68}" dt="2023-12-07T19:25:47.309" v="49288"/>
          <ac:spMkLst>
            <pc:docMk/>
            <pc:sldMk cId="3635637425" sldId="292"/>
            <ac:spMk id="44" creationId="{97D91EEA-F173-6276-F6D8-9287A845E3A2}"/>
          </ac:spMkLst>
        </pc:spChg>
        <pc:spChg chg="add mod replST">
          <ac:chgData name="Joelle Brehm" userId="a518f54c-6985-42c0-8041-2bb16a414839" providerId="ADAL" clId="{34B1A95F-EFD8-4A1E-A46D-E288C53C0C68}" dt="2023-12-07T19:25:47.309" v="49296"/>
          <ac:spMkLst>
            <pc:docMk/>
            <pc:sldMk cId="3635637425" sldId="292"/>
            <ac:spMk id="45" creationId="{A417CFF4-2744-C952-9C9F-69606D981D63}"/>
          </ac:spMkLst>
        </pc:spChg>
        <pc:spChg chg="mod">
          <ac:chgData name="Joelle Brehm" userId="a518f54c-6985-42c0-8041-2bb16a414839" providerId="ADAL" clId="{34B1A95F-EFD8-4A1E-A46D-E288C53C0C68}" dt="2023-12-07T19:25:47.309" v="49289"/>
          <ac:spMkLst>
            <pc:docMk/>
            <pc:sldMk cId="3635637425" sldId="292"/>
            <ac:spMk id="46" creationId="{38D3D6F2-A854-D543-7C6D-CB3894DB11AC}"/>
          </ac:spMkLst>
        </pc:spChg>
        <pc:spChg chg="add del mod modVis">
          <ac:chgData name="Joelle Brehm" userId="a518f54c-6985-42c0-8041-2bb16a414839" providerId="ADAL" clId="{34B1A95F-EFD8-4A1E-A46D-E288C53C0C68}" dt="2023-12-07T19:25:38.830" v="48824"/>
          <ac:spMkLst>
            <pc:docMk/>
            <pc:sldMk cId="3635637425" sldId="292"/>
            <ac:spMk id="47" creationId="{2709E0AF-F815-CAD3-7BDF-6C03C2EDB3E6}"/>
          </ac:spMkLst>
        </pc:spChg>
        <pc:spChg chg="add del mod ord replST">
          <ac:chgData name="Joelle Brehm" userId="a518f54c-6985-42c0-8041-2bb16a414839" providerId="ADAL" clId="{34B1A95F-EFD8-4A1E-A46D-E288C53C0C68}" dt="2023-12-07T19:25:47.277" v="49241"/>
          <ac:spMkLst>
            <pc:docMk/>
            <pc:sldMk cId="3635637425" sldId="292"/>
            <ac:spMk id="48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25:47.309" v="49294"/>
          <ac:spMkLst>
            <pc:docMk/>
            <pc:sldMk cId="3635637425" sldId="292"/>
            <ac:spMk id="49" creationId="{C2AC46DF-8DB5-4BF7-F270-6657C4B8CE44}"/>
          </ac:spMkLst>
        </pc:spChg>
        <pc:spChg chg="add del mod modVis">
          <ac:chgData name="Joelle Brehm" userId="a518f54c-6985-42c0-8041-2bb16a414839" providerId="ADAL" clId="{34B1A95F-EFD8-4A1E-A46D-E288C53C0C68}" dt="2023-12-07T19:25:41.104" v="49003"/>
          <ac:spMkLst>
            <pc:docMk/>
            <pc:sldMk cId="3635637425" sldId="292"/>
            <ac:spMk id="51" creationId="{EC1C6377-A322-E942-E651-EAB27EA3E614}"/>
          </ac:spMkLst>
        </pc:spChg>
        <pc:spChg chg="add del mod modVis">
          <ac:chgData name="Joelle Brehm" userId="a518f54c-6985-42c0-8041-2bb16a414839" providerId="ADAL" clId="{34B1A95F-EFD8-4A1E-A46D-E288C53C0C68}" dt="2023-12-07T19:25:43.232" v="49188"/>
          <ac:spMkLst>
            <pc:docMk/>
            <pc:sldMk cId="3635637425" sldId="292"/>
            <ac:spMk id="53" creationId="{E4235DAE-7D06-5046-A641-ACBFC8E5FEDB}"/>
          </ac:spMkLst>
        </pc:spChg>
        <pc:spChg chg="add del mod modVis">
          <ac:chgData name="Joelle Brehm" userId="a518f54c-6985-42c0-8041-2bb16a414839" providerId="ADAL" clId="{34B1A95F-EFD8-4A1E-A46D-E288C53C0C68}" dt="2023-12-07T19:25:47.325" v="49325"/>
          <ac:spMkLst>
            <pc:docMk/>
            <pc:sldMk cId="3635637425" sldId="292"/>
            <ac:spMk id="55" creationId="{03A9ACC4-A44E-278D-62AC-1AD082E4A41A}"/>
          </ac:spMkLst>
        </pc:spChg>
        <pc:spChg chg="mod ord">
          <ac:chgData name="Joelle Brehm" userId="a518f54c-6985-42c0-8041-2bb16a414839" providerId="ADAL" clId="{34B1A95F-EFD8-4A1E-A46D-E288C53C0C68}" dt="2023-12-07T19:25:47.325" v="49319"/>
          <ac:spMkLst>
            <pc:docMk/>
            <pc:sldMk cId="3635637425" sldId="292"/>
            <ac:spMk id="60" creationId="{8AFF754E-1785-41DB-892C-A30765DCA565}"/>
          </ac:spMkLst>
        </pc:spChg>
        <pc:spChg chg="mod">
          <ac:chgData name="Joelle Brehm" userId="a518f54c-6985-42c0-8041-2bb16a414839" providerId="ADAL" clId="{34B1A95F-EFD8-4A1E-A46D-E288C53C0C68}" dt="2023-12-07T19:25:47.309" v="49277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34B1A95F-EFD8-4A1E-A46D-E288C53C0C68}" dt="2023-12-07T19:25:47.309" v="49298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34B1A95F-EFD8-4A1E-A46D-E288C53C0C68}" dt="2023-12-07T19:25:47.309" v="49300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34B1A95F-EFD8-4A1E-A46D-E288C53C0C68}" dt="2023-12-07T19:25:47.309" v="49302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34B1A95F-EFD8-4A1E-A46D-E288C53C0C68}" dt="2023-12-07T19:25:47.325" v="49304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34B1A95F-EFD8-4A1E-A46D-E288C53C0C68}" dt="2023-12-07T19:25:47.325" v="49306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34B1A95F-EFD8-4A1E-A46D-E288C53C0C68}" dt="2023-12-07T19:25:47.325" v="49308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34B1A95F-EFD8-4A1E-A46D-E288C53C0C68}" dt="2023-12-07T19:25:47.325" v="49311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25:47.325" v="49312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25:47.325" v="49313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7T19:25:47.325" v="49314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34B1A95F-EFD8-4A1E-A46D-E288C53C0C68}" dt="2023-12-07T19:25:47.325" v="49315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4B1A95F-EFD8-4A1E-A46D-E288C53C0C68}" dt="2023-12-07T19:25:47.341" v="49327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5:47.309" v="49257"/>
          <ac:graphicFrameMkLst>
            <pc:docMk/>
            <pc:sldMk cId="3635637425" sldId="292"/>
            <ac:graphicFrameMk id="8" creationId="{40A4E745-2D66-043F-07C4-9494FD0A7F01}"/>
          </ac:graphicFrameMkLst>
        </pc:graphicFrameChg>
        <pc:graphicFrameChg chg="del">
          <ac:chgData name="Joelle Brehm" userId="a518f54c-6985-42c0-8041-2bb16a414839" providerId="ADAL" clId="{34B1A95F-EFD8-4A1E-A46D-E288C53C0C68}" dt="2023-12-07T19:24:55.930" v="48007"/>
          <ac:graphicFrameMkLst>
            <pc:docMk/>
            <pc:sldMk cId="3635637425" sldId="292"/>
            <ac:graphicFrameMk id="9" creationId="{69BF27C2-E057-6C5E-DBE5-47659BC30180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5:47.325" v="49310"/>
          <ac:graphicFrameMkLst>
            <pc:docMk/>
            <pc:sldMk cId="3635637425" sldId="292"/>
            <ac:graphicFrameMk id="35" creationId="{682B0D15-02BA-FFAC-33FE-C52B9853C883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5:41.018" v="48903"/>
          <ac:graphicFrameMkLst>
            <pc:docMk/>
            <pc:sldMk cId="3635637425" sldId="292"/>
            <ac:graphicFrameMk id="50" creationId="{B90EC4D6-1A7E-BB9E-921F-DED024F12DDE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5:43.170" v="49104"/>
          <ac:graphicFrameMkLst>
            <pc:docMk/>
            <pc:sldMk cId="3635637425" sldId="292"/>
            <ac:graphicFrameMk id="52" creationId="{C7EEB876-45FD-A2AF-FDE3-CB769FF4DF8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7T19:25:47.277" v="49243"/>
          <ac:graphicFrameMkLst>
            <pc:docMk/>
            <pc:sldMk cId="3635637425" sldId="292"/>
            <ac:graphicFrameMk id="54" creationId="{DD2D6EF6-EF8B-62FD-EA88-E67312279BE7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25:38.783" v="48724"/>
          <ac:graphicFrameMkLst>
            <pc:docMk/>
            <pc:sldMk cId="3635637425" sldId="292"/>
            <ac:graphicFrameMk id="57" creationId="{C87A651D-54D0-6350-6290-D22BEC85FD0D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7T19:25:47.309" v="49284"/>
          <ac:graphicFrameMkLst>
            <pc:docMk/>
            <pc:sldMk cId="3635637425" sldId="292"/>
            <ac:graphicFrameMk id="58" creationId="{481612D7-B321-1987-5706-B8261DB9670D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7T19:25:32.714" v="48291"/>
          <ac:graphicFrameMkLst>
            <pc:docMk/>
            <pc:sldMk cId="3635637425" sldId="292"/>
            <ac:graphicFrameMk id="59" creationId="{19778822-6C42-07B3-C9C4-99FC7883F70A}"/>
          </ac:graphicFrameMkLst>
        </pc:graphicFrameChg>
        <pc:picChg chg="add mod ord">
          <ac:chgData name="Joelle Brehm" userId="a518f54c-6985-42c0-8041-2bb16a414839" providerId="ADAL" clId="{34B1A95F-EFD8-4A1E-A46D-E288C53C0C68}" dt="2023-12-07T19:25:47.309" v="49251"/>
          <ac:picMkLst>
            <pc:docMk/>
            <pc:sldMk cId="3635637425" sldId="292"/>
            <ac:picMk id="10" creationId="{AAFE9FE2-CA14-A4D7-9B9F-073706010008}"/>
          </ac:picMkLst>
        </pc:picChg>
        <pc:picChg chg="del mod ord">
          <ac:chgData name="Joelle Brehm" userId="a518f54c-6985-42c0-8041-2bb16a414839" providerId="ADAL" clId="{34B1A95F-EFD8-4A1E-A46D-E288C53C0C68}" dt="2023-12-07T19:25:16.537" v="48200" actId="478"/>
          <ac:picMkLst>
            <pc:docMk/>
            <pc:sldMk cId="3635637425" sldId="292"/>
            <ac:picMk id="31" creationId="{AD74F44D-F4FF-E61D-0D20-783FC9629AAF}"/>
          </ac:picMkLst>
        </pc:picChg>
        <pc:picChg chg="mod ord">
          <ac:chgData name="Joelle Brehm" userId="a518f54c-6985-42c0-8041-2bb16a414839" providerId="ADAL" clId="{34B1A95F-EFD8-4A1E-A46D-E288C53C0C68}" dt="2023-12-07T19:25:47.325" v="49317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4B1A95F-EFD8-4A1E-A46D-E288C53C0C68}" dt="2023-12-07T19:25:47.309" v="49255"/>
          <ac:cxnSpMkLst>
            <pc:docMk/>
            <pc:sldMk cId="3635637425" sldId="292"/>
            <ac:cxnSpMk id="7" creationId="{81C3ADD2-FBA2-4990-9325-1C3084F656B8}"/>
          </ac:cxnSpMkLst>
        </pc:cxnChg>
        <pc:cxnChg chg="del mod ord">
          <ac:chgData name="Joelle Brehm" userId="a518f54c-6985-42c0-8041-2bb16a414839" providerId="ADAL" clId="{34B1A95F-EFD8-4A1E-A46D-E288C53C0C68}" dt="2023-12-07T19:25:43.088" v="49007"/>
          <ac:cxnSpMkLst>
            <pc:docMk/>
            <pc:sldMk cId="3635637425" sldId="292"/>
            <ac:cxnSpMk id="56" creationId="{625E8CB2-F185-4EF6-DD0E-476BF068A63B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6T18:12:24.869" v="737" actId="478"/>
        <pc:sldMkLst>
          <pc:docMk/>
          <pc:sldMk cId="4143996880" sldId="293"/>
        </pc:sldMkLst>
        <pc:spChg chg="mod ord">
          <ac:chgData name="Joelle Brehm" userId="a518f54c-6985-42c0-8041-2bb16a414839" providerId="ADAL" clId="{34B1A95F-EFD8-4A1E-A46D-E288C53C0C68}" dt="2023-12-06T18:12:23.237" v="730"/>
          <ac:spMkLst>
            <pc:docMk/>
            <pc:sldMk cId="4143996880" sldId="293"/>
            <ac:spMk id="2" creationId="{01E014B2-1FBF-48C6-9093-6CFE20AFFCCE}"/>
          </ac:spMkLst>
        </pc:spChg>
        <pc:spChg chg="add del mod ord">
          <ac:chgData name="Joelle Brehm" userId="a518f54c-6985-42c0-8041-2bb16a414839" providerId="ADAL" clId="{34B1A95F-EFD8-4A1E-A46D-E288C53C0C68}" dt="2023-12-06T18:12:04.791" v="690" actId="478"/>
          <ac:spMkLst>
            <pc:docMk/>
            <pc:sldMk cId="4143996880" sldId="293"/>
            <ac:spMk id="3" creationId="{BE4676C1-55A6-C40F-5C15-F215C1C4B084}"/>
          </ac:spMkLst>
        </pc:spChg>
        <pc:spChg chg="mod ord">
          <ac:chgData name="Joelle Brehm" userId="a518f54c-6985-42c0-8041-2bb16a414839" providerId="ADAL" clId="{34B1A95F-EFD8-4A1E-A46D-E288C53C0C68}" dt="2023-12-06T18:12:23.228" v="705"/>
          <ac:spMkLst>
            <pc:docMk/>
            <pc:sldMk cId="4143996880" sldId="29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34B1A95F-EFD8-4A1E-A46D-E288C53C0C68}" dt="2023-12-06T18:01:10.961" v="641"/>
          <ac:spMkLst>
            <pc:docMk/>
            <pc:sldMk cId="4143996880" sldId="293"/>
            <ac:spMk id="6" creationId="{418D8D9F-1AA6-7141-DD1F-91A18D91B347}"/>
          </ac:spMkLst>
        </pc:spChg>
        <pc:spChg chg="mod">
          <ac:chgData name="Joelle Brehm" userId="a518f54c-6985-42c0-8041-2bb16a414839" providerId="ADAL" clId="{34B1A95F-EFD8-4A1E-A46D-E288C53C0C68}" dt="2023-12-06T18:12:23.231" v="714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34B1A95F-EFD8-4A1E-A46D-E288C53C0C68}" dt="2023-12-06T18:12:23.230" v="710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34B1A95F-EFD8-4A1E-A46D-E288C53C0C68}" dt="2023-12-06T18:12:23.229" v="708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34B1A95F-EFD8-4A1E-A46D-E288C53C0C68}" dt="2023-12-06T18:12:23.230" v="709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34B1A95F-EFD8-4A1E-A46D-E288C53C0C68}" dt="2023-12-06T18:12:23.230" v="711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34B1A95F-EFD8-4A1E-A46D-E288C53C0C68}" dt="2023-12-06T18:12:23.232" v="717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34B1A95F-EFD8-4A1E-A46D-E288C53C0C68}" dt="2023-12-06T18:12:23.231" v="712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34B1A95F-EFD8-4A1E-A46D-E288C53C0C68}" dt="2023-12-06T18:12:23.232" v="715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34B1A95F-EFD8-4A1E-A46D-E288C53C0C68}" dt="2023-12-06T18:12:23.231" v="713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34B1A95F-EFD8-4A1E-A46D-E288C53C0C68}" dt="2023-12-06T18:12:23.232" v="716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34B1A95F-EFD8-4A1E-A46D-E288C53C0C68}" dt="2023-12-06T18:12:23.233" v="718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34B1A95F-EFD8-4A1E-A46D-E288C53C0C68}" dt="2023-12-06T18:12:23.233" v="719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34B1A95F-EFD8-4A1E-A46D-E288C53C0C68}" dt="2023-12-06T18:12:23.234" v="721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34B1A95F-EFD8-4A1E-A46D-E288C53C0C68}" dt="2023-12-06T18:12:23.234" v="723"/>
          <ac:spMkLst>
            <pc:docMk/>
            <pc:sldMk cId="4143996880" sldId="293"/>
            <ac:spMk id="21" creationId="{B5AE4010-508F-4A3F-85C7-752A1F15F54F}"/>
          </ac:spMkLst>
        </pc:spChg>
        <pc:spChg chg="mod ord">
          <ac:chgData name="Joelle Brehm" userId="a518f54c-6985-42c0-8041-2bb16a414839" providerId="ADAL" clId="{34B1A95F-EFD8-4A1E-A46D-E288C53C0C68}" dt="2023-12-06T18:12:23.237" v="732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34B1A95F-EFD8-4A1E-A46D-E288C53C0C68}" dt="2023-12-06T18:12:23.235" v="725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34B1A95F-EFD8-4A1E-A46D-E288C53C0C68}" dt="2023-12-06T18:12:23.236" v="727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34B1A95F-EFD8-4A1E-A46D-E288C53C0C68}" dt="2023-12-06T18:12:23.251" v="736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18:12:23.229" v="707"/>
          <ac:graphicFrameMkLst>
            <pc:docMk/>
            <pc:sldMk cId="4143996880" sldId="293"/>
            <ac:graphicFrameMk id="7" creationId="{543B1B53-92E8-211A-9C42-981A345C0D70}"/>
          </ac:graphicFrameMkLst>
        </pc:graphicFrameChg>
        <pc:graphicFrameChg chg="del">
          <ac:chgData name="Joelle Brehm" userId="a518f54c-6985-42c0-8041-2bb16a414839" providerId="ADAL" clId="{34B1A95F-EFD8-4A1E-A46D-E288C53C0C68}" dt="2023-12-06T18:01:10.907" v="596"/>
          <ac:graphicFrameMkLst>
            <pc:docMk/>
            <pc:sldMk cId="4143996880" sldId="293"/>
            <ac:graphicFrameMk id="25" creationId="{7249B423-D810-5A8C-F07B-C9DEA7C0B34C}"/>
          </ac:graphicFrameMkLst>
        </pc:graphicFrameChg>
        <pc:picChg chg="add mod ord">
          <ac:chgData name="Joelle Brehm" userId="a518f54c-6985-42c0-8041-2bb16a414839" providerId="ADAL" clId="{34B1A95F-EFD8-4A1E-A46D-E288C53C0C68}" dt="2023-12-06T18:12:23.227" v="701"/>
          <ac:picMkLst>
            <pc:docMk/>
            <pc:sldMk cId="4143996880" sldId="293"/>
            <ac:picMk id="6" creationId="{7EA1FD54-6B8F-C9B4-47E7-3FA36B90C6D7}"/>
          </ac:picMkLst>
        </pc:picChg>
        <pc:picChg chg="del mod ord">
          <ac:chgData name="Joelle Brehm" userId="a518f54c-6985-42c0-8041-2bb16a414839" providerId="ADAL" clId="{34B1A95F-EFD8-4A1E-A46D-E288C53C0C68}" dt="2023-12-06T18:12:24.869" v="737" actId="478"/>
          <ac:picMkLst>
            <pc:docMk/>
            <pc:sldMk cId="4143996880" sldId="293"/>
            <ac:picMk id="22" creationId="{014A4CD5-105F-84FA-E247-839AFB415315}"/>
          </ac:picMkLst>
        </pc:picChg>
        <pc:picChg chg="add mod ord">
          <ac:chgData name="Joelle Brehm" userId="a518f54c-6985-42c0-8041-2bb16a414839" providerId="ADAL" clId="{34B1A95F-EFD8-4A1E-A46D-E288C53C0C68}" dt="2023-12-06T18:12:23.226" v="699"/>
          <ac:picMkLst>
            <pc:docMk/>
            <pc:sldMk cId="4143996880" sldId="293"/>
            <ac:picMk id="23" creationId="{7652234F-03E4-21DB-FD21-9CBC72310A23}"/>
          </ac:picMkLst>
        </pc:picChg>
        <pc:picChg chg="add del">
          <ac:chgData name="Joelle Brehm" userId="a518f54c-6985-42c0-8041-2bb16a414839" providerId="ADAL" clId="{34B1A95F-EFD8-4A1E-A46D-E288C53C0C68}" dt="2023-12-06T18:04:57.572" v="645" actId="478"/>
          <ac:picMkLst>
            <pc:docMk/>
            <pc:sldMk cId="4143996880" sldId="293"/>
            <ac:picMk id="23" creationId="{A867C348-CF0D-45D3-0054-939B02C566E1}"/>
          </ac:picMkLst>
        </pc:picChg>
        <pc:picChg chg="del mod ord">
          <ac:chgData name="Joelle Brehm" userId="a518f54c-6985-42c0-8041-2bb16a414839" providerId="ADAL" clId="{34B1A95F-EFD8-4A1E-A46D-E288C53C0C68}" dt="2023-12-06T18:12:01.915" v="689" actId="478"/>
          <ac:picMkLst>
            <pc:docMk/>
            <pc:sldMk cId="4143996880" sldId="293"/>
            <ac:picMk id="26" creationId="{B999B45F-DF76-3CCC-73E5-A0E9F6302D4B}"/>
          </ac:picMkLst>
        </pc:picChg>
        <pc:picChg chg="mod">
          <ac:chgData name="Joelle Brehm" userId="a518f54c-6985-42c0-8041-2bb16a414839" providerId="ADAL" clId="{34B1A95F-EFD8-4A1E-A46D-E288C53C0C68}" dt="2023-12-06T18:12:23.236" v="728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34B1A95F-EFD8-4A1E-A46D-E288C53C0C68}" dt="2023-12-06T20:13:32.070" v="6733" actId="478"/>
        <pc:sldMkLst>
          <pc:docMk/>
          <pc:sldMk cId="77660323" sldId="295"/>
        </pc:sldMkLst>
        <pc:spChg chg="add del mod ord">
          <ac:chgData name="Joelle Brehm" userId="a518f54c-6985-42c0-8041-2bb16a414839" providerId="ADAL" clId="{34B1A95F-EFD8-4A1E-A46D-E288C53C0C68}" dt="2023-12-06T20:12:43.280" v="6595" actId="478"/>
          <ac:spMkLst>
            <pc:docMk/>
            <pc:sldMk cId="77660323" sldId="295"/>
            <ac:spMk id="2" creationId="{1D413C40-9932-1A1F-0D26-118B016EF774}"/>
          </ac:spMkLst>
        </pc:spChg>
        <pc:spChg chg="mod ord">
          <ac:chgData name="Joelle Brehm" userId="a518f54c-6985-42c0-8041-2bb16a414839" providerId="ADAL" clId="{34B1A95F-EFD8-4A1E-A46D-E288C53C0C68}" dt="2023-12-06T20:13:30.331" v="6616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34B1A95F-EFD8-4A1E-A46D-E288C53C0C68}" dt="2023-12-06T20:13:30.353" v="6641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34B1A95F-EFD8-4A1E-A46D-E288C53C0C68}" dt="2023-12-06T20:13:30.354" v="6642"/>
          <ac:spMkLst>
            <pc:docMk/>
            <pc:sldMk cId="77660323" sldId="295"/>
            <ac:spMk id="7" creationId="{AC248985-01B4-CD8C-E025-DF4D35603919}"/>
          </ac:spMkLst>
        </pc:spChg>
        <pc:spChg chg="mod">
          <ac:chgData name="Joelle Brehm" userId="a518f54c-6985-42c0-8041-2bb16a414839" providerId="ADAL" clId="{34B1A95F-EFD8-4A1E-A46D-E288C53C0C68}" dt="2023-12-06T20:13:30.357" v="6646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34B1A95F-EFD8-4A1E-A46D-E288C53C0C68}" dt="2023-12-06T20:13:30.356" v="6645"/>
          <ac:spMkLst>
            <pc:docMk/>
            <pc:sldMk cId="77660323" sldId="295"/>
            <ac:spMk id="9" creationId="{5B920F75-31B6-8B4B-7E2C-665E8C04F047}"/>
          </ac:spMkLst>
        </pc:spChg>
        <pc:spChg chg="mod">
          <ac:chgData name="Joelle Brehm" userId="a518f54c-6985-42c0-8041-2bb16a414839" providerId="ADAL" clId="{34B1A95F-EFD8-4A1E-A46D-E288C53C0C68}" dt="2023-12-06T20:13:30.358" v="6647"/>
          <ac:spMkLst>
            <pc:docMk/>
            <pc:sldMk cId="77660323" sldId="295"/>
            <ac:spMk id="10" creationId="{99AAF5F5-7487-DDF7-D317-1B4F799ACEB6}"/>
          </ac:spMkLst>
        </pc:spChg>
        <pc:spChg chg="mod">
          <ac:chgData name="Joelle Brehm" userId="a518f54c-6985-42c0-8041-2bb16a414839" providerId="ADAL" clId="{34B1A95F-EFD8-4A1E-A46D-E288C53C0C68}" dt="2023-12-06T20:13:30.355" v="6644"/>
          <ac:spMkLst>
            <pc:docMk/>
            <pc:sldMk cId="77660323" sldId="295"/>
            <ac:spMk id="11" creationId="{4D142ECA-E2D8-9285-6C24-1D82A2038821}"/>
          </ac:spMkLst>
        </pc:spChg>
        <pc:spChg chg="add mod replST">
          <ac:chgData name="Joelle Brehm" userId="a518f54c-6985-42c0-8041-2bb16a414839" providerId="ADAL" clId="{34B1A95F-EFD8-4A1E-A46D-E288C53C0C68}" dt="2023-12-06T20:13:30.359" v="6648"/>
          <ac:spMkLst>
            <pc:docMk/>
            <pc:sldMk cId="77660323" sldId="295"/>
            <ac:spMk id="12" creationId="{9794817C-34B2-68B8-0BC6-DDDED5C00595}"/>
          </ac:spMkLst>
        </pc:spChg>
        <pc:spChg chg="add del mod modVis">
          <ac:chgData name="Joelle Brehm" userId="a518f54c-6985-42c0-8041-2bb16a414839" providerId="ADAL" clId="{34B1A95F-EFD8-4A1E-A46D-E288C53C0C68}" dt="2023-12-06T20:04:25.950" v="1646"/>
          <ac:spMkLst>
            <pc:docMk/>
            <pc:sldMk cId="77660323" sldId="295"/>
            <ac:spMk id="13" creationId="{1B49A568-CE13-77DB-5EC0-F76EDE0E8F1B}"/>
          </ac:spMkLst>
        </pc:spChg>
        <pc:spChg chg="mod">
          <ac:chgData name="Joelle Brehm" userId="a518f54c-6985-42c0-8041-2bb16a414839" providerId="ADAL" clId="{34B1A95F-EFD8-4A1E-A46D-E288C53C0C68}" dt="2023-12-06T20:13:30.388" v="6681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34B1A95F-EFD8-4A1E-A46D-E288C53C0C68}" dt="2023-12-06T20:13:30.390" v="6682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34B1A95F-EFD8-4A1E-A46D-E288C53C0C68}" dt="2023-12-06T20:13:30.355" v="6643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34B1A95F-EFD8-4A1E-A46D-E288C53C0C68}" dt="2023-12-06T20:04:27.891" v="1915"/>
          <ac:spMkLst>
            <pc:docMk/>
            <pc:sldMk cId="77660323" sldId="295"/>
            <ac:spMk id="18" creationId="{87A27432-D199-772D-84BB-A0AB7ACA08DC}"/>
          </ac:spMkLst>
        </pc:spChg>
        <pc:spChg chg="add del mod modVis">
          <ac:chgData name="Joelle Brehm" userId="a518f54c-6985-42c0-8041-2bb16a414839" providerId="ADAL" clId="{34B1A95F-EFD8-4A1E-A46D-E288C53C0C68}" dt="2023-12-06T20:04:34.918" v="2158"/>
          <ac:spMkLst>
            <pc:docMk/>
            <pc:sldMk cId="77660323" sldId="295"/>
            <ac:spMk id="20" creationId="{97B55BE0-6E30-2F15-A14A-83C43DC0998F}"/>
          </ac:spMkLst>
        </pc:spChg>
        <pc:spChg chg="mod">
          <ac:chgData name="Joelle Brehm" userId="a518f54c-6985-42c0-8041-2bb16a414839" providerId="ADAL" clId="{34B1A95F-EFD8-4A1E-A46D-E288C53C0C68}" dt="2023-12-06T20:13:30.344" v="6630"/>
          <ac:spMkLst>
            <pc:docMk/>
            <pc:sldMk cId="77660323" sldId="295"/>
            <ac:spMk id="22" creationId="{7CAA3B95-4C78-4122-BECA-B5FB0F3F3764}"/>
          </ac:spMkLst>
        </pc:spChg>
        <pc:spChg chg="add del mod replST">
          <ac:chgData name="Joelle Brehm" userId="a518f54c-6985-42c0-8041-2bb16a414839" providerId="ADAL" clId="{34B1A95F-EFD8-4A1E-A46D-E288C53C0C68}" dt="2023-12-06T20:04:39.818" v="2456"/>
          <ac:spMkLst>
            <pc:docMk/>
            <pc:sldMk cId="77660323" sldId="295"/>
            <ac:spMk id="23" creationId="{B34C3403-7423-EACB-F534-5F5C9F3BFF93}"/>
          </ac:spMkLst>
        </pc:spChg>
        <pc:spChg chg="mod">
          <ac:chgData name="Joelle Brehm" userId="a518f54c-6985-42c0-8041-2bb16a414839" providerId="ADAL" clId="{34B1A95F-EFD8-4A1E-A46D-E288C53C0C68}" dt="2023-12-06T20:13:30.346" v="6632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413" v="6712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34B1A95F-EFD8-4A1E-A46D-E288C53C0C68}" dt="2023-12-06T20:13:30.391" v="6683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34B1A95F-EFD8-4A1E-A46D-E288C53C0C68}" dt="2023-12-06T20:13:30.348" v="6634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49" v="6636"/>
          <ac:spMkLst>
            <pc:docMk/>
            <pc:sldMk cId="77660323" sldId="295"/>
            <ac:spMk id="28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94" v="6686"/>
          <ac:spMkLst>
            <pc:docMk/>
            <pc:sldMk cId="77660323" sldId="295"/>
            <ac:spMk id="29" creationId="{C91EE372-B381-84BD-F7CD-1CD5DBB058DB}"/>
          </ac:spMkLst>
        </pc:spChg>
        <pc:spChg chg="mod">
          <ac:chgData name="Joelle Brehm" userId="a518f54c-6985-42c0-8041-2bb16a414839" providerId="ADAL" clId="{34B1A95F-EFD8-4A1E-A46D-E288C53C0C68}" dt="2023-12-06T20:13:30.392" v="6684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34B1A95F-EFD8-4A1E-A46D-E288C53C0C68}" dt="2023-12-06T20:13:30.372" v="6665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93" v="6685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34B1A95F-EFD8-4A1E-A46D-E288C53C0C68}" dt="2023-12-06T20:13:30.372" v="6666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0:04:37.671" v="2453"/>
          <ac:spMkLst>
            <pc:docMk/>
            <pc:sldMk cId="77660323" sldId="295"/>
            <ac:spMk id="34" creationId="{5A929D33-C424-74DB-C8A7-DCF181A20477}"/>
          </ac:spMkLst>
        </pc:spChg>
        <pc:spChg chg="add del mod modVis">
          <ac:chgData name="Joelle Brehm" userId="a518f54c-6985-42c0-8041-2bb16a414839" providerId="ADAL" clId="{34B1A95F-EFD8-4A1E-A46D-E288C53C0C68}" dt="2023-12-06T20:04:40.432" v="2722"/>
          <ac:spMkLst>
            <pc:docMk/>
            <pc:sldMk cId="77660323" sldId="295"/>
            <ac:spMk id="36" creationId="{15F5F629-84A5-D694-3740-942626AA917C}"/>
          </ac:spMkLst>
        </pc:spChg>
        <pc:spChg chg="add mod replST">
          <ac:chgData name="Joelle Brehm" userId="a518f54c-6985-42c0-8041-2bb16a414839" providerId="ADAL" clId="{34B1A95F-EFD8-4A1E-A46D-E288C53C0C68}" dt="2023-12-06T20:13:30.397" v="6688"/>
          <ac:spMkLst>
            <pc:docMk/>
            <pc:sldMk cId="77660323" sldId="295"/>
            <ac:spMk id="38" creationId="{47920EAE-D678-78D4-5D32-C1B72A6668A0}"/>
          </ac:spMkLst>
        </pc:spChg>
        <pc:spChg chg="add del mod modVis">
          <ac:chgData name="Joelle Brehm" userId="a518f54c-6985-42c0-8041-2bb16a414839" providerId="ADAL" clId="{34B1A95F-EFD8-4A1E-A46D-E288C53C0C68}" dt="2023-12-06T20:05:04.400" v="3191"/>
          <ac:spMkLst>
            <pc:docMk/>
            <pc:sldMk cId="77660323" sldId="295"/>
            <ac:spMk id="39" creationId="{A225941E-CDD8-B4A5-2EDA-A8E2F0FAD67F}"/>
          </ac:spMkLst>
        </pc:spChg>
        <pc:spChg chg="mod">
          <ac:chgData name="Joelle Brehm" userId="a518f54c-6985-42c0-8041-2bb16a414839" providerId="ADAL" clId="{34B1A95F-EFD8-4A1E-A46D-E288C53C0C68}" dt="2023-12-06T20:13:30.373" v="6667"/>
          <ac:spMkLst>
            <pc:docMk/>
            <pc:sldMk cId="77660323" sldId="295"/>
            <ac:spMk id="42" creationId="{A32B7D8C-DAE5-D336-7D31-9ECFB1F6E20C}"/>
          </ac:spMkLst>
        </pc:spChg>
        <pc:spChg chg="mod">
          <ac:chgData name="Joelle Brehm" userId="a518f54c-6985-42c0-8041-2bb16a414839" providerId="ADAL" clId="{34B1A95F-EFD8-4A1E-A46D-E288C53C0C68}" dt="2023-12-06T20:13:30.416" v="6715"/>
          <ac:spMkLst>
            <pc:docMk/>
            <pc:sldMk cId="77660323" sldId="295"/>
            <ac:spMk id="43" creationId="{CB71E880-BE37-7B61-FE93-B2CADB32B81F}"/>
          </ac:spMkLst>
        </pc:spChg>
        <pc:spChg chg="mod">
          <ac:chgData name="Joelle Brehm" userId="a518f54c-6985-42c0-8041-2bb16a414839" providerId="ADAL" clId="{34B1A95F-EFD8-4A1E-A46D-E288C53C0C68}" dt="2023-12-06T20:13:30.395" v="6687"/>
          <ac:spMkLst>
            <pc:docMk/>
            <pc:sldMk cId="77660323" sldId="295"/>
            <ac:spMk id="44" creationId="{DAA4D810-B73F-CB1C-C983-F6E311360F17}"/>
          </ac:spMkLst>
        </pc:spChg>
        <pc:spChg chg="mod">
          <ac:chgData name="Joelle Brehm" userId="a518f54c-6985-42c0-8041-2bb16a414839" providerId="ADAL" clId="{34B1A95F-EFD8-4A1E-A46D-E288C53C0C68}" dt="2023-12-06T20:13:30.414" v="6713"/>
          <ac:spMkLst>
            <pc:docMk/>
            <pc:sldMk cId="77660323" sldId="295"/>
            <ac:spMk id="45" creationId="{7B959589-9B04-0960-03A9-FE10F7C63094}"/>
          </ac:spMkLst>
        </pc:spChg>
        <pc:spChg chg="add del mod modVis">
          <ac:chgData name="Joelle Brehm" userId="a518f54c-6985-42c0-8041-2bb16a414839" providerId="ADAL" clId="{34B1A95F-EFD8-4A1E-A46D-E288C53C0C68}" dt="2023-12-06T20:05:05.857" v="3511"/>
          <ac:spMkLst>
            <pc:docMk/>
            <pc:sldMk cId="77660323" sldId="295"/>
            <ac:spMk id="46" creationId="{786BF442-244C-7121-C76D-08F6218B3EDB}"/>
          </ac:spMkLst>
        </pc:spChg>
        <pc:spChg chg="add mod ord replST">
          <ac:chgData name="Joelle Brehm" userId="a518f54c-6985-42c0-8041-2bb16a414839" providerId="ADAL" clId="{34B1A95F-EFD8-4A1E-A46D-E288C53C0C68}" dt="2023-12-06T20:13:30.398" v="6690"/>
          <ac:spMkLst>
            <pc:docMk/>
            <pc:sldMk cId="77660323" sldId="295"/>
            <ac:spMk id="47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412" v="6711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34B1A95F-EFD8-4A1E-A46D-E288C53C0C68}" dt="2023-12-06T20:13:30.415" v="6714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34B1A95F-EFD8-4A1E-A46D-E288C53C0C68}" dt="2023-12-06T20:05:09.054" v="3752"/>
          <ac:spMkLst>
            <pc:docMk/>
            <pc:sldMk cId="77660323" sldId="295"/>
            <ac:spMk id="52" creationId="{C664EF8B-E798-68C0-B91E-E2B09B57BFFA}"/>
          </ac:spMkLst>
        </pc:spChg>
        <pc:spChg chg="mod">
          <ac:chgData name="Joelle Brehm" userId="a518f54c-6985-42c0-8041-2bb16a414839" providerId="ADAL" clId="{34B1A95F-EFD8-4A1E-A46D-E288C53C0C68}" dt="2023-12-06T20:13:30.416" v="6716"/>
          <ac:spMkLst>
            <pc:docMk/>
            <pc:sldMk cId="77660323" sldId="295"/>
            <ac:spMk id="53" creationId="{5EB6D661-779B-2B02-EA15-90F2D9CEB9D2}"/>
          </ac:spMkLst>
        </pc:spChg>
        <pc:spChg chg="add del mod modVis">
          <ac:chgData name="Joelle Brehm" userId="a518f54c-6985-42c0-8041-2bb16a414839" providerId="ADAL" clId="{34B1A95F-EFD8-4A1E-A46D-E288C53C0C68}" dt="2023-12-06T20:05:09.980" v="3966"/>
          <ac:spMkLst>
            <pc:docMk/>
            <pc:sldMk cId="77660323" sldId="295"/>
            <ac:spMk id="56" creationId="{EA58DE2F-044F-F822-52BA-B73BD58EA969}"/>
          </ac:spMkLst>
        </pc:spChg>
        <pc:spChg chg="add mod replST">
          <ac:chgData name="Joelle Brehm" userId="a518f54c-6985-42c0-8041-2bb16a414839" providerId="ADAL" clId="{34B1A95F-EFD8-4A1E-A46D-E288C53C0C68}" dt="2023-12-06T20:13:30.418" v="6718"/>
          <ac:spMkLst>
            <pc:docMk/>
            <pc:sldMk cId="77660323" sldId="295"/>
            <ac:spMk id="58" creationId="{C3E93442-7ED4-DBAD-677D-97CD63B5E9C5}"/>
          </ac:spMkLst>
        </pc:spChg>
        <pc:spChg chg="add del mod modVis">
          <ac:chgData name="Joelle Brehm" userId="a518f54c-6985-42c0-8041-2bb16a414839" providerId="ADAL" clId="{34B1A95F-EFD8-4A1E-A46D-E288C53C0C68}" dt="2023-12-06T20:06:09.165" v="4446"/>
          <ac:spMkLst>
            <pc:docMk/>
            <pc:sldMk cId="77660323" sldId="295"/>
            <ac:spMk id="59" creationId="{59E13F2D-1861-EA88-F3E0-AD079FDAC85A}"/>
          </ac:spMkLst>
        </pc:spChg>
        <pc:spChg chg="add del mod modVis">
          <ac:chgData name="Joelle Brehm" userId="a518f54c-6985-42c0-8041-2bb16a414839" providerId="ADAL" clId="{34B1A95F-EFD8-4A1E-A46D-E288C53C0C68}" dt="2023-12-06T20:06:11.235" v="4784"/>
          <ac:spMkLst>
            <pc:docMk/>
            <pc:sldMk cId="77660323" sldId="295"/>
            <ac:spMk id="61" creationId="{D9A170B0-10CE-0A7C-57D3-3FB7C724B29C}"/>
          </ac:spMkLst>
        </pc:spChg>
        <pc:spChg chg="add mod ord replST">
          <ac:chgData name="Joelle Brehm" userId="a518f54c-6985-42c0-8041-2bb16a414839" providerId="ADAL" clId="{34B1A95F-EFD8-4A1E-A46D-E288C53C0C68}" dt="2023-12-06T20:13:30.419" v="6720"/>
          <ac:spMkLst>
            <pc:docMk/>
            <pc:sldMk cId="77660323" sldId="295"/>
            <ac:spMk id="62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0:06:10.791" v="4451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410" v="6707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410" v="6708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411" v="6709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412" v="6710"/>
          <ac:spMkLst>
            <pc:docMk/>
            <pc:sldMk cId="77660323" sldId="295"/>
            <ac:spMk id="87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0:13:30.337" v="6622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34B1A95F-EFD8-4A1E-A46D-E288C53C0C68}" dt="2023-12-06T20:13:30.339" v="6624"/>
          <ac:spMkLst>
            <pc:docMk/>
            <pc:sldMk cId="77660323" sldId="295"/>
            <ac:spMk id="97" creationId="{64B2B8D7-E8A8-4757-99A4-69F1EAA48321}"/>
          </ac:spMkLst>
        </pc:spChg>
        <pc:spChg chg="mod">
          <ac:chgData name="Joelle Brehm" userId="a518f54c-6985-42c0-8041-2bb16a414839" providerId="ADAL" clId="{34B1A95F-EFD8-4A1E-A46D-E288C53C0C68}" dt="2023-12-06T20:13:30.343" v="6629"/>
          <ac:spMkLst>
            <pc:docMk/>
            <pc:sldMk cId="77660323" sldId="295"/>
            <ac:spMk id="100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0:04:27.306" v="1649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0:13:30.334" v="6618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34B1A95F-EFD8-4A1E-A46D-E288C53C0C68}" dt="2023-12-06T20:13:30.345" v="6631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50" v="6637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51" v="6638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52" v="6639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52" v="6640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47" v="6633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49" v="6635"/>
          <ac:spMkLst>
            <pc:docMk/>
            <pc:sldMk cId="77660323" sldId="295"/>
            <ac:spMk id="136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0:13:30.340" v="6626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34B1A95F-EFD8-4A1E-A46D-E288C53C0C68}" dt="2023-12-06T20:13:30.377" v="6670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34B1A95F-EFD8-4A1E-A46D-E288C53C0C68}" dt="2023-12-06T20:13:30.403" v="6697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34B1A95F-EFD8-4A1E-A46D-E288C53C0C68}" dt="2023-12-06T20:13:30.404" v="6698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34B1A95F-EFD8-4A1E-A46D-E288C53C0C68}" dt="2023-12-06T20:13:30.425" v="6727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34B1A95F-EFD8-4A1E-A46D-E288C53C0C68}" dt="2023-12-06T20:13:30.425" v="6728"/>
          <ac:spMkLst>
            <pc:docMk/>
            <pc:sldMk cId="77660323" sldId="295"/>
            <ac:spMk id="402" creationId="{54A50511-8137-91F0-6AA8-1D657EEE3E68}"/>
          </ac:spMkLst>
        </pc:spChg>
        <pc:spChg chg="add del mod modVis">
          <ac:chgData name="Joelle Brehm" userId="a518f54c-6985-42c0-8041-2bb16a414839" providerId="ADAL" clId="{34B1A95F-EFD8-4A1E-A46D-E288C53C0C68}" dt="2023-12-06T20:06:15.595" v="5006"/>
          <ac:spMkLst>
            <pc:docMk/>
            <pc:sldMk cId="77660323" sldId="295"/>
            <ac:spMk id="448" creationId="{A3F97843-6F5A-D33E-BD02-476C536A9966}"/>
          </ac:spMkLst>
        </pc:spChg>
        <pc:spChg chg="add del mod modVis">
          <ac:chgData name="Joelle Brehm" userId="a518f54c-6985-42c0-8041-2bb16a414839" providerId="ADAL" clId="{34B1A95F-EFD8-4A1E-A46D-E288C53C0C68}" dt="2023-12-06T20:06:17.445" v="5243"/>
          <ac:spMkLst>
            <pc:docMk/>
            <pc:sldMk cId="77660323" sldId="295"/>
            <ac:spMk id="450" creationId="{8C4C1476-5698-B173-46AF-00754BB53AD0}"/>
          </ac:spMkLst>
        </pc:spChg>
        <pc:spChg chg="add del mod modVis">
          <ac:chgData name="Joelle Brehm" userId="a518f54c-6985-42c0-8041-2bb16a414839" providerId="ADAL" clId="{34B1A95F-EFD8-4A1E-A46D-E288C53C0C68}" dt="2023-12-06T20:06:23.111" v="5514"/>
          <ac:spMkLst>
            <pc:docMk/>
            <pc:sldMk cId="77660323" sldId="295"/>
            <ac:spMk id="453" creationId="{F7D09A44-5DF3-BCCC-C19B-7EA3C2C87C48}"/>
          </ac:spMkLst>
        </pc:spChg>
        <pc:spChg chg="add del mod replST">
          <ac:chgData name="Joelle Brehm" userId="a518f54c-6985-42c0-8041-2bb16a414839" providerId="ADAL" clId="{34B1A95F-EFD8-4A1E-A46D-E288C53C0C68}" dt="2023-12-06T20:06:25.614" v="5578"/>
          <ac:spMkLst>
            <pc:docMk/>
            <pc:sldMk cId="77660323" sldId="295"/>
            <ac:spMk id="454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0:06:25.824" v="5710"/>
          <ac:spMkLst>
            <pc:docMk/>
            <pc:sldMk cId="77660323" sldId="295"/>
            <ac:spMk id="456" creationId="{7C36FECB-BE5C-B44C-4638-7EE6D5D0E9EC}"/>
          </ac:spMkLst>
        </pc:spChg>
        <pc:spChg chg="mod">
          <ac:chgData name="Joelle Brehm" userId="a518f54c-6985-42c0-8041-2bb16a414839" providerId="ADAL" clId="{34B1A95F-EFD8-4A1E-A46D-E288C53C0C68}" dt="2023-12-06T20:13:30.417" v="6717"/>
          <ac:spMkLst>
            <pc:docMk/>
            <pc:sldMk cId="77660323" sldId="295"/>
            <ac:spMk id="458" creationId="{C5443A0C-8372-D652-291B-09D997CCB0D0}"/>
          </ac:spMkLst>
        </pc:spChg>
        <pc:spChg chg="add del mod modVis">
          <ac:chgData name="Joelle Brehm" userId="a518f54c-6985-42c0-8041-2bb16a414839" providerId="ADAL" clId="{34B1A95F-EFD8-4A1E-A46D-E288C53C0C68}" dt="2023-12-06T20:06:27.893" v="5989"/>
          <ac:spMkLst>
            <pc:docMk/>
            <pc:sldMk cId="77660323" sldId="295"/>
            <ac:spMk id="462" creationId="{1CE0B58D-BFE9-C47C-25F7-FC64D55AA885}"/>
          </ac:spMkLst>
        </pc:spChg>
        <pc:spChg chg="add del mod ord replST">
          <ac:chgData name="Joelle Brehm" userId="a518f54c-6985-42c0-8041-2bb16a414839" providerId="ADAL" clId="{34B1A95F-EFD8-4A1E-A46D-E288C53C0C68}" dt="2023-12-06T20:06:35.629" v="6452"/>
          <ac:spMkLst>
            <pc:docMk/>
            <pc:sldMk cId="77660323" sldId="295"/>
            <ac:spMk id="463" creationId="{7CAA3B95-4C78-4122-BECA-B5FB0F3F3764}"/>
          </ac:spMkLst>
        </pc:spChg>
        <pc:spChg chg="del mod ord">
          <ac:chgData name="Joelle Brehm" userId="a518f54c-6985-42c0-8041-2bb16a414839" providerId="ADAL" clId="{34B1A95F-EFD8-4A1E-A46D-E288C53C0C68}" dt="2023-12-06T20:06:10.790" v="4450"/>
          <ac:spMkLst>
            <pc:docMk/>
            <pc:sldMk cId="77660323" sldId="295"/>
            <ac:spMk id="464" creationId="{7CAA3B95-4C78-4122-BECA-B5FB0F3F3764}"/>
          </ac:spMkLst>
        </pc:spChg>
        <pc:spChg chg="add del mod modVis">
          <ac:chgData name="Joelle Brehm" userId="a518f54c-6985-42c0-8041-2bb16a414839" providerId="ADAL" clId="{34B1A95F-EFD8-4A1E-A46D-E288C53C0C68}" dt="2023-12-06T20:06:29.862" v="6186"/>
          <ac:spMkLst>
            <pc:docMk/>
            <pc:sldMk cId="77660323" sldId="295"/>
            <ac:spMk id="466" creationId="{2B08B02B-709C-F468-4566-BB8585D57677}"/>
          </ac:spMkLst>
        </pc:spChg>
        <pc:spChg chg="add del mod modVis">
          <ac:chgData name="Joelle Brehm" userId="a518f54c-6985-42c0-8041-2bb16a414839" providerId="ADAL" clId="{34B1A95F-EFD8-4A1E-A46D-E288C53C0C68}" dt="2023-12-06T20:06:32.254" v="6387"/>
          <ac:spMkLst>
            <pc:docMk/>
            <pc:sldMk cId="77660323" sldId="295"/>
            <ac:spMk id="468" creationId="{EB599A34-9943-83A1-3C66-44F6E457C8E3}"/>
          </ac:spMkLst>
        </pc:spChg>
        <pc:spChg chg="add del mod modVis">
          <ac:chgData name="Joelle Brehm" userId="a518f54c-6985-42c0-8041-2bb16a414839" providerId="ADAL" clId="{34B1A95F-EFD8-4A1E-A46D-E288C53C0C68}" dt="2023-12-06T20:06:35.795" v="6592"/>
          <ac:spMkLst>
            <pc:docMk/>
            <pc:sldMk cId="77660323" sldId="295"/>
            <ac:spMk id="472" creationId="{4C8F70EC-77C6-5A6C-735B-06D1D2B6AC1F}"/>
          </ac:spMkLst>
        </pc:spChg>
        <pc:spChg chg="mod ord">
          <ac:chgData name="Joelle Brehm" userId="a518f54c-6985-42c0-8041-2bb16a414839" providerId="ADAL" clId="{34B1A95F-EFD8-4A1E-A46D-E288C53C0C68}" dt="2023-12-06T20:13:30.368" v="6660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34B1A95F-EFD8-4A1E-A46D-E288C53C0C68}" dt="2023-12-06T20:13:30.367" v="6658"/>
          <ac:spMkLst>
            <pc:docMk/>
            <pc:sldMk cId="77660323" sldId="295"/>
            <ac:spMk id="485" creationId="{0E817BE1-E587-06E4-D9FC-07EC7C45C787}"/>
          </ac:spMkLst>
        </pc:spChg>
        <pc:spChg chg="mod ord">
          <ac:chgData name="Joelle Brehm" userId="a518f54c-6985-42c0-8041-2bb16a414839" providerId="ADAL" clId="{34B1A95F-EFD8-4A1E-A46D-E288C53C0C68}" dt="2023-12-06T20:13:30.369" v="6662"/>
          <ac:spMkLst>
            <pc:docMk/>
            <pc:sldMk cId="77660323" sldId="295"/>
            <ac:spMk id="490" creationId="{9C81118A-E471-58E2-D54E-14C43A3A7D15}"/>
          </ac:spMkLst>
        </pc:spChg>
        <pc:spChg chg="del mod">
          <ac:chgData name="Joelle Brehm" userId="a518f54c-6985-42c0-8041-2bb16a414839" providerId="ADAL" clId="{34B1A95F-EFD8-4A1E-A46D-E288C53C0C68}" dt="2023-12-06T20:05:05.116" v="3194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85" v="6677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85" v="6678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74" v="6668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34B1A95F-EFD8-4A1E-A46D-E288C53C0C68}" dt="2023-12-06T20:13:30.387" v="6679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13:30.387" v="6680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0:13:30.371" v="6664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34B1A95F-EFD8-4A1E-A46D-E288C53C0C68}" dt="2023-12-06T20:13:30.402" v="6696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34B1A95F-EFD8-4A1E-A46D-E288C53C0C68}" dt="2023-12-06T20:13:30.424" v="6726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34B1A95F-EFD8-4A1E-A46D-E288C53C0C68}" dt="2023-12-06T20:13:30.494" v="6732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4:27.563" v="1735"/>
          <ac:graphicFrameMkLst>
            <pc:docMk/>
            <pc:sldMk cId="77660323" sldId="295"/>
            <ac:graphicFrameMk id="14" creationId="{F9E443F5-7278-63D9-B2FF-2322373890D0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4:34.277" v="1978"/>
          <ac:graphicFrameMkLst>
            <pc:docMk/>
            <pc:sldMk cId="77660323" sldId="295"/>
            <ac:graphicFrameMk id="19" creationId="{FD7F296C-51F4-71E1-6024-1437E0CDE21D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4:37.212" v="2272"/>
          <ac:graphicFrameMkLst>
            <pc:docMk/>
            <pc:sldMk cId="77660323" sldId="295"/>
            <ac:graphicFrameMk id="21" creationId="{E2914625-0E55-875E-E0FF-B5F6EF9CD8A7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4:40.057" v="2542"/>
          <ac:graphicFrameMkLst>
            <pc:docMk/>
            <pc:sldMk cId="77660323" sldId="295"/>
            <ac:graphicFrameMk id="35" creationId="{DC43803B-EEF2-00B2-DC27-AE638037E5DF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0:13:30.342" v="6628"/>
          <ac:graphicFrameMkLst>
            <pc:docMk/>
            <pc:sldMk cId="77660323" sldId="295"/>
            <ac:graphicFrameMk id="37" creationId="{AD38F9C5-1D65-DF97-FC31-155F571D25E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5:05.554" v="3343"/>
          <ac:graphicFrameMkLst>
            <pc:docMk/>
            <pc:sldMk cId="77660323" sldId="295"/>
            <ac:graphicFrameMk id="40" creationId="{20941673-D8E3-4EA2-DBC3-A3E402623359}"/>
          </ac:graphicFrameMkLst>
        </pc:graphicFrameChg>
        <pc:graphicFrameChg chg="del">
          <ac:chgData name="Joelle Brehm" userId="a518f54c-6985-42c0-8041-2bb16a414839" providerId="ADAL" clId="{34B1A95F-EFD8-4A1E-A46D-E288C53C0C68}" dt="2023-12-06T20:04:25.632" v="1465"/>
          <ac:graphicFrameMkLst>
            <pc:docMk/>
            <pc:sldMk cId="77660323" sldId="295"/>
            <ac:graphicFrameMk id="41" creationId="{9BDB394E-BDB5-BFB0-A3A1-4AF65313DDD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5:08.724" v="3596"/>
          <ac:graphicFrameMkLst>
            <pc:docMk/>
            <pc:sldMk cId="77660323" sldId="295"/>
            <ac:graphicFrameMk id="51" creationId="{CB9FF7ED-455A-1D31-A72A-50C69997161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5:09.752" v="3810"/>
          <ac:graphicFrameMkLst>
            <pc:docMk/>
            <pc:sldMk cId="77660323" sldId="295"/>
            <ac:graphicFrameMk id="55" creationId="{4C0FACEF-07FD-DA9D-B8C8-E4FEA2EE2BBC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0:13:30.380" v="6672"/>
          <ac:graphicFrameMkLst>
            <pc:docMk/>
            <pc:sldMk cId="77660323" sldId="295"/>
            <ac:graphicFrameMk id="57" creationId="{5E7072C7-C88B-272E-8228-DEFFFBA7B42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11.041" v="4614"/>
          <ac:graphicFrameMkLst>
            <pc:docMk/>
            <pc:sldMk cId="77660323" sldId="295"/>
            <ac:graphicFrameMk id="60" creationId="{BF2597C8-274C-C3A7-1523-2A0C3B63CB92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15.380" v="4850"/>
          <ac:graphicFrameMkLst>
            <pc:docMk/>
            <pc:sldMk cId="77660323" sldId="295"/>
            <ac:graphicFrameMk id="63" creationId="{896F4F83-5725-2B16-430C-D4CD11AF925C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17.212" v="5085"/>
          <ac:graphicFrameMkLst>
            <pc:docMk/>
            <pc:sldMk cId="77660323" sldId="295"/>
            <ac:graphicFrameMk id="449" creationId="{2A073E54-709D-D9A8-B752-133D10548236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22.880" v="5369"/>
          <ac:graphicFrameMkLst>
            <pc:docMk/>
            <pc:sldMk cId="77660323" sldId="295"/>
            <ac:graphicFrameMk id="452" creationId="{DE5F53EE-22E0-D4E8-D5D8-ADA252164465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25.624" v="5580"/>
          <ac:graphicFrameMkLst>
            <pc:docMk/>
            <pc:sldMk cId="77660323" sldId="295"/>
            <ac:graphicFrameMk id="455" creationId="{111A1755-4628-1635-2649-D28827BBA7A1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0:05:04.052" v="3028"/>
          <ac:graphicFrameMkLst>
            <pc:docMk/>
            <pc:sldMk cId="77660323" sldId="295"/>
            <ac:graphicFrameMk id="457" creationId="{72037872-4617-C2C2-7FBA-D2638E679092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27.746" v="5843"/>
          <ac:graphicFrameMkLst>
            <pc:docMk/>
            <pc:sldMk cId="77660323" sldId="295"/>
            <ac:graphicFrameMk id="459" creationId="{36E88870-3FF3-35A5-86B9-F87701AB8858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29.778" v="6056"/>
          <ac:graphicFrameMkLst>
            <pc:docMk/>
            <pc:sldMk cId="77660323" sldId="295"/>
            <ac:graphicFrameMk id="465" creationId="{9CB6F6C5-3160-3CEC-77F0-A0AD942DDBC7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32.163" v="6257"/>
          <ac:graphicFrameMkLst>
            <pc:docMk/>
            <pc:sldMk cId="77660323" sldId="295"/>
            <ac:graphicFrameMk id="467" creationId="{99796C22-B0DF-C4CD-DFB4-763A442E8331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06:35.641" v="6464"/>
          <ac:graphicFrameMkLst>
            <pc:docMk/>
            <pc:sldMk cId="77660323" sldId="295"/>
            <ac:graphicFrameMk id="470" creationId="{706D24D2-D90F-BA7B-0C70-389D0D7E9582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0:06:08.999" v="4279"/>
          <ac:graphicFrameMkLst>
            <pc:docMk/>
            <pc:sldMk cId="77660323" sldId="295"/>
            <ac:graphicFrameMk id="473" creationId="{15A12528-66DE-7E9C-50ED-C43B93A24DE1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0:13:30.405" v="6700"/>
          <ac:graphicFrameMkLst>
            <pc:docMk/>
            <pc:sldMk cId="77660323" sldId="295"/>
            <ac:graphicFrameMk id="474" creationId="{EC0940A9-BC69-0808-B352-39247472CFED}"/>
          </ac:graphicFrameMkLst>
        </pc:graphicFrameChg>
        <pc:picChg chg="mod ord">
          <ac:chgData name="Joelle Brehm" userId="a518f54c-6985-42c0-8041-2bb16a414839" providerId="ADAL" clId="{34B1A95F-EFD8-4A1E-A46D-E288C53C0C68}" dt="2023-12-06T20:13:30.336" v="6620"/>
          <ac:picMkLst>
            <pc:docMk/>
            <pc:sldMk cId="77660323" sldId="295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34B1A95F-EFD8-4A1E-A46D-E288C53C0C68}" dt="2023-12-06T20:13:32.070" v="6733" actId="478"/>
          <ac:picMkLst>
            <pc:docMk/>
            <pc:sldMk cId="77660323" sldId="295"/>
            <ac:picMk id="471" creationId="{61778683-A4E8-F3F3-32F6-BB525BB0BAB2}"/>
          </ac:picMkLst>
        </pc:picChg>
        <pc:picChg chg="add del mod">
          <ac:chgData name="Joelle Brehm" userId="a518f54c-6985-42c0-8041-2bb16a414839" providerId="ADAL" clId="{34B1A95F-EFD8-4A1E-A46D-E288C53C0C68}" dt="2023-12-06T20:12:56.487" v="6598" actId="478"/>
          <ac:picMkLst>
            <pc:docMk/>
            <pc:sldMk cId="77660323" sldId="295"/>
            <ac:picMk id="475" creationId="{2AA5D847-E4F6-8325-7C1B-28A181AA6886}"/>
          </ac:picMkLst>
        </pc:picChg>
        <pc:picChg chg="add mod ord">
          <ac:chgData name="Joelle Brehm" userId="a518f54c-6985-42c0-8041-2bb16a414839" providerId="ADAL" clId="{34B1A95F-EFD8-4A1E-A46D-E288C53C0C68}" dt="2023-12-06T20:13:30.325" v="6612"/>
          <ac:picMkLst>
            <pc:docMk/>
            <pc:sldMk cId="77660323" sldId="295"/>
            <ac:picMk id="476" creationId="{EAE96AF3-CF29-C835-A60B-4A9A2039F509}"/>
          </ac:picMkLst>
        </pc:picChg>
        <pc:cxnChg chg="mod ord">
          <ac:chgData name="Joelle Brehm" userId="a518f54c-6985-42c0-8041-2bb16a414839" providerId="ADAL" clId="{34B1A95F-EFD8-4A1E-A46D-E288C53C0C68}" dt="2023-12-06T20:13:30.381" v="6674"/>
          <ac:cxnSpMkLst>
            <pc:docMk/>
            <pc:sldMk cId="77660323" sldId="295"/>
            <ac:cxnSpMk id="49" creationId="{A1B8BCA2-A4F6-C735-D36D-75C40207794D}"/>
          </ac:cxnSpMkLst>
        </pc:cxnChg>
        <pc:cxnChg chg="add mod ord replST">
          <ac:chgData name="Joelle Brehm" userId="a518f54c-6985-42c0-8041-2bb16a414839" providerId="ADAL" clId="{34B1A95F-EFD8-4A1E-A46D-E288C53C0C68}" dt="2023-12-06T20:13:30.383" v="6676"/>
          <ac:cxnSpMkLst>
            <pc:docMk/>
            <pc:sldMk cId="77660323" sldId="295"/>
            <ac:cxnSpMk id="54" creationId="{B97D3FFE-0321-522C-9B78-052236054EF0}"/>
          </ac:cxnSpMkLst>
        </pc:cxnChg>
        <pc:cxnChg chg="mod ord">
          <ac:chgData name="Joelle Brehm" userId="a518f54c-6985-42c0-8041-2bb16a414839" providerId="ADAL" clId="{34B1A95F-EFD8-4A1E-A46D-E288C53C0C68}" dt="2023-12-06T20:13:30.361" v="6650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34B1A95F-EFD8-4A1E-A46D-E288C53C0C68}" dt="2023-12-06T20:13:30.363" v="6652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34B1A95F-EFD8-4A1E-A46D-E288C53C0C68}" dt="2023-12-06T20:13:30.364" v="6654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34B1A95F-EFD8-4A1E-A46D-E288C53C0C68}" dt="2023-12-06T20:13:30.400" v="6692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34B1A95F-EFD8-4A1E-A46D-E288C53C0C68}" dt="2023-12-06T20:13:30.401" v="6694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34B1A95F-EFD8-4A1E-A46D-E288C53C0C68}" dt="2023-12-06T20:13:30.421" v="6722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34B1A95F-EFD8-4A1E-A46D-E288C53C0C68}" dt="2023-12-06T20:13:30.422" v="6724"/>
          <ac:cxnSpMkLst>
            <pc:docMk/>
            <pc:sldMk cId="77660323" sldId="295"/>
            <ac:cxnSpMk id="400" creationId="{104028CF-B0A1-3776-0A9E-B2FBBA4E10EC}"/>
          </ac:cxnSpMkLst>
        </pc:cxnChg>
        <pc:cxnChg chg="add mod ord replST">
          <ac:chgData name="Joelle Brehm" userId="a518f54c-6985-42c0-8041-2bb16a414839" providerId="ADAL" clId="{34B1A95F-EFD8-4A1E-A46D-E288C53C0C68}" dt="2023-12-06T20:13:30.409" v="6706"/>
          <ac:cxnSpMkLst>
            <pc:docMk/>
            <pc:sldMk cId="77660323" sldId="295"/>
            <ac:cxnSpMk id="451" creationId="{7A172D71-A9C3-9431-7EB5-BE9F63E67BCD}"/>
          </ac:cxnSpMkLst>
        </pc:cxnChg>
        <pc:cxnChg chg="mod ord">
          <ac:chgData name="Joelle Brehm" userId="a518f54c-6985-42c0-8041-2bb16a414839" providerId="ADAL" clId="{34B1A95F-EFD8-4A1E-A46D-E288C53C0C68}" dt="2023-12-06T20:13:30.406" v="6702"/>
          <ac:cxnSpMkLst>
            <pc:docMk/>
            <pc:sldMk cId="77660323" sldId="295"/>
            <ac:cxnSpMk id="460" creationId="{E41F7D0A-4DCD-1DBE-52FF-BEB5D8E08212}"/>
          </ac:cxnSpMkLst>
        </pc:cxnChg>
        <pc:cxnChg chg="mod ord">
          <ac:chgData name="Joelle Brehm" userId="a518f54c-6985-42c0-8041-2bb16a414839" providerId="ADAL" clId="{34B1A95F-EFD8-4A1E-A46D-E288C53C0C68}" dt="2023-12-06T20:13:30.408" v="6704"/>
          <ac:cxnSpMkLst>
            <pc:docMk/>
            <pc:sldMk cId="77660323" sldId="295"/>
            <ac:cxnSpMk id="461" creationId="{A9880E77-89B4-FAF6-9F4F-4692C63B345B}"/>
          </ac:cxnSpMkLst>
        </pc:cxnChg>
        <pc:cxnChg chg="del mod ord">
          <ac:chgData name="Joelle Brehm" userId="a518f54c-6985-42c0-8041-2bb16a414839" providerId="ADAL" clId="{34B1A95F-EFD8-4A1E-A46D-E288C53C0C68}" dt="2023-12-06T20:06:29.777" v="6054"/>
          <ac:cxnSpMkLst>
            <pc:docMk/>
            <pc:sldMk cId="77660323" sldId="295"/>
            <ac:cxnSpMk id="469" creationId="{49838B9F-ACF6-6D92-4B1A-15EDA28D3AB0}"/>
          </ac:cxnSpMkLst>
        </pc:cxnChg>
        <pc:cxnChg chg="mod ord">
          <ac:chgData name="Joelle Brehm" userId="a518f54c-6985-42c0-8041-2bb16a414839" providerId="ADAL" clId="{34B1A95F-EFD8-4A1E-A46D-E288C53C0C68}" dt="2023-12-06T20:13:30.366" v="6656"/>
          <ac:cxnSpMkLst>
            <pc:docMk/>
            <pc:sldMk cId="77660323" sldId="295"/>
            <ac:cxnSpMk id="499" creationId="{03F78B4F-B1A0-4DEB-C1BE-2365D8B94D05}"/>
          </ac:cxnSpMkLst>
        </pc:cxnChg>
      </pc:sldChg>
      <pc:sldChg chg="addSp delSp modSp mod">
        <pc:chgData name="Joelle Brehm" userId="a518f54c-6985-42c0-8041-2bb16a414839" providerId="ADAL" clId="{34B1A95F-EFD8-4A1E-A46D-E288C53C0C68}" dt="2023-12-07T19:40:46.996" v="51026" actId="313"/>
        <pc:sldMkLst>
          <pc:docMk/>
          <pc:sldMk cId="3184321266" sldId="296"/>
        </pc:sldMkLst>
        <pc:spChg chg="add del mod ord">
          <ac:chgData name="Joelle Brehm" userId="a518f54c-6985-42c0-8041-2bb16a414839" providerId="ADAL" clId="{34B1A95F-EFD8-4A1E-A46D-E288C53C0C68}" dt="2023-12-07T19:37:00.540" v="50999" actId="478"/>
          <ac:spMkLst>
            <pc:docMk/>
            <pc:sldMk cId="3184321266" sldId="296"/>
            <ac:spMk id="2" creationId="{79E80FDC-359C-0F10-9195-EBD55DCBDA91}"/>
          </ac:spMkLst>
        </pc:spChg>
        <pc:spChg chg="mod ord">
          <ac:chgData name="Joelle Brehm" userId="a518f54c-6985-42c0-8041-2bb16a414839" providerId="ADAL" clId="{34B1A95F-EFD8-4A1E-A46D-E288C53C0C68}" dt="2023-12-06T20:22:11.206" v="10125"/>
          <ac:spMkLst>
            <pc:docMk/>
            <pc:sldMk cId="3184321266" sldId="296"/>
            <ac:spMk id="3" creationId="{86D6AA5F-2727-5417-09CB-42026894EFF8}"/>
          </ac:spMkLst>
        </pc:spChg>
        <pc:spChg chg="mod ord">
          <ac:chgData name="Joelle Brehm" userId="a518f54c-6985-42c0-8041-2bb16a414839" providerId="ADAL" clId="{34B1A95F-EFD8-4A1E-A46D-E288C53C0C68}" dt="2023-12-06T20:22:11.203" v="10118"/>
          <ac:spMkLst>
            <pc:docMk/>
            <pc:sldMk cId="3184321266" sldId="296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34B1A95F-EFD8-4A1E-A46D-E288C53C0C68}" dt="2023-12-06T20:21:32.265" v="9949"/>
          <ac:spMkLst>
            <pc:docMk/>
            <pc:sldMk cId="3184321266" sldId="296"/>
            <ac:spMk id="6" creationId="{37648ABD-DCA3-29BB-3525-EF91181209E0}"/>
          </ac:spMkLst>
        </pc:spChg>
        <pc:spChg chg="mod ord">
          <ac:chgData name="Joelle Brehm" userId="a518f54c-6985-42c0-8041-2bb16a414839" providerId="ADAL" clId="{34B1A95F-EFD8-4A1E-A46D-E288C53C0C68}" dt="2023-12-06T20:22:11.208" v="10127"/>
          <ac:spMkLst>
            <pc:docMk/>
            <pc:sldMk cId="3184321266" sldId="296"/>
            <ac:spMk id="8" creationId="{C75CB710-EFB8-7D57-0F83-AB63CD63F5E0}"/>
          </ac:spMkLst>
        </pc:spChg>
        <pc:spChg chg="add del mod modVis">
          <ac:chgData name="Joelle Brehm" userId="a518f54c-6985-42c0-8041-2bb16a414839" providerId="ADAL" clId="{34B1A95F-EFD8-4A1E-A46D-E288C53C0C68}" dt="2023-12-06T20:21:57.893" v="9987"/>
          <ac:spMkLst>
            <pc:docMk/>
            <pc:sldMk cId="3184321266" sldId="296"/>
            <ac:spMk id="9" creationId="{72BF93EC-F55A-1856-5395-29E3D93B0805}"/>
          </ac:spMkLst>
        </pc:spChg>
        <pc:spChg chg="add mod replST">
          <ac:chgData name="Joelle Brehm" userId="a518f54c-6985-42c0-8041-2bb16a414839" providerId="ADAL" clId="{34B1A95F-EFD8-4A1E-A46D-E288C53C0C68}" dt="2023-12-06T20:22:11.209" v="10131"/>
          <ac:spMkLst>
            <pc:docMk/>
            <pc:sldMk cId="3184321266" sldId="296"/>
            <ac:spMk id="10" creationId="{ACBE2952-1408-2663-AB1D-8F843E822072}"/>
          </ac:spMkLst>
        </pc:spChg>
        <pc:spChg chg="add del mod modVis">
          <ac:chgData name="Joelle Brehm" userId="a518f54c-6985-42c0-8041-2bb16a414839" providerId="ADAL" clId="{34B1A95F-EFD8-4A1E-A46D-E288C53C0C68}" dt="2023-12-06T20:22:02.240" v="10074"/>
          <ac:spMkLst>
            <pc:docMk/>
            <pc:sldMk cId="3184321266" sldId="296"/>
            <ac:spMk id="11" creationId="{7D95B045-F75E-22D4-E233-255606EEB72C}"/>
          </ac:spMkLst>
        </pc:spChg>
        <pc:spChg chg="add del mod modVis">
          <ac:chgData name="Joelle Brehm" userId="a518f54c-6985-42c0-8041-2bb16a414839" providerId="ADAL" clId="{34B1A95F-EFD8-4A1E-A46D-E288C53C0C68}" dt="2023-12-06T20:22:11.217" v="10143"/>
          <ac:spMkLst>
            <pc:docMk/>
            <pc:sldMk cId="3184321266" sldId="296"/>
            <ac:spMk id="13" creationId="{FF60BAD7-420E-5B87-279C-75508360F323}"/>
          </ac:spMkLst>
        </pc:spChg>
        <pc:spChg chg="mod">
          <ac:chgData name="Joelle Brehm" userId="a518f54c-6985-42c0-8041-2bb16a414839" providerId="ADAL" clId="{34B1A95F-EFD8-4A1E-A46D-E288C53C0C68}" dt="2023-12-06T20:22:11.209" v="10130"/>
          <ac:spMkLst>
            <pc:docMk/>
            <pc:sldMk cId="3184321266" sldId="296"/>
            <ac:spMk id="14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0:21:57.851" v="9952"/>
          <ac:spMkLst>
            <pc:docMk/>
            <pc:sldMk cId="3184321266" sldId="296"/>
            <ac:spMk id="15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0:22:11.204" v="10120"/>
          <ac:spMkLst>
            <pc:docMk/>
            <pc:sldMk cId="3184321266" sldId="296"/>
            <ac:spMk id="96" creationId="{13AC7CFA-23AF-445A-96F6-EA0D2FF657A3}"/>
          </ac:spMkLst>
        </pc:spChg>
        <pc:spChg chg="del mod">
          <ac:chgData name="Joelle Brehm" userId="a518f54c-6985-42c0-8041-2bb16a414839" providerId="ADAL" clId="{34B1A95F-EFD8-4A1E-A46D-E288C53C0C68}" dt="2023-12-06T20:21:57.861" v="9956"/>
          <ac:spMkLst>
            <pc:docMk/>
            <pc:sldMk cId="3184321266" sldId="296"/>
            <ac:spMk id="133" creationId="{7CAA3B95-4C78-4122-BECA-B5FB0F3F3764}"/>
          </ac:spMkLst>
        </pc:spChg>
        <pc:spChg chg="del mod">
          <ac:chgData name="Joelle Brehm" userId="a518f54c-6985-42c0-8041-2bb16a414839" providerId="ADAL" clId="{34B1A95F-EFD8-4A1E-A46D-E288C53C0C68}" dt="2023-12-06T20:21:57.853" v="9953"/>
          <ac:spMkLst>
            <pc:docMk/>
            <pc:sldMk cId="3184321266" sldId="296"/>
            <ac:spMk id="155" creationId="{7CAA3B95-4C78-4122-BECA-B5FB0F3F3764}"/>
          </ac:spMkLst>
        </pc:spChg>
        <pc:spChg chg="mod">
          <ac:chgData name="Joelle Brehm" userId="a518f54c-6985-42c0-8041-2bb16a414839" providerId="ADAL" clId="{34B1A95F-EFD8-4A1E-A46D-E288C53C0C68}" dt="2023-12-06T20:22:11.212" v="10135"/>
          <ac:spMkLst>
            <pc:docMk/>
            <pc:sldMk cId="3184321266" sldId="296"/>
            <ac:spMk id="190" creationId="{7CAA3B95-4C78-4122-BECA-B5FB0F3F3764}"/>
          </ac:spMkLst>
        </pc:spChg>
        <pc:spChg chg="mod ord">
          <ac:chgData name="Joelle Brehm" userId="a518f54c-6985-42c0-8041-2bb16a414839" providerId="ADAL" clId="{34B1A95F-EFD8-4A1E-A46D-E288C53C0C68}" dt="2023-12-06T20:22:11.205" v="10122"/>
          <ac:spMkLst>
            <pc:docMk/>
            <pc:sldMk cId="3184321266" sldId="296"/>
            <ac:spMk id="210" creationId="{2DBE4665-8B4A-4508-AC03-BDBC6AA30475}"/>
          </ac:spMkLst>
        </pc:spChg>
        <pc:spChg chg="mod">
          <ac:chgData name="Joelle Brehm" userId="a518f54c-6985-42c0-8041-2bb16a414839" providerId="ADAL" clId="{34B1A95F-EFD8-4A1E-A46D-E288C53C0C68}" dt="2023-12-06T20:22:11.211" v="10134"/>
          <ac:spMkLst>
            <pc:docMk/>
            <pc:sldMk cId="3184321266" sldId="296"/>
            <ac:spMk id="1062" creationId="{AAB4FE2D-13B1-774A-33CC-02765FFAA2DA}"/>
          </ac:spMkLst>
        </pc:spChg>
        <pc:spChg chg="mod ord">
          <ac:chgData name="Joelle Brehm" userId="a518f54c-6985-42c0-8041-2bb16a414839" providerId="ADAL" clId="{34B1A95F-EFD8-4A1E-A46D-E288C53C0C68}" dt="2023-12-07T19:40:46.996" v="51026" actId="313"/>
          <ac:spMkLst>
            <pc:docMk/>
            <pc:sldMk cId="3184321266" sldId="296"/>
            <ac:spMk id="1065" creationId="{D8CB5779-D0CF-D5F7-B11D-0A8746941D75}"/>
          </ac:spMkLst>
        </pc:spChg>
        <pc:graphicFrameChg chg="mod">
          <ac:chgData name="Joelle Brehm" userId="a518f54c-6985-42c0-8041-2bb16a414839" providerId="ADAL" clId="{34B1A95F-EFD8-4A1E-A46D-E288C53C0C68}" dt="2023-12-06T20:22:11.224" v="10145"/>
          <ac:graphicFrameMkLst>
            <pc:docMk/>
            <pc:sldMk cId="3184321266" sldId="296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0:22:11.210" v="10133"/>
          <ac:graphicFrameMkLst>
            <pc:docMk/>
            <pc:sldMk cId="3184321266" sldId="296"/>
            <ac:graphicFrameMk id="7" creationId="{985DD319-6973-CDCE-24F5-F64EAF6D853D}"/>
          </ac:graphicFrameMkLst>
        </pc:graphicFrameChg>
        <pc:graphicFrameChg chg="add del mod ord replST">
          <ac:chgData name="Joelle Brehm" userId="a518f54c-6985-42c0-8041-2bb16a414839" providerId="ADAL" clId="{34B1A95F-EFD8-4A1E-A46D-E288C53C0C68}" dt="2023-12-06T20:22:11.179" v="10110"/>
          <ac:graphicFrameMkLst>
            <pc:docMk/>
            <pc:sldMk cId="3184321266" sldId="296"/>
            <ac:graphicFrameMk id="12" creationId="{3AECF9FC-DE57-00F6-B78A-AA76317D966A}"/>
          </ac:graphicFrameMkLst>
        </pc:graphicFrameChg>
        <pc:graphicFrameChg chg="add mod ord replST">
          <ac:chgData name="Joelle Brehm" userId="a518f54c-6985-42c0-8041-2bb16a414839" providerId="ADAL" clId="{34B1A95F-EFD8-4A1E-A46D-E288C53C0C68}" dt="2023-12-06T20:22:11.209" v="10129"/>
          <ac:graphicFrameMkLst>
            <pc:docMk/>
            <pc:sldMk cId="3184321266" sldId="296"/>
            <ac:graphicFrameMk id="16" creationId="{6A3DD861-D33B-A9F1-68A2-A77D412F9C09}"/>
          </ac:graphicFrameMkLst>
        </pc:graphicFrameChg>
        <pc:graphicFrameChg chg="del mod ord">
          <ac:chgData name="Joelle Brehm" userId="a518f54c-6985-42c0-8041-2bb16a414839" providerId="ADAL" clId="{34B1A95F-EFD8-4A1E-A46D-E288C53C0C68}" dt="2023-12-06T20:21:57.891" v="9983"/>
          <ac:graphicFrameMkLst>
            <pc:docMk/>
            <pc:sldMk cId="3184321266" sldId="296"/>
            <ac:graphicFrameMk id="173" creationId="{B49DAEA3-A5BA-7CE2-C4FA-53B2019F631D}"/>
          </ac:graphicFrameMkLst>
        </pc:graphicFrameChg>
        <pc:graphicFrameChg chg="del">
          <ac:chgData name="Joelle Brehm" userId="a518f54c-6985-42c0-8041-2bb16a414839" providerId="ADAL" clId="{34B1A95F-EFD8-4A1E-A46D-E288C53C0C68}" dt="2023-12-06T20:21:32.229" v="9914"/>
          <ac:graphicFrameMkLst>
            <pc:docMk/>
            <pc:sldMk cId="3184321266" sldId="296"/>
            <ac:graphicFrameMk id="1061" creationId="{4BB1A171-0559-9595-BD87-AF34DEF207D0}"/>
          </ac:graphicFrameMkLst>
        </pc:graphicFrameChg>
        <pc:picChg chg="mod">
          <ac:chgData name="Joelle Brehm" userId="a518f54c-6985-42c0-8041-2bb16a414839" providerId="ADAL" clId="{34B1A95F-EFD8-4A1E-A46D-E288C53C0C68}" dt="2023-12-06T20:22:11.206" v="10123"/>
          <ac:picMkLst>
            <pc:docMk/>
            <pc:sldMk cId="3184321266" sldId="296"/>
            <ac:picMk id="1026" creationId="{A81E4029-9E9C-E6AC-16A9-5E0666C1EEB4}"/>
          </ac:picMkLst>
        </pc:picChg>
      </pc:sldChg>
    </pc:docChg>
  </pc:docChgLst>
  <pc:docChgLst>
    <pc:chgData name="Joelle Brehm" userId="a518f54c-6985-42c0-8041-2bb16a414839" providerId="ADAL" clId="{3C9B919C-9CFF-4DBD-AE30-72DF3107A706}"/>
    <pc:docChg chg="undo custSel modSld replTag">
      <pc:chgData name="Joelle Brehm" userId="a518f54c-6985-42c0-8041-2bb16a414839" providerId="ADAL" clId="{3C9B919C-9CFF-4DBD-AE30-72DF3107A706}" dt="2023-06-07T17:06:41.216" v="62560" actId="179"/>
      <pc:docMkLst>
        <pc:docMk/>
      </pc:docMkLst>
      <pc:sldChg chg="addSp delSp modSp mod">
        <pc:chgData name="Joelle Brehm" userId="a518f54c-6985-42c0-8041-2bb16a414839" providerId="ADAL" clId="{3C9B919C-9CFF-4DBD-AE30-72DF3107A706}" dt="2023-06-07T17:06:41.216" v="62560" actId="179"/>
        <pc:sldMkLst>
          <pc:docMk/>
          <pc:sldMk cId="3839614074" sldId="258"/>
        </pc:sldMkLst>
        <pc:spChg chg="add del mod">
          <ac:chgData name="Joelle Brehm" userId="a518f54c-6985-42c0-8041-2bb16a414839" providerId="ADAL" clId="{3C9B919C-9CFF-4DBD-AE30-72DF3107A706}" dt="2023-06-07T17:06:36.103" v="62558" actId="478"/>
          <ac:spMkLst>
            <pc:docMk/>
            <pc:sldMk cId="3839614074" sldId="258"/>
            <ac:spMk id="2" creationId="{58B4C337-D550-EB5D-A9D2-7F2B2AE62034}"/>
          </ac:spMkLst>
        </pc:spChg>
        <pc:spChg chg="mod">
          <ac:chgData name="Joelle Brehm" userId="a518f54c-6985-42c0-8041-2bb16a414839" providerId="ADAL" clId="{3C9B919C-9CFF-4DBD-AE30-72DF3107A706}" dt="2023-06-07T17:06:41.216" v="62560" actId="179"/>
          <ac:spMkLst>
            <pc:docMk/>
            <pc:sldMk cId="3839614074" sldId="258"/>
            <ac:spMk id="11" creationId="{CC7E7235-D3EE-4235-96C4-5D12A099E3A6}"/>
          </ac:spMkLst>
        </pc:spChg>
        <pc:graphicFrameChg chg="add mod modGraphic">
          <ac:chgData name="Joelle Brehm" userId="a518f54c-6985-42c0-8041-2bb16a414839" providerId="ADAL" clId="{3C9B919C-9CFF-4DBD-AE30-72DF3107A706}" dt="2023-06-07T17:06:34.113" v="62557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  <pc:graphicFrameChg chg="del modGraphic">
          <ac:chgData name="Joelle Brehm" userId="a518f54c-6985-42c0-8041-2bb16a414839" providerId="ADAL" clId="{3C9B919C-9CFF-4DBD-AE30-72DF3107A706}" dt="2023-06-07T16:46:30.706" v="62150" actId="478"/>
          <ac:graphicFrameMkLst>
            <pc:docMk/>
            <pc:sldMk cId="3839614074" sldId="258"/>
            <ac:graphicFrameMk id="9" creationId="{253FC369-DB6F-43FD-0FA4-E8B6548598D1}"/>
          </ac:graphicFrameMkLst>
        </pc:graphicFrameChg>
      </pc:sldChg>
      <pc:sldChg chg="addSp delSp modSp mod">
        <pc:chgData name="Joelle Brehm" userId="a518f54c-6985-42c0-8041-2bb16a414839" providerId="ADAL" clId="{3C9B919C-9CFF-4DBD-AE30-72DF3107A706}" dt="2023-06-05T22:45:39.038" v="10142"/>
        <pc:sldMkLst>
          <pc:docMk/>
          <pc:sldMk cId="3798164587" sldId="259"/>
        </pc:sldMkLst>
        <pc:spChg chg="mod ord">
          <ac:chgData name="Joelle Brehm" userId="a518f54c-6985-42c0-8041-2bb16a414839" providerId="ADAL" clId="{3C9B919C-9CFF-4DBD-AE30-72DF3107A706}" dt="2023-06-05T22:45:39.026" v="10136"/>
          <ac:spMkLst>
            <pc:docMk/>
            <pc:sldMk cId="3798164587" sldId="259"/>
            <ac:spMk id="2" creationId="{8EDF2A74-9587-4C1D-91CA-8D21248ED6E8}"/>
          </ac:spMkLst>
        </pc:spChg>
        <pc:spChg chg="mod ord">
          <ac:chgData name="Joelle Brehm" userId="a518f54c-6985-42c0-8041-2bb16a414839" providerId="ADAL" clId="{3C9B919C-9CFF-4DBD-AE30-72DF3107A706}" dt="2023-06-05T22:45:39.004" v="10053"/>
          <ac:spMkLst>
            <pc:docMk/>
            <pc:sldMk cId="3798164587" sldId="259"/>
            <ac:spMk id="6" creationId="{B47CE71D-7819-4857-B121-737A3BD39B4D}"/>
          </ac:spMkLst>
        </pc:spChg>
        <pc:spChg chg="add del mod ord">
          <ac:chgData name="Joelle Brehm" userId="a518f54c-6985-42c0-8041-2bb16a414839" providerId="ADAL" clId="{3C9B919C-9CFF-4DBD-AE30-72DF3107A706}" dt="2023-06-05T22:45:08.988" v="8807" actId="478"/>
          <ac:spMkLst>
            <pc:docMk/>
            <pc:sldMk cId="3798164587" sldId="259"/>
            <ac:spMk id="8" creationId="{D47A0101-A266-0B95-F6D7-01D8D4FA7725}"/>
          </ac:spMkLst>
        </pc:spChg>
        <pc:spChg chg="add del mod modVis">
          <ac:chgData name="Joelle Brehm" userId="a518f54c-6985-42c0-8041-2bb16a414839" providerId="ADAL" clId="{3C9B919C-9CFF-4DBD-AE30-72DF3107A706}" dt="2023-06-05T22:44:10.661" v="8686"/>
          <ac:spMkLst>
            <pc:docMk/>
            <pc:sldMk cId="3798164587" sldId="259"/>
            <ac:spMk id="9" creationId="{06CBEA84-33F1-C335-D2A4-DA450E835FCE}"/>
          </ac:spMkLst>
        </pc:spChg>
        <pc:spChg chg="mod">
          <ac:chgData name="Joelle Brehm" userId="a518f54c-6985-42c0-8041-2bb16a414839" providerId="ADAL" clId="{3C9B919C-9CFF-4DBD-AE30-72DF3107A706}" dt="2023-06-05T22:45:39.007" v="10065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45:39.005" v="10059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45:39.006" v="10062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45:39.005" v="10061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45:39.005" v="10060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45:39.006" v="10063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45:39.006" v="10064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45:39.005" v="10058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45:39.007" v="10066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45:39.007" v="10067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45:39.008" v="10068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45:39.008" v="10069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45:39.008" v="10071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45:39.009" v="10074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45:39.009" v="10072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45:39.009" v="10073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45:39.010" v="10077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45:39.010" v="10076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45:39.009" v="10075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45:39.010" v="10079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45:39.015" v="10097"/>
          <ac:spMkLst>
            <pc:docMk/>
            <pc:sldMk cId="3798164587" sldId="259"/>
            <ac:spMk id="33" creationId="{275DD78E-6C37-19E2-BB7D-7EC5FAF1B229}"/>
          </ac:spMkLst>
        </pc:spChg>
        <pc:spChg chg="add mod replST">
          <ac:chgData name="Joelle Brehm" userId="a518f54c-6985-42c0-8041-2bb16a414839" providerId="ADAL" clId="{3C9B919C-9CFF-4DBD-AE30-72DF3107A706}" dt="2023-06-05T22:45:39.020" v="10111"/>
          <ac:spMkLst>
            <pc:docMk/>
            <pc:sldMk cId="3798164587" sldId="259"/>
            <ac:spMk id="34" creationId="{6CEAC9A5-DF5A-A5A4-6B08-69378419D16C}"/>
          </ac:spMkLst>
        </pc:spChg>
        <pc:spChg chg="add mod ord replST">
          <ac:chgData name="Joelle Brehm" userId="a518f54c-6985-42c0-8041-2bb16a414839" providerId="ADAL" clId="{3C9B919C-9CFF-4DBD-AE30-72DF3107A706}" dt="2023-06-05T22:45:39.021" v="10113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3C9B919C-9CFF-4DBD-AE30-72DF3107A706}" dt="2023-06-05T22:45:39.016" v="10098"/>
          <ac:spMkLst>
            <pc:docMk/>
            <pc:sldMk cId="3798164587" sldId="259"/>
            <ac:spMk id="36" creationId="{17FE84B0-8441-0A09-95B5-2EDD40F6EB1C}"/>
          </ac:spMkLst>
        </pc:spChg>
        <pc:spChg chg="mod">
          <ac:chgData name="Joelle Brehm" userId="a518f54c-6985-42c0-8041-2bb16a414839" providerId="ADAL" clId="{3C9B919C-9CFF-4DBD-AE30-72DF3107A706}" dt="2023-06-05T22:45:39.016" v="10100"/>
          <ac:spMkLst>
            <pc:docMk/>
            <pc:sldMk cId="3798164587" sldId="259"/>
            <ac:spMk id="38" creationId="{F9718545-2C79-73C0-B314-2B5D8CF60E56}"/>
          </ac:spMkLst>
        </pc:spChg>
        <pc:spChg chg="add del mod modVis">
          <ac:chgData name="Joelle Brehm" userId="a518f54c-6985-42c0-8041-2bb16a414839" providerId="ADAL" clId="{3C9B919C-9CFF-4DBD-AE30-72DF3107A706}" dt="2023-06-05T22:45:17.650" v="9227"/>
          <ac:spMkLst>
            <pc:docMk/>
            <pc:sldMk cId="3798164587" sldId="259"/>
            <ac:spMk id="39" creationId="{52124ED0-6B3F-54FB-7C2B-6AE6E1EF276A}"/>
          </ac:spMkLst>
        </pc:spChg>
        <pc:spChg chg="add del mod modVis">
          <ac:chgData name="Joelle Brehm" userId="a518f54c-6985-42c0-8041-2bb16a414839" providerId="ADAL" clId="{3C9B919C-9CFF-4DBD-AE30-72DF3107A706}" dt="2023-06-05T22:45:19.056" v="9457"/>
          <ac:spMkLst>
            <pc:docMk/>
            <pc:sldMk cId="3798164587" sldId="259"/>
            <ac:spMk id="41" creationId="{D3C953C5-2395-9BE0-2AB9-32EFCDF6B38C}"/>
          </ac:spMkLst>
        </pc:spChg>
        <pc:spChg chg="mod">
          <ac:chgData name="Joelle Brehm" userId="a518f54c-6985-42c0-8041-2bb16a414839" providerId="ADAL" clId="{3C9B919C-9CFF-4DBD-AE30-72DF3107A706}" dt="2023-06-05T22:45:39.017" v="10102"/>
          <ac:spMkLst>
            <pc:docMk/>
            <pc:sldMk cId="3798164587" sldId="259"/>
            <ac:spMk id="42" creationId="{17E5CF1F-B68A-803E-7A46-9E4C2586B04A}"/>
          </ac:spMkLst>
        </pc:spChg>
        <pc:spChg chg="mod">
          <ac:chgData name="Joelle Brehm" userId="a518f54c-6985-42c0-8041-2bb16a414839" providerId="ADAL" clId="{3C9B919C-9CFF-4DBD-AE30-72DF3107A706}" dt="2023-06-05T22:45:39.016" v="10101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3C9B919C-9CFF-4DBD-AE30-72DF3107A706}" dt="2023-06-05T22:45:39.013" v="10089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3C9B919C-9CFF-4DBD-AE30-72DF3107A706}" dt="2023-06-05T22:45:39.012" v="10084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2" v="10087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1" v="10083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3C9B919C-9CFF-4DBD-AE30-72DF3107A706}" dt="2023-06-05T22:45:39.019" v="10108"/>
          <ac:spMkLst>
            <pc:docMk/>
            <pc:sldMk cId="3798164587" sldId="259"/>
            <ac:spMk id="48" creationId="{109DD5E0-29D7-88B4-1064-D57907DC0418}"/>
          </ac:spMkLst>
        </pc:spChg>
        <pc:spChg chg="mod ord">
          <ac:chgData name="Joelle Brehm" userId="a518f54c-6985-42c0-8041-2bb16a414839" providerId="ADAL" clId="{3C9B919C-9CFF-4DBD-AE30-72DF3107A706}" dt="2023-06-05T22:45:39.018" v="10106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3C9B919C-9CFF-4DBD-AE30-72DF3107A706}" dt="2023-06-05T22:45:39.017" v="10105"/>
          <ac:spMkLst>
            <pc:docMk/>
            <pc:sldMk cId="3798164587" sldId="259"/>
            <ac:spMk id="50" creationId="{6E0EEE28-854C-B3D5-8CC6-BD69B0BE61B8}"/>
          </ac:spMkLst>
        </pc:spChg>
        <pc:spChg chg="add del mod modVis">
          <ac:chgData name="Joelle Brehm" userId="a518f54c-6985-42c0-8041-2bb16a414839" providerId="ADAL" clId="{3C9B919C-9CFF-4DBD-AE30-72DF3107A706}" dt="2023-06-05T22:45:21.896" v="9720"/>
          <ac:spMkLst>
            <pc:docMk/>
            <pc:sldMk cId="3798164587" sldId="259"/>
            <ac:spMk id="52" creationId="{9529C680-2256-D9D9-4E0B-08914258F920}"/>
          </ac:spMkLst>
        </pc:spChg>
        <pc:spChg chg="add del mod modVis">
          <ac:chgData name="Joelle Brehm" userId="a518f54c-6985-42c0-8041-2bb16a414839" providerId="ADAL" clId="{3C9B919C-9CFF-4DBD-AE30-72DF3107A706}" dt="2023-06-05T22:45:25.649" v="9919"/>
          <ac:spMkLst>
            <pc:docMk/>
            <pc:sldMk cId="3798164587" sldId="259"/>
            <ac:spMk id="54" creationId="{3FAEA54B-CE44-4B67-9F5B-7D1AD5BBE7C6}"/>
          </ac:spMkLst>
        </pc:spChg>
        <pc:spChg chg="add del mod modVis">
          <ac:chgData name="Joelle Brehm" userId="a518f54c-6985-42c0-8041-2bb16a414839" providerId="ADAL" clId="{3C9B919C-9CFF-4DBD-AE30-72DF3107A706}" dt="2023-06-05T22:45:39.027" v="10140"/>
          <ac:spMkLst>
            <pc:docMk/>
            <pc:sldMk cId="3798164587" sldId="259"/>
            <ac:spMk id="56" creationId="{AEED0911-A139-4C7E-F0D2-7505514F29C0}"/>
          </ac:spMkLst>
        </pc:spChg>
        <pc:spChg chg="mod">
          <ac:chgData name="Joelle Brehm" userId="a518f54c-6985-42c0-8041-2bb16a414839" providerId="ADAL" clId="{3C9B919C-9CFF-4DBD-AE30-72DF3107A706}" dt="2023-06-05T22:45:39.012" v="10086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3C9B919C-9CFF-4DBD-AE30-72DF3107A706}" dt="2023-06-05T22:45:39.012" v="10085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3C9B919C-9CFF-4DBD-AE30-72DF3107A706}" dt="2023-06-05T22:45:39.011" v="10082"/>
          <ac:spMkLst>
            <pc:docMk/>
            <pc:sldMk cId="3798164587" sldId="259"/>
            <ac:spMk id="64" creationId="{28987B1A-D33C-4BEB-B42D-5DE09D6199E9}"/>
          </ac:spMkLst>
        </pc:spChg>
        <pc:spChg chg="del mod">
          <ac:chgData name="Joelle Brehm" userId="a518f54c-6985-42c0-8041-2bb16a414839" providerId="ADAL" clId="{3C9B919C-9CFF-4DBD-AE30-72DF3107A706}" dt="2023-06-05T22:45:21.729" v="9461"/>
          <ac:spMkLst>
            <pc:docMk/>
            <pc:sldMk cId="3798164587" sldId="259"/>
            <ac:spMk id="7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45:39.021" v="10115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45:39.022" v="10117"/>
          <ac:spMkLst>
            <pc:docMk/>
            <pc:sldMk cId="3798164587" sldId="259"/>
            <ac:spMk id="79" creationId="{F1476AC4-694B-4D83-BFD8-8DCAA4BB1923}"/>
          </ac:spMkLst>
        </pc:spChg>
        <pc:spChg chg="mod">
          <ac:chgData name="Joelle Brehm" userId="a518f54c-6985-42c0-8041-2bb16a414839" providerId="ADAL" clId="{3C9B919C-9CFF-4DBD-AE30-72DF3107A706}" dt="2023-06-05T22:45:39.014" v="10092"/>
          <ac:spMkLst>
            <pc:docMk/>
            <pc:sldMk cId="3798164587" sldId="259"/>
            <ac:spMk id="8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5" v="10096"/>
          <ac:spMkLst>
            <pc:docMk/>
            <pc:sldMk cId="3798164587" sldId="259"/>
            <ac:spMk id="8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3" v="10090"/>
          <ac:spMkLst>
            <pc:docMk/>
            <pc:sldMk cId="3798164587" sldId="259"/>
            <ac:spMk id="8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6" v="10099"/>
          <ac:spMkLst>
            <pc:docMk/>
            <pc:sldMk cId="3798164587" sldId="259"/>
            <ac:spMk id="8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4" v="10093"/>
          <ac:spMkLst>
            <pc:docMk/>
            <pc:sldMk cId="3798164587" sldId="259"/>
            <ac:spMk id="8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5" v="10095"/>
          <ac:spMkLst>
            <pc:docMk/>
            <pc:sldMk cId="3798164587" sldId="259"/>
            <ac:spMk id="89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7" v="10103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3" v="10088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7" v="10104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8" v="10107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9" v="10109"/>
          <ac:spMkLst>
            <pc:docMk/>
            <pc:sldMk cId="3798164587" sldId="259"/>
            <ac:spMk id="9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13" v="10091"/>
          <ac:spMkLst>
            <pc:docMk/>
            <pc:sldMk cId="3798164587" sldId="259"/>
            <ac:spMk id="96" creationId="{B0CA5BD9-5CCF-4C87-0BE7-E4C0D2E84131}"/>
          </ac:spMkLst>
        </pc:spChg>
        <pc:spChg chg="del mod">
          <ac:chgData name="Joelle Brehm" userId="a518f54c-6985-42c0-8041-2bb16a414839" providerId="ADAL" clId="{3C9B919C-9CFF-4DBD-AE30-72DF3107A706}" dt="2023-06-05T22:45:21.717" v="9460"/>
          <ac:spMkLst>
            <pc:docMk/>
            <pc:sldMk cId="3798164587" sldId="259"/>
            <ac:spMk id="97" creationId="{746D11F9-B7E8-960F-299B-D42CF1548E0E}"/>
          </ac:spMkLst>
        </pc:spChg>
        <pc:spChg chg="mod">
          <ac:chgData name="Joelle Brehm" userId="a518f54c-6985-42c0-8041-2bb16a414839" providerId="ADAL" clId="{3C9B919C-9CFF-4DBD-AE30-72DF3107A706}" dt="2023-06-05T22:45:39.014" v="10094"/>
          <ac:spMkLst>
            <pc:docMk/>
            <pc:sldMk cId="3798164587" sldId="259"/>
            <ac:spMk id="98" creationId="{5C2D14D9-12F3-09BB-CF0F-B06C9774FBF8}"/>
          </ac:spMkLst>
        </pc:spChg>
        <pc:spChg chg="mod ord">
          <ac:chgData name="Joelle Brehm" userId="a518f54c-6985-42c0-8041-2bb16a414839" providerId="ADAL" clId="{3C9B919C-9CFF-4DBD-AE30-72DF3107A706}" dt="2023-06-05T22:45:39.022" v="10119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3C9B919C-9CFF-4DBD-AE30-72DF3107A706}" dt="2023-06-05T22:45:39.020" v="10110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45:39.022" v="10121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45:39.023" v="10123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45:39.023" v="10125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45:39.024" v="10129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25" v="10130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25" v="10131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5:39.024" v="10128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45:39.025" v="10132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45:39.038" v="10142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5:39.004" v="10057"/>
          <ac:graphicFrameMkLst>
            <pc:docMk/>
            <pc:sldMk cId="3798164587" sldId="259"/>
            <ac:graphicFrameMk id="10" creationId="{B24143CE-12C5-9CE0-D3E0-DF6D9FE16E99}"/>
          </ac:graphicFrameMkLst>
        </pc:graphicFrameChg>
        <pc:graphicFrameChg chg="del">
          <ac:chgData name="Joelle Brehm" userId="a518f54c-6985-42c0-8041-2bb16a414839" providerId="ADAL" clId="{3C9B919C-9CFF-4DBD-AE30-72DF3107A706}" dt="2023-06-05T22:44:10.590" v="8581"/>
          <ac:graphicFrameMkLst>
            <pc:docMk/>
            <pc:sldMk cId="3798164587" sldId="259"/>
            <ac:graphicFrameMk id="32" creationId="{52D8F7AD-0A06-C39E-0DBA-8CC5FFB0B26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5:38.983" v="10041"/>
          <ac:graphicFrameMkLst>
            <pc:docMk/>
            <pc:sldMk cId="3798164587" sldId="259"/>
            <ac:graphicFrameMk id="37" creationId="{A3EB61F2-21D4-7620-BF29-5FAFF44DEC8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5:19.008" v="9355"/>
          <ac:graphicFrameMkLst>
            <pc:docMk/>
            <pc:sldMk cId="3798164587" sldId="259"/>
            <ac:graphicFrameMk id="40" creationId="{2B6456F7-D036-80DF-1A6B-227413C45832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5:21.837" v="9620"/>
          <ac:graphicFrameMkLst>
            <pc:docMk/>
            <pc:sldMk cId="3798164587" sldId="259"/>
            <ac:graphicFrameMk id="51" creationId="{C1A4AD4B-092F-2BB0-E048-C50EFF6DFAFE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5:25.608" v="9820"/>
          <ac:graphicFrameMkLst>
            <pc:docMk/>
            <pc:sldMk cId="3798164587" sldId="259"/>
            <ac:graphicFrameMk id="53" creationId="{820B8673-A577-4DFD-C0A3-F81642748134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5:39.011" v="10081"/>
          <ac:graphicFrameMkLst>
            <pc:docMk/>
            <pc:sldMk cId="3798164587" sldId="259"/>
            <ac:graphicFrameMk id="55" creationId="{BDC51F09-8F62-9AC6-E65E-4FFA04B9E41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5:39.024" v="10127"/>
          <ac:graphicFrameMkLst>
            <pc:docMk/>
            <pc:sldMk cId="3798164587" sldId="259"/>
            <ac:graphicFrameMk id="57" creationId="{59D22685-9AE8-D1CB-83B1-F02AFFEEED99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5:17.597" v="9125"/>
          <ac:graphicFrameMkLst>
            <pc:docMk/>
            <pc:sldMk cId="3798164587" sldId="259"/>
            <ac:graphicFrameMk id="111" creationId="{E2E1D966-BBFD-5FBD-AFE0-8D6DD71F56DD}"/>
          </ac:graphicFrameMkLst>
        </pc:graphicFrameChg>
        <pc:picChg chg="del mod ord">
          <ac:chgData name="Joelle Brehm" userId="a518f54c-6985-42c0-8041-2bb16a414839" providerId="ADAL" clId="{3C9B919C-9CFF-4DBD-AE30-72DF3107A706}" dt="2023-06-05T22:44:50.806" v="8800" actId="478"/>
          <ac:picMkLst>
            <pc:docMk/>
            <pc:sldMk cId="3798164587" sldId="259"/>
            <ac:picMk id="3" creationId="{BCD021A0-CA82-A519-A624-52C14616AAF4}"/>
          </ac:picMkLst>
        </pc:picChg>
        <pc:picChg chg="mod ord">
          <ac:chgData name="Joelle Brehm" userId="a518f54c-6985-42c0-8041-2bb16a414839" providerId="ADAL" clId="{3C9B919C-9CFF-4DBD-AE30-72DF3107A706}" dt="2023-06-05T22:45:39.003" v="10051"/>
          <ac:picMkLst>
            <pc:docMk/>
            <pc:sldMk cId="3798164587" sldId="259"/>
            <ac:picMk id="5" creationId="{8F4A2CF4-0CF3-47E4-B23B-AC49D50CFFA1}"/>
          </ac:picMkLst>
        </pc:picChg>
        <pc:picChg chg="add mod ord">
          <ac:chgData name="Joelle Brehm" userId="a518f54c-6985-42c0-8041-2bb16a414839" providerId="ADAL" clId="{3C9B919C-9CFF-4DBD-AE30-72DF3107A706}" dt="2023-06-05T22:45:39.003" v="10049"/>
          <ac:picMkLst>
            <pc:docMk/>
            <pc:sldMk cId="3798164587" sldId="259"/>
            <ac:picMk id="31" creationId="{7A4A79F1-6050-9D4A-C93D-284BCC5D7BF4}"/>
          </ac:picMkLst>
        </pc:picChg>
        <pc:picChg chg="mod ord">
          <ac:chgData name="Joelle Brehm" userId="a518f54c-6985-42c0-8041-2bb16a414839" providerId="ADAL" clId="{3C9B919C-9CFF-4DBD-AE30-72DF3107A706}" dt="2023-06-05T22:45:39.026" v="10134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45:39.004" v="10055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3C9B919C-9CFF-4DBD-AE30-72DF3107A706}" dt="2023-06-05T18:59:34.774" v="2" actId="20577"/>
        <pc:sldMkLst>
          <pc:docMk/>
          <pc:sldMk cId="4090961396" sldId="260"/>
        </pc:sldMkLst>
        <pc:spChg chg="mod">
          <ac:chgData name="Joelle Brehm" userId="a518f54c-6985-42c0-8041-2bb16a414839" providerId="ADAL" clId="{3C9B919C-9CFF-4DBD-AE30-72DF3107A706}" dt="2023-06-05T18:59:34.774" v="2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3C9B919C-9CFF-4DBD-AE30-72DF3107A706}" dt="2023-06-07T16:07:23.157" v="62089" actId="108"/>
        <pc:sldMkLst>
          <pc:docMk/>
          <pc:sldMk cId="2525895214" sldId="262"/>
        </pc:sldMkLst>
        <pc:spChg chg="add del mod">
          <ac:chgData name="Joelle Brehm" userId="a518f54c-6985-42c0-8041-2bb16a414839" providerId="ADAL" clId="{3C9B919C-9CFF-4DBD-AE30-72DF3107A706}" dt="2023-06-07T16:05:05.005" v="62052" actId="478"/>
          <ac:spMkLst>
            <pc:docMk/>
            <pc:sldMk cId="2525895214" sldId="262"/>
            <ac:spMk id="3" creationId="{C34AF4D6-EB32-9080-F6E3-6BE2C59E85B1}"/>
          </ac:spMkLst>
        </pc:spChg>
        <pc:graphicFrameChg chg="mod modGraphic">
          <ac:chgData name="Joelle Brehm" userId="a518f54c-6985-42c0-8041-2bb16a414839" providerId="ADAL" clId="{3C9B919C-9CFF-4DBD-AE30-72DF3107A706}" dt="2023-06-07T16:07:23.157" v="62089" actId="108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3C9B919C-9CFF-4DBD-AE30-72DF3107A706}" dt="2023-06-05T19:06:23.544" v="600" actId="478"/>
        <pc:sldMkLst>
          <pc:docMk/>
          <pc:sldMk cId="3980989934" sldId="263"/>
        </pc:sldMkLst>
        <pc:spChg chg="mod ord">
          <ac:chgData name="Joelle Brehm" userId="a518f54c-6985-42c0-8041-2bb16a414839" providerId="ADAL" clId="{3C9B919C-9CFF-4DBD-AE30-72DF3107A706}" dt="2023-06-05T19:06:22.198" v="591"/>
          <ac:spMkLst>
            <pc:docMk/>
            <pc:sldMk cId="3980989934" sldId="263"/>
            <ac:spMk id="2" creationId="{75C72E1E-661F-4997-A353-2798333F5BE3}"/>
          </ac:spMkLst>
        </pc:spChg>
        <pc:spChg chg="add del mod ord">
          <ac:chgData name="Joelle Brehm" userId="a518f54c-6985-42c0-8041-2bb16a414839" providerId="ADAL" clId="{3C9B919C-9CFF-4DBD-AE30-72DF3107A706}" dt="2023-06-05T19:05:17.552" v="81" actId="478"/>
          <ac:spMkLst>
            <pc:docMk/>
            <pc:sldMk cId="3980989934" sldId="263"/>
            <ac:spMk id="3" creationId="{EB4838DF-6F0B-5052-9625-EFAA1608DD53}"/>
          </ac:spMkLst>
        </pc:spChg>
        <pc:spChg chg="mod ord">
          <ac:chgData name="Joelle Brehm" userId="a518f54c-6985-42c0-8041-2bb16a414839" providerId="ADAL" clId="{3C9B919C-9CFF-4DBD-AE30-72DF3107A706}" dt="2023-06-05T19:06:22.193" v="566"/>
          <ac:spMkLst>
            <pc:docMk/>
            <pc:sldMk cId="3980989934" sldId="26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3C9B919C-9CFF-4DBD-AE30-72DF3107A706}" dt="2023-06-05T19:05:34.962" v="556"/>
          <ac:spMkLst>
            <pc:docMk/>
            <pc:sldMk cId="3980989934" sldId="263"/>
            <ac:spMk id="7" creationId="{EC84511E-FDA0-F6B7-7354-E98D044A8F1D}"/>
          </ac:spMkLst>
        </pc:spChg>
        <pc:spChg chg="mod">
          <ac:chgData name="Joelle Brehm" userId="a518f54c-6985-42c0-8041-2bb16a414839" providerId="ADAL" clId="{3C9B919C-9CFF-4DBD-AE30-72DF3107A706}" dt="2023-06-05T19:06:22.195" v="574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3C9B919C-9CFF-4DBD-AE30-72DF3107A706}" dt="2023-06-05T19:06:22.195" v="575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3C9B919C-9CFF-4DBD-AE30-72DF3107A706}" dt="2023-06-05T19:06:22.194" v="571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3C9B919C-9CFF-4DBD-AE30-72DF3107A706}" dt="2023-06-05T19:06:22.194" v="570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3C9B919C-9CFF-4DBD-AE30-72DF3107A706}" dt="2023-06-05T19:06:22.195" v="576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3C9B919C-9CFF-4DBD-AE30-72DF3107A706}" dt="2023-06-05T19:06:22.196" v="579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3C9B919C-9CFF-4DBD-AE30-72DF3107A706}" dt="2023-06-05T19:06:22.196" v="578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3C9B919C-9CFF-4DBD-AE30-72DF3107A706}" dt="2023-06-05T19:06:22.195" v="573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3C9B919C-9CFF-4DBD-AE30-72DF3107A706}" dt="2023-06-05T19:06:22.195" v="577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3C9B919C-9CFF-4DBD-AE30-72DF3107A706}" dt="2023-06-05T19:06:22.194" v="569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3C9B919C-9CFF-4DBD-AE30-72DF3107A706}" dt="2023-06-05T19:06:22.196" v="580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3C9B919C-9CFF-4DBD-AE30-72DF3107A706}" dt="2023-06-05T19:06:22.194" v="572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3C9B919C-9CFF-4DBD-AE30-72DF3107A706}" dt="2023-06-05T19:06:22.196" v="582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3C9B919C-9CFF-4DBD-AE30-72DF3107A706}" dt="2023-06-05T19:06:22.197" v="584"/>
          <ac:spMkLst>
            <pc:docMk/>
            <pc:sldMk cId="3980989934" sldId="263"/>
            <ac:spMk id="21" creationId="{B5AE4010-508F-4A3F-85C7-752A1F15F54F}"/>
          </ac:spMkLst>
        </pc:spChg>
        <pc:spChg chg="mod ord">
          <ac:chgData name="Joelle Brehm" userId="a518f54c-6985-42c0-8041-2bb16a414839" providerId="ADAL" clId="{3C9B919C-9CFF-4DBD-AE30-72DF3107A706}" dt="2023-06-05T19:06:22.198" v="593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3C9B919C-9CFF-4DBD-AE30-72DF3107A706}" dt="2023-06-05T19:06:22.197" v="586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3C9B919C-9CFF-4DBD-AE30-72DF3107A706}" dt="2023-06-05T19:06:22.197" v="588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3C9B919C-9CFF-4DBD-AE30-72DF3107A706}" dt="2023-06-05T19:06:22.204" v="599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19:06:22.193" v="568"/>
          <ac:graphicFrameMkLst>
            <pc:docMk/>
            <pc:sldMk cId="3980989934" sldId="263"/>
            <ac:graphicFrameMk id="24" creationId="{CC0B85D4-1EE5-BE4C-EFFB-0737675A468F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05:34.932" v="513"/>
          <ac:graphicFrameMkLst>
            <pc:docMk/>
            <pc:sldMk cId="3980989934" sldId="263"/>
            <ac:graphicFrameMk id="27" creationId="{98BE7412-42DF-2DBA-B991-344CF7B9C2A3}"/>
          </ac:graphicFrameMkLst>
        </pc:graphicFrameChg>
        <pc:picChg chg="add mod ord">
          <ac:chgData name="Joelle Brehm" userId="a518f54c-6985-42c0-8041-2bb16a414839" providerId="ADAL" clId="{3C9B919C-9CFF-4DBD-AE30-72DF3107A706}" dt="2023-06-05T19:06:22.193" v="564"/>
          <ac:picMkLst>
            <pc:docMk/>
            <pc:sldMk cId="3980989934" sldId="263"/>
            <ac:picMk id="6" creationId="{3E72DF2F-6493-4EB7-FD6B-067E2AB87971}"/>
          </ac:picMkLst>
        </pc:picChg>
        <pc:picChg chg="del mod ord">
          <ac:chgData name="Joelle Brehm" userId="a518f54c-6985-42c0-8041-2bb16a414839" providerId="ADAL" clId="{3C9B919C-9CFF-4DBD-AE30-72DF3107A706}" dt="2023-06-05T19:05:15.473" v="80" actId="478"/>
          <ac:picMkLst>
            <pc:docMk/>
            <pc:sldMk cId="3980989934" sldId="263"/>
            <ac:picMk id="22" creationId="{9068A140-4134-667C-BBB8-557761258898}"/>
          </ac:picMkLst>
        </pc:picChg>
        <pc:picChg chg="del mod ord">
          <ac:chgData name="Joelle Brehm" userId="a518f54c-6985-42c0-8041-2bb16a414839" providerId="ADAL" clId="{3C9B919C-9CFF-4DBD-AE30-72DF3107A706}" dt="2023-06-05T19:06:23.544" v="600" actId="478"/>
          <ac:picMkLst>
            <pc:docMk/>
            <pc:sldMk cId="3980989934" sldId="263"/>
            <ac:picMk id="23" creationId="{A5E5085F-857A-B38E-5D89-237F0D85DE9C}"/>
          </ac:picMkLst>
        </pc:picChg>
        <pc:picChg chg="add mod ord">
          <ac:chgData name="Joelle Brehm" userId="a518f54c-6985-42c0-8041-2bb16a414839" providerId="ADAL" clId="{3C9B919C-9CFF-4DBD-AE30-72DF3107A706}" dt="2023-06-05T19:06:22.192" v="562"/>
          <ac:picMkLst>
            <pc:docMk/>
            <pc:sldMk cId="3980989934" sldId="263"/>
            <ac:picMk id="25" creationId="{0DD4C43A-CAF2-2783-AAB9-C685C6A8CFB3}"/>
          </ac:picMkLst>
        </pc:picChg>
        <pc:picChg chg="mod">
          <ac:chgData name="Joelle Brehm" userId="a518f54c-6985-42c0-8041-2bb16a414839" providerId="ADAL" clId="{3C9B919C-9CFF-4DBD-AE30-72DF3107A706}" dt="2023-06-05T19:06:22.198" v="589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3C9B919C-9CFF-4DBD-AE30-72DF3107A706}" dt="2023-06-07T14:18:49.854" v="62050"/>
        <pc:sldMkLst>
          <pc:docMk/>
          <pc:sldMk cId="1450446987" sldId="264"/>
        </pc:sldMkLst>
        <pc:spChg chg="add del mod ord">
          <ac:chgData name="Joelle Brehm" userId="a518f54c-6985-42c0-8041-2bb16a414839" providerId="ADAL" clId="{3C9B919C-9CFF-4DBD-AE30-72DF3107A706}" dt="2023-06-07T14:17:14.839" v="56792" actId="478"/>
          <ac:spMkLst>
            <pc:docMk/>
            <pc:sldMk cId="1450446987" sldId="264"/>
            <ac:spMk id="2" creationId="{F75DA178-841A-03A3-2700-AEE6D824B787}"/>
          </ac:spMkLst>
        </pc:spChg>
        <pc:spChg chg="mod ord">
          <ac:chgData name="Joelle Brehm" userId="a518f54c-6985-42c0-8041-2bb16a414839" providerId="ADAL" clId="{3C9B919C-9CFF-4DBD-AE30-72DF3107A706}" dt="2023-06-07T14:18:39.195" v="61855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3C9B919C-9CFF-4DBD-AE30-72DF3107A706}" dt="2023-06-07T14:18:39.210" v="61920"/>
          <ac:spMkLst>
            <pc:docMk/>
            <pc:sldMk cId="1450446987" sldId="264"/>
            <ac:spMk id="6" creationId="{C68F5169-412D-ED3A-1A99-F1B307B865FB}"/>
          </ac:spMkLst>
        </pc:spChg>
        <pc:spChg chg="mod ord">
          <ac:chgData name="Joelle Brehm" userId="a518f54c-6985-42c0-8041-2bb16a414839" providerId="ADAL" clId="{3C9B919C-9CFF-4DBD-AE30-72DF3107A706}" dt="2023-06-07T14:18:49.838" v="62040"/>
          <ac:spMkLst>
            <pc:docMk/>
            <pc:sldMk cId="1450446987" sldId="264"/>
            <ac:spMk id="7" creationId="{E1E64566-68A0-42EC-A2FA-A382E667F65C}"/>
          </ac:spMkLst>
        </pc:spChg>
        <pc:spChg chg="add del mod modVis">
          <ac:chgData name="Joelle Brehm" userId="a518f54c-6985-42c0-8041-2bb16a414839" providerId="ADAL" clId="{3C9B919C-9CFF-4DBD-AE30-72DF3107A706}" dt="2023-06-07T14:17:22.938" v="57163"/>
          <ac:spMkLst>
            <pc:docMk/>
            <pc:sldMk cId="1450446987" sldId="264"/>
            <ac:spMk id="8" creationId="{D77651F4-911A-DC42-AD8B-5A8F9609D2C9}"/>
          </ac:spMkLst>
        </pc:spChg>
        <pc:spChg chg="mod">
          <ac:chgData name="Joelle Brehm" userId="a518f54c-6985-42c0-8041-2bb16a414839" providerId="ADAL" clId="{3C9B919C-9CFF-4DBD-AE30-72DF3107A706}" dt="2023-06-07T14:18:39.210" v="61921"/>
          <ac:spMkLst>
            <pc:docMk/>
            <pc:sldMk cId="1450446987" sldId="264"/>
            <ac:spMk id="10" creationId="{0B5A57DD-7EDA-25CF-0BB0-3E0418CFBDB6}"/>
          </ac:spMkLst>
        </pc:spChg>
        <pc:spChg chg="mod">
          <ac:chgData name="Joelle Brehm" userId="a518f54c-6985-42c0-8041-2bb16a414839" providerId="ADAL" clId="{3C9B919C-9CFF-4DBD-AE30-72DF3107A706}" dt="2023-06-07T14:18:39.213" v="61931"/>
          <ac:spMkLst>
            <pc:docMk/>
            <pc:sldMk cId="1450446987" sldId="264"/>
            <ac:spMk id="11" creationId="{A6526291-8335-68F9-3992-BACCF85E017D}"/>
          </ac:spMkLst>
        </pc:spChg>
        <pc:spChg chg="mod">
          <ac:chgData name="Joelle Brehm" userId="a518f54c-6985-42c0-8041-2bb16a414839" providerId="ADAL" clId="{3C9B919C-9CFF-4DBD-AE30-72DF3107A706}" dt="2023-06-07T14:18:39.209" v="61916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3C9B919C-9CFF-4DBD-AE30-72DF3107A706}" dt="2023-06-07T14:18:39.209" v="61914"/>
          <ac:spMkLst>
            <pc:docMk/>
            <pc:sldMk cId="1450446987" sldId="264"/>
            <ac:spMk id="13" creationId="{ADECDCFA-1E1B-DA79-857B-6C2FA278DB11}"/>
          </ac:spMkLst>
        </pc:spChg>
        <pc:spChg chg="add del mod modVis">
          <ac:chgData name="Joelle Brehm" userId="a518f54c-6985-42c0-8041-2bb16a414839" providerId="ADAL" clId="{3C9B919C-9CFF-4DBD-AE30-72DF3107A706}" dt="2023-06-05T19:14:54.683" v="1332"/>
          <ac:spMkLst>
            <pc:docMk/>
            <pc:sldMk cId="1450446987" sldId="264"/>
            <ac:spMk id="14" creationId="{DD0B52F5-A353-DB68-31B3-6D280854D4E5}"/>
          </ac:spMkLst>
        </pc:spChg>
        <pc:spChg chg="mod">
          <ac:chgData name="Joelle Brehm" userId="a518f54c-6985-42c0-8041-2bb16a414839" providerId="ADAL" clId="{3C9B919C-9CFF-4DBD-AE30-72DF3107A706}" dt="2023-06-07T14:18:39.198" v="61868"/>
          <ac:spMkLst>
            <pc:docMk/>
            <pc:sldMk cId="1450446987" sldId="264"/>
            <ac:spMk id="15" creationId="{5B084CC3-E175-D9CA-87E6-954E2FBF59B5}"/>
          </ac:spMkLst>
        </pc:spChg>
        <pc:spChg chg="mod ord">
          <ac:chgData name="Joelle Brehm" userId="a518f54c-6985-42c0-8041-2bb16a414839" providerId="ADAL" clId="{3C9B919C-9CFF-4DBD-AE30-72DF3107A706}" dt="2023-06-07T14:18:49.836" v="62034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3C9B919C-9CFF-4DBD-AE30-72DF3107A706}" dt="2023-06-07T14:18:39.213" v="61932"/>
          <ac:spMkLst>
            <pc:docMk/>
            <pc:sldMk cId="1450446987" sldId="264"/>
            <ac:spMk id="17" creationId="{9F3E8293-6A80-77D9-FC6A-6EEAEB0893E2}"/>
          </ac:spMkLst>
        </pc:spChg>
        <pc:spChg chg="mod">
          <ac:chgData name="Joelle Brehm" userId="a518f54c-6985-42c0-8041-2bb16a414839" providerId="ADAL" clId="{3C9B919C-9CFF-4DBD-AE30-72DF3107A706}" dt="2023-06-07T14:18:39.222" v="61972"/>
          <ac:spMkLst>
            <pc:docMk/>
            <pc:sldMk cId="1450446987" sldId="264"/>
            <ac:spMk id="18" creationId="{7CE63A35-6A90-6D8B-CF40-7241933EF0EF}"/>
          </ac:spMkLst>
        </pc:spChg>
        <pc:spChg chg="mod">
          <ac:chgData name="Joelle Brehm" userId="a518f54c-6985-42c0-8041-2bb16a414839" providerId="ADAL" clId="{3C9B919C-9CFF-4DBD-AE30-72DF3107A706}" dt="2023-06-07T14:18:39.199" v="61873"/>
          <ac:spMkLst>
            <pc:docMk/>
            <pc:sldMk cId="1450446987" sldId="264"/>
            <ac:spMk id="19" creationId="{609141C7-071C-280D-1E22-F588C79AA2D4}"/>
          </ac:spMkLst>
        </pc:spChg>
        <pc:spChg chg="mod">
          <ac:chgData name="Joelle Brehm" userId="a518f54c-6985-42c0-8041-2bb16a414839" providerId="ADAL" clId="{3C9B919C-9CFF-4DBD-AE30-72DF3107A706}" dt="2023-06-07T14:18:39.214" v="61933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3C9B919C-9CFF-4DBD-AE30-72DF3107A706}" dt="2023-06-07T14:18:39.209" v="61917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3C9B919C-9CFF-4DBD-AE30-72DF3107A706}" dt="2023-06-07T14:18:39.223" v="61977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3C9B919C-9CFF-4DBD-AE30-72DF3107A706}" dt="2023-06-07T14:18:39.204" v="61894"/>
          <ac:spMkLst>
            <pc:docMk/>
            <pc:sldMk cId="1450446987" sldId="264"/>
            <ac:spMk id="23" creationId="{1C8A8CD9-592C-1226-E7D9-8A782BAF6ADF}"/>
          </ac:spMkLst>
        </pc:spChg>
        <pc:spChg chg="mod">
          <ac:chgData name="Joelle Brehm" userId="a518f54c-6985-42c0-8041-2bb16a414839" providerId="ADAL" clId="{3C9B919C-9CFF-4DBD-AE30-72DF3107A706}" dt="2023-06-07T14:18:39.197" v="61864"/>
          <ac:spMkLst>
            <pc:docMk/>
            <pc:sldMk cId="1450446987" sldId="264"/>
            <ac:spMk id="24" creationId="{033E07CF-73C8-D4DB-8DB3-DC68E9322327}"/>
          </ac:spMkLst>
        </pc:spChg>
        <pc:spChg chg="mod">
          <ac:chgData name="Joelle Brehm" userId="a518f54c-6985-42c0-8041-2bb16a414839" providerId="ADAL" clId="{3C9B919C-9CFF-4DBD-AE30-72DF3107A706}" dt="2023-06-07T14:18:39.211" v="61924"/>
          <ac:spMkLst>
            <pc:docMk/>
            <pc:sldMk cId="1450446987" sldId="264"/>
            <ac:spMk id="25" creationId="{DDCB9CFD-6336-9FEE-8109-046E7B1EDE09}"/>
          </ac:spMkLst>
        </pc:spChg>
        <pc:spChg chg="mod">
          <ac:chgData name="Joelle Brehm" userId="a518f54c-6985-42c0-8041-2bb16a414839" providerId="ADAL" clId="{3C9B919C-9CFF-4DBD-AE30-72DF3107A706}" dt="2023-06-07T14:18:39.205" v="61900"/>
          <ac:spMkLst>
            <pc:docMk/>
            <pc:sldMk cId="1450446987" sldId="264"/>
            <ac:spMk id="26" creationId="{CF9D487A-C1AA-6A8A-6FDD-D507F2BA7550}"/>
          </ac:spMkLst>
        </pc:spChg>
        <pc:spChg chg="mod">
          <ac:chgData name="Joelle Brehm" userId="a518f54c-6985-42c0-8041-2bb16a414839" providerId="ADAL" clId="{3C9B919C-9CFF-4DBD-AE30-72DF3107A706}" dt="2023-06-07T14:18:39.211" v="61922"/>
          <ac:spMkLst>
            <pc:docMk/>
            <pc:sldMk cId="1450446987" sldId="264"/>
            <ac:spMk id="27" creationId="{7F5EB4C1-D71D-BF03-066C-3EB62DE130E1}"/>
          </ac:spMkLst>
        </pc:spChg>
        <pc:spChg chg="mod">
          <ac:chgData name="Joelle Brehm" userId="a518f54c-6985-42c0-8041-2bb16a414839" providerId="ADAL" clId="{3C9B919C-9CFF-4DBD-AE30-72DF3107A706}" dt="2023-06-07T14:18:39.201" v="61880"/>
          <ac:spMkLst>
            <pc:docMk/>
            <pc:sldMk cId="1450446987" sldId="264"/>
            <ac:spMk id="28" creationId="{CCA5008F-57EC-C24D-08AD-B7F154B6F4E7}"/>
          </ac:spMkLst>
        </pc:spChg>
        <pc:spChg chg="mod">
          <ac:chgData name="Joelle Brehm" userId="a518f54c-6985-42c0-8041-2bb16a414839" providerId="ADAL" clId="{3C9B919C-9CFF-4DBD-AE30-72DF3107A706}" dt="2023-06-07T14:18:39.198" v="61869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3C9B919C-9CFF-4DBD-AE30-72DF3107A706}" dt="2023-06-07T14:18:39.214" v="61935"/>
          <ac:spMkLst>
            <pc:docMk/>
            <pc:sldMk cId="1450446987" sldId="264"/>
            <ac:spMk id="30" creationId="{53B66CFC-B735-ECDE-6C79-B64794091307}"/>
          </ac:spMkLst>
        </pc:spChg>
        <pc:spChg chg="add mod replST">
          <ac:chgData name="Joelle Brehm" userId="a518f54c-6985-42c0-8041-2bb16a414839" providerId="ADAL" clId="{3C9B919C-9CFF-4DBD-AE30-72DF3107A706}" dt="2023-06-07T14:18:39.211" v="61925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3C9B919C-9CFF-4DBD-AE30-72DF3107A706}" dt="2023-06-07T14:18:39.201" v="61882"/>
          <ac:spMkLst>
            <pc:docMk/>
            <pc:sldMk cId="1450446987" sldId="264"/>
            <ac:spMk id="32" creationId="{AA10C851-A6B4-C67A-2815-80E945AB6CF4}"/>
          </ac:spMkLst>
        </pc:spChg>
        <pc:spChg chg="add mod replST">
          <ac:chgData name="Joelle Brehm" userId="a518f54c-6985-42c0-8041-2bb16a414839" providerId="ADAL" clId="{3C9B919C-9CFF-4DBD-AE30-72DF3107A706}" dt="2023-06-07T14:18:39.218" v="61955"/>
          <ac:spMkLst>
            <pc:docMk/>
            <pc:sldMk cId="1450446987" sldId="264"/>
            <ac:spMk id="33" creationId="{0B94E95E-1FDC-4AF3-0124-1E50049ED65B}"/>
          </ac:spMkLst>
        </pc:spChg>
        <pc:spChg chg="add del mod modVis">
          <ac:chgData name="Joelle Brehm" userId="a518f54c-6985-42c0-8041-2bb16a414839" providerId="ADAL" clId="{3C9B919C-9CFF-4DBD-AE30-72DF3107A706}" dt="2023-06-05T19:15:15.788" v="1676"/>
          <ac:spMkLst>
            <pc:docMk/>
            <pc:sldMk cId="1450446987" sldId="264"/>
            <ac:spMk id="33" creationId="{C3EDDFB3-4F10-83B8-0F43-16E013E726A1}"/>
          </ac:spMkLst>
        </pc:spChg>
        <pc:spChg chg="mod">
          <ac:chgData name="Joelle Brehm" userId="a518f54c-6985-42c0-8041-2bb16a414839" providerId="ADAL" clId="{3C9B919C-9CFF-4DBD-AE30-72DF3107A706}" dt="2023-06-07T14:18:39.213" v="61930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3C9B919C-9CFF-4DBD-AE30-72DF3107A706}" dt="2023-06-07T14:18:39.212" v="61927"/>
          <ac:spMkLst>
            <pc:docMk/>
            <pc:sldMk cId="1450446987" sldId="264"/>
            <ac:spMk id="35" creationId="{693A4766-C773-96C2-36A2-80D63FCE1E41}"/>
          </ac:spMkLst>
        </pc:spChg>
        <pc:spChg chg="add del mod modVis">
          <ac:chgData name="Joelle Brehm" userId="a518f54c-6985-42c0-8041-2bb16a414839" providerId="ADAL" clId="{3C9B919C-9CFF-4DBD-AE30-72DF3107A706}" dt="2023-06-07T14:17:26.740" v="57389"/>
          <ac:spMkLst>
            <pc:docMk/>
            <pc:sldMk cId="1450446987" sldId="264"/>
            <ac:spMk id="36" creationId="{2CBAE218-6D9B-1537-7116-8612F939E23F}"/>
          </ac:spMkLst>
        </pc:spChg>
        <pc:spChg chg="add mod replST">
          <ac:chgData name="Joelle Brehm" userId="a518f54c-6985-42c0-8041-2bb16a414839" providerId="ADAL" clId="{3C9B919C-9CFF-4DBD-AE30-72DF3107A706}" dt="2023-06-07T14:18:39.215" v="61937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3C9B919C-9CFF-4DBD-AE30-72DF3107A706}" dt="2023-06-07T14:18:39.214" v="61934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3C9B919C-9CFF-4DBD-AE30-72DF3107A706}" dt="2023-06-07T14:18:39.198" v="61871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3C9B919C-9CFF-4DBD-AE30-72DF3107A706}" dt="2023-06-07T14:18:39.211" v="61923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3C9B919C-9CFF-4DBD-AE30-72DF3107A706}" dt="2023-06-07T14:18:39.207" v="61907"/>
          <ac:spMkLst>
            <pc:docMk/>
            <pc:sldMk cId="1450446987" sldId="264"/>
            <ac:spMk id="41" creationId="{17283985-5541-D643-07F1-12A6C1BB03BE}"/>
          </ac:spMkLst>
        </pc:spChg>
        <pc:spChg chg="mod">
          <ac:chgData name="Joelle Brehm" userId="a518f54c-6985-42c0-8041-2bb16a414839" providerId="ADAL" clId="{3C9B919C-9CFF-4DBD-AE30-72DF3107A706}" dt="2023-06-07T14:18:39.200" v="61876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3C9B919C-9CFF-4DBD-AE30-72DF3107A706}" dt="2023-06-07T14:18:39.201" v="61883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3C9B919C-9CFF-4DBD-AE30-72DF3107A706}" dt="2023-06-07T14:18:39.214" v="61936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3C9B919C-9CFF-4DBD-AE30-72DF3107A706}" dt="2023-06-07T14:18:39.198" v="61870"/>
          <ac:spMkLst>
            <pc:docMk/>
            <pc:sldMk cId="1450446987" sldId="264"/>
            <ac:spMk id="46" creationId="{42ABD060-FEE1-EDE0-E99B-69A399E6BFE4}"/>
          </ac:spMkLst>
        </pc:spChg>
        <pc:spChg chg="add del mod modVis">
          <ac:chgData name="Joelle Brehm" userId="a518f54c-6985-42c0-8041-2bb16a414839" providerId="ADAL" clId="{3C9B919C-9CFF-4DBD-AE30-72DF3107A706}" dt="2023-06-05T19:15:23.122" v="1950"/>
          <ac:spMkLst>
            <pc:docMk/>
            <pc:sldMk cId="1450446987" sldId="264"/>
            <ac:spMk id="47" creationId="{01A50956-9A3F-FCBD-9C9D-BE605475AFEB}"/>
          </ac:spMkLst>
        </pc:spChg>
        <pc:spChg chg="add del mod replST">
          <ac:chgData name="Joelle Brehm" userId="a518f54c-6985-42c0-8041-2bb16a414839" providerId="ADAL" clId="{3C9B919C-9CFF-4DBD-AE30-72DF3107A706}" dt="2023-06-07T14:17:29.580" v="57469"/>
          <ac:spMkLst>
            <pc:docMk/>
            <pc:sldMk cId="1450446987" sldId="264"/>
            <ac:spMk id="47" creationId="{13160321-8008-6BEC-837A-9E22F4148855}"/>
          </ac:spMkLst>
        </pc:spChg>
        <pc:spChg chg="mod">
          <ac:chgData name="Joelle Brehm" userId="a518f54c-6985-42c0-8041-2bb16a414839" providerId="ADAL" clId="{3C9B919C-9CFF-4DBD-AE30-72DF3107A706}" dt="2023-06-07T14:18:39.210" v="61919"/>
          <ac:spMkLst>
            <pc:docMk/>
            <pc:sldMk cId="1450446987" sldId="264"/>
            <ac:spMk id="48" creationId="{DBF6EA08-CAF4-86D2-F9E1-E4CF8AFC464F}"/>
          </ac:spMkLst>
        </pc:spChg>
        <pc:spChg chg="add del mod modVis">
          <ac:chgData name="Joelle Brehm" userId="a518f54c-6985-42c0-8041-2bb16a414839" providerId="ADAL" clId="{3C9B919C-9CFF-4DBD-AE30-72DF3107A706}" dt="2023-06-07T14:17:29.653" v="57630"/>
          <ac:spMkLst>
            <pc:docMk/>
            <pc:sldMk cId="1450446987" sldId="264"/>
            <ac:spMk id="49" creationId="{FAE1AD11-F84A-FAD9-004A-5F3062AD2DD0}"/>
          </ac:spMkLst>
        </pc:spChg>
        <pc:spChg chg="mod">
          <ac:chgData name="Joelle Brehm" userId="a518f54c-6985-42c0-8041-2bb16a414839" providerId="ADAL" clId="{3C9B919C-9CFF-4DBD-AE30-72DF3107A706}" dt="2023-06-07T14:18:39.196" v="61863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3C9B919C-9CFF-4DBD-AE30-72DF3107A706}" dt="2023-06-07T14:18:39.224" v="61980"/>
          <ac:spMkLst>
            <pc:docMk/>
            <pc:sldMk cId="1450446987" sldId="264"/>
            <ac:spMk id="52" creationId="{35E94CE7-373A-9E4A-3654-13C7C305FD02}"/>
          </ac:spMkLst>
        </pc:spChg>
        <pc:spChg chg="mod">
          <ac:chgData name="Joelle Brehm" userId="a518f54c-6985-42c0-8041-2bb16a414839" providerId="ADAL" clId="{3C9B919C-9CFF-4DBD-AE30-72DF3107A706}" dt="2023-06-07T14:18:39.212" v="61929"/>
          <ac:spMkLst>
            <pc:docMk/>
            <pc:sldMk cId="1450446987" sldId="264"/>
            <ac:spMk id="53" creationId="{07583A85-3A1C-05BF-197B-FC4414C47FD4}"/>
          </ac:spMkLst>
        </pc:spChg>
        <pc:spChg chg="mod">
          <ac:chgData name="Joelle Brehm" userId="a518f54c-6985-42c0-8041-2bb16a414839" providerId="ADAL" clId="{3C9B919C-9CFF-4DBD-AE30-72DF3107A706}" dt="2023-06-07T14:18:39.202" v="61885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3C9B919C-9CFF-4DBD-AE30-72DF3107A706}" dt="2023-06-07T14:18:39.199" v="61872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3C9B919C-9CFF-4DBD-AE30-72DF3107A706}" dt="2023-06-07T14:18:39.226" v="61986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3C9B919C-9CFF-4DBD-AE30-72DF3107A706}" dt="2023-06-07T14:18:39.199" v="61874"/>
          <ac:spMkLst>
            <pc:docMk/>
            <pc:sldMk cId="1450446987" sldId="264"/>
            <ac:spMk id="57" creationId="{691D1289-3B15-0AD2-5838-E87715C40325}"/>
          </ac:spMkLst>
        </pc:spChg>
        <pc:spChg chg="mod">
          <ac:chgData name="Joelle Brehm" userId="a518f54c-6985-42c0-8041-2bb16a414839" providerId="ADAL" clId="{3C9B919C-9CFF-4DBD-AE30-72DF3107A706}" dt="2023-06-07T14:18:39.219" v="61956"/>
          <ac:spMkLst>
            <pc:docMk/>
            <pc:sldMk cId="1450446987" sldId="264"/>
            <ac:spMk id="58" creationId="{89BF1F7A-55A8-FB33-7AAA-AA43F796D8AC}"/>
          </ac:spMkLst>
        </pc:spChg>
        <pc:spChg chg="add mod replST">
          <ac:chgData name="Joelle Brehm" userId="a518f54c-6985-42c0-8041-2bb16a414839" providerId="ADAL" clId="{3C9B919C-9CFF-4DBD-AE30-72DF3107A706}" dt="2023-06-07T14:18:39.200" v="61877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3C9B919C-9CFF-4DBD-AE30-72DF3107A706}" dt="2023-06-07T14:18:39.215" v="61939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3C9B919C-9CFF-4DBD-AE30-72DF3107A706}" dt="2023-06-07T14:18:39.215" v="61941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3C9B919C-9CFF-4DBD-AE30-72DF3107A706}" dt="2023-06-07T14:18:39.216" v="61943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3C9B919C-9CFF-4DBD-AE30-72DF3107A706}" dt="2023-06-07T14:18:39.204" v="61895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3C9B919C-9CFF-4DBD-AE30-72DF3107A706}" dt="2023-06-07T14:18:39.196" v="61862"/>
          <ac:spMkLst>
            <pc:docMk/>
            <pc:sldMk cId="1450446987" sldId="264"/>
            <ac:spMk id="65" creationId="{3157109A-3120-04A6-D693-60F57F766A08}"/>
          </ac:spMkLst>
        </pc:spChg>
        <pc:spChg chg="mod">
          <ac:chgData name="Joelle Brehm" userId="a518f54c-6985-42c0-8041-2bb16a414839" providerId="ADAL" clId="{3C9B919C-9CFF-4DBD-AE30-72DF3107A706}" dt="2023-06-07T14:18:39.197" v="61867"/>
          <ac:spMkLst>
            <pc:docMk/>
            <pc:sldMk cId="1450446987" sldId="264"/>
            <ac:spMk id="66" creationId="{716B7597-758E-617A-BFDD-E998C7101D5B}"/>
          </ac:spMkLst>
        </pc:spChg>
        <pc:spChg chg="mod">
          <ac:chgData name="Joelle Brehm" userId="a518f54c-6985-42c0-8041-2bb16a414839" providerId="ADAL" clId="{3C9B919C-9CFF-4DBD-AE30-72DF3107A706}" dt="2023-06-07T14:18:39.208" v="61909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3C9B919C-9CFF-4DBD-AE30-72DF3107A706}" dt="2023-06-07T14:18:39.202" v="61884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3C9B919C-9CFF-4DBD-AE30-72DF3107A706}" dt="2023-06-07T14:18:39.225" v="61983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3C9B919C-9CFF-4DBD-AE30-72DF3107A706}" dt="2023-06-07T14:18:39.200" v="61879"/>
          <ac:spMkLst>
            <pc:docMk/>
            <pc:sldMk cId="1450446987" sldId="264"/>
            <ac:spMk id="70" creationId="{5BDC691D-C8E2-B27A-3AB8-2FC6A54A898E}"/>
          </ac:spMkLst>
        </pc:spChg>
        <pc:spChg chg="add del mod modVis">
          <ac:chgData name="Joelle Brehm" userId="a518f54c-6985-42c0-8041-2bb16a414839" providerId="ADAL" clId="{3C9B919C-9CFF-4DBD-AE30-72DF3107A706}" dt="2023-06-05T19:15:35.528" v="2471"/>
          <ac:spMkLst>
            <pc:docMk/>
            <pc:sldMk cId="1450446987" sldId="264"/>
            <ac:spMk id="71" creationId="{65FDC88E-C86E-1FE0-EB19-361B0AEB8888}"/>
          </ac:spMkLst>
        </pc:spChg>
        <pc:spChg chg="add del mod modVis">
          <ac:chgData name="Joelle Brehm" userId="a518f54c-6985-42c0-8041-2bb16a414839" providerId="ADAL" clId="{3C9B919C-9CFF-4DBD-AE30-72DF3107A706}" dt="2023-06-07T14:17:31.338" v="57935"/>
          <ac:spMkLst>
            <pc:docMk/>
            <pc:sldMk cId="1450446987" sldId="264"/>
            <ac:spMk id="71" creationId="{D6924C01-F22C-13B5-22F2-D72CA855C73E}"/>
          </ac:spMkLst>
        </pc:spChg>
        <pc:spChg chg="add del mod replST">
          <ac:chgData name="Joelle Brehm" userId="a518f54c-6985-42c0-8041-2bb16a414839" providerId="ADAL" clId="{3C9B919C-9CFF-4DBD-AE30-72DF3107A706}" dt="2023-06-07T14:17:32.645" v="58010"/>
          <ac:spMkLst>
            <pc:docMk/>
            <pc:sldMk cId="1450446987" sldId="264"/>
            <ac:spMk id="7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18:39.205" v="61898"/>
          <ac:spMkLst>
            <pc:docMk/>
            <pc:sldMk cId="1450446987" sldId="264"/>
            <ac:spMk id="73" creationId="{9222FB5E-7628-BAAE-A4E4-E9F13F9B74EE}"/>
          </ac:spMkLst>
        </pc:spChg>
        <pc:spChg chg="mod">
          <ac:chgData name="Joelle Brehm" userId="a518f54c-6985-42c0-8041-2bb16a414839" providerId="ADAL" clId="{3C9B919C-9CFF-4DBD-AE30-72DF3107A706}" dt="2023-06-07T14:18:39.204" v="61896"/>
          <ac:spMkLst>
            <pc:docMk/>
            <pc:sldMk cId="1450446987" sldId="264"/>
            <ac:spMk id="74" creationId="{F958F86A-808B-E798-783E-1A1F613E0728}"/>
          </ac:spMkLst>
        </pc:spChg>
        <pc:spChg chg="mod">
          <ac:chgData name="Joelle Brehm" userId="a518f54c-6985-42c0-8041-2bb16a414839" providerId="ADAL" clId="{3C9B919C-9CFF-4DBD-AE30-72DF3107A706}" dt="2023-06-07T14:18:39.203" v="61892"/>
          <ac:spMkLst>
            <pc:docMk/>
            <pc:sldMk cId="1450446987" sldId="264"/>
            <ac:spMk id="75" creationId="{13410235-2E0C-20D9-B17D-8C7B02B22762}"/>
          </ac:spMkLst>
        </pc:spChg>
        <pc:spChg chg="add mod replST">
          <ac:chgData name="Joelle Brehm" userId="a518f54c-6985-42c0-8041-2bb16a414839" providerId="ADAL" clId="{3C9B919C-9CFF-4DBD-AE30-72DF3107A706}" dt="2023-06-07T14:18:39.201" v="61881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3C9B919C-9CFF-4DBD-AE30-72DF3107A706}" dt="2023-06-07T14:18:39.218" v="61953"/>
          <ac:spMkLst>
            <pc:docMk/>
            <pc:sldMk cId="1450446987" sldId="264"/>
            <ac:spMk id="77" creationId="{60F97E40-1529-395D-816D-8834F0F881FD}"/>
          </ac:spMkLst>
        </pc:spChg>
        <pc:spChg chg="mod">
          <ac:chgData name="Joelle Brehm" userId="a518f54c-6985-42c0-8041-2bb16a414839" providerId="ADAL" clId="{3C9B919C-9CFF-4DBD-AE30-72DF3107A706}" dt="2023-06-07T14:18:39.206" v="61904"/>
          <ac:spMkLst>
            <pc:docMk/>
            <pc:sldMk cId="1450446987" sldId="264"/>
            <ac:spMk id="78" creationId="{CC7AB43F-0280-E74F-A136-01BBACF44D65}"/>
          </ac:spMkLst>
        </pc:spChg>
        <pc:spChg chg="mod">
          <ac:chgData name="Joelle Brehm" userId="a518f54c-6985-42c0-8041-2bb16a414839" providerId="ADAL" clId="{3C9B919C-9CFF-4DBD-AE30-72DF3107A706}" dt="2023-06-07T14:18:39.207" v="61905"/>
          <ac:spMkLst>
            <pc:docMk/>
            <pc:sldMk cId="1450446987" sldId="264"/>
            <ac:spMk id="79" creationId="{7839083A-6222-21DF-942E-D412CB0A038D}"/>
          </ac:spMkLst>
        </pc:spChg>
        <pc:spChg chg="mod">
          <ac:chgData name="Joelle Brehm" userId="a518f54c-6985-42c0-8041-2bb16a414839" providerId="ADAL" clId="{3C9B919C-9CFF-4DBD-AE30-72DF3107A706}" dt="2023-06-07T14:18:39.226" v="61987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3C9B919C-9CFF-4DBD-AE30-72DF3107A706}" dt="2023-06-07T14:18:39.203" v="61889"/>
          <ac:spMkLst>
            <pc:docMk/>
            <pc:sldMk cId="1450446987" sldId="264"/>
            <ac:spMk id="81" creationId="{6F4C96C8-F30F-B7F9-162B-D0B13BC90C2B}"/>
          </ac:spMkLst>
        </pc:spChg>
        <pc:spChg chg="mod">
          <ac:chgData name="Joelle Brehm" userId="a518f54c-6985-42c0-8041-2bb16a414839" providerId="ADAL" clId="{3C9B919C-9CFF-4DBD-AE30-72DF3107A706}" dt="2023-06-07T14:18:39.219" v="61957"/>
          <ac:spMkLst>
            <pc:docMk/>
            <pc:sldMk cId="1450446987" sldId="264"/>
            <ac:spMk id="82" creationId="{47495649-1334-BE38-2A0B-39662035FACE}"/>
          </ac:spMkLst>
        </pc:spChg>
        <pc:spChg chg="add del mod modVis">
          <ac:chgData name="Joelle Brehm" userId="a518f54c-6985-42c0-8041-2bb16a414839" providerId="ADAL" clId="{3C9B919C-9CFF-4DBD-AE30-72DF3107A706}" dt="2023-06-05T19:15:39.728" v="2721"/>
          <ac:spMkLst>
            <pc:docMk/>
            <pc:sldMk cId="1450446987" sldId="264"/>
            <ac:spMk id="83" creationId="{1E954283-E308-503B-F34C-FC91CC52B291}"/>
          </ac:spMkLst>
        </pc:spChg>
        <pc:spChg chg="mod">
          <ac:chgData name="Joelle Brehm" userId="a518f54c-6985-42c0-8041-2bb16a414839" providerId="ADAL" clId="{3C9B919C-9CFF-4DBD-AE30-72DF3107A706}" dt="2023-06-07T14:18:39.225" v="61982"/>
          <ac:spMkLst>
            <pc:docMk/>
            <pc:sldMk cId="1450446987" sldId="264"/>
            <ac:spMk id="84" creationId="{C6FD14B3-2B6F-F354-0055-5C4DEDC0FDA2}"/>
          </ac:spMkLst>
        </pc:spChg>
        <pc:spChg chg="add del mod modVis">
          <ac:chgData name="Joelle Brehm" userId="a518f54c-6985-42c0-8041-2bb16a414839" providerId="ADAL" clId="{3C9B919C-9CFF-4DBD-AE30-72DF3107A706}" dt="2023-06-07T14:17:32.699" v="58163"/>
          <ac:spMkLst>
            <pc:docMk/>
            <pc:sldMk cId="1450446987" sldId="264"/>
            <ac:spMk id="85" creationId="{8698D1AF-FC4F-E733-C46A-8FB7C584B621}"/>
          </ac:spMkLst>
        </pc:spChg>
        <pc:spChg chg="mod">
          <ac:chgData name="Joelle Brehm" userId="a518f54c-6985-42c0-8041-2bb16a414839" providerId="ADAL" clId="{3C9B919C-9CFF-4DBD-AE30-72DF3107A706}" dt="2023-06-07T14:18:39.205" v="61899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3C9B919C-9CFF-4DBD-AE30-72DF3107A706}" dt="2023-06-07T14:18:39.223" v="61974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3C9B919C-9CFF-4DBD-AE30-72DF3107A706}" dt="2023-06-07T14:18:39.208" v="61910"/>
          <ac:spMkLst>
            <pc:docMk/>
            <pc:sldMk cId="1450446987" sldId="264"/>
            <ac:spMk id="90" creationId="{5F5FA417-BFF1-F21F-47F8-135D335B8AB8}"/>
          </ac:spMkLst>
        </pc:spChg>
        <pc:spChg chg="add mod replST">
          <ac:chgData name="Joelle Brehm" userId="a518f54c-6985-42c0-8041-2bb16a414839" providerId="ADAL" clId="{3C9B919C-9CFF-4DBD-AE30-72DF3107A706}" dt="2023-06-07T14:18:39.225" v="61984"/>
          <ac:spMkLst>
            <pc:docMk/>
            <pc:sldMk cId="1450446987" sldId="264"/>
            <ac:spMk id="91" creationId="{CC94F927-3930-8FBB-F700-00F80B097138}"/>
          </ac:spMkLst>
        </pc:spChg>
        <pc:spChg chg="add del mod modVis">
          <ac:chgData name="Joelle Brehm" userId="a518f54c-6985-42c0-8041-2bb16a414839" providerId="ADAL" clId="{3C9B919C-9CFF-4DBD-AE30-72DF3107A706}" dt="2023-06-05T19:15:51.348" v="3221"/>
          <ac:spMkLst>
            <pc:docMk/>
            <pc:sldMk cId="1450446987" sldId="264"/>
            <ac:spMk id="92" creationId="{6A4A7E78-89B4-4256-12D8-31EE12BF7FC7}"/>
          </ac:spMkLst>
        </pc:spChg>
        <pc:spChg chg="mod">
          <ac:chgData name="Joelle Brehm" userId="a518f54c-6985-42c0-8041-2bb16a414839" providerId="ADAL" clId="{3C9B919C-9CFF-4DBD-AE30-72DF3107A706}" dt="2023-06-07T14:18:39.222" v="61973"/>
          <ac:spMkLst>
            <pc:docMk/>
            <pc:sldMk cId="1450446987" sldId="264"/>
            <ac:spMk id="93" creationId="{E3535E8F-2FE1-602D-1DEE-9C3D3425F046}"/>
          </ac:spMkLst>
        </pc:spChg>
        <pc:spChg chg="add mod replST">
          <ac:chgData name="Joelle Brehm" userId="a518f54c-6985-42c0-8041-2bb16a414839" providerId="ADAL" clId="{3C9B919C-9CFF-4DBD-AE30-72DF3107A706}" dt="2023-06-07T14:18:39.217" v="61951"/>
          <ac:spMkLst>
            <pc:docMk/>
            <pc:sldMk cId="1450446987" sldId="264"/>
            <ac:spMk id="94" creationId="{8C809B8E-62D5-1F87-D2E3-8D3241CF3F73}"/>
          </ac:spMkLst>
        </pc:spChg>
        <pc:spChg chg="del mod">
          <ac:chgData name="Joelle Brehm" userId="a518f54c-6985-42c0-8041-2bb16a414839" providerId="ADAL" clId="{3C9B919C-9CFF-4DBD-AE30-72DF3107A706}" dt="2023-06-07T14:18:17.497" v="60385"/>
          <ac:spMkLst>
            <pc:docMk/>
            <pc:sldMk cId="1450446987" sldId="264"/>
            <ac:spMk id="95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7T14:18:39.216" v="61945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3C9B919C-9CFF-4DBD-AE30-72DF3107A706}" dt="2023-06-07T14:18:39.216" v="61947"/>
          <ac:spMkLst>
            <pc:docMk/>
            <pc:sldMk cId="1450446987" sldId="264"/>
            <ac:spMk id="97" creationId="{64B2B8D7-E8A8-4757-99A4-69F1EAA48321}"/>
          </ac:spMkLst>
        </pc:spChg>
        <pc:spChg chg="add del mod modVis">
          <ac:chgData name="Joelle Brehm" userId="a518f54c-6985-42c0-8041-2bb16a414839" providerId="ADAL" clId="{3C9B919C-9CFF-4DBD-AE30-72DF3107A706}" dt="2023-06-07T14:17:48.145" v="58574"/>
          <ac:spMkLst>
            <pc:docMk/>
            <pc:sldMk cId="1450446987" sldId="264"/>
            <ac:spMk id="98" creationId="{1E52B6B8-EE65-AE31-9A26-9F7EAA4A24BE}"/>
          </ac:spMkLst>
        </pc:spChg>
        <pc:spChg chg="add mod replST">
          <ac:chgData name="Joelle Brehm" userId="a518f54c-6985-42c0-8041-2bb16a414839" providerId="ADAL" clId="{3C9B919C-9CFF-4DBD-AE30-72DF3107A706}" dt="2023-06-07T14:18:39.226" v="61988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3C9B919C-9CFF-4DBD-AE30-72DF3107A706}" dt="2023-06-05T19:15:55.848" v="3474"/>
          <ac:spMkLst>
            <pc:docMk/>
            <pc:sldMk cId="1450446987" sldId="264"/>
            <ac:spMk id="100" creationId="{6A8FF03B-2AFA-4D5B-1F57-1E5178753EF5}"/>
          </ac:spMkLst>
        </pc:spChg>
        <pc:spChg chg="mod">
          <ac:chgData name="Joelle Brehm" userId="a518f54c-6985-42c0-8041-2bb16a414839" providerId="ADAL" clId="{3C9B919C-9CFF-4DBD-AE30-72DF3107A706}" dt="2023-06-07T14:18:39.210" v="61918"/>
          <ac:spMkLst>
            <pc:docMk/>
            <pc:sldMk cId="1450446987" sldId="264"/>
            <ac:spMk id="102" creationId="{D01E11A6-CF9D-DEED-2CEC-6D0A4A368A39}"/>
          </ac:spMkLst>
        </pc:spChg>
        <pc:spChg chg="mod">
          <ac:chgData name="Joelle Brehm" userId="a518f54c-6985-42c0-8041-2bb16a414839" providerId="ADAL" clId="{3C9B919C-9CFF-4DBD-AE30-72DF3107A706}" dt="2023-06-07T14:18:39.212" v="61928"/>
          <ac:spMkLst>
            <pc:docMk/>
            <pc:sldMk cId="1450446987" sldId="264"/>
            <ac:spMk id="103" creationId="{387E2E26-D12F-7AF0-9A22-25AAA09DD6F2}"/>
          </ac:spMkLst>
        </pc:spChg>
        <pc:spChg chg="mod">
          <ac:chgData name="Joelle Brehm" userId="a518f54c-6985-42c0-8041-2bb16a414839" providerId="ADAL" clId="{3C9B919C-9CFF-4DBD-AE30-72DF3107A706}" dt="2023-06-07T14:18:39.203" v="61890"/>
          <ac:spMkLst>
            <pc:docMk/>
            <pc:sldMk cId="1450446987" sldId="264"/>
            <ac:spMk id="104" creationId="{FEE84FEA-7BD5-C89A-81E3-D4196031D1EF}"/>
          </ac:spMkLst>
        </pc:spChg>
        <pc:spChg chg="add del mod modVis">
          <ac:chgData name="Joelle Brehm" userId="a518f54c-6985-42c0-8041-2bb16a414839" providerId="ADAL" clId="{3C9B919C-9CFF-4DBD-AE30-72DF3107A706}" dt="2023-06-07T14:17:53.901" v="58787"/>
          <ac:spMkLst>
            <pc:docMk/>
            <pc:sldMk cId="1450446987" sldId="264"/>
            <ac:spMk id="105" creationId="{A5FA9391-EF36-ED1F-C359-056EE71CB71D}"/>
          </ac:spMkLst>
        </pc:spChg>
        <pc:spChg chg="mod ord">
          <ac:chgData name="Joelle Brehm" userId="a518f54c-6985-42c0-8041-2bb16a414839" providerId="ADAL" clId="{3C9B919C-9CFF-4DBD-AE30-72DF3107A706}" dt="2023-06-07T14:18:39.195" v="61857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3C9B919C-9CFF-4DBD-AE30-72DF3107A706}" dt="2023-06-07T14:18:39.207" v="61906"/>
          <ac:spMkLst>
            <pc:docMk/>
            <pc:sldMk cId="1450446987" sldId="264"/>
            <ac:spMk id="108" creationId="{A8F09F2D-DE68-133D-D131-2E68AE9E4F86}"/>
          </ac:spMkLst>
        </pc:spChg>
        <pc:spChg chg="add mod replST">
          <ac:chgData name="Joelle Brehm" userId="a518f54c-6985-42c0-8041-2bb16a414839" providerId="ADAL" clId="{3C9B919C-9CFF-4DBD-AE30-72DF3107A706}" dt="2023-06-07T14:18:39.206" v="61901"/>
          <ac:spMkLst>
            <pc:docMk/>
            <pc:sldMk cId="1450446987" sldId="264"/>
            <ac:spMk id="109" creationId="{6190254C-63EA-3137-CA9E-EDEF286647D9}"/>
          </ac:spMkLst>
        </pc:spChg>
        <pc:spChg chg="add del mod modVis">
          <ac:chgData name="Joelle Brehm" userId="a518f54c-6985-42c0-8041-2bb16a414839" providerId="ADAL" clId="{3C9B919C-9CFF-4DBD-AE30-72DF3107A706}" dt="2023-06-05T19:16:04.862" v="3978"/>
          <ac:spMkLst>
            <pc:docMk/>
            <pc:sldMk cId="1450446987" sldId="264"/>
            <ac:spMk id="110" creationId="{BAE88701-AFF4-D667-B3FF-0403FDE6864F}"/>
          </ac:spMkLst>
        </pc:spChg>
        <pc:spChg chg="add del mod modVis">
          <ac:chgData name="Joelle Brehm" userId="a518f54c-6985-42c0-8041-2bb16a414839" providerId="ADAL" clId="{3C9B919C-9CFF-4DBD-AE30-72DF3107A706}" dt="2023-06-07T14:17:55.826" v="59021"/>
          <ac:spMkLst>
            <pc:docMk/>
            <pc:sldMk cId="1450446987" sldId="264"/>
            <ac:spMk id="111" creationId="{C8DC22EA-0DC4-34DC-3804-1B8DF97AD5C0}"/>
          </ac:spMkLst>
        </pc:spChg>
        <pc:spChg chg="mod">
          <ac:chgData name="Joelle Brehm" userId="a518f54c-6985-42c0-8041-2bb16a414839" providerId="ADAL" clId="{3C9B919C-9CFF-4DBD-AE30-72DF3107A706}" dt="2023-06-07T14:18:49.839" v="62044"/>
          <ac:spMkLst>
            <pc:docMk/>
            <pc:sldMk cId="1450446987" sldId="264"/>
            <ac:spMk id="112" creationId="{B1E326C2-2EEE-43D5-A109-95DDFA51B73B}"/>
          </ac:spMkLst>
        </pc:spChg>
        <pc:spChg chg="add mod replST">
          <ac:chgData name="Joelle Brehm" userId="a518f54c-6985-42c0-8041-2bb16a414839" providerId="ADAL" clId="{3C9B919C-9CFF-4DBD-AE30-72DF3107A706}" dt="2023-06-07T14:18:39.208" v="61911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3C9B919C-9CFF-4DBD-AE30-72DF3107A706}" dt="2023-06-07T14:18:39.197" v="61865"/>
          <ac:spMkLst>
            <pc:docMk/>
            <pc:sldMk cId="1450446987" sldId="264"/>
            <ac:spMk id="114" creationId="{5B68E733-D471-6032-5D77-FB849AB2ADCF}"/>
          </ac:spMkLst>
        </pc:spChg>
        <pc:spChg chg="mod">
          <ac:chgData name="Joelle Brehm" userId="a518f54c-6985-42c0-8041-2bb16a414839" providerId="ADAL" clId="{3C9B919C-9CFF-4DBD-AE30-72DF3107A706}" dt="2023-06-07T14:18:49.840" v="62046"/>
          <ac:spMkLst>
            <pc:docMk/>
            <pc:sldMk cId="1450446987" sldId="264"/>
            <ac:spMk id="115" creationId="{F83AC835-A6EF-4A7F-8442-CDE1F97238F5}"/>
          </ac:spMkLst>
        </pc:spChg>
        <pc:spChg chg="add del mod modVis">
          <ac:chgData name="Joelle Brehm" userId="a518f54c-6985-42c0-8041-2bb16a414839" providerId="ADAL" clId="{3C9B919C-9CFF-4DBD-AE30-72DF3107A706}" dt="2023-06-05T19:16:09.583" v="4253"/>
          <ac:spMkLst>
            <pc:docMk/>
            <pc:sldMk cId="1450446987" sldId="264"/>
            <ac:spMk id="116" creationId="{E9EDFCC6-29AD-DB56-0879-CA44F48EF077}"/>
          </ac:spMkLst>
        </pc:spChg>
        <pc:spChg chg="mod">
          <ac:chgData name="Joelle Brehm" userId="a518f54c-6985-42c0-8041-2bb16a414839" providerId="ADAL" clId="{3C9B919C-9CFF-4DBD-AE30-72DF3107A706}" dt="2023-06-07T14:18:49.838" v="62042"/>
          <ac:spMkLst>
            <pc:docMk/>
            <pc:sldMk cId="1450446987" sldId="264"/>
            <ac:spMk id="117" creationId="{CA507393-C271-461C-833F-D27183C2BAD3}"/>
          </ac:spMkLst>
        </pc:spChg>
        <pc:spChg chg="mod">
          <ac:chgData name="Joelle Brehm" userId="a518f54c-6985-42c0-8041-2bb16a414839" providerId="ADAL" clId="{3C9B919C-9CFF-4DBD-AE30-72DF3107A706}" dt="2023-06-07T14:18:39.200" v="61878"/>
          <ac:spMkLst>
            <pc:docMk/>
            <pc:sldMk cId="1450446987" sldId="264"/>
            <ac:spMk id="118" creationId="{5EDAD042-B830-C9D1-8CBE-2AF11422AA75}"/>
          </ac:spMkLst>
        </pc:spChg>
        <pc:spChg chg="add del mod modVis">
          <ac:chgData name="Joelle Brehm" userId="a518f54c-6985-42c0-8041-2bb16a414839" providerId="ADAL" clId="{3C9B919C-9CFF-4DBD-AE30-72DF3107A706}" dt="2023-06-07T14:17:58.227" v="59239"/>
          <ac:spMkLst>
            <pc:docMk/>
            <pc:sldMk cId="1450446987" sldId="264"/>
            <ac:spMk id="119" creationId="{2E0268DD-193A-2B77-A0A4-32C8BF7484F7}"/>
          </ac:spMkLst>
        </pc:spChg>
        <pc:spChg chg="mod">
          <ac:chgData name="Joelle Brehm" userId="a518f54c-6985-42c0-8041-2bb16a414839" providerId="ADAL" clId="{3C9B919C-9CFF-4DBD-AE30-72DF3107A706}" dt="2023-06-07T14:18:39.222" v="61971"/>
          <ac:spMkLst>
            <pc:docMk/>
            <pc:sldMk cId="1450446987" sldId="264"/>
            <ac:spMk id="121" creationId="{476A269C-5CB6-E359-9D54-D0E45330A526}"/>
          </ac:spMkLst>
        </pc:spChg>
        <pc:spChg chg="del mod">
          <ac:chgData name="Joelle Brehm" userId="a518f54c-6985-42c0-8041-2bb16a414839" providerId="ADAL" clId="{3C9B919C-9CFF-4DBD-AE30-72DF3107A706}" dt="2023-06-05T19:15:26.288" v="1954"/>
          <ac:spMkLst>
            <pc:docMk/>
            <pc:sldMk cId="1450446987" sldId="264"/>
            <ac:spMk id="122" creationId="{92EF330F-BE02-28EB-A048-870C44A741ED}"/>
          </ac:spMkLst>
        </pc:spChg>
        <pc:spChg chg="add del mod modVis">
          <ac:chgData name="Joelle Brehm" userId="a518f54c-6985-42c0-8041-2bb16a414839" providerId="ADAL" clId="{3C9B919C-9CFF-4DBD-AE30-72DF3107A706}" dt="2023-06-07T14:18:00.926" v="59544"/>
          <ac:spMkLst>
            <pc:docMk/>
            <pc:sldMk cId="1450446987" sldId="264"/>
            <ac:spMk id="123" creationId="{ED2B07F3-D60E-589B-41CE-41E3D9AB1F1A}"/>
          </ac:spMkLst>
        </pc:spChg>
        <pc:spChg chg="add del mod replST">
          <ac:chgData name="Joelle Brehm" userId="a518f54c-6985-42c0-8041-2bb16a414839" providerId="ADAL" clId="{3C9B919C-9CFF-4DBD-AE30-72DF3107A706}" dt="2023-06-07T14:18:01.901" v="59619"/>
          <ac:spMkLst>
            <pc:docMk/>
            <pc:sldMk cId="1450446987" sldId="264"/>
            <ac:spMk id="124" creationId="{7CAA3B95-4C78-4122-BECA-B5FB0F3F3764}"/>
          </ac:spMkLst>
        </pc:spChg>
        <pc:spChg chg="del mod">
          <ac:chgData name="Joelle Brehm" userId="a518f54c-6985-42c0-8041-2bb16a414839" providerId="ADAL" clId="{3C9B919C-9CFF-4DBD-AE30-72DF3107A706}" dt="2023-06-05T19:15:58.140" v="3477"/>
          <ac:spMkLst>
            <pc:docMk/>
            <pc:sldMk cId="1450446987" sldId="264"/>
            <ac:spMk id="125" creationId="{26A4E280-203D-809C-945E-C61F80327FD2}"/>
          </ac:spMkLst>
        </pc:spChg>
        <pc:spChg chg="add del mod modVis">
          <ac:chgData name="Joelle Brehm" userId="a518f54c-6985-42c0-8041-2bb16a414839" providerId="ADAL" clId="{3C9B919C-9CFF-4DBD-AE30-72DF3107A706}" dt="2023-06-07T14:18:01.968" v="59772"/>
          <ac:spMkLst>
            <pc:docMk/>
            <pc:sldMk cId="1450446987" sldId="264"/>
            <ac:spMk id="126" creationId="{4060D32F-2360-B316-A14F-F3B9A4136148}"/>
          </ac:spMkLst>
        </pc:spChg>
        <pc:spChg chg="add del mod modVis">
          <ac:chgData name="Joelle Brehm" userId="a518f54c-6985-42c0-8041-2bb16a414839" providerId="ADAL" clId="{3C9B919C-9CFF-4DBD-AE30-72DF3107A706}" dt="2023-06-07T14:18:13.412" v="60081"/>
          <ac:spMkLst>
            <pc:docMk/>
            <pc:sldMk cId="1450446987" sldId="264"/>
            <ac:spMk id="128" creationId="{C13F1FD9-2652-3B48-9A58-71C8FA792B57}"/>
          </ac:spMkLst>
        </pc:spChg>
        <pc:spChg chg="mod">
          <ac:chgData name="Joelle Brehm" userId="a518f54c-6985-42c0-8041-2bb16a414839" providerId="ADAL" clId="{3C9B919C-9CFF-4DBD-AE30-72DF3107A706}" dt="2023-06-07T14:18:39.223" v="61975"/>
          <ac:spMkLst>
            <pc:docMk/>
            <pc:sldMk cId="1450446987" sldId="264"/>
            <ac:spMk id="129" creationId="{556E1ACB-04B2-5FBB-E211-5E44E25F9DFA}"/>
          </ac:spMkLst>
        </pc:spChg>
        <pc:spChg chg="add del mod replST">
          <ac:chgData name="Joelle Brehm" userId="a518f54c-6985-42c0-8041-2bb16a414839" providerId="ADAL" clId="{3C9B919C-9CFF-4DBD-AE30-72DF3107A706}" dt="2023-06-07T14:18:14.106" v="60158"/>
          <ac:spMkLst>
            <pc:docMk/>
            <pc:sldMk cId="1450446987" sldId="264"/>
            <ac:spMk id="130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7T14:18:14.173" v="60311"/>
          <ac:spMkLst>
            <pc:docMk/>
            <pc:sldMk cId="1450446987" sldId="264"/>
            <ac:spMk id="132" creationId="{4C270B1F-8EA3-B836-FEE2-FC410F49A36B}"/>
          </ac:spMkLst>
        </pc:spChg>
        <pc:spChg chg="del mod">
          <ac:chgData name="Joelle Brehm" userId="a518f54c-6985-42c0-8041-2bb16a414839" providerId="ADAL" clId="{3C9B919C-9CFF-4DBD-AE30-72DF3107A706}" dt="2023-06-05T19:15:26.287" v="1953"/>
          <ac:spMkLst>
            <pc:docMk/>
            <pc:sldMk cId="1450446987" sldId="264"/>
            <ac:spMk id="132" creationId="{9EDDB67C-1B49-4A3F-6ED6-DE0CC9043B37}"/>
          </ac:spMkLst>
        </pc:spChg>
        <pc:spChg chg="mod">
          <ac:chgData name="Joelle Brehm" userId="a518f54c-6985-42c0-8041-2bb16a414839" providerId="ADAL" clId="{3C9B919C-9CFF-4DBD-AE30-72DF3107A706}" dt="2023-06-07T14:18:39.223" v="61976"/>
          <ac:spMkLst>
            <pc:docMk/>
            <pc:sldMk cId="1450446987" sldId="264"/>
            <ac:spMk id="133" creationId="{27E751A0-7D1F-8C13-F04F-59DC6E236D65}"/>
          </ac:spMkLst>
        </pc:spChg>
        <pc:spChg chg="mod">
          <ac:chgData name="Joelle Brehm" userId="a518f54c-6985-42c0-8041-2bb16a414839" providerId="ADAL" clId="{3C9B919C-9CFF-4DBD-AE30-72DF3107A706}" dt="2023-06-07T14:18:39.203" v="61891"/>
          <ac:spMkLst>
            <pc:docMk/>
            <pc:sldMk cId="1450446987" sldId="264"/>
            <ac:spMk id="135" creationId="{157CAC38-1013-FF7F-5384-7241D692C85F}"/>
          </ac:spMkLst>
        </pc:spChg>
        <pc:spChg chg="mod">
          <ac:chgData name="Joelle Brehm" userId="a518f54c-6985-42c0-8041-2bb16a414839" providerId="ADAL" clId="{3C9B919C-9CFF-4DBD-AE30-72DF3107A706}" dt="2023-06-07T14:18:39.218" v="61954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3C9B919C-9CFF-4DBD-AE30-72DF3107A706}" dt="2023-06-07T14:18:39.206" v="61903"/>
          <ac:spMkLst>
            <pc:docMk/>
            <pc:sldMk cId="1450446987" sldId="264"/>
            <ac:spMk id="137" creationId="{9E2688B6-E861-7EEB-63C2-D727A9E9A01E}"/>
          </ac:spMkLst>
        </pc:spChg>
        <pc:spChg chg="add del mod modVis">
          <ac:chgData name="Joelle Brehm" userId="a518f54c-6985-42c0-8041-2bb16a414839" providerId="ADAL" clId="{3C9B919C-9CFF-4DBD-AE30-72DF3107A706}" dt="2023-06-07T14:18:17.558" v="60537"/>
          <ac:spMkLst>
            <pc:docMk/>
            <pc:sldMk cId="1450446987" sldId="264"/>
            <ac:spMk id="138" creationId="{E4F9AC04-D23D-519F-F860-B3DB7BBBCF12}"/>
          </ac:spMkLst>
        </pc:spChg>
        <pc:spChg chg="add del mod modVis">
          <ac:chgData name="Joelle Brehm" userId="a518f54c-6985-42c0-8041-2bb16a414839" providerId="ADAL" clId="{3C9B919C-9CFF-4DBD-AE30-72DF3107A706}" dt="2023-06-07T14:18:21.097" v="60848"/>
          <ac:spMkLst>
            <pc:docMk/>
            <pc:sldMk cId="1450446987" sldId="264"/>
            <ac:spMk id="140" creationId="{FF8C0156-B724-E8DB-8352-5D396E006D08}"/>
          </ac:spMkLst>
        </pc:spChg>
        <pc:spChg chg="add mod replST">
          <ac:chgData name="Joelle Brehm" userId="a518f54c-6985-42c0-8041-2bb16a414839" providerId="ADAL" clId="{3C9B919C-9CFF-4DBD-AE30-72DF3107A706}" dt="2023-06-07T14:18:39.219" v="61958"/>
          <ac:spMkLst>
            <pc:docMk/>
            <pc:sldMk cId="1450446987" sldId="264"/>
            <ac:spMk id="14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18:39.224" v="61978"/>
          <ac:spMkLst>
            <pc:docMk/>
            <pc:sldMk cId="1450446987" sldId="264"/>
            <ac:spMk id="142" creationId="{4C243CA7-30C6-C41B-1F6A-8A2CF12A5651}"/>
          </ac:spMkLst>
        </pc:spChg>
        <pc:spChg chg="add del mod modVis">
          <ac:chgData name="Joelle Brehm" userId="a518f54c-6985-42c0-8041-2bb16a414839" providerId="ADAL" clId="{3C9B919C-9CFF-4DBD-AE30-72DF3107A706}" dt="2023-06-07T14:18:22.586" v="61062"/>
          <ac:spMkLst>
            <pc:docMk/>
            <pc:sldMk cId="1450446987" sldId="264"/>
            <ac:spMk id="144" creationId="{1F026E62-C775-98AE-8E02-B4B437692709}"/>
          </ac:spMkLst>
        </pc:spChg>
        <pc:spChg chg="del mod">
          <ac:chgData name="Joelle Brehm" userId="a518f54c-6985-42c0-8041-2bb16a414839" providerId="ADAL" clId="{3C9B919C-9CFF-4DBD-AE30-72DF3107A706}" dt="2023-06-05T19:15:42.562" v="2725"/>
          <ac:spMkLst>
            <pc:docMk/>
            <pc:sldMk cId="1450446987" sldId="264"/>
            <ac:spMk id="145" creationId="{523527CE-79B8-0225-EF3F-3F7C02ABE1EA}"/>
          </ac:spMkLst>
        </pc:spChg>
        <pc:spChg chg="del mod">
          <ac:chgData name="Joelle Brehm" userId="a518f54c-6985-42c0-8041-2bb16a414839" providerId="ADAL" clId="{3C9B919C-9CFF-4DBD-AE30-72DF3107A706}" dt="2023-06-07T14:17:58.161" v="59086"/>
          <ac:spMkLst>
            <pc:docMk/>
            <pc:sldMk cId="1450446987" sldId="264"/>
            <ac:spMk id="148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7T14:18:36.797" v="61811"/>
          <ac:spMkLst>
            <pc:docMk/>
            <pc:sldMk cId="1450446987" sldId="264"/>
            <ac:spMk id="149" creationId="{8BE34513-AEC8-7814-0BC8-1B16345CF733}"/>
          </ac:spMkLst>
        </pc:spChg>
        <pc:spChg chg="del mod">
          <ac:chgData name="Joelle Brehm" userId="a518f54c-6985-42c0-8041-2bb16a414839" providerId="ADAL" clId="{3C9B919C-9CFF-4DBD-AE30-72DF3107A706}" dt="2023-06-05T19:15:42.562" v="2724"/>
          <ac:spMkLst>
            <pc:docMk/>
            <pc:sldMk cId="1450446987" sldId="264"/>
            <ac:spMk id="150" creationId="{89FE12FE-A5FA-9B21-B5F5-E16D6E0804CA}"/>
          </ac:spMkLst>
        </pc:spChg>
        <pc:spChg chg="mod">
          <ac:chgData name="Joelle Brehm" userId="a518f54c-6985-42c0-8041-2bb16a414839" providerId="ADAL" clId="{3C9B919C-9CFF-4DBD-AE30-72DF3107A706}" dt="2023-06-07T14:18:39.224" v="61979"/>
          <ac:spMkLst>
            <pc:docMk/>
            <pc:sldMk cId="1450446987" sldId="264"/>
            <ac:spMk id="151" creationId="{7EF7CCB6-B417-DC51-1AB2-68262CB2FA75}"/>
          </ac:spMkLst>
        </pc:spChg>
        <pc:spChg chg="mod">
          <ac:chgData name="Joelle Brehm" userId="a518f54c-6985-42c0-8041-2bb16a414839" providerId="ADAL" clId="{3C9B919C-9CFF-4DBD-AE30-72DF3107A706}" dt="2023-06-07T14:18:39.224" v="61981"/>
          <ac:spMkLst>
            <pc:docMk/>
            <pc:sldMk cId="1450446987" sldId="264"/>
            <ac:spMk id="152" creationId="{DA6FB46B-FE82-345B-FD6E-877AEF916054}"/>
          </ac:spMkLst>
        </pc:spChg>
        <pc:spChg chg="mod">
          <ac:chgData name="Joelle Brehm" userId="a518f54c-6985-42c0-8041-2bb16a414839" providerId="ADAL" clId="{3C9B919C-9CFF-4DBD-AE30-72DF3107A706}" dt="2023-06-07T14:18:39.217" v="61950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3C9B919C-9CFF-4DBD-AE30-72DF3107A706}" dt="2023-06-07T14:18:49.837" v="62036"/>
          <ac:spMkLst>
            <pc:docMk/>
            <pc:sldMk cId="1450446987" sldId="264"/>
            <ac:spMk id="162" creationId="{A162EB60-F907-7F32-BE30-A5DD5012E9B2}"/>
          </ac:spMkLst>
        </pc:spChg>
        <pc:spChg chg="del mod">
          <ac:chgData name="Joelle Brehm" userId="a518f54c-6985-42c0-8041-2bb16a414839" providerId="ADAL" clId="{3C9B919C-9CFF-4DBD-AE30-72DF3107A706}" dt="2023-06-05T19:16:12.403" v="4257"/>
          <ac:spMkLst>
            <pc:docMk/>
            <pc:sldMk cId="1450446987" sldId="264"/>
            <ac:spMk id="174" creationId="{721843FC-D9CE-BA0F-94A9-0E5C7F77618A}"/>
          </ac:spMkLst>
        </pc:spChg>
        <pc:spChg chg="mod">
          <ac:chgData name="Joelle Brehm" userId="a518f54c-6985-42c0-8041-2bb16a414839" providerId="ADAL" clId="{3C9B919C-9CFF-4DBD-AE30-72DF3107A706}" dt="2023-06-07T14:18:39.209" v="61915"/>
          <ac:spMkLst>
            <pc:docMk/>
            <pc:sldMk cId="1450446987" sldId="264"/>
            <ac:spMk id="177" creationId="{5EF5A94E-675C-C3E5-116B-9D99173D50D9}"/>
          </ac:spMkLst>
        </pc:spChg>
        <pc:spChg chg="del mod">
          <ac:chgData name="Joelle Brehm" userId="a518f54c-6985-42c0-8041-2bb16a414839" providerId="ADAL" clId="{3C9B919C-9CFF-4DBD-AE30-72DF3107A706}" dt="2023-06-05T19:16:12.403" v="4256"/>
          <ac:spMkLst>
            <pc:docMk/>
            <pc:sldMk cId="1450446987" sldId="264"/>
            <ac:spMk id="179" creationId="{383C8964-5CC7-CBEE-BB38-3CA03DF02E19}"/>
          </ac:spMkLst>
        </pc:spChg>
        <pc:spChg chg="mod">
          <ac:chgData name="Joelle Brehm" userId="a518f54c-6985-42c0-8041-2bb16a414839" providerId="ADAL" clId="{3C9B919C-9CFF-4DBD-AE30-72DF3107A706}" dt="2023-06-07T14:18:39.212" v="61926"/>
          <ac:spMkLst>
            <pc:docMk/>
            <pc:sldMk cId="1450446987" sldId="264"/>
            <ac:spMk id="180" creationId="{A86D3A91-516E-859E-8B91-49561B54A22D}"/>
          </ac:spMkLst>
        </pc:spChg>
        <pc:spChg chg="mod">
          <ac:chgData name="Joelle Brehm" userId="a518f54c-6985-42c0-8041-2bb16a414839" providerId="ADAL" clId="{3C9B919C-9CFF-4DBD-AE30-72DF3107A706}" dt="2023-06-07T14:18:39.225" v="61985"/>
          <ac:spMkLst>
            <pc:docMk/>
            <pc:sldMk cId="1450446987" sldId="264"/>
            <ac:spMk id="183" creationId="{AF9B10EE-106F-F48F-396B-6E0A5755F50A}"/>
          </ac:spMkLst>
        </pc:spChg>
        <pc:spChg chg="mod">
          <ac:chgData name="Joelle Brehm" userId="a518f54c-6985-42c0-8041-2bb16a414839" providerId="ADAL" clId="{3C9B919C-9CFF-4DBD-AE30-72DF3107A706}" dt="2023-06-07T14:18:39.197" v="61866"/>
          <ac:spMkLst>
            <pc:docMk/>
            <pc:sldMk cId="1450446987" sldId="264"/>
            <ac:spMk id="186" creationId="{6B41FF62-2B71-BDDC-6867-82772018D01F}"/>
          </ac:spMkLst>
        </pc:spChg>
        <pc:spChg chg="mod">
          <ac:chgData name="Joelle Brehm" userId="a518f54c-6985-42c0-8041-2bb16a414839" providerId="ADAL" clId="{3C9B919C-9CFF-4DBD-AE30-72DF3107A706}" dt="2023-06-07T14:18:39.218" v="61952"/>
          <ac:spMkLst>
            <pc:docMk/>
            <pc:sldMk cId="1450446987" sldId="264"/>
            <ac:spMk id="188" creationId="{3EAD5544-D356-497E-99A8-A208C0CDD275}"/>
          </ac:spMkLst>
        </pc:spChg>
        <pc:spChg chg="mod">
          <ac:chgData name="Joelle Brehm" userId="a518f54c-6985-42c0-8041-2bb16a414839" providerId="ADAL" clId="{3C9B919C-9CFF-4DBD-AE30-72DF3107A706}" dt="2023-06-07T14:18:39.199" v="61875"/>
          <ac:spMkLst>
            <pc:docMk/>
            <pc:sldMk cId="1450446987" sldId="264"/>
            <ac:spMk id="190" creationId="{B9C55F07-0B64-C081-E59D-1BDA2A37CE56}"/>
          </ac:spMkLst>
        </pc:spChg>
        <pc:spChg chg="mod">
          <ac:chgData name="Joelle Brehm" userId="a518f54c-6985-42c0-8041-2bb16a414839" providerId="ADAL" clId="{3C9B919C-9CFF-4DBD-AE30-72DF3107A706}" dt="2023-06-07T14:18:39.202" v="61888"/>
          <ac:spMkLst>
            <pc:docMk/>
            <pc:sldMk cId="1450446987" sldId="264"/>
            <ac:spMk id="193" creationId="{3D8BF698-E445-4938-7124-83C29C500F12}"/>
          </ac:spMkLst>
        </pc:spChg>
        <pc:spChg chg="mod">
          <ac:chgData name="Joelle Brehm" userId="a518f54c-6985-42c0-8041-2bb16a414839" providerId="ADAL" clId="{3C9B919C-9CFF-4DBD-AE30-72DF3107A706}" dt="2023-06-07T14:18:39.206" v="61902"/>
          <ac:spMkLst>
            <pc:docMk/>
            <pc:sldMk cId="1450446987" sldId="264"/>
            <ac:spMk id="195" creationId="{2816887B-399A-8554-0951-DD202BD9A4C3}"/>
          </ac:spMkLst>
        </pc:spChg>
        <pc:spChg chg="mod">
          <ac:chgData name="Joelle Brehm" userId="a518f54c-6985-42c0-8041-2bb16a414839" providerId="ADAL" clId="{3C9B919C-9CFF-4DBD-AE30-72DF3107A706}" dt="2023-06-07T14:18:39.205" v="61897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3C9B919C-9CFF-4DBD-AE30-72DF3107A706}" dt="2023-06-07T14:18:39.204" v="61893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3C9B919C-9CFF-4DBD-AE30-72DF3107A706}" dt="2023-06-07T14:18:39.207" v="61908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3C9B919C-9CFF-4DBD-AE30-72DF3107A706}" dt="2023-06-07T14:18:39.221" v="61968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3C9B919C-9CFF-4DBD-AE30-72DF3107A706}" dt="2023-06-07T14:18:39.226" v="61990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3C9B919C-9CFF-4DBD-AE30-72DF3107A706}" dt="2023-06-07T14:18:49.854" v="62050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26.681" v="57240"/>
          <ac:graphicFrameMkLst>
            <pc:docMk/>
            <pc:sldMk cId="1450446987" sldId="264"/>
            <ac:graphicFrameMk id="14" creationId="{EE33D03D-CA41-A78B-B962-1AD287CF5419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5:22.953" v="1799"/>
          <ac:graphicFrameMkLst>
            <pc:docMk/>
            <pc:sldMk cId="1450446987" sldId="264"/>
            <ac:graphicFrameMk id="36" creationId="{67C687E2-4550-1985-8B60-FE25A9A73C91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29.585" v="57481"/>
          <ac:graphicFrameMkLst>
            <pc:docMk/>
            <pc:sldMk cId="1450446987" sldId="264"/>
            <ac:graphicFrameMk id="42" creationId="{96D157A7-9FE1-0661-1AE6-3CC46E2B2DEB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15:15.712" v="1526"/>
          <ac:graphicFrameMkLst>
            <pc:docMk/>
            <pc:sldMk cId="1450446987" sldId="264"/>
            <ac:graphicFrameMk id="42" creationId="{9AAD0899-BC8D-B8E7-F07F-5256DFE667F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5:26.336" v="2031"/>
          <ac:graphicFrameMkLst>
            <pc:docMk/>
            <pc:sldMk cId="1450446987" sldId="264"/>
            <ac:graphicFrameMk id="49" creationId="{33685790-2ACF-CED3-CDEE-1157BF662532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18:39.208" v="61913"/>
          <ac:graphicFrameMkLst>
            <pc:docMk/>
            <pc:sldMk cId="1450446987" sldId="264"/>
            <ac:graphicFrameMk id="50" creationId="{3B3B473F-5416-8AB1-44F2-5C30FA6418FC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15:35.447" v="2321"/>
          <ac:graphicFrameMkLst>
            <pc:docMk/>
            <pc:sldMk cId="1450446987" sldId="264"/>
            <ac:graphicFrameMk id="64" creationId="{80D4862F-1FD9-A163-C855-10351A4A3C23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31.277" v="57785"/>
          <ac:graphicFrameMkLst>
            <pc:docMk/>
            <pc:sldMk cId="1450446987" sldId="264"/>
            <ac:graphicFrameMk id="64" creationId="{F1125D0A-2C6E-6F72-9081-EAED80C9C668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5:39.660" v="2570"/>
          <ac:graphicFrameMkLst>
            <pc:docMk/>
            <pc:sldMk cId="1450446987" sldId="264"/>
            <ac:graphicFrameMk id="72" creationId="{D300BFA7-DB55-C384-08C0-20A7AE1E92F7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32.646" v="58014"/>
          <ac:graphicFrameMkLst>
            <pc:docMk/>
            <pc:sldMk cId="1450446987" sldId="264"/>
            <ac:graphicFrameMk id="83" creationId="{A1DE380A-8230-2205-595D-32FE615F5DF3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15:51.276" v="3071"/>
          <ac:graphicFrameMkLst>
            <pc:docMk/>
            <pc:sldMk cId="1450446987" sldId="264"/>
            <ac:graphicFrameMk id="85" creationId="{DC98659E-D2E2-EF2C-82E2-0311F133104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5:42.611" v="2802"/>
          <ac:graphicFrameMkLst>
            <pc:docMk/>
            <pc:sldMk cId="1450446987" sldId="264"/>
            <ac:graphicFrameMk id="87" creationId="{5779FB0B-2C47-C28A-E1C3-DA3A776136B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42.810" v="58200"/>
          <ac:graphicFrameMkLst>
            <pc:docMk/>
            <pc:sldMk cId="1450446987" sldId="264"/>
            <ac:graphicFrameMk id="87" creationId="{6BE7728D-D631-AB1A-E378-19B3644367C7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18:39.196" v="61861"/>
          <ac:graphicFrameMkLst>
            <pc:docMk/>
            <pc:sldMk cId="1450446987" sldId="264"/>
            <ac:graphicFrameMk id="88" creationId="{420413F3-E54C-F331-3B60-769439B6B381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48.081" v="58424"/>
          <ac:graphicFrameMkLst>
            <pc:docMk/>
            <pc:sldMk cId="1450446987" sldId="264"/>
            <ac:graphicFrameMk id="92" creationId="{354602D3-A2B6-F614-3B7F-8270962AB5E5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16:04.790" v="3827"/>
          <ac:graphicFrameMkLst>
            <pc:docMk/>
            <pc:sldMk cId="1450446987" sldId="264"/>
            <ac:graphicFrameMk id="94" creationId="{57739560-447B-5803-0FB5-B22EE2AB4D4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5:55.773" v="3323"/>
          <ac:graphicFrameMkLst>
            <pc:docMk/>
            <pc:sldMk cId="1450446987" sldId="264"/>
            <ac:graphicFrameMk id="98" creationId="{B52BE724-E39C-A326-87C1-8C01A398023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53.843" v="58637"/>
          <ac:graphicFrameMkLst>
            <pc:docMk/>
            <pc:sldMk cId="1450446987" sldId="264"/>
            <ac:graphicFrameMk id="100" creationId="{4D152AAD-EC7C-1114-D2B7-C53AC496E33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17:22.872" v="57015"/>
          <ac:graphicFrameMkLst>
            <pc:docMk/>
            <pc:sldMk cId="1450446987" sldId="264"/>
            <ac:graphicFrameMk id="101" creationId="{A9AF2870-12EF-1795-0879-8945420DA15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5:58.191" v="3536"/>
          <ac:graphicFrameMkLst>
            <pc:docMk/>
            <pc:sldMk cId="1450446987" sldId="264"/>
            <ac:graphicFrameMk id="105" creationId="{8F0EACFF-4D30-11B3-0F08-4CFD10D17E13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18:39.222" v="61970"/>
          <ac:graphicFrameMkLst>
            <pc:docMk/>
            <pc:sldMk cId="1450446987" sldId="264"/>
            <ac:graphicFrameMk id="107" creationId="{51B01BCC-6533-56C0-2210-5D3B30524568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55.771" v="58871"/>
          <ac:graphicFrameMkLst>
            <pc:docMk/>
            <pc:sldMk cId="1450446987" sldId="264"/>
            <ac:graphicFrameMk id="110" creationId="{DA9C3AEA-8CBF-8699-BE01-4A712ACD441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6:09.449" v="4101"/>
          <ac:graphicFrameMkLst>
            <pc:docMk/>
            <pc:sldMk cId="1450446987" sldId="264"/>
            <ac:graphicFrameMk id="111" creationId="{3D2CE570-8F81-42F3-5E0B-775B16738D7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7:58.163" v="59090"/>
          <ac:graphicFrameMkLst>
            <pc:docMk/>
            <pc:sldMk cId="1450446987" sldId="264"/>
            <ac:graphicFrameMk id="116" creationId="{2FD51E13-5C0E-48AF-793B-40141E94CE97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6:12.458" v="4334"/>
          <ac:graphicFrameMkLst>
            <pc:docMk/>
            <pc:sldMk cId="1450446987" sldId="264"/>
            <ac:graphicFrameMk id="119" creationId="{9FC693E0-4C7B-F447-073D-8F9E0CFAFE56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18:39.202" v="61887"/>
          <ac:graphicFrameMkLst>
            <pc:docMk/>
            <pc:sldMk cId="1450446987" sldId="264"/>
            <ac:graphicFrameMk id="120" creationId="{04B0C271-6F3A-F20F-63E6-A863028D329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00.864" v="59394"/>
          <ac:graphicFrameMkLst>
            <pc:docMk/>
            <pc:sldMk cId="1450446987" sldId="264"/>
            <ac:graphicFrameMk id="122" creationId="{ED773220-779C-3DB7-36AF-98AE4F701C67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01.903" v="59623"/>
          <ac:graphicFrameMkLst>
            <pc:docMk/>
            <pc:sldMk cId="1450446987" sldId="264"/>
            <ac:graphicFrameMk id="125" creationId="{0D225EC9-B1DE-56B3-762F-CA1FAF09F125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13.357" v="59931"/>
          <ac:graphicFrameMkLst>
            <pc:docMk/>
            <pc:sldMk cId="1450446987" sldId="264"/>
            <ac:graphicFrameMk id="127" creationId="{4F05E911-B4CB-78F4-8FFE-50E9794DBC7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14.108" v="60162"/>
          <ac:graphicFrameMkLst>
            <pc:docMk/>
            <pc:sldMk cId="1450446987" sldId="264"/>
            <ac:graphicFrameMk id="131" creationId="{113F7E6E-66EE-2C0E-6212-CAB72FC085E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17.498" v="60389"/>
          <ac:graphicFrameMkLst>
            <pc:docMk/>
            <pc:sldMk cId="1450446987" sldId="264"/>
            <ac:graphicFrameMk id="134" creationId="{28FC2187-CF2B-DD45-07CB-BF3898DE4DC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21.035" v="60699"/>
          <ac:graphicFrameMkLst>
            <pc:docMk/>
            <pc:sldMk cId="1450446987" sldId="264"/>
            <ac:graphicFrameMk id="139" creationId="{02DCF94B-212F-21BB-EFE8-EEDBDEFC0901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22.523" v="60913"/>
          <ac:graphicFrameMkLst>
            <pc:docMk/>
            <pc:sldMk cId="1450446987" sldId="264"/>
            <ac:graphicFrameMk id="143" creationId="{27580FBA-B35D-B393-40D7-5F46F02F67AB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26.759" v="61101"/>
          <ac:graphicFrameMkLst>
            <pc:docMk/>
            <pc:sldMk cId="1450446987" sldId="264"/>
            <ac:graphicFrameMk id="145" creationId="{3CE517C0-FEFC-158C-153F-D740D0D2729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36.744" v="61662"/>
          <ac:graphicFrameMkLst>
            <pc:docMk/>
            <pc:sldMk cId="1450446987" sldId="264"/>
            <ac:graphicFrameMk id="146" creationId="{E0E24187-4979-F0C4-EA33-2A1DB353EFEA}"/>
          </ac:graphicFrameMkLst>
        </pc:graphicFrameChg>
        <pc:graphicFrameChg chg="add mod ord replST delST">
          <ac:chgData name="Joelle Brehm" userId="a518f54c-6985-42c0-8041-2bb16a414839" providerId="ADAL" clId="{3C9B919C-9CFF-4DBD-AE30-72DF3107A706}" dt="2023-06-07T14:18:30.562" v="61475"/>
          <ac:graphicFrameMkLst>
            <pc:docMk/>
            <pc:sldMk cId="1450446987" sldId="264"/>
            <ac:graphicFrameMk id="147" creationId="{0139F397-77E5-CA53-57F8-F7778CC8340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18:39.178" v="61845"/>
          <ac:graphicFrameMkLst>
            <pc:docMk/>
            <pc:sldMk cId="1450446987" sldId="264"/>
            <ac:graphicFrameMk id="150" creationId="{CEEE9315-0CED-EBE2-C869-19B73EA414ED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18:39.217" v="61949"/>
          <ac:graphicFrameMkLst>
            <pc:docMk/>
            <pc:sldMk cId="1450446987" sldId="264"/>
            <ac:graphicFrameMk id="153" creationId="{80944A7A-1B6B-A89E-676C-0703D51D1679}"/>
          </ac:graphicFrameMkLst>
        </pc:graphicFrameChg>
        <pc:picChg chg="mod ord">
          <ac:chgData name="Joelle Brehm" userId="a518f54c-6985-42c0-8041-2bb16a414839" providerId="ADAL" clId="{3C9B919C-9CFF-4DBD-AE30-72DF3107A706}" dt="2023-06-07T14:18:39.195" v="61859"/>
          <ac:picMkLst>
            <pc:docMk/>
            <pc:sldMk cId="1450446987" sldId="264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3C9B919C-9CFF-4DBD-AE30-72DF3107A706}" dt="2023-06-05T19:14:56.448" v="1335" actId="478"/>
          <ac:picMkLst>
            <pc:docMk/>
            <pc:sldMk cId="1450446987" sldId="264"/>
            <ac:picMk id="8" creationId="{EB4EA5A4-5716-0EE2-C9EA-EF2FC00D4253}"/>
          </ac:picMkLst>
        </pc:picChg>
        <pc:picChg chg="add mod ord">
          <ac:chgData name="Joelle Brehm" userId="a518f54c-6985-42c0-8041-2bb16a414839" providerId="ADAL" clId="{3C9B919C-9CFF-4DBD-AE30-72DF3107A706}" dt="2023-06-07T14:18:39.194" v="61853"/>
          <ac:picMkLst>
            <pc:docMk/>
            <pc:sldMk cId="1450446987" sldId="264"/>
            <ac:picMk id="9" creationId="{64593511-B055-A031-3979-F41F5AD10498}"/>
          </ac:picMkLst>
        </pc:picChg>
      </pc:sldChg>
      <pc:sldChg chg="addSp delSp modSp mod">
        <pc:chgData name="Joelle Brehm" userId="a518f54c-6985-42c0-8041-2bb16a414839" providerId="ADAL" clId="{3C9B919C-9CFF-4DBD-AE30-72DF3107A706}" dt="2023-06-05T22:48:37.667" v="13560"/>
        <pc:sldMkLst>
          <pc:docMk/>
          <pc:sldMk cId="3436037945" sldId="265"/>
        </pc:sldMkLst>
        <pc:spChg chg="mod ord">
          <ac:chgData name="Joelle Brehm" userId="a518f54c-6985-42c0-8041-2bb16a414839" providerId="ADAL" clId="{3C9B919C-9CFF-4DBD-AE30-72DF3107A706}" dt="2023-06-05T22:48:37.655" v="13554"/>
          <ac:spMkLst>
            <pc:docMk/>
            <pc:sldMk cId="3436037945" sldId="265"/>
            <ac:spMk id="2" creationId="{6E232D48-9913-4AD2-87D8-2BF43FF429A0}"/>
          </ac:spMkLst>
        </pc:spChg>
        <pc:spChg chg="add del mod ord">
          <ac:chgData name="Joelle Brehm" userId="a518f54c-6985-42c0-8041-2bb16a414839" providerId="ADAL" clId="{3C9B919C-9CFF-4DBD-AE30-72DF3107A706}" dt="2023-06-05T22:48:00.957" v="12036" actId="478"/>
          <ac:spMkLst>
            <pc:docMk/>
            <pc:sldMk cId="3436037945" sldId="265"/>
            <ac:spMk id="3" creationId="{4CA1B919-2705-86FA-E886-A7A0A9D4F708}"/>
          </ac:spMkLst>
        </pc:spChg>
        <pc:spChg chg="add del mod modVis">
          <ac:chgData name="Joelle Brehm" userId="a518f54c-6985-42c0-8041-2bb16a414839" providerId="ADAL" clId="{3C9B919C-9CFF-4DBD-AE30-72DF3107A706}" dt="2023-06-05T22:47:20.477" v="11938"/>
          <ac:spMkLst>
            <pc:docMk/>
            <pc:sldMk cId="3436037945" sldId="265"/>
            <ac:spMk id="5" creationId="{9D660B3B-18C9-8306-28EF-76EB6BBEEF81}"/>
          </ac:spMkLst>
        </pc:spChg>
        <pc:spChg chg="mod ord">
          <ac:chgData name="Joelle Brehm" userId="a518f54c-6985-42c0-8041-2bb16a414839" providerId="ADAL" clId="{3C9B919C-9CFF-4DBD-AE30-72DF3107A706}" dt="2023-06-05T22:48:37.640" v="13489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2:48:37.649" v="13525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3C9B919C-9CFF-4DBD-AE30-72DF3107A706}" dt="2023-06-05T22:48:37.641" v="13494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48:37.643" v="13501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48:37.642" v="13495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48:37.642" v="13496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48:37.643" v="13500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48:37.642" v="13498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48:37.643" v="13502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48:37.642" v="13497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48:37.644" v="13503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48:37.643" v="13499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48:37.644" v="13504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48:37.644" v="13505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48:37.644" v="13507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48:37.645" v="13508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48:37.645" v="13509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48:37.645" v="13510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48:37.646" v="13512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48:37.646" v="13511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48:37.646" v="13513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48:37.647" v="13515"/>
          <ac:spMkLst>
            <pc:docMk/>
            <pc:sldMk cId="3436037945" sldId="265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48:37.647" v="13519"/>
          <ac:spMkLst>
            <pc:docMk/>
            <pc:sldMk cId="3436037945" sldId="265"/>
            <ac:spMk id="31" creationId="{618E9228-3A8F-6AD1-2FE9-4CA197D85F6A}"/>
          </ac:spMkLst>
        </pc:spChg>
        <pc:spChg chg="mod">
          <ac:chgData name="Joelle Brehm" userId="a518f54c-6985-42c0-8041-2bb16a414839" providerId="ADAL" clId="{3C9B919C-9CFF-4DBD-AE30-72DF3107A706}" dt="2023-06-05T22:48:37.648" v="13523"/>
          <ac:spMkLst>
            <pc:docMk/>
            <pc:sldMk cId="3436037945" sldId="265"/>
            <ac:spMk id="33" creationId="{228F34A2-7DB7-9D12-615E-E947B53315B2}"/>
          </ac:spMkLst>
        </pc:spChg>
        <pc:spChg chg="mod">
          <ac:chgData name="Joelle Brehm" userId="a518f54c-6985-42c0-8041-2bb16a414839" providerId="ADAL" clId="{3C9B919C-9CFF-4DBD-AE30-72DF3107A706}" dt="2023-06-05T22:48:37.648" v="13521"/>
          <ac:spMkLst>
            <pc:docMk/>
            <pc:sldMk cId="3436037945" sldId="265"/>
            <ac:spMk id="34" creationId="{A7A9CC08-35FC-512B-D6D9-BC2ABCCAD648}"/>
          </ac:spMkLst>
        </pc:spChg>
        <pc:spChg chg="mod">
          <ac:chgData name="Joelle Brehm" userId="a518f54c-6985-42c0-8041-2bb16a414839" providerId="ADAL" clId="{3C9B919C-9CFF-4DBD-AE30-72DF3107A706}" dt="2023-06-05T22:48:37.649" v="13524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3C9B919C-9CFF-4DBD-AE30-72DF3107A706}" dt="2023-06-05T22:48:37.647" v="13518"/>
          <ac:spMkLst>
            <pc:docMk/>
            <pc:sldMk cId="3436037945" sldId="265"/>
            <ac:spMk id="36" creationId="{0BBAC582-1932-357A-D778-84237C43CF05}"/>
          </ac:spMkLst>
        </pc:spChg>
        <pc:spChg chg="mod">
          <ac:chgData name="Joelle Brehm" userId="a518f54c-6985-42c0-8041-2bb16a414839" providerId="ADAL" clId="{3C9B919C-9CFF-4DBD-AE30-72DF3107A706}" dt="2023-06-05T22:48:37.649" v="13526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3C9B919C-9CFF-4DBD-AE30-72DF3107A706}" dt="2023-06-05T22:48:37.651" v="13528"/>
          <ac:spMkLst>
            <pc:docMk/>
            <pc:sldMk cId="3436037945" sldId="265"/>
            <ac:spMk id="39" creationId="{D3B6923F-EF2F-5CB1-1EC9-23DAFECD1AD3}"/>
          </ac:spMkLst>
        </pc:spChg>
        <pc:spChg chg="add del mod modVis">
          <ac:chgData name="Joelle Brehm" userId="a518f54c-6985-42c0-8041-2bb16a414839" providerId="ADAL" clId="{3C9B919C-9CFF-4DBD-AE30-72DF3107A706}" dt="2023-06-05T22:48:19.703" v="12291"/>
          <ac:spMkLst>
            <pc:docMk/>
            <pc:sldMk cId="3436037945" sldId="265"/>
            <ac:spMk id="40" creationId="{2DE01301-ED60-9E67-A5C7-2CB1AC37757B}"/>
          </ac:spMkLst>
        </pc:spChg>
        <pc:spChg chg="mod">
          <ac:chgData name="Joelle Brehm" userId="a518f54c-6985-42c0-8041-2bb16a414839" providerId="ADAL" clId="{3C9B919C-9CFF-4DBD-AE30-72DF3107A706}" dt="2023-06-05T22:48:37.651" v="13529"/>
          <ac:spMkLst>
            <pc:docMk/>
            <pc:sldMk cId="3436037945" sldId="265"/>
            <ac:spMk id="42" creationId="{C3432236-FD50-8E13-A648-6A2FCA3BBBAE}"/>
          </ac:spMkLst>
        </pc:spChg>
        <pc:spChg chg="add mod replST">
          <ac:chgData name="Joelle Brehm" userId="a518f54c-6985-42c0-8041-2bb16a414839" providerId="ADAL" clId="{3C9B919C-9CFF-4DBD-AE30-72DF3107A706}" dt="2023-06-05T22:48:37.649" v="13527"/>
          <ac:spMkLst>
            <pc:docMk/>
            <pc:sldMk cId="3436037945" sldId="265"/>
            <ac:spMk id="44" creationId="{16F84182-CECA-3CD8-7D89-52B39ECEBFE4}"/>
          </ac:spMkLst>
        </pc:spChg>
        <pc:spChg chg="add del mod modVis">
          <ac:chgData name="Joelle Brehm" userId="a518f54c-6985-42c0-8041-2bb16a414839" providerId="ADAL" clId="{3C9B919C-9CFF-4DBD-AE30-72DF3107A706}" dt="2023-06-05T22:48:29.962" v="12983"/>
          <ac:spMkLst>
            <pc:docMk/>
            <pc:sldMk cId="3436037945" sldId="265"/>
            <ac:spMk id="45" creationId="{93267332-AA02-5875-6137-830BFE7034A5}"/>
          </ac:spMkLst>
        </pc:spChg>
        <pc:spChg chg="add del mod ord replST">
          <ac:chgData name="Joelle Brehm" userId="a518f54c-6985-42c0-8041-2bb16a414839" providerId="ADAL" clId="{3C9B919C-9CFF-4DBD-AE30-72DF3107A706}" dt="2023-06-05T22:48:33.436" v="13301"/>
          <ac:spMkLst>
            <pc:docMk/>
            <pc:sldMk cId="3436037945" sldId="265"/>
            <ac:spMk id="46" creationId="{7CAA3B95-4C78-4122-BECA-B5FB0F3F3764}"/>
          </ac:spMkLst>
        </pc:spChg>
        <pc:spChg chg="add del mod ord replST">
          <ac:chgData name="Joelle Brehm" userId="a518f54c-6985-42c0-8041-2bb16a414839" providerId="ADAL" clId="{3C9B919C-9CFF-4DBD-AE30-72DF3107A706}" dt="2023-06-05T22:48:37.620" v="13477"/>
          <ac:spMkLst>
            <pc:docMk/>
            <pc:sldMk cId="3436037945" sldId="265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2:48:31.268" v="13199"/>
          <ac:spMkLst>
            <pc:docMk/>
            <pc:sldMk cId="3436037945" sldId="265"/>
            <ac:spMk id="49" creationId="{1B981749-E7C8-B4A6-3418-35A983846A31}"/>
          </ac:spMkLst>
        </pc:spChg>
        <pc:spChg chg="add del mod modVis">
          <ac:chgData name="Joelle Brehm" userId="a518f54c-6985-42c0-8041-2bb16a414839" providerId="ADAL" clId="{3C9B919C-9CFF-4DBD-AE30-72DF3107A706}" dt="2023-06-05T22:48:33.529" v="13403"/>
          <ac:spMkLst>
            <pc:docMk/>
            <pc:sldMk cId="3436037945" sldId="265"/>
            <ac:spMk id="51" creationId="{F7AE65D3-E8F1-B5AC-399C-1A740CED7AC3}"/>
          </ac:spMkLst>
        </pc:spChg>
        <pc:spChg chg="add del mod modVis">
          <ac:chgData name="Joelle Brehm" userId="a518f54c-6985-42c0-8041-2bb16a414839" providerId="ADAL" clId="{3C9B919C-9CFF-4DBD-AE30-72DF3107A706}" dt="2023-06-05T22:48:37.656" v="13558"/>
          <ac:spMkLst>
            <pc:docMk/>
            <pc:sldMk cId="3436037945" sldId="265"/>
            <ac:spMk id="53" creationId="{B5367B17-B841-713F-39E8-EA1B21008EF0}"/>
          </ac:spMkLst>
        </pc:spChg>
        <pc:spChg chg="del mod">
          <ac:chgData name="Joelle Brehm" userId="a518f54c-6985-42c0-8041-2bb16a414839" providerId="ADAL" clId="{3C9B919C-9CFF-4DBD-AE30-72DF3107A706}" dt="2023-06-05T22:48:33.233" v="13202"/>
          <ac:spMkLst>
            <pc:docMk/>
            <pc:sldMk cId="3436037945" sldId="265"/>
            <ac:spMk id="61" creationId="{F599914F-7CFA-83EB-6C93-AE0E3A7222EA}"/>
          </ac:spMkLst>
        </pc:spChg>
        <pc:spChg chg="mod">
          <ac:chgData name="Joelle Brehm" userId="a518f54c-6985-42c0-8041-2bb16a414839" providerId="ADAL" clId="{3C9B919C-9CFF-4DBD-AE30-72DF3107A706}" dt="2023-06-05T22:48:37.648" v="13522"/>
          <ac:spMkLst>
            <pc:docMk/>
            <pc:sldMk cId="3436037945" sldId="265"/>
            <ac:spMk id="62" creationId="{BEDB5BD1-9064-F903-1AE0-56AE80C9B05B}"/>
          </ac:spMkLst>
        </pc:spChg>
        <pc:spChg chg="mod">
          <ac:chgData name="Joelle Brehm" userId="a518f54c-6985-42c0-8041-2bb16a414839" providerId="ADAL" clId="{3C9B919C-9CFF-4DBD-AE30-72DF3107A706}" dt="2023-06-05T22:48:37.648" v="13520"/>
          <ac:spMkLst>
            <pc:docMk/>
            <pc:sldMk cId="3436037945" sldId="265"/>
            <ac:spMk id="65" creationId="{144DCADE-7870-4E5E-3516-0379A7BCFDF0}"/>
          </ac:spMkLst>
        </pc:spChg>
        <pc:spChg chg="mod ord">
          <ac:chgData name="Joelle Brehm" userId="a518f54c-6985-42c0-8041-2bb16a414839" providerId="ADAL" clId="{3C9B919C-9CFF-4DBD-AE30-72DF3107A706}" dt="2023-06-05T22:48:37.651" v="13531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48:37.652" v="13533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2:48:37.652" v="13535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48:37.653" v="13537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48:37.653" v="13539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48:37.653" v="13541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3C9B919C-9CFF-4DBD-AE30-72DF3107A706}" dt="2023-06-05T22:48:37.655" v="13552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3C9B919C-9CFF-4DBD-AE30-72DF3107A706}" dt="2023-06-05T22:48:37.654" v="13544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8:37.654" v="13546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8:37.655" v="13548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8:37.654" v="13545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48:37.655" v="13547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48:37.667" v="13560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8:37.641" v="13493"/>
          <ac:graphicFrameMkLst>
            <pc:docMk/>
            <pc:sldMk cId="3436037945" sldId="265"/>
            <ac:graphicFrameMk id="8" creationId="{B4C21660-33E8-4A09-3750-85B01D4CD5A9}"/>
          </ac:graphicFrameMkLst>
        </pc:graphicFrameChg>
        <pc:graphicFrameChg chg="del">
          <ac:chgData name="Joelle Brehm" userId="a518f54c-6985-42c0-8041-2bb16a414839" providerId="ADAL" clId="{3C9B919C-9CFF-4DBD-AE30-72DF3107A706}" dt="2023-06-05T22:47:20.428" v="11853"/>
          <ac:graphicFrameMkLst>
            <pc:docMk/>
            <pc:sldMk cId="3436037945" sldId="265"/>
            <ac:graphicFrameMk id="32" creationId="{20E550BE-70F4-9B27-2FF8-65D353AF93BC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8:19.647" v="12212"/>
          <ac:graphicFrameMkLst>
            <pc:docMk/>
            <pc:sldMk cId="3436037945" sldId="265"/>
            <ac:graphicFrameMk id="41" creationId="{4247C956-DD33-765A-609B-1F454A8D42E6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8:37.654" v="13543"/>
          <ac:graphicFrameMkLst>
            <pc:docMk/>
            <pc:sldMk cId="3436037945" sldId="265"/>
            <ac:graphicFrameMk id="43" creationId="{7CDA20E4-BFDA-B3CC-8CCE-D05EB35D0D1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8:31.173" v="13093"/>
          <ac:graphicFrameMkLst>
            <pc:docMk/>
            <pc:sldMk cId="3436037945" sldId="265"/>
            <ac:graphicFrameMk id="48" creationId="{C1D1BDB3-8DD8-755F-D7B6-E98B075F2BF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8:33.452" v="13322"/>
          <ac:graphicFrameMkLst>
            <pc:docMk/>
            <pc:sldMk cId="3436037945" sldId="265"/>
            <ac:graphicFrameMk id="50" creationId="{5F91A004-4D26-0A3D-92CD-D62B34A32273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8:37.621" v="13479"/>
          <ac:graphicFrameMkLst>
            <pc:docMk/>
            <pc:sldMk cId="3436037945" sldId="265"/>
            <ac:graphicFrameMk id="52" creationId="{81DEA920-1082-649A-B859-04823B7895A2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8:37.647" v="13517"/>
          <ac:graphicFrameMkLst>
            <pc:docMk/>
            <pc:sldMk cId="3436037945" sldId="265"/>
            <ac:graphicFrameMk id="54" creationId="{019C4182-E1A2-BB68-B3F3-C6C175574A27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8:29.859" v="12891"/>
          <ac:graphicFrameMkLst>
            <pc:docMk/>
            <pc:sldMk cId="3436037945" sldId="265"/>
            <ac:graphicFrameMk id="58" creationId="{708E9BC1-CDC5-F9AD-0DFD-6B4DBB4B091F}"/>
          </ac:graphicFrameMkLst>
        </pc:graphicFrameChg>
        <pc:picChg chg="add mod ord">
          <ac:chgData name="Joelle Brehm" userId="a518f54c-6985-42c0-8041-2bb16a414839" providerId="ADAL" clId="{3C9B919C-9CFF-4DBD-AE30-72DF3107A706}" dt="2023-06-05T22:48:37.640" v="13487"/>
          <ac:picMkLst>
            <pc:docMk/>
            <pc:sldMk cId="3436037945" sldId="265"/>
            <ac:picMk id="10" creationId="{BF2241D3-8061-204A-6F6D-B74D8F5335A9}"/>
          </ac:picMkLst>
        </pc:picChg>
        <pc:picChg chg="del mod ord">
          <ac:chgData name="Joelle Brehm" userId="a518f54c-6985-42c0-8041-2bb16a414839" providerId="ADAL" clId="{3C9B919C-9CFF-4DBD-AE30-72DF3107A706}" dt="2023-06-05T22:47:43.709" v="12030" actId="478"/>
          <ac:picMkLst>
            <pc:docMk/>
            <pc:sldMk cId="3436037945" sldId="265"/>
            <ac:picMk id="37" creationId="{D70C0369-D662-5484-F25B-4BAD1889F73C}"/>
          </ac:picMkLst>
        </pc:picChg>
        <pc:picChg chg="mod ord">
          <ac:chgData name="Joelle Brehm" userId="a518f54c-6985-42c0-8041-2bb16a414839" providerId="ADAL" clId="{3C9B919C-9CFF-4DBD-AE30-72DF3107A706}" dt="2023-06-05T22:48:37.655" v="13550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48:37.641" v="13491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47:02.338" v="11678"/>
        <pc:sldMkLst>
          <pc:docMk/>
          <pc:sldMk cId="2057745716" sldId="266"/>
        </pc:sldMkLst>
        <pc:spChg chg="mod ord">
          <ac:chgData name="Joelle Brehm" userId="a518f54c-6985-42c0-8041-2bb16a414839" providerId="ADAL" clId="{3C9B919C-9CFF-4DBD-AE30-72DF3107A706}" dt="2023-06-05T22:47:02.325" v="11672"/>
          <ac:spMkLst>
            <pc:docMk/>
            <pc:sldMk cId="2057745716" sldId="266"/>
            <ac:spMk id="2" creationId="{F6B4C531-23B2-41FF-8356-EA9D6490FDEB}"/>
          </ac:spMkLst>
        </pc:spChg>
        <pc:spChg chg="add del mod ord">
          <ac:chgData name="Joelle Brehm" userId="a518f54c-6985-42c0-8041-2bb16a414839" providerId="ADAL" clId="{3C9B919C-9CFF-4DBD-AE30-72DF3107A706}" dt="2023-06-05T22:46:33.072" v="10559" actId="478"/>
          <ac:spMkLst>
            <pc:docMk/>
            <pc:sldMk cId="2057745716" sldId="266"/>
            <ac:spMk id="5" creationId="{F7832EEF-62D2-9802-ECB9-A38AF2AC49B2}"/>
          </ac:spMkLst>
        </pc:spChg>
        <pc:spChg chg="mod ord">
          <ac:chgData name="Joelle Brehm" userId="a518f54c-6985-42c0-8041-2bb16a414839" providerId="ADAL" clId="{3C9B919C-9CFF-4DBD-AE30-72DF3107A706}" dt="2023-06-05T22:47:02.296" v="11590"/>
          <ac:spMkLst>
            <pc:docMk/>
            <pc:sldMk cId="2057745716" sldId="26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3C9B919C-9CFF-4DBD-AE30-72DF3107A706}" dt="2023-06-05T22:46:07.521" v="10454"/>
          <ac:spMkLst>
            <pc:docMk/>
            <pc:sldMk cId="2057745716" sldId="266"/>
            <ac:spMk id="8" creationId="{8B9491B1-F9A8-3D87-F880-961EAF4EBA6A}"/>
          </ac:spMkLst>
        </pc:spChg>
        <pc:spChg chg="mod">
          <ac:chgData name="Joelle Brehm" userId="a518f54c-6985-42c0-8041-2bb16a414839" providerId="ADAL" clId="{3C9B919C-9CFF-4DBD-AE30-72DF3107A706}" dt="2023-06-05T22:47:02.315" v="11634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3C9B919C-9CFF-4DBD-AE30-72DF3107A706}" dt="2023-06-05T22:47:02.299" v="11596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47:02.301" v="11599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47:02.302" v="11600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47:02.299" v="11595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47:02.301" v="11598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47:02.300" v="11597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47:02.302" v="11601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47:02.303" v="11602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47:02.303" v="11603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47:02.304" v="11604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47:02.304" v="11605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47:02.304" v="11606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47:02.305" v="11608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47:02.305" v="11609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47:02.306" v="11610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47:02.306" v="11611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47:02.306" v="11612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47:02.308" v="11613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47:02.308" v="11614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47:02.309" v="11616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47:02.314" v="11631"/>
          <ac:spMkLst>
            <pc:docMk/>
            <pc:sldMk cId="2057745716" sldId="266"/>
            <ac:spMk id="31" creationId="{541335D7-D042-7B18-CE6A-46B34332637A}"/>
          </ac:spMkLst>
        </pc:spChg>
        <pc:spChg chg="mod">
          <ac:chgData name="Joelle Brehm" userId="a518f54c-6985-42c0-8041-2bb16a414839" providerId="ADAL" clId="{3C9B919C-9CFF-4DBD-AE30-72DF3107A706}" dt="2023-06-05T22:47:02.318" v="11645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3C9B919C-9CFF-4DBD-AE30-72DF3107A706}" dt="2023-06-05T22:47:02.314" v="11633"/>
          <ac:spMkLst>
            <pc:docMk/>
            <pc:sldMk cId="2057745716" sldId="266"/>
            <ac:spMk id="33" creationId="{1F14E375-AE0C-B86C-5AA8-BDDE7B453E82}"/>
          </ac:spMkLst>
        </pc:spChg>
        <pc:spChg chg="mod">
          <ac:chgData name="Joelle Brehm" userId="a518f54c-6985-42c0-8041-2bb16a414839" providerId="ADAL" clId="{3C9B919C-9CFF-4DBD-AE30-72DF3107A706}" dt="2023-06-05T22:47:02.313" v="11630"/>
          <ac:spMkLst>
            <pc:docMk/>
            <pc:sldMk cId="2057745716" sldId="266"/>
            <ac:spMk id="34" creationId="{7686A18E-A22D-EB32-E9A2-F74C94C23822}"/>
          </ac:spMkLst>
        </pc:spChg>
        <pc:spChg chg="mod">
          <ac:chgData name="Joelle Brehm" userId="a518f54c-6985-42c0-8041-2bb16a414839" providerId="ADAL" clId="{3C9B919C-9CFF-4DBD-AE30-72DF3107A706}" dt="2023-06-05T22:47:02.314" v="11632"/>
          <ac:spMkLst>
            <pc:docMk/>
            <pc:sldMk cId="2057745716" sldId="266"/>
            <ac:spMk id="35" creationId="{3AD29896-D042-6C80-A93D-02668CD2E53C}"/>
          </ac:spMkLst>
        </pc:spChg>
        <pc:spChg chg="mod">
          <ac:chgData name="Joelle Brehm" userId="a518f54c-6985-42c0-8041-2bb16a414839" providerId="ADAL" clId="{3C9B919C-9CFF-4DBD-AE30-72DF3107A706}" dt="2023-06-05T22:47:02.315" v="11636"/>
          <ac:spMkLst>
            <pc:docMk/>
            <pc:sldMk cId="2057745716" sldId="266"/>
            <ac:spMk id="36" creationId="{5C57A8EA-9071-29F4-B24C-235140A0F3D6}"/>
          </ac:spMkLst>
        </pc:spChg>
        <pc:spChg chg="mod">
          <ac:chgData name="Joelle Brehm" userId="a518f54c-6985-42c0-8041-2bb16a414839" providerId="ADAL" clId="{3C9B919C-9CFF-4DBD-AE30-72DF3107A706}" dt="2023-06-05T22:47:02.315" v="11635"/>
          <ac:spMkLst>
            <pc:docMk/>
            <pc:sldMk cId="2057745716" sldId="266"/>
            <ac:spMk id="37" creationId="{597526D1-0B00-BB9B-B8E0-3CF7DA66C023}"/>
          </ac:spMkLst>
        </pc:spChg>
        <pc:spChg chg="mod">
          <ac:chgData name="Joelle Brehm" userId="a518f54c-6985-42c0-8041-2bb16a414839" providerId="ADAL" clId="{3C9B919C-9CFF-4DBD-AE30-72DF3107A706}" dt="2023-06-05T22:47:02.312" v="11626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3C9B919C-9CFF-4DBD-AE30-72DF3107A706}" dt="2023-06-05T22:47:02.316" v="11640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3C9B919C-9CFF-4DBD-AE30-72DF3107A706}" dt="2023-06-05T22:47:02.317" v="11644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3C9B919C-9CFF-4DBD-AE30-72DF3107A706}" dt="2023-06-05T22:47:02.316" v="11639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3C9B919C-9CFF-4DBD-AE30-72DF3107A706}" dt="2023-06-05T22:47:02.312" v="11625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3C9B919C-9CFF-4DBD-AE30-72DF3107A706}" dt="2023-06-05T22:47:02.317" v="11642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3C9B919C-9CFF-4DBD-AE30-72DF3107A706}" dt="2023-06-05T22:47:02.317" v="11643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3C9B919C-9CFF-4DBD-AE30-72DF3107A706}" dt="2023-06-05T22:47:02.316" v="11638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3C9B919C-9CFF-4DBD-AE30-72DF3107A706}" dt="2023-06-05T22:47:02.316" v="11641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3C9B919C-9CFF-4DBD-AE30-72DF3107A706}" dt="2023-06-05T22:47:02.315" v="11637"/>
          <ac:spMkLst>
            <pc:docMk/>
            <pc:sldMk cId="2057745716" sldId="266"/>
            <ac:spMk id="49" creationId="{CEED7133-C9B9-327C-BE9D-7D65501901CF}"/>
          </ac:spMkLst>
        </pc:spChg>
        <pc:spChg chg="add mod replST">
          <ac:chgData name="Joelle Brehm" userId="a518f54c-6985-42c0-8041-2bb16a414839" providerId="ADAL" clId="{3C9B919C-9CFF-4DBD-AE30-72DF3107A706}" dt="2023-06-05T22:47:02.318" v="11646"/>
          <ac:spMkLst>
            <pc:docMk/>
            <pc:sldMk cId="2057745716" sldId="266"/>
            <ac:spMk id="50" creationId="{4FCAC78F-B3E8-9365-B004-1D6F847392EE}"/>
          </ac:spMkLst>
        </pc:spChg>
        <pc:spChg chg="add mod replST">
          <ac:chgData name="Joelle Brehm" userId="a518f54c-6985-42c0-8041-2bb16a414839" providerId="ADAL" clId="{3C9B919C-9CFF-4DBD-AE30-72DF3107A706}" dt="2023-06-05T22:47:02.318" v="11647"/>
          <ac:spMkLst>
            <pc:docMk/>
            <pc:sldMk cId="2057745716" sldId="266"/>
            <ac:spMk id="51" creationId="{C9D2CB7B-D271-C497-DAD6-584C7ADF3223}"/>
          </ac:spMkLst>
        </pc:spChg>
        <pc:spChg chg="add del mod modVis">
          <ac:chgData name="Joelle Brehm" userId="a518f54c-6985-42c0-8041-2bb16a414839" providerId="ADAL" clId="{3C9B919C-9CFF-4DBD-AE30-72DF3107A706}" dt="2023-06-05T22:46:46.096" v="10959"/>
          <ac:spMkLst>
            <pc:docMk/>
            <pc:sldMk cId="2057745716" sldId="266"/>
            <ac:spMk id="52" creationId="{7650ADDF-8D85-C425-A1CA-CA23812B82F2}"/>
          </ac:spMkLst>
        </pc:spChg>
        <pc:spChg chg="add del mod modVis">
          <ac:chgData name="Joelle Brehm" userId="a518f54c-6985-42c0-8041-2bb16a414839" providerId="ADAL" clId="{3C9B919C-9CFF-4DBD-AE30-72DF3107A706}" dt="2023-06-05T22:46:48.040" v="11179"/>
          <ac:spMkLst>
            <pc:docMk/>
            <pc:sldMk cId="2057745716" sldId="266"/>
            <ac:spMk id="56" creationId="{84BCAF73-B640-CACF-BEE9-41F78AB158AC}"/>
          </ac:spMkLst>
        </pc:spChg>
        <pc:spChg chg="add del mod modVis">
          <ac:chgData name="Joelle Brehm" userId="a518f54c-6985-42c0-8041-2bb16a414839" providerId="ADAL" clId="{3C9B919C-9CFF-4DBD-AE30-72DF3107A706}" dt="2023-06-05T22:46:51.102" v="11430"/>
          <ac:spMkLst>
            <pc:docMk/>
            <pc:sldMk cId="2057745716" sldId="266"/>
            <ac:spMk id="58" creationId="{9E73AC15-407E-4F1D-1B41-42D7F64187B0}"/>
          </ac:spMkLst>
        </pc:spChg>
        <pc:spChg chg="add del mod modVis">
          <ac:chgData name="Joelle Brehm" userId="a518f54c-6985-42c0-8041-2bb16a414839" providerId="ADAL" clId="{3C9B919C-9CFF-4DBD-AE30-72DF3107A706}" dt="2023-06-05T22:47:02.326" v="11676"/>
          <ac:spMkLst>
            <pc:docMk/>
            <pc:sldMk cId="2057745716" sldId="266"/>
            <ac:spMk id="60" creationId="{2A9356D2-1339-CF3F-E2F2-7B7BAB7D0E50}"/>
          </ac:spMkLst>
        </pc:spChg>
        <pc:spChg chg="mod">
          <ac:chgData name="Joelle Brehm" userId="a518f54c-6985-42c0-8041-2bb16a414839" providerId="ADAL" clId="{3C9B919C-9CFF-4DBD-AE30-72DF3107A706}" dt="2023-06-05T22:47:02.313" v="11629"/>
          <ac:spMkLst>
            <pc:docMk/>
            <pc:sldMk cId="2057745716" sldId="266"/>
            <ac:spMk id="76" creationId="{039768EB-A261-18F6-0AF2-126D0A594518}"/>
          </ac:spMkLst>
        </pc:spChg>
        <pc:spChg chg="mod ord">
          <ac:chgData name="Joelle Brehm" userId="a518f54c-6985-42c0-8041-2bb16a414839" providerId="ADAL" clId="{3C9B919C-9CFF-4DBD-AE30-72DF3107A706}" dt="2023-06-05T22:47:02.319" v="11649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47:02.319" v="11651"/>
          <ac:spMkLst>
            <pc:docMk/>
            <pc:sldMk cId="2057745716" sldId="266"/>
            <ac:spMk id="79" creationId="{F1476AC4-694B-4D83-BFD8-8DCAA4BB1923}"/>
          </ac:spMkLst>
        </pc:spChg>
        <pc:spChg chg="del mod">
          <ac:chgData name="Joelle Brehm" userId="a518f54c-6985-42c0-8041-2bb16a414839" providerId="ADAL" clId="{3C9B919C-9CFF-4DBD-AE30-72DF3107A706}" dt="2023-06-05T22:46:50.965" v="11183"/>
          <ac:spMkLst>
            <pc:docMk/>
            <pc:sldMk cId="2057745716" sldId="266"/>
            <ac:spMk id="80" creationId="{EDCE0ED1-A9FD-E4A6-2595-6EF05BE1306D}"/>
          </ac:spMkLst>
        </pc:spChg>
        <pc:spChg chg="mod">
          <ac:chgData name="Joelle Brehm" userId="a518f54c-6985-42c0-8041-2bb16a414839" providerId="ADAL" clId="{3C9B919C-9CFF-4DBD-AE30-72DF3107A706}" dt="2023-06-05T22:47:02.313" v="11628"/>
          <ac:spMkLst>
            <pc:docMk/>
            <pc:sldMk cId="2057745716" sldId="266"/>
            <ac:spMk id="81" creationId="{2F6CBD17-E9F7-7AAD-1088-F3A86BFA66B9}"/>
          </ac:spMkLst>
        </pc:spChg>
        <pc:spChg chg="mod">
          <ac:chgData name="Joelle Brehm" userId="a518f54c-6985-42c0-8041-2bb16a414839" providerId="ADAL" clId="{3C9B919C-9CFF-4DBD-AE30-72DF3107A706}" dt="2023-06-05T22:47:02.312" v="11627"/>
          <ac:spMkLst>
            <pc:docMk/>
            <pc:sldMk cId="2057745716" sldId="266"/>
            <ac:spMk id="85" creationId="{B0302A9E-2AE8-8509-DD05-E53D8136B94C}"/>
          </ac:spMkLst>
        </pc:spChg>
        <pc:spChg chg="del mod">
          <ac:chgData name="Joelle Brehm" userId="a518f54c-6985-42c0-8041-2bb16a414839" providerId="ADAL" clId="{3C9B919C-9CFF-4DBD-AE30-72DF3107A706}" dt="2023-06-05T22:46:50.964" v="11182"/>
          <ac:spMkLst>
            <pc:docMk/>
            <pc:sldMk cId="2057745716" sldId="266"/>
            <ac:spMk id="89" creationId="{446A42F1-8592-3C11-57C5-D23E4FC224CD}"/>
          </ac:spMkLst>
        </pc:spChg>
        <pc:spChg chg="mod">
          <ac:chgData name="Joelle Brehm" userId="a518f54c-6985-42c0-8041-2bb16a414839" providerId="ADAL" clId="{3C9B919C-9CFF-4DBD-AE30-72DF3107A706}" dt="2023-06-05T22:47:02.311" v="11624"/>
          <ac:spMkLst>
            <pc:docMk/>
            <pc:sldMk cId="2057745716" sldId="266"/>
            <ac:spMk id="97" creationId="{9F50D670-332F-FEC4-F5FA-1274C5B2CB6D}"/>
          </ac:spMkLst>
        </pc:spChg>
        <pc:spChg chg="mod">
          <ac:chgData name="Joelle Brehm" userId="a518f54c-6985-42c0-8041-2bb16a414839" providerId="ADAL" clId="{3C9B919C-9CFF-4DBD-AE30-72DF3107A706}" dt="2023-06-05T22:47:02.309" v="11619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47:02.320" v="11653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47:02.320" v="11655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47:02.320" v="11657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47:02.321" v="11659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47:02.310" v="11621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7:02.311" v="11623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7:02.311" v="11622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7:02.310" v="11620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7:02.322" v="11664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7:02.323" v="11665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7:02.323" v="11666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7:02.321" v="11663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47:02.321" v="11662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47:02.338" v="11678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2:46:07.461" v="10350"/>
          <ac:graphicFrameMkLst>
            <pc:docMk/>
            <pc:sldMk cId="2057745716" sldId="266"/>
            <ac:graphicFrameMk id="9" creationId="{04D5EC77-5DD1-5002-93D3-48CB2E7E1582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7:02.298" v="11594"/>
          <ac:graphicFrameMkLst>
            <pc:docMk/>
            <pc:sldMk cId="2057745716" sldId="266"/>
            <ac:graphicFrameMk id="46" creationId="{8C50C563-5AE8-5A77-FB40-FACADEC46274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6:46.031" v="10861"/>
          <ac:graphicFrameMkLst>
            <pc:docMk/>
            <pc:sldMk cId="2057745716" sldId="266"/>
            <ac:graphicFrameMk id="53" creationId="{2A48335C-65D4-D06C-B3FD-A12590FB98E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6:47.966" v="11081"/>
          <ac:graphicFrameMkLst>
            <pc:docMk/>
            <pc:sldMk cId="2057745716" sldId="266"/>
            <ac:graphicFrameMk id="54" creationId="{405F0D36-C572-CD8C-B939-7E7F6B6013AE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7:02.270" v="11580"/>
          <ac:graphicFrameMkLst>
            <pc:docMk/>
            <pc:sldMk cId="2057745716" sldId="266"/>
            <ac:graphicFrameMk id="55" creationId="{8EA832FA-8BA9-C710-614C-125DABFB75C8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6:51.045" v="11334"/>
          <ac:graphicFrameMkLst>
            <pc:docMk/>
            <pc:sldMk cId="2057745716" sldId="266"/>
            <ac:graphicFrameMk id="57" creationId="{B6BE3DE7-DDB9-D14A-C6FC-DAB6BC6C62B9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7:02.309" v="11618"/>
          <ac:graphicFrameMkLst>
            <pc:docMk/>
            <pc:sldMk cId="2057745716" sldId="266"/>
            <ac:graphicFrameMk id="59" creationId="{B73DBA9A-BAE8-BF71-009C-E17B9D64D690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7:02.321" v="11661"/>
          <ac:graphicFrameMkLst>
            <pc:docMk/>
            <pc:sldMk cId="2057745716" sldId="266"/>
            <ac:graphicFrameMk id="61" creationId="{319F0BFE-32B2-A3D3-BF2E-0C3E2A9FC374}"/>
          </ac:graphicFrameMkLst>
        </pc:graphicFrameChg>
        <pc:picChg chg="del mod ord">
          <ac:chgData name="Joelle Brehm" userId="a518f54c-6985-42c0-8041-2bb16a414839" providerId="ADAL" clId="{3C9B919C-9CFF-4DBD-AE30-72DF3107A706}" dt="2023-06-05T22:46:26.712" v="10556" actId="478"/>
          <ac:picMkLst>
            <pc:docMk/>
            <pc:sldMk cId="2057745716" sldId="266"/>
            <ac:picMk id="3" creationId="{75630819-803C-C6F7-F0D9-255526AD8CDD}"/>
          </ac:picMkLst>
        </pc:picChg>
        <pc:picChg chg="add mod ord">
          <ac:chgData name="Joelle Brehm" userId="a518f54c-6985-42c0-8041-2bb16a414839" providerId="ADAL" clId="{3C9B919C-9CFF-4DBD-AE30-72DF3107A706}" dt="2023-06-05T22:47:02.296" v="11588"/>
          <ac:picMkLst>
            <pc:docMk/>
            <pc:sldMk cId="2057745716" sldId="266"/>
            <ac:picMk id="48" creationId="{F7C7A64D-155B-C2A5-B304-D7BD707D8E90}"/>
          </ac:picMkLst>
        </pc:picChg>
        <pc:picChg chg="mod ord">
          <ac:chgData name="Joelle Brehm" userId="a518f54c-6985-42c0-8041-2bb16a414839" providerId="ADAL" clId="{3C9B919C-9CFF-4DBD-AE30-72DF3107A706}" dt="2023-06-05T22:47:02.324" v="11670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3C9B919C-9CFF-4DBD-AE30-72DF3107A706}" dt="2023-06-05T22:47:02.324" v="11668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47:02.297" v="11592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49:48.469" v="15272"/>
        <pc:sldMkLst>
          <pc:docMk/>
          <pc:sldMk cId="3795966898" sldId="267"/>
        </pc:sldMkLst>
        <pc:spChg chg="mod ord">
          <ac:chgData name="Joelle Brehm" userId="a518f54c-6985-42c0-8041-2bb16a414839" providerId="ADAL" clId="{3C9B919C-9CFF-4DBD-AE30-72DF3107A706}" dt="2023-06-05T22:49:48.445" v="15266"/>
          <ac:spMkLst>
            <pc:docMk/>
            <pc:sldMk cId="3795966898" sldId="267"/>
            <ac:spMk id="2" creationId="{8ADF3DAD-89AE-4B6D-9F50-64987A2AE5AE}"/>
          </ac:spMkLst>
        </pc:spChg>
        <pc:spChg chg="add del mod ord">
          <ac:chgData name="Joelle Brehm" userId="a518f54c-6985-42c0-8041-2bb16a414839" providerId="ADAL" clId="{3C9B919C-9CFF-4DBD-AE30-72DF3107A706}" dt="2023-06-05T22:49:25.738" v="13915" actId="478"/>
          <ac:spMkLst>
            <pc:docMk/>
            <pc:sldMk cId="3795966898" sldId="267"/>
            <ac:spMk id="3" creationId="{DE1D2E9A-A0FF-EECF-45F1-F40E6B05CD82}"/>
          </ac:spMkLst>
        </pc:spChg>
        <pc:spChg chg="add del mod modVis">
          <ac:chgData name="Joelle Brehm" userId="a518f54c-6985-42c0-8041-2bb16a414839" providerId="ADAL" clId="{3C9B919C-9CFF-4DBD-AE30-72DF3107A706}" dt="2023-06-05T22:49:00.439" v="13824"/>
          <ac:spMkLst>
            <pc:docMk/>
            <pc:sldMk cId="3795966898" sldId="267"/>
            <ac:spMk id="5" creationId="{2DE21A97-8713-0774-D457-0CC1E0352385}"/>
          </ac:spMkLst>
        </pc:spChg>
        <pc:spChg chg="mod ord">
          <ac:chgData name="Joelle Brehm" userId="a518f54c-6985-42c0-8041-2bb16a414839" providerId="ADAL" clId="{3C9B919C-9CFF-4DBD-AE30-72DF3107A706}" dt="2023-06-05T22:49:48.412" v="15201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2:49:48.419" v="15213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49:48.419" v="15212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49:48.416" v="15208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49:48.415" v="15207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49:48.417" v="15210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49:48.414" v="15206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49:48.418" v="15211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49:48.416" v="15209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49:48.420" v="15214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49:48.421" v="15215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49:48.422" v="15216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49:48.422" v="15217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49:48.423" v="15219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49:48.426" v="15222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49:48.425" v="15221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49:48.424" v="15220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49:48.427" v="15225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49:48.426" v="15223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49:48.427" v="15224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49:48.428" v="15227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49:48.431" v="15235"/>
          <ac:spMkLst>
            <pc:docMk/>
            <pc:sldMk cId="3795966898" sldId="267"/>
            <ac:spMk id="31" creationId="{1FD446DE-B952-ACD9-BEA6-D4E54F5804A8}"/>
          </ac:spMkLst>
        </pc:spChg>
        <pc:spChg chg="mod">
          <ac:chgData name="Joelle Brehm" userId="a518f54c-6985-42c0-8041-2bb16a414839" providerId="ADAL" clId="{3C9B919C-9CFF-4DBD-AE30-72DF3107A706}" dt="2023-06-05T22:49:48.432" v="15236"/>
          <ac:spMkLst>
            <pc:docMk/>
            <pc:sldMk cId="3795966898" sldId="267"/>
            <ac:spMk id="33" creationId="{0AF17994-2A88-B5A9-1960-3D49D7A5E286}"/>
          </ac:spMkLst>
        </pc:spChg>
        <pc:spChg chg="mod">
          <ac:chgData name="Joelle Brehm" userId="a518f54c-6985-42c0-8041-2bb16a414839" providerId="ADAL" clId="{3C9B919C-9CFF-4DBD-AE30-72DF3107A706}" dt="2023-06-05T22:49:48.429" v="15231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3C9B919C-9CFF-4DBD-AE30-72DF3107A706}" dt="2023-06-05T22:49:48.432" v="15237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3C9B919C-9CFF-4DBD-AE30-72DF3107A706}" dt="2023-06-05T22:49:48.433" v="15238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3C9B919C-9CFF-4DBD-AE30-72DF3107A706}" dt="2023-06-05T22:49:48.430" v="15232"/>
          <ac:spMkLst>
            <pc:docMk/>
            <pc:sldMk cId="3795966898" sldId="267"/>
            <ac:spMk id="37" creationId="{2C18F645-6C7C-E805-959B-6BCC1E699323}"/>
          </ac:spMkLst>
        </pc:spChg>
        <pc:spChg chg="mod">
          <ac:chgData name="Joelle Brehm" userId="a518f54c-6985-42c0-8041-2bb16a414839" providerId="ADAL" clId="{3C9B919C-9CFF-4DBD-AE30-72DF3107A706}" dt="2023-06-05T22:49:48.434" v="15239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3C9B919C-9CFF-4DBD-AE30-72DF3107A706}" dt="2023-06-05T22:49:48.431" v="15234"/>
          <ac:spMkLst>
            <pc:docMk/>
            <pc:sldMk cId="3795966898" sldId="267"/>
            <ac:spMk id="39" creationId="{83832067-25B3-AFCE-E78B-F25DBF661146}"/>
          </ac:spMkLst>
        </pc:spChg>
        <pc:spChg chg="add mod replST">
          <ac:chgData name="Joelle Brehm" userId="a518f54c-6985-42c0-8041-2bb16a414839" providerId="ADAL" clId="{3C9B919C-9CFF-4DBD-AE30-72DF3107A706}" dt="2023-06-05T22:49:48.435" v="15241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3C9B919C-9CFF-4DBD-AE30-72DF3107A706}" dt="2023-06-05T22:49:48.434" v="15240"/>
          <ac:spMkLst>
            <pc:docMk/>
            <pc:sldMk cId="3795966898" sldId="267"/>
            <ac:spMk id="42" creationId="{00A8D05A-611B-5627-879F-426A9C84E224}"/>
          </ac:spMkLst>
        </pc:spChg>
        <pc:spChg chg="add del mod modVis">
          <ac:chgData name="Joelle Brehm" userId="a518f54c-6985-42c0-8041-2bb16a414839" providerId="ADAL" clId="{3C9B919C-9CFF-4DBD-AE30-72DF3107A706}" dt="2023-06-05T22:49:30.666" v="14606"/>
          <ac:spMkLst>
            <pc:docMk/>
            <pc:sldMk cId="3795966898" sldId="267"/>
            <ac:spMk id="43" creationId="{4A199D3A-8ED3-0D4C-E712-6535FA54D205}"/>
          </ac:spMkLst>
        </pc:spChg>
        <pc:spChg chg="add del mod ord replST">
          <ac:chgData name="Joelle Brehm" userId="a518f54c-6985-42c0-8041-2bb16a414839" providerId="ADAL" clId="{3C9B919C-9CFF-4DBD-AE30-72DF3107A706}" dt="2023-06-05T22:49:34.840" v="14902"/>
          <ac:spMkLst>
            <pc:docMk/>
            <pc:sldMk cId="3795966898" sldId="267"/>
            <ac:spMk id="44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2:49:32.419" v="14815"/>
          <ac:spMkLst>
            <pc:docMk/>
            <pc:sldMk cId="3795966898" sldId="267"/>
            <ac:spMk id="46" creationId="{61EDBCF9-1DA1-C0F2-8384-D1680ABA2CC3}"/>
          </ac:spMkLst>
        </pc:spChg>
        <pc:spChg chg="mod">
          <ac:chgData name="Joelle Brehm" userId="a518f54c-6985-42c0-8041-2bb16a414839" providerId="ADAL" clId="{3C9B919C-9CFF-4DBD-AE30-72DF3107A706}" dt="2023-06-05T22:49:48.443" v="15260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3C9B919C-9CFF-4DBD-AE30-72DF3107A706}" dt="2023-06-05T22:49:34.928" v="15014"/>
          <ac:spMkLst>
            <pc:docMk/>
            <pc:sldMk cId="3795966898" sldId="267"/>
            <ac:spMk id="49" creationId="{9E61FC5D-0653-A7A6-C542-826C4C2BBB90}"/>
          </ac:spMkLst>
        </pc:spChg>
        <pc:spChg chg="add del mod modVis">
          <ac:chgData name="Joelle Brehm" userId="a518f54c-6985-42c0-8041-2bb16a414839" providerId="ADAL" clId="{3C9B919C-9CFF-4DBD-AE30-72DF3107A706}" dt="2023-06-05T22:49:48.447" v="15270"/>
          <ac:spMkLst>
            <pc:docMk/>
            <pc:sldMk cId="3795966898" sldId="267"/>
            <ac:spMk id="51" creationId="{ADFF5E27-8C14-F612-AAFB-FE5E4149E7A9}"/>
          </ac:spMkLst>
        </pc:spChg>
        <pc:spChg chg="del mod">
          <ac:chgData name="Joelle Brehm" userId="a518f54c-6985-42c0-8041-2bb16a414839" providerId="ADAL" clId="{3C9B919C-9CFF-4DBD-AE30-72DF3107A706}" dt="2023-06-05T22:49:34.731" v="14818"/>
          <ac:spMkLst>
            <pc:docMk/>
            <pc:sldMk cId="3795966898" sldId="267"/>
            <ac:spMk id="62" creationId="{1C80596B-846E-DE2B-FE80-8D8C582D52DE}"/>
          </ac:spMkLst>
        </pc:spChg>
        <pc:spChg chg="mod">
          <ac:chgData name="Joelle Brehm" userId="a518f54c-6985-42c0-8041-2bb16a414839" providerId="ADAL" clId="{3C9B919C-9CFF-4DBD-AE30-72DF3107A706}" dt="2023-06-05T22:49:48.430" v="15233"/>
          <ac:spMkLst>
            <pc:docMk/>
            <pc:sldMk cId="3795966898" sldId="267"/>
            <ac:spMk id="63" creationId="{053D79FA-9959-DC9B-AD5D-DAC4EDF9A224}"/>
          </ac:spMkLst>
        </pc:spChg>
        <pc:spChg chg="mod">
          <ac:chgData name="Joelle Brehm" userId="a518f54c-6985-42c0-8041-2bb16a414839" providerId="ADAL" clId="{3C9B919C-9CFF-4DBD-AE30-72DF3107A706}" dt="2023-06-05T22:49:48.429" v="15230"/>
          <ac:spMkLst>
            <pc:docMk/>
            <pc:sldMk cId="3795966898" sldId="267"/>
            <ac:spMk id="65" creationId="{50F9D6DC-E276-FE03-B9BC-7046DB37B88B}"/>
          </ac:spMkLst>
        </pc:spChg>
        <pc:spChg chg="mod ord">
          <ac:chgData name="Joelle Brehm" userId="a518f54c-6985-42c0-8041-2bb16a414839" providerId="ADAL" clId="{3C9B919C-9CFF-4DBD-AE30-72DF3107A706}" dt="2023-06-05T22:49:48.435" v="15243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49:48.436" v="15245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2:49:48.437" v="15247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49:48.444" v="15264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3C9B919C-9CFF-4DBD-AE30-72DF3107A706}" dt="2023-06-05T22:49:48.438" v="15249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49:48.438" v="15251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49:48.439" v="15253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49:48.442" v="15258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9:48.443" v="15259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49:48.441" v="15257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49:48.440" v="15256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49:48.469" v="15272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9:48.413" v="15205"/>
          <ac:graphicFrameMkLst>
            <pc:docMk/>
            <pc:sldMk cId="3795966898" sldId="267"/>
            <ac:graphicFrameMk id="8" creationId="{809ADF1D-218F-6FCC-4FC0-C2B483BFD0C8}"/>
          </ac:graphicFrameMkLst>
        </pc:graphicFrameChg>
        <pc:graphicFrameChg chg="del">
          <ac:chgData name="Joelle Brehm" userId="a518f54c-6985-42c0-8041-2bb16a414839" providerId="ADAL" clId="{3C9B919C-9CFF-4DBD-AE30-72DF3107A706}" dt="2023-06-05T22:49:00.395" v="13739"/>
          <ac:graphicFrameMkLst>
            <pc:docMk/>
            <pc:sldMk cId="3795966898" sldId="267"/>
            <ac:graphicFrameMk id="9" creationId="{F21F9635-34A8-156E-ABCA-B882F771E083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9:48.358" v="15191"/>
          <ac:graphicFrameMkLst>
            <pc:docMk/>
            <pc:sldMk cId="3795966898" sldId="267"/>
            <ac:graphicFrameMk id="41" creationId="{2EA8EBF6-2D93-6C1D-83A9-460DBFF5D29B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9:32.345" v="14713"/>
          <ac:graphicFrameMkLst>
            <pc:docMk/>
            <pc:sldMk cId="3795966898" sldId="267"/>
            <ac:graphicFrameMk id="45" creationId="{A22076A9-58BA-A2CA-0FBC-C210041447D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49:34.860" v="14935"/>
          <ac:graphicFrameMkLst>
            <pc:docMk/>
            <pc:sldMk cId="3795966898" sldId="267"/>
            <ac:graphicFrameMk id="47" creationId="{2D93DE29-1182-3295-90B1-556ED1B9FD5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9:48.428" v="15229"/>
          <ac:graphicFrameMkLst>
            <pc:docMk/>
            <pc:sldMk cId="3795966898" sldId="267"/>
            <ac:graphicFrameMk id="50" creationId="{9447E833-2EA3-419C-36D6-7A9A4BFA6F1F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49:30.618" v="14518"/>
          <ac:graphicFrameMkLst>
            <pc:docMk/>
            <pc:sldMk cId="3795966898" sldId="267"/>
            <ac:graphicFrameMk id="52" creationId="{D14990ED-D19D-2323-48DF-7D0E05C51980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49:48.440" v="15255"/>
          <ac:graphicFrameMkLst>
            <pc:docMk/>
            <pc:sldMk cId="3795966898" sldId="267"/>
            <ac:graphicFrameMk id="53" creationId="{9E3A27C4-43D4-EC2F-D82A-55D844177B69}"/>
          </ac:graphicFrameMkLst>
        </pc:graphicFrameChg>
        <pc:picChg chg="del mod ord">
          <ac:chgData name="Joelle Brehm" userId="a518f54c-6985-42c0-8041-2bb16a414839" providerId="ADAL" clId="{3C9B919C-9CFF-4DBD-AE30-72DF3107A706}" dt="2023-06-05T22:49:21.160" v="13914" actId="478"/>
          <ac:picMkLst>
            <pc:docMk/>
            <pc:sldMk cId="3795966898" sldId="267"/>
            <ac:picMk id="10" creationId="{0BA2803E-A39F-7667-A4DA-CB558610DF72}"/>
          </ac:picMkLst>
        </pc:picChg>
        <pc:picChg chg="add mod ord">
          <ac:chgData name="Joelle Brehm" userId="a518f54c-6985-42c0-8041-2bb16a414839" providerId="ADAL" clId="{3C9B919C-9CFF-4DBD-AE30-72DF3107A706}" dt="2023-06-05T22:49:48.412" v="15199"/>
          <ac:picMkLst>
            <pc:docMk/>
            <pc:sldMk cId="3795966898" sldId="267"/>
            <ac:picMk id="32" creationId="{8B2C6CEA-76E6-6A0A-3477-5ACF1928E7EE}"/>
          </ac:picMkLst>
        </pc:picChg>
        <pc:picChg chg="mod ord">
          <ac:chgData name="Joelle Brehm" userId="a518f54c-6985-42c0-8041-2bb16a414839" providerId="ADAL" clId="{3C9B919C-9CFF-4DBD-AE30-72DF3107A706}" dt="2023-06-05T22:49:48.443" v="15262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49:48.413" v="15203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51:34.638" v="17197"/>
        <pc:sldMkLst>
          <pc:docMk/>
          <pc:sldMk cId="622078465" sldId="269"/>
        </pc:sldMkLst>
        <pc:spChg chg="add del mod ord">
          <ac:chgData name="Joelle Brehm" userId="a518f54c-6985-42c0-8041-2bb16a414839" providerId="ADAL" clId="{3C9B919C-9CFF-4DBD-AE30-72DF3107A706}" dt="2023-06-05T22:50:51.484" v="15639" actId="478"/>
          <ac:spMkLst>
            <pc:docMk/>
            <pc:sldMk cId="622078465" sldId="269"/>
            <ac:spMk id="2" creationId="{AC0AEE9C-7642-84DA-B241-F17871D17DEE}"/>
          </ac:spMkLst>
        </pc:spChg>
        <pc:spChg chg="mod ord">
          <ac:chgData name="Joelle Brehm" userId="a518f54c-6985-42c0-8041-2bb16a414839" providerId="ADAL" clId="{3C9B919C-9CFF-4DBD-AE30-72DF3107A706}" dt="2023-06-05T22:51:34.628" v="17191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3C9B919C-9CFF-4DBD-AE30-72DF3107A706}" dt="2023-06-05T22:50:25.160" v="15546"/>
          <ac:spMkLst>
            <pc:docMk/>
            <pc:sldMk cId="622078465" sldId="269"/>
            <ac:spMk id="5" creationId="{D0783C50-E07F-E8CA-8005-B213BF368A72}"/>
          </ac:spMkLst>
        </pc:spChg>
        <pc:spChg chg="mod ord">
          <ac:chgData name="Joelle Brehm" userId="a518f54c-6985-42c0-8041-2bb16a414839" providerId="ADAL" clId="{3C9B919C-9CFF-4DBD-AE30-72DF3107A706}" dt="2023-06-05T22:51:34.610" v="17126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2:51:34.614" v="17139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51:34.613" v="17136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51:34.614" v="17138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51:34.613" v="17135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51:34.613" v="17137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51:34.612" v="17132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51:34.611" v="17131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51:34.612" v="17134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51:34.614" v="17140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51:34.614" v="17141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51:34.612" v="17133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51:34.615" v="17142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51:34.615" v="17144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51:34.615" v="17145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51:34.616" v="17146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51:34.616" v="17147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51:34.617" v="17149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51:34.616" v="17148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51:34.617" v="17150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51:34.617" v="17152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51:34.622" v="17165"/>
          <ac:spMkLst>
            <pc:docMk/>
            <pc:sldMk cId="622078465" sldId="269"/>
            <ac:spMk id="32" creationId="{9A01FB5B-0E62-E87C-7816-7F3ACB49F42E}"/>
          </ac:spMkLst>
        </pc:spChg>
        <pc:spChg chg="add mod replST">
          <ac:chgData name="Joelle Brehm" userId="a518f54c-6985-42c0-8041-2bb16a414839" providerId="ADAL" clId="{3C9B919C-9CFF-4DBD-AE30-72DF3107A706}" dt="2023-06-05T22:51:34.622" v="17166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3C9B919C-9CFF-4DBD-AE30-72DF3107A706}" dt="2023-06-05T22:51:34.621" v="17164"/>
          <ac:spMkLst>
            <pc:docMk/>
            <pc:sldMk cId="622078465" sldId="269"/>
            <ac:spMk id="34" creationId="{361A309D-582A-9EF2-AAA6-D0365E1E80AF}"/>
          </ac:spMkLst>
        </pc:spChg>
        <pc:spChg chg="del mod ord">
          <ac:chgData name="Joelle Brehm" userId="a518f54c-6985-42c0-8041-2bb16a414839" providerId="ADAL" clId="{3C9B919C-9CFF-4DBD-AE30-72DF3107A706}" dt="2023-06-05T22:51:09.708" v="16688"/>
          <ac:spMkLst>
            <pc:docMk/>
            <pc:sldMk cId="622078465" sldId="269"/>
            <ac:spMk id="35" creationId="{FD3BF945-CDD8-17B2-D987-07967E77CB37}"/>
          </ac:spMkLst>
        </pc:spChg>
        <pc:spChg chg="add del mod ord replST">
          <ac:chgData name="Joelle Brehm" userId="a518f54c-6985-42c0-8041-2bb16a414839" providerId="ADAL" clId="{3C9B919C-9CFF-4DBD-AE30-72DF3107A706}" dt="2023-06-05T22:51:34.588" v="17112"/>
          <ac:spMkLst>
            <pc:docMk/>
            <pc:sldMk cId="622078465" sldId="269"/>
            <ac:spMk id="36" creationId="{AB649D71-DE57-837F-B2C7-C0557218A93C}"/>
          </ac:spMkLst>
        </pc:spChg>
        <pc:spChg chg="add del mod modVis">
          <ac:chgData name="Joelle Brehm" userId="a518f54c-6985-42c0-8041-2bb16a414839" providerId="ADAL" clId="{3C9B919C-9CFF-4DBD-AE30-72DF3107A706}" dt="2023-06-05T22:51:00.598" v="16189"/>
          <ac:spMkLst>
            <pc:docMk/>
            <pc:sldMk cId="622078465" sldId="269"/>
            <ac:spMk id="37" creationId="{66AC2424-C6FF-E881-23A3-5B7A5C85E708}"/>
          </ac:spMkLst>
        </pc:spChg>
        <pc:spChg chg="add del mod modVis">
          <ac:chgData name="Joelle Brehm" userId="a518f54c-6985-42c0-8041-2bb16a414839" providerId="ADAL" clId="{3C9B919C-9CFF-4DBD-AE30-72DF3107A706}" dt="2023-06-05T22:51:02.513" v="16405"/>
          <ac:spMkLst>
            <pc:docMk/>
            <pc:sldMk cId="622078465" sldId="269"/>
            <ac:spMk id="39" creationId="{74ABE5BA-1A2B-E93B-BAB3-060999D2F9C7}"/>
          </ac:spMkLst>
        </pc:spChg>
        <pc:spChg chg="add del mod modVis">
          <ac:chgData name="Joelle Brehm" userId="a518f54c-6985-42c0-8041-2bb16a414839" providerId="ADAL" clId="{3C9B919C-9CFF-4DBD-AE30-72DF3107A706}" dt="2023-06-05T22:51:04.724" v="16613"/>
          <ac:spMkLst>
            <pc:docMk/>
            <pc:sldMk cId="622078465" sldId="269"/>
            <ac:spMk id="41" creationId="{7061555F-3F2A-8B6E-16F9-302846CD0F1F}"/>
          </ac:spMkLst>
        </pc:spChg>
        <pc:spChg chg="add del mod modVis">
          <ac:chgData name="Joelle Brehm" userId="a518f54c-6985-42c0-8041-2bb16a414839" providerId="ADAL" clId="{3C9B919C-9CFF-4DBD-AE30-72DF3107A706}" dt="2023-06-05T22:51:09.780" v="16771"/>
          <ac:spMkLst>
            <pc:docMk/>
            <pc:sldMk cId="622078465" sldId="269"/>
            <ac:spMk id="43" creationId="{060C88A3-02C8-FCCC-3711-61AA2331019C}"/>
          </ac:spMkLst>
        </pc:spChg>
        <pc:spChg chg="add del mod modVis">
          <ac:chgData name="Joelle Brehm" userId="a518f54c-6985-42c0-8041-2bb16a414839" providerId="ADAL" clId="{3C9B919C-9CFF-4DBD-AE30-72DF3107A706}" dt="2023-06-05T22:51:27.509" v="17016"/>
          <ac:spMkLst>
            <pc:docMk/>
            <pc:sldMk cId="622078465" sldId="269"/>
            <ac:spMk id="45" creationId="{420FA7A4-AAF9-72F3-4F09-543064ABC90E}"/>
          </ac:spMkLst>
        </pc:spChg>
        <pc:spChg chg="add del mod modVis">
          <ac:chgData name="Joelle Brehm" userId="a518f54c-6985-42c0-8041-2bb16a414839" providerId="ADAL" clId="{3C9B919C-9CFF-4DBD-AE30-72DF3107A706}" dt="2023-06-05T22:51:34.629" v="17195"/>
          <ac:spMkLst>
            <pc:docMk/>
            <pc:sldMk cId="622078465" sldId="269"/>
            <ac:spMk id="48" creationId="{01E7F277-275E-D9BB-4E4A-74E6F7B5B4B0}"/>
          </ac:spMkLst>
        </pc:spChg>
        <pc:spChg chg="mod ord">
          <ac:chgData name="Joelle Brehm" userId="a518f54c-6985-42c0-8041-2bb16a414839" providerId="ADAL" clId="{3C9B919C-9CFF-4DBD-AE30-72DF3107A706}" dt="2023-06-05T22:51:34.627" v="17189"/>
          <ac:spMkLst>
            <pc:docMk/>
            <pc:sldMk cId="622078465" sldId="269"/>
            <ac:spMk id="58" creationId="{DE30E202-4F7F-4F3B-9EFE-7D4BC4CEE791}"/>
          </ac:spMkLst>
        </pc:spChg>
        <pc:spChg chg="del mod">
          <ac:chgData name="Joelle Brehm" userId="a518f54c-6985-42c0-8041-2bb16a414839" providerId="ADAL" clId="{3C9B919C-9CFF-4DBD-AE30-72DF3107A706}" dt="2023-06-05T22:51:04.588" v="16408"/>
          <ac:spMkLst>
            <pc:docMk/>
            <pc:sldMk cId="622078465" sldId="269"/>
            <ac:spMk id="7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1:34.622" v="17168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51:34.623" v="17170"/>
          <ac:spMkLst>
            <pc:docMk/>
            <pc:sldMk cId="622078465" sldId="269"/>
            <ac:spMk id="79" creationId="{F1476AC4-694B-4D83-BFD8-8DCAA4BB1923}"/>
          </ac:spMkLst>
        </pc:spChg>
        <pc:spChg chg="mod">
          <ac:chgData name="Joelle Brehm" userId="a518f54c-6985-42c0-8041-2bb16a414839" providerId="ADAL" clId="{3C9B919C-9CFF-4DBD-AE30-72DF3107A706}" dt="2023-06-05T22:51:34.619" v="17157"/>
          <ac:spMkLst>
            <pc:docMk/>
            <pc:sldMk cId="622078465" sldId="269"/>
            <ac:spMk id="8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18" v="17156"/>
          <ac:spMkLst>
            <pc:docMk/>
            <pc:sldMk cId="622078465" sldId="269"/>
            <ac:spMk id="8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19" v="17159"/>
          <ac:spMkLst>
            <pc:docMk/>
            <pc:sldMk cId="622078465" sldId="269"/>
            <ac:spMk id="8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19" v="17160"/>
          <ac:spMkLst>
            <pc:docMk/>
            <pc:sldMk cId="622078465" sldId="269"/>
            <ac:spMk id="8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18" v="17155"/>
          <ac:spMkLst>
            <pc:docMk/>
            <pc:sldMk cId="622078465" sldId="269"/>
            <ac:spMk id="8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20" v="17161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19" v="17158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20" v="17162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20" v="17163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1:34.624" v="17172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51:34.624" v="17174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51:34.624" v="17176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51:34.625" v="17178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51:34.625" v="17181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26" v="17182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26" v="17184"/>
          <ac:spMkLst>
            <pc:docMk/>
            <pc:sldMk cId="622078465" sldId="269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1:34.626" v="17183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51:34.626" v="17185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51:34.638" v="17197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1:34.611" v="17130"/>
          <ac:graphicFrameMkLst>
            <pc:docMk/>
            <pc:sldMk cId="622078465" sldId="269"/>
            <ac:graphicFrameMk id="8" creationId="{7B04E2DC-5DD4-D4A3-26E7-BEA5044F634B}"/>
          </ac:graphicFrameMkLst>
        </pc:graphicFrameChg>
        <pc:graphicFrameChg chg="del">
          <ac:chgData name="Joelle Brehm" userId="a518f54c-6985-42c0-8041-2bb16a414839" providerId="ADAL" clId="{3C9B919C-9CFF-4DBD-AE30-72DF3107A706}" dt="2023-06-05T22:50:25.091" v="15461"/>
          <ac:graphicFrameMkLst>
            <pc:docMk/>
            <pc:sldMk cId="622078465" sldId="269"/>
            <ac:graphicFrameMk id="9" creationId="{8AE04661-13D7-6FF6-4920-F6BFFDA57877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1:02.456" v="16299"/>
          <ac:graphicFrameMkLst>
            <pc:docMk/>
            <pc:sldMk cId="622078465" sldId="269"/>
            <ac:graphicFrameMk id="38" creationId="{957C6813-5A91-7EBC-D07B-AD5EA3D0080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1:04.673" v="16530"/>
          <ac:graphicFrameMkLst>
            <pc:docMk/>
            <pc:sldMk cId="622078465" sldId="269"/>
            <ac:graphicFrameMk id="40" creationId="{14ED1219-F69F-C373-C8FA-EA7790EA5A83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1:09.710" v="16690"/>
          <ac:graphicFrameMkLst>
            <pc:docMk/>
            <pc:sldMk cId="622078465" sldId="269"/>
            <ac:graphicFrameMk id="42" creationId="{520811F3-15C4-A31A-4AA8-0EDFE6B0095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1:34.590" v="17116"/>
          <ac:graphicFrameMkLst>
            <pc:docMk/>
            <pc:sldMk cId="622078465" sldId="269"/>
            <ac:graphicFrameMk id="44" creationId="{EE9D3DD6-9579-4F16-12CA-93DA061AA7CD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1:00.541" v="16097"/>
          <ac:graphicFrameMkLst>
            <pc:docMk/>
            <pc:sldMk cId="622078465" sldId="269"/>
            <ac:graphicFrameMk id="46" creationId="{8A22F668-D88F-2298-6F1A-C27ADBEDCF3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1:34.625" v="17180"/>
          <ac:graphicFrameMkLst>
            <pc:docMk/>
            <pc:sldMk cId="622078465" sldId="269"/>
            <ac:graphicFrameMk id="47" creationId="{1BC024BD-52AF-B30E-4ABC-F4315B54431E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1:27.419" v="16935"/>
          <ac:graphicFrameMkLst>
            <pc:docMk/>
            <pc:sldMk cId="622078465" sldId="269"/>
            <ac:graphicFrameMk id="49" creationId="{224DB085-E413-408B-6907-85FFBC5B06C2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1:34.618" v="17154"/>
          <ac:graphicFrameMkLst>
            <pc:docMk/>
            <pc:sldMk cId="622078465" sldId="269"/>
            <ac:graphicFrameMk id="50" creationId="{A902D93E-3246-90C9-2025-3D5EEAEDDC52}"/>
          </ac:graphicFrameMkLst>
        </pc:graphicFrameChg>
        <pc:picChg chg="del mod ord">
          <ac:chgData name="Joelle Brehm" userId="a518f54c-6985-42c0-8041-2bb16a414839" providerId="ADAL" clId="{3C9B919C-9CFF-4DBD-AE30-72DF3107A706}" dt="2023-06-05T22:50:47.954" v="15638" actId="478"/>
          <ac:picMkLst>
            <pc:docMk/>
            <pc:sldMk cId="622078465" sldId="269"/>
            <ac:picMk id="10" creationId="{30273B19-9157-1B1D-55F1-89A8D82B95EA}"/>
          </ac:picMkLst>
        </pc:picChg>
        <pc:picChg chg="add mod ord">
          <ac:chgData name="Joelle Brehm" userId="a518f54c-6985-42c0-8041-2bb16a414839" providerId="ADAL" clId="{3C9B919C-9CFF-4DBD-AE30-72DF3107A706}" dt="2023-06-05T22:51:34.610" v="17124"/>
          <ac:picMkLst>
            <pc:docMk/>
            <pc:sldMk cId="622078465" sldId="269"/>
            <ac:picMk id="31" creationId="{E8368CAD-8FEB-645A-3470-05F6D9B6ADB9}"/>
          </ac:picMkLst>
        </pc:picChg>
        <pc:picChg chg="mod ord">
          <ac:chgData name="Joelle Brehm" userId="a518f54c-6985-42c0-8041-2bb16a414839" providerId="ADAL" clId="{3C9B919C-9CFF-4DBD-AE30-72DF3107A706}" dt="2023-06-05T22:51:34.627" v="17187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51:34.611" v="17128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18:19.843" v="39980" actId="478"/>
        <pc:sldMkLst>
          <pc:docMk/>
          <pc:sldMk cId="1002023985" sldId="270"/>
        </pc:sldMkLst>
        <pc:spChg chg="mod ord">
          <ac:chgData name="Joelle Brehm" userId="a518f54c-6985-42c0-8041-2bb16a414839" providerId="ADAL" clId="{3C9B919C-9CFF-4DBD-AE30-72DF3107A706}" dt="2023-06-05T23:18:18.593" v="39973"/>
          <ac:spMkLst>
            <pc:docMk/>
            <pc:sldMk cId="1002023985" sldId="270"/>
            <ac:spMk id="2" creationId="{2799481D-3313-41C1-9238-7B9AB0AAF857}"/>
          </ac:spMkLst>
        </pc:spChg>
        <pc:spChg chg="add del mod ord">
          <ac:chgData name="Joelle Brehm" userId="a518f54c-6985-42c0-8041-2bb16a414839" providerId="ADAL" clId="{3C9B919C-9CFF-4DBD-AE30-72DF3107A706}" dt="2023-06-05T23:10:20.035" v="36609" actId="478"/>
          <ac:spMkLst>
            <pc:docMk/>
            <pc:sldMk cId="1002023985" sldId="270"/>
            <ac:spMk id="3" creationId="{926798A7-CCCC-7843-0FD0-B7E313C0376A}"/>
          </ac:spMkLst>
        </pc:spChg>
        <pc:spChg chg="add del mod modVis">
          <ac:chgData name="Joelle Brehm" userId="a518f54c-6985-42c0-8041-2bb16a414839" providerId="ADAL" clId="{3C9B919C-9CFF-4DBD-AE30-72DF3107A706}" dt="2023-06-05T23:18:18.593" v="39977"/>
          <ac:spMkLst>
            <pc:docMk/>
            <pc:sldMk cId="1002023985" sldId="270"/>
            <ac:spMk id="5" creationId="{13C3A79C-56EE-E895-DDFD-566C983DCBA3}"/>
          </ac:spMkLst>
        </pc:spChg>
        <pc:spChg chg="add del mod modVis">
          <ac:chgData name="Joelle Brehm" userId="a518f54c-6985-42c0-8041-2bb16a414839" providerId="ADAL" clId="{3C9B919C-9CFF-4DBD-AE30-72DF3107A706}" dt="2023-06-05T23:09:24.789" v="36330"/>
          <ac:spMkLst>
            <pc:docMk/>
            <pc:sldMk cId="1002023985" sldId="270"/>
            <ac:spMk id="5" creationId="{EF62635D-B84F-40F5-CAA8-B30192D77D55}"/>
          </ac:spMkLst>
        </pc:spChg>
        <pc:spChg chg="mod ord">
          <ac:chgData name="Joelle Brehm" userId="a518f54c-6985-42c0-8041-2bb16a414839" providerId="ADAL" clId="{3C9B919C-9CFF-4DBD-AE30-72DF3107A706}" dt="2023-06-05T23:18:18.576" v="39888"/>
          <ac:spMkLst>
            <pc:docMk/>
            <pc:sldMk cId="1002023985" sldId="270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18:18.591" v="39944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3C9B919C-9CFF-4DBD-AE30-72DF3107A706}" dt="2023-06-05T23:18:18.576" v="39901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18:18.576" v="39898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18:18.576" v="39893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18:18.576" v="39894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18:18.576" v="39897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18:18.576" v="39900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18:18.576" v="39896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18:18.576" v="39899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18:18.576" v="39895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18:18.576" v="39902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18:18.576" v="39903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18:18.576" v="39904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18:18.576" v="39906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18:18.576" v="39909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18:18.576" v="39908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18:18.576" v="39907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18:18.576" v="39914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18:18.576" v="39912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18:18.576" v="39915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18:18.576" v="39917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18:18.576" v="39934"/>
          <ac:spMkLst>
            <pc:docMk/>
            <pc:sldMk cId="1002023985" sldId="270"/>
            <ac:spMk id="31" creationId="{2B843E61-16B1-B2FE-A419-E688DD153EE9}"/>
          </ac:spMkLst>
        </pc:spChg>
        <pc:spChg chg="mod">
          <ac:chgData name="Joelle Brehm" userId="a518f54c-6985-42c0-8041-2bb16a414839" providerId="ADAL" clId="{3C9B919C-9CFF-4DBD-AE30-72DF3107A706}" dt="2023-06-05T23:18:18.576" v="39933"/>
          <ac:spMkLst>
            <pc:docMk/>
            <pc:sldMk cId="1002023985" sldId="270"/>
            <ac:spMk id="32" creationId="{0BE92A1F-B2E2-867E-0B96-57FFDAFB5078}"/>
          </ac:spMkLst>
        </pc:spChg>
        <pc:spChg chg="mod">
          <ac:chgData name="Joelle Brehm" userId="a518f54c-6985-42c0-8041-2bb16a414839" providerId="ADAL" clId="{3C9B919C-9CFF-4DBD-AE30-72DF3107A706}" dt="2023-06-05T23:18:18.576" v="39943"/>
          <ac:spMkLst>
            <pc:docMk/>
            <pc:sldMk cId="1002023985" sldId="270"/>
            <ac:spMk id="33" creationId="{F76D64DC-4154-E4CF-EF48-9A68CB6317E4}"/>
          </ac:spMkLst>
        </pc:spChg>
        <pc:spChg chg="mod">
          <ac:chgData name="Joelle Brehm" userId="a518f54c-6985-42c0-8041-2bb16a414839" providerId="ADAL" clId="{3C9B919C-9CFF-4DBD-AE30-72DF3107A706}" dt="2023-06-05T23:18:18.576" v="39928"/>
          <ac:spMkLst>
            <pc:docMk/>
            <pc:sldMk cId="1002023985" sldId="270"/>
            <ac:spMk id="34" creationId="{9648527B-C461-9A7E-67C5-5AEE8C3C47B5}"/>
          </ac:spMkLst>
        </pc:spChg>
        <pc:spChg chg="mod">
          <ac:chgData name="Joelle Brehm" userId="a518f54c-6985-42c0-8041-2bb16a414839" providerId="ADAL" clId="{3C9B919C-9CFF-4DBD-AE30-72DF3107A706}" dt="2023-06-05T23:18:18.576" v="39935"/>
          <ac:spMkLst>
            <pc:docMk/>
            <pc:sldMk cId="1002023985" sldId="270"/>
            <ac:spMk id="35" creationId="{3A6B1803-B9A1-DDD4-5DB0-ABDF3CF4E32A}"/>
          </ac:spMkLst>
        </pc:spChg>
        <pc:spChg chg="mod">
          <ac:chgData name="Joelle Brehm" userId="a518f54c-6985-42c0-8041-2bb16a414839" providerId="ADAL" clId="{3C9B919C-9CFF-4DBD-AE30-72DF3107A706}" dt="2023-06-05T23:18:18.576" v="39938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3C9B919C-9CFF-4DBD-AE30-72DF3107A706}" dt="2023-06-05T23:18:18.576" v="39911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3C9B919C-9CFF-4DBD-AE30-72DF3107A706}" dt="2023-06-05T23:18:18.576" v="39937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3C9B919C-9CFF-4DBD-AE30-72DF3107A706}" dt="2023-06-05T23:18:18.576" v="39940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3C9B919C-9CFF-4DBD-AE30-72DF3107A706}" dt="2023-06-05T23:18:18.576" v="39939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3C9B919C-9CFF-4DBD-AE30-72DF3107A706}" dt="2023-06-05T23:18:18.576" v="39930"/>
          <ac:spMkLst>
            <pc:docMk/>
            <pc:sldMk cId="1002023985" sldId="270"/>
            <ac:spMk id="41" creationId="{51DF5FF8-D483-FA48-6208-139CC6F687D3}"/>
          </ac:spMkLst>
        </pc:spChg>
        <pc:spChg chg="mod">
          <ac:chgData name="Joelle Brehm" userId="a518f54c-6985-42c0-8041-2bb16a414839" providerId="ADAL" clId="{3C9B919C-9CFF-4DBD-AE30-72DF3107A706}" dt="2023-06-05T23:18:18.576" v="39941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3C9B919C-9CFF-4DBD-AE30-72DF3107A706}" dt="2023-06-05T23:18:18.576" v="39936"/>
          <ac:spMkLst>
            <pc:docMk/>
            <pc:sldMk cId="1002023985" sldId="270"/>
            <ac:spMk id="43" creationId="{29357330-070C-17EC-0CAB-CAD445419341}"/>
          </ac:spMkLst>
        </pc:spChg>
        <pc:spChg chg="mod">
          <ac:chgData name="Joelle Brehm" userId="a518f54c-6985-42c0-8041-2bb16a414839" providerId="ADAL" clId="{3C9B919C-9CFF-4DBD-AE30-72DF3107A706}" dt="2023-06-05T23:18:18.576" v="39942"/>
          <ac:spMkLst>
            <pc:docMk/>
            <pc:sldMk cId="1002023985" sldId="270"/>
            <ac:spMk id="44" creationId="{D21335E5-EBC4-9286-DD2D-7735A09D41EB}"/>
          </ac:spMkLst>
        </pc:spChg>
        <pc:spChg chg="add del mod modVis">
          <ac:chgData name="Joelle Brehm" userId="a518f54c-6985-42c0-8041-2bb16a414839" providerId="ADAL" clId="{3C9B919C-9CFF-4DBD-AE30-72DF3107A706}" dt="2023-06-05T23:09:32.143" v="36499"/>
          <ac:spMkLst>
            <pc:docMk/>
            <pc:sldMk cId="1002023985" sldId="270"/>
            <ac:spMk id="46" creationId="{9BB9B947-4187-0358-8F98-4C26F1365D62}"/>
          </ac:spMkLst>
        </pc:spChg>
        <pc:spChg chg="mod">
          <ac:chgData name="Joelle Brehm" userId="a518f54c-6985-42c0-8041-2bb16a414839" providerId="ADAL" clId="{3C9B919C-9CFF-4DBD-AE30-72DF3107A706}" dt="2023-06-05T23:18:18.576" v="39927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3C9B919C-9CFF-4DBD-AE30-72DF3107A706}" dt="2023-06-05T23:18:18.576" v="39926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3C9B919C-9CFF-4DBD-AE30-72DF3107A706}" dt="2023-06-05T23:18:18.592" v="39946"/>
          <ac:spMkLst>
            <pc:docMk/>
            <pc:sldMk cId="1002023985" sldId="270"/>
            <ac:spMk id="52" creationId="{CDAA8CD8-B796-5FFD-8D34-2773F7AB7F1D}"/>
          </ac:spMkLst>
        </pc:spChg>
        <pc:spChg chg="add del mod modVis">
          <ac:chgData name="Joelle Brehm" userId="a518f54c-6985-42c0-8041-2bb16a414839" providerId="ADAL" clId="{3C9B919C-9CFF-4DBD-AE30-72DF3107A706}" dt="2023-06-05T23:10:26.551" v="36857"/>
          <ac:spMkLst>
            <pc:docMk/>
            <pc:sldMk cId="1002023985" sldId="270"/>
            <ac:spMk id="54" creationId="{4B312084-F795-6000-0A8E-714E810C3726}"/>
          </ac:spMkLst>
        </pc:spChg>
        <pc:spChg chg="mod">
          <ac:chgData name="Joelle Brehm" userId="a518f54c-6985-42c0-8041-2bb16a414839" providerId="ADAL" clId="{3C9B919C-9CFF-4DBD-AE30-72DF3107A706}" dt="2023-06-05T23:18:18.591" v="39945"/>
          <ac:spMkLst>
            <pc:docMk/>
            <pc:sldMk cId="1002023985" sldId="270"/>
            <ac:spMk id="56" creationId="{25954F1B-A0EF-892A-6914-029FB8F9549A}"/>
          </ac:spMkLst>
        </pc:spChg>
        <pc:spChg chg="add mod replST">
          <ac:chgData name="Joelle Brehm" userId="a518f54c-6985-42c0-8041-2bb16a414839" providerId="ADAL" clId="{3C9B919C-9CFF-4DBD-AE30-72DF3107A706}" dt="2023-06-05T23:18:18.592" v="39948"/>
          <ac:spMkLst>
            <pc:docMk/>
            <pc:sldMk cId="1002023985" sldId="270"/>
            <ac:spMk id="57" creationId="{6DDB8F5E-76BA-9344-5233-A9117AC03BC1}"/>
          </ac:spMkLst>
        </pc:spChg>
        <pc:spChg chg="add mod replST">
          <ac:chgData name="Joelle Brehm" userId="a518f54c-6985-42c0-8041-2bb16a414839" providerId="ADAL" clId="{3C9B919C-9CFF-4DBD-AE30-72DF3107A706}" dt="2023-06-05T23:18:18.592" v="39947"/>
          <ac:spMkLst>
            <pc:docMk/>
            <pc:sldMk cId="1002023985" sldId="270"/>
            <ac:spMk id="59" creationId="{15DED5C0-8834-6FCE-242E-76495D4381EE}"/>
          </ac:spMkLst>
        </pc:spChg>
        <pc:spChg chg="add del mod modVis">
          <ac:chgData name="Joelle Brehm" userId="a518f54c-6985-42c0-8041-2bb16a414839" providerId="ADAL" clId="{3C9B919C-9CFF-4DBD-AE30-72DF3107A706}" dt="2023-06-05T23:10:32.427" v="37265"/>
          <ac:spMkLst>
            <pc:docMk/>
            <pc:sldMk cId="1002023985" sldId="270"/>
            <ac:spMk id="60" creationId="{10D537BA-F977-8CFA-640D-1ABBC20B3647}"/>
          </ac:spMkLst>
        </pc:spChg>
        <pc:spChg chg="mod">
          <ac:chgData name="Joelle Brehm" userId="a518f54c-6985-42c0-8041-2bb16a414839" providerId="ADAL" clId="{3C9B919C-9CFF-4DBD-AE30-72DF3107A706}" dt="2023-06-05T23:18:18.576" v="39921"/>
          <ac:spMkLst>
            <pc:docMk/>
            <pc:sldMk cId="1002023985" sldId="270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10:34.718" v="37491"/>
          <ac:spMkLst>
            <pc:docMk/>
            <pc:sldMk cId="1002023985" sldId="270"/>
            <ac:spMk id="63" creationId="{CF09BCDF-E07F-A70C-8000-9130BCDF6660}"/>
          </ac:spMkLst>
        </pc:spChg>
        <pc:spChg chg="add del mod modVis">
          <ac:chgData name="Joelle Brehm" userId="a518f54c-6985-42c0-8041-2bb16a414839" providerId="ADAL" clId="{3C9B919C-9CFF-4DBD-AE30-72DF3107A706}" dt="2023-06-05T23:10:36.873" v="37748"/>
          <ac:spMkLst>
            <pc:docMk/>
            <pc:sldMk cId="1002023985" sldId="270"/>
            <ac:spMk id="66" creationId="{09C5EC73-2107-0A65-B4EA-21061D4AEA19}"/>
          </ac:spMkLst>
        </pc:spChg>
        <pc:spChg chg="mod">
          <ac:chgData name="Joelle Brehm" userId="a518f54c-6985-42c0-8041-2bb16a414839" providerId="ADAL" clId="{3C9B919C-9CFF-4DBD-AE30-72DF3107A706}" dt="2023-06-05T23:18:18.576" v="39913"/>
          <ac:spMkLst>
            <pc:docMk/>
            <pc:sldMk cId="1002023985" sldId="270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5T23:18:18.593" v="39950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18:18.593" v="39952"/>
          <ac:spMkLst>
            <pc:docMk/>
            <pc:sldMk cId="1002023985" sldId="270"/>
            <ac:spMk id="79" creationId="{F1476AC4-694B-4D83-BFD8-8DCAA4BB1923}"/>
          </ac:spMkLst>
        </pc:spChg>
        <pc:spChg chg="del mod">
          <ac:chgData name="Joelle Brehm" userId="a518f54c-6985-42c0-8041-2bb16a414839" providerId="ADAL" clId="{3C9B919C-9CFF-4DBD-AE30-72DF3107A706}" dt="2023-06-05T23:10:36.467" v="37495"/>
          <ac:spMkLst>
            <pc:docMk/>
            <pc:sldMk cId="1002023985" sldId="270"/>
            <ac:spMk id="89" creationId="{6D983BDC-C0BC-2BD5-D968-D2AC07877107}"/>
          </ac:spMkLst>
        </pc:spChg>
        <pc:spChg chg="mod ord">
          <ac:chgData name="Joelle Brehm" userId="a518f54c-6985-42c0-8041-2bb16a414839" providerId="ADAL" clId="{3C9B919C-9CFF-4DBD-AE30-72DF3107A706}" dt="2023-06-05T23:18:18.593" v="39954"/>
          <ac:spMkLst>
            <pc:docMk/>
            <pc:sldMk cId="1002023985" sldId="270"/>
            <ac:spMk id="100" creationId="{8B5667AB-609C-4AEA-83B3-24E395C8F420}"/>
          </ac:spMkLst>
        </pc:spChg>
        <pc:spChg chg="del mod">
          <ac:chgData name="Joelle Brehm" userId="a518f54c-6985-42c0-8041-2bb16a414839" providerId="ADAL" clId="{3C9B919C-9CFF-4DBD-AE30-72DF3107A706}" dt="2023-06-05T23:10:36.462" v="37494"/>
          <ac:spMkLst>
            <pc:docMk/>
            <pc:sldMk cId="1002023985" sldId="270"/>
            <ac:spMk id="101" creationId="{F2312A01-E526-A28E-B13E-4BBF0007EC5E}"/>
          </ac:spMkLst>
        </pc:spChg>
        <pc:spChg chg="mod">
          <ac:chgData name="Joelle Brehm" userId="a518f54c-6985-42c0-8041-2bb16a414839" providerId="ADAL" clId="{3C9B919C-9CFF-4DBD-AE30-72DF3107A706}" dt="2023-06-05T23:18:18.576" v="39925"/>
          <ac:spMkLst>
            <pc:docMk/>
            <pc:sldMk cId="1002023985" sldId="270"/>
            <ac:spMk id="104" creationId="{0B26C638-FD44-BFF3-7C0D-E419A877AB19}"/>
          </ac:spMkLst>
        </pc:spChg>
        <pc:spChg chg="mod">
          <ac:chgData name="Joelle Brehm" userId="a518f54c-6985-42c0-8041-2bb16a414839" providerId="ADAL" clId="{3C9B919C-9CFF-4DBD-AE30-72DF3107A706}" dt="2023-06-05T23:18:18.576" v="39929"/>
          <ac:spMkLst>
            <pc:docMk/>
            <pc:sldMk cId="1002023985" sldId="270"/>
            <ac:spMk id="105" creationId="{3A38D256-35D3-4CDF-DF0C-E105072D6FE7}"/>
          </ac:spMkLst>
        </pc:spChg>
        <pc:spChg chg="mod ord">
          <ac:chgData name="Joelle Brehm" userId="a518f54c-6985-42c0-8041-2bb16a414839" providerId="ADAL" clId="{3C9B919C-9CFF-4DBD-AE30-72DF3107A706}" dt="2023-06-05T23:18:18.593" v="39956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18:18.593" v="39958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18:18.593" v="39960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18:18.576" v="39932"/>
          <ac:spMkLst>
            <pc:docMk/>
            <pc:sldMk cId="1002023985" sldId="270"/>
            <ac:spMk id="111" creationId="{182EC51E-240E-E991-6C1D-CEA66613C7A4}"/>
          </ac:spMkLst>
        </pc:spChg>
        <pc:spChg chg="mod">
          <ac:chgData name="Joelle Brehm" userId="a518f54c-6985-42c0-8041-2bb16a414839" providerId="ADAL" clId="{3C9B919C-9CFF-4DBD-AE30-72DF3107A706}" dt="2023-06-05T23:18:18.576" v="39931"/>
          <ac:spMkLst>
            <pc:docMk/>
            <pc:sldMk cId="1002023985" sldId="270"/>
            <ac:spMk id="112" creationId="{6D6DD08F-D718-19E3-F51D-AAEF3B68183C}"/>
          </ac:spMkLst>
        </pc:spChg>
        <pc:spChg chg="mod">
          <ac:chgData name="Joelle Brehm" userId="a518f54c-6985-42c0-8041-2bb16a414839" providerId="ADAL" clId="{3C9B919C-9CFF-4DBD-AE30-72DF3107A706}" dt="2023-06-05T23:18:18.576" v="39923"/>
          <ac:spMkLst>
            <pc:docMk/>
            <pc:sldMk cId="1002023985" sldId="270"/>
            <ac:spMk id="11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18.576" v="39920"/>
          <ac:spMkLst>
            <pc:docMk/>
            <pc:sldMk cId="1002023985" sldId="270"/>
            <ac:spMk id="117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18.593" v="39963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18.593" v="39965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18.593" v="39966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18.593" v="39967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18:18.593" v="39964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3C9B919C-9CFF-4DBD-AE30-72DF3107A706}" dt="2023-06-05T23:18:18.576" v="39922"/>
          <ac:spMkLst>
            <pc:docMk/>
            <pc:sldMk cId="1002023985" sldId="270"/>
            <ac:spMk id="16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18.576" v="39924"/>
          <ac:spMkLst>
            <pc:docMk/>
            <pc:sldMk cId="1002023985" sldId="270"/>
            <ac:spMk id="171" creationId="{7CAA3B95-4C78-4122-BECA-B5FB0F3F3764}"/>
          </ac:spMkLst>
        </pc:spChg>
        <pc:graphicFrameChg chg="mod">
          <ac:chgData name="Joelle Brehm" userId="a518f54c-6985-42c0-8041-2bb16a414839" providerId="ADAL" clId="{3C9B919C-9CFF-4DBD-AE30-72DF3107A706}" dt="2023-06-05T23:18:18.626" v="39979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3:09:24.743" v="36223"/>
          <ac:graphicFrameMkLst>
            <pc:docMk/>
            <pc:sldMk cId="1002023985" sldId="270"/>
            <ac:graphicFrameMk id="8" creationId="{BFA05196-EAEB-2E6C-03EA-333B7C34D8C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9:32.092" v="36398"/>
          <ac:graphicFrameMkLst>
            <pc:docMk/>
            <pc:sldMk cId="1002023985" sldId="270"/>
            <ac:graphicFrameMk id="45" creationId="{54190332-8B85-5734-6BD6-241A9F42F0C7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8:18.576" v="39892"/>
          <ac:graphicFrameMkLst>
            <pc:docMk/>
            <pc:sldMk cId="1002023985" sldId="270"/>
            <ac:graphicFrameMk id="47" creationId="{BF5A1FDC-9B33-F09F-0100-D1D713655AC3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10:26.462" v="36758"/>
          <ac:graphicFrameMkLst>
            <pc:docMk/>
            <pc:sldMk cId="1002023985" sldId="270"/>
            <ac:graphicFrameMk id="48" creationId="{9E436441-6929-8B6F-4D6E-8382CB1AD719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8:18.593" v="39962"/>
          <ac:graphicFrameMkLst>
            <pc:docMk/>
            <pc:sldMk cId="1002023985" sldId="270"/>
            <ac:graphicFrameMk id="55" creationId="{B1B4886E-581D-1820-21A4-F60130743D25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0:34.592" v="37390"/>
          <ac:graphicFrameMkLst>
            <pc:docMk/>
            <pc:sldMk cId="1002023985" sldId="270"/>
            <ac:graphicFrameMk id="61" creationId="{09FBF377-652D-5974-87E5-858DD8756434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10:32.315" v="37164"/>
          <ac:graphicFrameMkLst>
            <pc:docMk/>
            <pc:sldMk cId="1002023985" sldId="270"/>
            <ac:graphicFrameMk id="64" creationId="{79E2CBEB-A107-9291-2868-B8A5F4AC43F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0:36.758" v="37649"/>
          <ac:graphicFrameMkLst>
            <pc:docMk/>
            <pc:sldMk cId="1002023985" sldId="270"/>
            <ac:graphicFrameMk id="65" creationId="{15083E52-9D6C-249D-3893-5485DE06F6B8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8:18.576" v="39919"/>
          <ac:graphicFrameMkLst>
            <pc:docMk/>
            <pc:sldMk cId="1002023985" sldId="270"/>
            <ac:graphicFrameMk id="67" creationId="{20A79248-56A2-C77E-4EA2-86423C1E9DBC}"/>
          </ac:graphicFrameMkLst>
        </pc:graphicFrameChg>
        <pc:picChg chg="add mod ord">
          <ac:chgData name="Joelle Brehm" userId="a518f54c-6985-42c0-8041-2bb16a414839" providerId="ADAL" clId="{3C9B919C-9CFF-4DBD-AE30-72DF3107A706}" dt="2023-06-05T23:18:18.576" v="39884"/>
          <ac:picMkLst>
            <pc:docMk/>
            <pc:sldMk cId="1002023985" sldId="270"/>
            <ac:picMk id="3" creationId="{C556872A-0A75-310A-666E-63D3976A6E87}"/>
          </ac:picMkLst>
        </pc:picChg>
        <pc:picChg chg="del mod ord">
          <ac:chgData name="Joelle Brehm" userId="a518f54c-6985-42c0-8041-2bb16a414839" providerId="ADAL" clId="{3C9B919C-9CFF-4DBD-AE30-72DF3107A706}" dt="2023-06-05T23:10:10.257" v="36608" actId="478"/>
          <ac:picMkLst>
            <pc:docMk/>
            <pc:sldMk cId="1002023985" sldId="270"/>
            <ac:picMk id="9" creationId="{21C214FA-D8B2-CD2F-F931-7E5EC7DC5CEF}"/>
          </ac:picMkLst>
        </pc:picChg>
        <pc:picChg chg="add del mod">
          <ac:chgData name="Joelle Brehm" userId="a518f54c-6985-42c0-8041-2bb16a414839" providerId="ADAL" clId="{3C9B919C-9CFF-4DBD-AE30-72DF3107A706}" dt="2023-06-05T23:09:59.771" v="36504" actId="478"/>
          <ac:picMkLst>
            <pc:docMk/>
            <pc:sldMk cId="1002023985" sldId="270"/>
            <ac:picMk id="49" creationId="{1AE069F7-C2FE-7839-C482-0219ED01FD65}"/>
          </ac:picMkLst>
        </pc:picChg>
        <pc:picChg chg="add del mod ord">
          <ac:chgData name="Joelle Brehm" userId="a518f54c-6985-42c0-8041-2bb16a414839" providerId="ADAL" clId="{3C9B919C-9CFF-4DBD-AE30-72DF3107A706}" dt="2023-06-05T23:18:19.843" v="39980" actId="478"/>
          <ac:picMkLst>
            <pc:docMk/>
            <pc:sldMk cId="1002023985" sldId="270"/>
            <ac:picMk id="53" creationId="{7B63FE64-DB55-8D05-846A-5D62C5DB3D78}"/>
          </ac:picMkLst>
        </pc:picChg>
        <pc:picChg chg="mod ord">
          <ac:chgData name="Joelle Brehm" userId="a518f54c-6985-42c0-8041-2bb16a414839" providerId="ADAL" clId="{3C9B919C-9CFF-4DBD-AE30-72DF3107A706}" dt="2023-06-05T23:18:18.593" v="39971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3C9B919C-9CFF-4DBD-AE30-72DF3107A706}" dt="2023-06-05T23:18:18.593" v="39969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18:18.576" v="39890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52:56.708" v="19235" actId="478"/>
        <pc:sldMkLst>
          <pc:docMk/>
          <pc:sldMk cId="2815334483" sldId="271"/>
        </pc:sldMkLst>
        <pc:spChg chg="add del mod ord">
          <ac:chgData name="Joelle Brehm" userId="a518f54c-6985-42c0-8041-2bb16a414839" providerId="ADAL" clId="{3C9B919C-9CFF-4DBD-AE30-72DF3107A706}" dt="2023-06-05T22:52:18.390" v="17467" actId="478"/>
          <ac:spMkLst>
            <pc:docMk/>
            <pc:sldMk cId="2815334483" sldId="271"/>
            <ac:spMk id="2" creationId="{21DC416B-D0C3-14A5-EC8D-06B5BDA5C87A}"/>
          </ac:spMkLst>
        </pc:spChg>
        <pc:spChg chg="mod ord">
          <ac:chgData name="Joelle Brehm" userId="a518f54c-6985-42c0-8041-2bb16a414839" providerId="ADAL" clId="{3C9B919C-9CFF-4DBD-AE30-72DF3107A706}" dt="2023-06-05T22:52:55.008" v="19230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3C9B919C-9CFF-4DBD-AE30-72DF3107A706}" dt="2023-06-05T22:52:08.311" v="17464"/>
          <ac:spMkLst>
            <pc:docMk/>
            <pc:sldMk cId="2815334483" sldId="271"/>
            <ac:spMk id="5" creationId="{062184F7-0370-925F-9EF6-B393AB144941}"/>
          </ac:spMkLst>
        </pc:spChg>
        <pc:spChg chg="mod ord">
          <ac:chgData name="Joelle Brehm" userId="a518f54c-6985-42c0-8041-2bb16a414839" providerId="ADAL" clId="{3C9B919C-9CFF-4DBD-AE30-72DF3107A706}" dt="2023-06-05T22:52:54.994" v="19165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2:52:55.003" v="19203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3C9B919C-9CFF-4DBD-AE30-72DF3107A706}" dt="2023-06-05T22:52:54.996" v="19171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52:54.997" v="19176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52:54.996" v="19172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52:54.996" v="19173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52:54.997" v="19175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52:54.995" v="19170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52:54.996" v="19174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52:54.997" v="19177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52:54.997" v="19178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52:54.998" v="19179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52:54.998" v="19180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52:54.998" v="19181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52:54.999" v="19183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52:54.999" v="19186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52:54.999" v="19184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52:54.999" v="19185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52:55" v="19188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52:55" v="19187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52:55" v="19189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52:55" v="19191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52:55.002" v="19196"/>
          <ac:spMkLst>
            <pc:docMk/>
            <pc:sldMk cId="2815334483" sldId="271"/>
            <ac:spMk id="31" creationId="{6BE24B84-EE94-3D2E-728D-88F2988B4658}"/>
          </ac:spMkLst>
        </pc:spChg>
        <pc:spChg chg="add mod replST">
          <ac:chgData name="Joelle Brehm" userId="a518f54c-6985-42c0-8041-2bb16a414839" providerId="ADAL" clId="{3C9B919C-9CFF-4DBD-AE30-72DF3107A706}" dt="2023-06-05T22:52:55.001" v="19195"/>
          <ac:spMkLst>
            <pc:docMk/>
            <pc:sldMk cId="2815334483" sldId="271"/>
            <ac:spMk id="32" creationId="{8777249A-D943-16C1-E900-269856ADE995}"/>
          </ac:spMkLst>
        </pc:spChg>
        <pc:spChg chg="mod">
          <ac:chgData name="Joelle Brehm" userId="a518f54c-6985-42c0-8041-2bb16a414839" providerId="ADAL" clId="{3C9B919C-9CFF-4DBD-AE30-72DF3107A706}" dt="2023-06-05T22:52:55.002" v="19200"/>
          <ac:spMkLst>
            <pc:docMk/>
            <pc:sldMk cId="2815334483" sldId="271"/>
            <ac:spMk id="33" creationId="{7F959949-4A68-1491-C284-14230CE75987}"/>
          </ac:spMkLst>
        </pc:spChg>
        <pc:spChg chg="mod">
          <ac:chgData name="Joelle Brehm" userId="a518f54c-6985-42c0-8041-2bb16a414839" providerId="ADAL" clId="{3C9B919C-9CFF-4DBD-AE30-72DF3107A706}" dt="2023-06-05T22:52:55.003" v="19201"/>
          <ac:spMkLst>
            <pc:docMk/>
            <pc:sldMk cId="2815334483" sldId="271"/>
            <ac:spMk id="34" creationId="{316D5F01-433D-33E2-C79F-6FBFCD17CB7D}"/>
          </ac:spMkLst>
        </pc:spChg>
        <pc:spChg chg="mod">
          <ac:chgData name="Joelle Brehm" userId="a518f54c-6985-42c0-8041-2bb16a414839" providerId="ADAL" clId="{3C9B919C-9CFF-4DBD-AE30-72DF3107A706}" dt="2023-06-05T22:52:55.001" v="19194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3C9B919C-9CFF-4DBD-AE30-72DF3107A706}" dt="2023-06-05T22:52:55.002" v="19199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3C9B919C-9CFF-4DBD-AE30-72DF3107A706}" dt="2023-06-05T22:52:55.003" v="19202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3C9B919C-9CFF-4DBD-AE30-72DF3107A706}" dt="2023-06-05T22:52:55.007" v="19222"/>
          <ac:spMkLst>
            <pc:docMk/>
            <pc:sldMk cId="2815334483" sldId="271"/>
            <ac:spMk id="38" creationId="{CC5FA94A-B8E0-E7C9-DB9D-BB5C4E4406D1}"/>
          </ac:spMkLst>
        </pc:spChg>
        <pc:spChg chg="mod">
          <ac:chgData name="Joelle Brehm" userId="a518f54c-6985-42c0-8041-2bb16a414839" providerId="ADAL" clId="{3C9B919C-9CFF-4DBD-AE30-72DF3107A706}" dt="2023-06-05T22:52:55.006" v="19220"/>
          <ac:spMkLst>
            <pc:docMk/>
            <pc:sldMk cId="2815334483" sldId="271"/>
            <ac:spMk id="40" creationId="{B3CE3016-99B3-974F-1EC7-6BAAE2BADCD1}"/>
          </ac:spMkLst>
        </pc:spChg>
        <pc:spChg chg="add del mod modVis">
          <ac:chgData name="Joelle Brehm" userId="a518f54c-6985-42c0-8041-2bb16a414839" providerId="ADAL" clId="{3C9B919C-9CFF-4DBD-AE30-72DF3107A706}" dt="2023-06-05T22:52:22.852" v="18208"/>
          <ac:spMkLst>
            <pc:docMk/>
            <pc:sldMk cId="2815334483" sldId="271"/>
            <ac:spMk id="41" creationId="{BFE7A667-BF20-AE86-94F2-B09047CC8281}"/>
          </ac:spMkLst>
        </pc:spChg>
        <pc:spChg chg="mod">
          <ac:chgData name="Joelle Brehm" userId="a518f54c-6985-42c0-8041-2bb16a414839" providerId="ADAL" clId="{3C9B919C-9CFF-4DBD-AE30-72DF3107A706}" dt="2023-06-05T22:52:55.003" v="19204"/>
          <ac:spMkLst>
            <pc:docMk/>
            <pc:sldMk cId="2815334483" sldId="271"/>
            <ac:spMk id="42" creationId="{6259DA9A-2854-0028-25DD-8E34BDEB2937}"/>
          </ac:spMkLst>
        </pc:spChg>
        <pc:spChg chg="mod">
          <ac:chgData name="Joelle Brehm" userId="a518f54c-6985-42c0-8041-2bb16a414839" providerId="ADAL" clId="{3C9B919C-9CFF-4DBD-AE30-72DF3107A706}" dt="2023-06-05T22:52:55.007" v="19223"/>
          <ac:spMkLst>
            <pc:docMk/>
            <pc:sldMk cId="2815334483" sldId="271"/>
            <ac:spMk id="43" creationId="{BEA60322-B850-D12E-7FCF-66BC91EC080A}"/>
          </ac:spMkLst>
        </pc:spChg>
        <pc:spChg chg="mod">
          <ac:chgData name="Joelle Brehm" userId="a518f54c-6985-42c0-8041-2bb16a414839" providerId="ADAL" clId="{3C9B919C-9CFF-4DBD-AE30-72DF3107A706}" dt="2023-06-05T22:52:55.007" v="19224"/>
          <ac:spMkLst>
            <pc:docMk/>
            <pc:sldMk cId="2815334483" sldId="271"/>
            <ac:spMk id="44" creationId="{CAF88ADA-38F8-27CD-7000-39BEF277AA3B}"/>
          </ac:spMkLst>
        </pc:spChg>
        <pc:spChg chg="add del mod ord replST">
          <ac:chgData name="Joelle Brehm" userId="a518f54c-6985-42c0-8041-2bb16a414839" providerId="ADAL" clId="{3C9B919C-9CFF-4DBD-AE30-72DF3107A706}" dt="2023-06-05T22:52:25.846" v="18523"/>
          <ac:spMkLst>
            <pc:docMk/>
            <pc:sldMk cId="2815334483" sldId="271"/>
            <ac:spMk id="45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2:52:24.066" v="18417"/>
          <ac:spMkLst>
            <pc:docMk/>
            <pc:sldMk cId="2815334483" sldId="271"/>
            <ac:spMk id="47" creationId="{8997A049-5CE5-B38B-ADB1-A1CFECB694FA}"/>
          </ac:spMkLst>
        </pc:spChg>
        <pc:spChg chg="mod">
          <ac:chgData name="Joelle Brehm" userId="a518f54c-6985-42c0-8041-2bb16a414839" providerId="ADAL" clId="{3C9B919C-9CFF-4DBD-AE30-72DF3107A706}" dt="2023-06-05T22:52:55.004" v="19205"/>
          <ac:spMkLst>
            <pc:docMk/>
            <pc:sldMk cId="2815334483" sldId="271"/>
            <ac:spMk id="48" creationId="{E51CFCE3-4E32-6059-9327-A1EFC827F040}"/>
          </ac:spMkLst>
        </pc:spChg>
        <pc:spChg chg="add del mod modVis">
          <ac:chgData name="Joelle Brehm" userId="a518f54c-6985-42c0-8041-2bb16a414839" providerId="ADAL" clId="{3C9B919C-9CFF-4DBD-AE30-72DF3107A706}" dt="2023-06-05T22:52:25.941" v="18616"/>
          <ac:spMkLst>
            <pc:docMk/>
            <pc:sldMk cId="2815334483" sldId="271"/>
            <ac:spMk id="50" creationId="{3EB7EACF-0B7C-7CEC-0933-3F545BF7FE28}"/>
          </ac:spMkLst>
        </pc:spChg>
        <pc:spChg chg="add del mod modVis">
          <ac:chgData name="Joelle Brehm" userId="a518f54c-6985-42c0-8041-2bb16a414839" providerId="ADAL" clId="{3C9B919C-9CFF-4DBD-AE30-72DF3107A706}" dt="2023-06-05T22:52:35.170" v="18954"/>
          <ac:spMkLst>
            <pc:docMk/>
            <pc:sldMk cId="2815334483" sldId="271"/>
            <ac:spMk id="52" creationId="{845ABE24-1C5A-0F34-1987-DF8479FCB66D}"/>
          </ac:spMkLst>
        </pc:spChg>
        <pc:spChg chg="mod ord">
          <ac:chgData name="Joelle Brehm" userId="a518f54c-6985-42c0-8041-2bb16a414839" providerId="ADAL" clId="{3C9B919C-9CFF-4DBD-AE30-72DF3107A706}" dt="2023-06-05T22:52:55.008" v="19228"/>
          <ac:spMkLst>
            <pc:docMk/>
            <pc:sldMk cId="2815334483" sldId="271"/>
            <ac:spMk id="58" creationId="{13D3C19C-081E-48C7-8BE2-5EF3E8A1DEEB}"/>
          </ac:spMkLst>
        </pc:spChg>
        <pc:spChg chg="del mod">
          <ac:chgData name="Joelle Brehm" userId="a518f54c-6985-42c0-8041-2bb16a414839" providerId="ADAL" clId="{3C9B919C-9CFF-4DBD-AE30-72DF3107A706}" dt="2023-06-05T22:52:25.692" v="18420"/>
          <ac:spMkLst>
            <pc:docMk/>
            <pc:sldMk cId="2815334483" sldId="271"/>
            <ac:spMk id="59" creationId="{560584A3-88F0-ED61-E66F-42217538E924}"/>
          </ac:spMkLst>
        </pc:spChg>
        <pc:spChg chg="mod">
          <ac:chgData name="Joelle Brehm" userId="a518f54c-6985-42c0-8041-2bb16a414839" providerId="ADAL" clId="{3C9B919C-9CFF-4DBD-AE30-72DF3107A706}" dt="2023-06-05T22:52:55.002" v="19198"/>
          <ac:spMkLst>
            <pc:docMk/>
            <pc:sldMk cId="2815334483" sldId="271"/>
            <ac:spMk id="61" creationId="{8EF73248-EE25-106D-5FF1-4042C3063FAC}"/>
          </ac:spMkLst>
        </pc:spChg>
        <pc:spChg chg="mod">
          <ac:chgData name="Joelle Brehm" userId="a518f54c-6985-42c0-8041-2bb16a414839" providerId="ADAL" clId="{3C9B919C-9CFF-4DBD-AE30-72DF3107A706}" dt="2023-06-05T22:52:55.002" v="19197"/>
          <ac:spMkLst>
            <pc:docMk/>
            <pc:sldMk cId="2815334483" sldId="271"/>
            <ac:spMk id="63" creationId="{33CF73DD-CC51-6A85-BF30-50C708C42A82}"/>
          </ac:spMkLst>
        </pc:spChg>
        <pc:spChg chg="mod ord">
          <ac:chgData name="Joelle Brehm" userId="a518f54c-6985-42c0-8041-2bb16a414839" providerId="ADAL" clId="{3C9B919C-9CFF-4DBD-AE30-72DF3107A706}" dt="2023-06-05T22:52:55.004" v="19207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52:55.004" v="19209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2:52:55.005" v="19211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52:55.005" v="19213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52:55.005" v="19215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52:55.006" v="19217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52:55.006" v="19221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52:55.018" v="19234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2:54.995" v="19169"/>
          <ac:graphicFrameMkLst>
            <pc:docMk/>
            <pc:sldMk cId="2815334483" sldId="271"/>
            <ac:graphicFrameMk id="8" creationId="{16B9EB6F-D164-47D5-0C14-6EDDB693B0A6}"/>
          </ac:graphicFrameMkLst>
        </pc:graphicFrameChg>
        <pc:graphicFrameChg chg="del">
          <ac:chgData name="Joelle Brehm" userId="a518f54c-6985-42c0-8041-2bb16a414839" providerId="ADAL" clId="{3C9B919C-9CFF-4DBD-AE30-72DF3107A706}" dt="2023-06-05T22:52:08.223" v="17377"/>
          <ac:graphicFrameMkLst>
            <pc:docMk/>
            <pc:sldMk cId="2815334483" sldId="271"/>
            <ac:graphicFrameMk id="9" creationId="{B391EBA5-D28E-CDA9-C327-5A9405C1E97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2:23.985" v="18315"/>
          <ac:graphicFrameMkLst>
            <pc:docMk/>
            <pc:sldMk cId="2815334483" sldId="271"/>
            <ac:graphicFrameMk id="46" creationId="{3D2A4A54-0476-2C4D-2C02-AEF83C6D702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2:25.857" v="18537"/>
          <ac:graphicFrameMkLst>
            <pc:docMk/>
            <pc:sldMk cId="2815334483" sldId="271"/>
            <ac:graphicFrameMk id="49" creationId="{61F0156A-D0F8-3EA4-661F-20E2AD194F13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2:55.001" v="19193"/>
          <ac:graphicFrameMkLst>
            <pc:docMk/>
            <pc:sldMk cId="2815334483" sldId="271"/>
            <ac:graphicFrameMk id="51" creationId="{40D24EA3-35FB-34B2-F917-D6C5CA3BD238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2:38.321" v="18976"/>
          <ac:graphicFrameMkLst>
            <pc:docMk/>
            <pc:sldMk cId="2815334483" sldId="271"/>
            <ac:graphicFrameMk id="53" creationId="{F71707EF-B48E-322A-A5BF-1CD6FA70402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2:40.027" v="19075"/>
          <ac:graphicFrameMkLst>
            <pc:docMk/>
            <pc:sldMk cId="2815334483" sldId="271"/>
            <ac:graphicFrameMk id="54" creationId="{3F255C66-80BC-C3FF-6ACD-434005A4009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2:55.006" v="19219"/>
          <ac:graphicFrameMkLst>
            <pc:docMk/>
            <pc:sldMk cId="2815334483" sldId="271"/>
            <ac:graphicFrameMk id="55" creationId="{86C2DBF3-026A-B7C5-C335-5BB6CAF8DA75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2:22.799" v="18120"/>
          <ac:graphicFrameMkLst>
            <pc:docMk/>
            <pc:sldMk cId="2815334483" sldId="271"/>
            <ac:graphicFrameMk id="66" creationId="{AF5327B1-E91C-AAEE-EA22-E7EA70987587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2:35.094" v="18875"/>
          <ac:graphicFrameMkLst>
            <pc:docMk/>
            <pc:sldMk cId="2815334483" sldId="271"/>
            <ac:graphicFrameMk id="67" creationId="{67CB2410-CADF-A9D8-D235-4EDFB79812A7}"/>
          </ac:graphicFrameMkLst>
        </pc:graphicFrameChg>
        <pc:picChg chg="del mod ord">
          <ac:chgData name="Joelle Brehm" userId="a518f54c-6985-42c0-8041-2bb16a414839" providerId="ADAL" clId="{3C9B919C-9CFF-4DBD-AE30-72DF3107A706}" dt="2023-06-05T22:52:56.708" v="19235" actId="478"/>
          <ac:picMkLst>
            <pc:docMk/>
            <pc:sldMk cId="2815334483" sldId="271"/>
            <ac:picMk id="39" creationId="{11432867-584A-5571-13EF-C4A133652A5D}"/>
          </ac:picMkLst>
        </pc:picChg>
        <pc:picChg chg="add mod ord">
          <ac:chgData name="Joelle Brehm" userId="a518f54c-6985-42c0-8041-2bb16a414839" providerId="ADAL" clId="{3C9B919C-9CFF-4DBD-AE30-72DF3107A706}" dt="2023-06-05T22:52:54.994" v="19161"/>
          <ac:picMkLst>
            <pc:docMk/>
            <pc:sldMk cId="2815334483" sldId="271"/>
            <ac:picMk id="56" creationId="{32D679C8-06CE-15BA-6449-825844A17365}"/>
          </ac:picMkLst>
        </pc:picChg>
        <pc:picChg chg="mod ord">
          <ac:chgData name="Joelle Brehm" userId="a518f54c-6985-42c0-8041-2bb16a414839" providerId="ADAL" clId="{3C9B919C-9CFF-4DBD-AE30-72DF3107A706}" dt="2023-06-05T22:52:55.007" v="19226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52:54.995" v="19167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54:12.355" v="21025"/>
        <pc:sldMkLst>
          <pc:docMk/>
          <pc:sldMk cId="1407012127" sldId="272"/>
        </pc:sldMkLst>
        <pc:spChg chg="mod ord">
          <ac:chgData name="Joelle Brehm" userId="a518f54c-6985-42c0-8041-2bb16a414839" providerId="ADAL" clId="{3C9B919C-9CFF-4DBD-AE30-72DF3107A706}" dt="2023-06-05T22:54:12.345" v="21019"/>
          <ac:spMkLst>
            <pc:docMk/>
            <pc:sldMk cId="1407012127" sldId="272"/>
            <ac:spMk id="2" creationId="{7B63279B-FBC7-4B7C-A9D5-69987BC864D5}"/>
          </ac:spMkLst>
        </pc:spChg>
        <pc:spChg chg="add del mod ord">
          <ac:chgData name="Joelle Brehm" userId="a518f54c-6985-42c0-8041-2bb16a414839" providerId="ADAL" clId="{3C9B919C-9CFF-4DBD-AE30-72DF3107A706}" dt="2023-06-05T22:53:50.520" v="19579" actId="478"/>
          <ac:spMkLst>
            <pc:docMk/>
            <pc:sldMk cId="1407012127" sldId="272"/>
            <ac:spMk id="3" creationId="{7FEC52BC-3AA3-D7DD-7320-504F71D8CA8A}"/>
          </ac:spMkLst>
        </pc:spChg>
        <pc:spChg chg="add del mod modVis">
          <ac:chgData name="Joelle Brehm" userId="a518f54c-6985-42c0-8041-2bb16a414839" providerId="ADAL" clId="{3C9B919C-9CFF-4DBD-AE30-72DF3107A706}" dt="2023-06-05T22:53:25.347" v="19493"/>
          <ac:spMkLst>
            <pc:docMk/>
            <pc:sldMk cId="1407012127" sldId="272"/>
            <ac:spMk id="5" creationId="{5C6F9B6E-7837-C971-A498-FB4ECB79FD6F}"/>
          </ac:spMkLst>
        </pc:spChg>
        <pc:spChg chg="mod ord">
          <ac:chgData name="Joelle Brehm" userId="a518f54c-6985-42c0-8041-2bb16a414839" providerId="ADAL" clId="{3C9B919C-9CFF-4DBD-AE30-72DF3107A706}" dt="2023-06-05T22:54:12.330" v="20954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2:54:12.332" v="20966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54:12.332" v="20965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54:12.332" v="20964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54:12.331" v="20960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54:12.331" v="20962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54:12.331" v="20959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54:12.332" v="20963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54:12.331" v="20961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54:12.333" v="20967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54:12.333" v="20968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54:12.333" v="20969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54:12.334" v="20970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54:12.334" v="20972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54:12.335" v="20975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54:12.334" v="20973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54:12.334" v="20974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54:12.335" v="20977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54:12.335" v="20976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54:12.335" v="20978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54:12.336" v="20980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54:12.337" v="20983"/>
          <ac:spMkLst>
            <pc:docMk/>
            <pc:sldMk cId="1407012127" sldId="272"/>
            <ac:spMk id="32" creationId="{99895A00-E6FD-8315-8545-8F5C97720D4E}"/>
          </ac:spMkLst>
        </pc:spChg>
        <pc:spChg chg="mod">
          <ac:chgData name="Joelle Brehm" userId="a518f54c-6985-42c0-8041-2bb16a414839" providerId="ADAL" clId="{3C9B919C-9CFF-4DBD-AE30-72DF3107A706}" dt="2023-06-05T22:54:12.339" v="20987"/>
          <ac:spMkLst>
            <pc:docMk/>
            <pc:sldMk cId="1407012127" sldId="272"/>
            <ac:spMk id="33" creationId="{FA851268-0C57-C1F8-D85D-FE1413AC1777}"/>
          </ac:spMkLst>
        </pc:spChg>
        <pc:spChg chg="mod">
          <ac:chgData name="Joelle Brehm" userId="a518f54c-6985-42c0-8041-2bb16a414839" providerId="ADAL" clId="{3C9B919C-9CFF-4DBD-AE30-72DF3107A706}" dt="2023-06-05T22:54:12.339" v="20988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3C9B919C-9CFF-4DBD-AE30-72DF3107A706}" dt="2023-06-05T22:54:12.339" v="20989"/>
          <ac:spMkLst>
            <pc:docMk/>
            <pc:sldMk cId="1407012127" sldId="272"/>
            <ac:spMk id="35" creationId="{4B6310D6-23E5-0588-F042-388EAC57E1DA}"/>
          </ac:spMkLst>
        </pc:spChg>
        <pc:spChg chg="mod">
          <ac:chgData name="Joelle Brehm" userId="a518f54c-6985-42c0-8041-2bb16a414839" providerId="ADAL" clId="{3C9B919C-9CFF-4DBD-AE30-72DF3107A706}" dt="2023-06-05T22:54:12.338" v="20986"/>
          <ac:spMkLst>
            <pc:docMk/>
            <pc:sldMk cId="1407012127" sldId="272"/>
            <ac:spMk id="36" creationId="{037FE80B-438D-9EB3-2953-BBBE4A06709F}"/>
          </ac:spMkLst>
        </pc:spChg>
        <pc:spChg chg="mod">
          <ac:chgData name="Joelle Brehm" userId="a518f54c-6985-42c0-8041-2bb16a414839" providerId="ADAL" clId="{3C9B919C-9CFF-4DBD-AE30-72DF3107A706}" dt="2023-06-05T22:54:12.339" v="20990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3C9B919C-9CFF-4DBD-AE30-72DF3107A706}" dt="2023-06-05T22:54:12.340" v="20991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3C9B919C-9CFF-4DBD-AE30-72DF3107A706}" dt="2023-06-05T22:54:12.340" v="20993"/>
          <ac:spMkLst>
            <pc:docMk/>
            <pc:sldMk cId="1407012127" sldId="272"/>
            <ac:spMk id="39" creationId="{BC8B8CEB-DD48-E296-513C-6E912EEE1511}"/>
          </ac:spMkLst>
        </pc:spChg>
        <pc:spChg chg="add del mod modVis">
          <ac:chgData name="Joelle Brehm" userId="a518f54c-6985-42c0-8041-2bb16a414839" providerId="ADAL" clId="{3C9B919C-9CFF-4DBD-AE30-72DF3107A706}" dt="2023-06-05T22:53:57.823" v="19792"/>
          <ac:spMkLst>
            <pc:docMk/>
            <pc:sldMk cId="1407012127" sldId="272"/>
            <ac:spMk id="40" creationId="{B52955EA-1D8F-6521-5103-212A07FF0F34}"/>
          </ac:spMkLst>
        </pc:spChg>
        <pc:spChg chg="mod">
          <ac:chgData name="Joelle Brehm" userId="a518f54c-6985-42c0-8041-2bb16a414839" providerId="ADAL" clId="{3C9B919C-9CFF-4DBD-AE30-72DF3107A706}" dt="2023-06-05T22:54:12.340" v="20992"/>
          <ac:spMkLst>
            <pc:docMk/>
            <pc:sldMk cId="1407012127" sldId="272"/>
            <ac:spMk id="41" creationId="{3B0A3A52-5D18-7245-58AE-791EE368F68D}"/>
          </ac:spMkLst>
        </pc:spChg>
        <pc:spChg chg="add mod replST">
          <ac:chgData name="Joelle Brehm" userId="a518f54c-6985-42c0-8041-2bb16a414839" providerId="ADAL" clId="{3C9B919C-9CFF-4DBD-AE30-72DF3107A706}" dt="2023-06-05T22:54:12.340" v="20994"/>
          <ac:spMkLst>
            <pc:docMk/>
            <pc:sldMk cId="1407012127" sldId="272"/>
            <ac:spMk id="43" creationId="{FB4FB43F-D084-EE9C-5BF8-B064116032D0}"/>
          </ac:spMkLst>
        </pc:spChg>
        <pc:spChg chg="add del mod modVis">
          <ac:chgData name="Joelle Brehm" userId="a518f54c-6985-42c0-8041-2bb16a414839" providerId="ADAL" clId="{3C9B919C-9CFF-4DBD-AE30-72DF3107A706}" dt="2023-06-05T22:54:03.633" v="20404"/>
          <ac:spMkLst>
            <pc:docMk/>
            <pc:sldMk cId="1407012127" sldId="272"/>
            <ac:spMk id="44" creationId="{B8D69886-E6BD-4100-BD69-49C7FCB4087D}"/>
          </ac:spMkLst>
        </pc:spChg>
        <pc:spChg chg="add del mod modVis">
          <ac:chgData name="Joelle Brehm" userId="a518f54c-6985-42c0-8041-2bb16a414839" providerId="ADAL" clId="{3C9B919C-9CFF-4DBD-AE30-72DF3107A706}" dt="2023-06-05T22:54:06.892" v="20558"/>
          <ac:spMkLst>
            <pc:docMk/>
            <pc:sldMk cId="1407012127" sldId="272"/>
            <ac:spMk id="46" creationId="{D1F23574-8351-54B4-D28D-76CC41B56DC6}"/>
          </ac:spMkLst>
        </pc:spChg>
        <pc:spChg chg="add del mod modVis">
          <ac:chgData name="Joelle Brehm" userId="a518f54c-6985-42c0-8041-2bb16a414839" providerId="ADAL" clId="{3C9B919C-9CFF-4DBD-AE30-72DF3107A706}" dt="2023-06-05T22:54:08.995" v="20870"/>
          <ac:spMkLst>
            <pc:docMk/>
            <pc:sldMk cId="1407012127" sldId="272"/>
            <ac:spMk id="48" creationId="{19A80058-E1C9-0C7D-06E4-D4451EDAB9AA}"/>
          </ac:spMkLst>
        </pc:spChg>
        <pc:spChg chg="add del mod ord replST">
          <ac:chgData name="Joelle Brehm" userId="a518f54c-6985-42c0-8041-2bb16a414839" providerId="ADAL" clId="{3C9B919C-9CFF-4DBD-AE30-72DF3107A706}" dt="2023-06-05T22:54:12.309" v="20942"/>
          <ac:spMkLst>
            <pc:docMk/>
            <pc:sldMk cId="1407012127" sldId="272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2:54:12.346" v="21023"/>
          <ac:spMkLst>
            <pc:docMk/>
            <pc:sldMk cId="1407012127" sldId="272"/>
            <ac:spMk id="53" creationId="{91FAB2EE-409B-F7D7-B374-C2213C5F2551}"/>
          </ac:spMkLst>
        </pc:spChg>
        <pc:spChg chg="del mod">
          <ac:chgData name="Joelle Brehm" userId="a518f54c-6985-42c0-8041-2bb16a414839" providerId="ADAL" clId="{3C9B919C-9CFF-4DBD-AE30-72DF3107A706}" dt="2023-06-05T22:54:08.577" v="20561"/>
          <ac:spMkLst>
            <pc:docMk/>
            <pc:sldMk cId="1407012127" sldId="272"/>
            <ac:spMk id="61" creationId="{EEB0DA68-0A97-61DE-D48F-C5CBC82687DD}"/>
          </ac:spMkLst>
        </pc:spChg>
        <pc:spChg chg="mod">
          <ac:chgData name="Joelle Brehm" userId="a518f54c-6985-42c0-8041-2bb16a414839" providerId="ADAL" clId="{3C9B919C-9CFF-4DBD-AE30-72DF3107A706}" dt="2023-06-05T22:54:12.338" v="20985"/>
          <ac:spMkLst>
            <pc:docMk/>
            <pc:sldMk cId="1407012127" sldId="272"/>
            <ac:spMk id="63" creationId="{4410528A-F952-D220-E23F-87D3A27CFBF7}"/>
          </ac:spMkLst>
        </pc:spChg>
        <pc:spChg chg="mod">
          <ac:chgData name="Joelle Brehm" userId="a518f54c-6985-42c0-8041-2bb16a414839" providerId="ADAL" clId="{3C9B919C-9CFF-4DBD-AE30-72DF3107A706}" dt="2023-06-05T22:54:12.338" v="20984"/>
          <ac:spMkLst>
            <pc:docMk/>
            <pc:sldMk cId="1407012127" sldId="272"/>
            <ac:spMk id="70" creationId="{B6822296-A0C9-A6AA-362B-476083CFEED1}"/>
          </ac:spMkLst>
        </pc:spChg>
        <pc:spChg chg="mod ord">
          <ac:chgData name="Joelle Brehm" userId="a518f54c-6985-42c0-8041-2bb16a414839" providerId="ADAL" clId="{3C9B919C-9CFF-4DBD-AE30-72DF3107A706}" dt="2023-06-05T22:54:12.344" v="21017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3C9B919C-9CFF-4DBD-AE30-72DF3107A706}" dt="2023-06-05T22:54:12.341" v="20996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54:12.341" v="20998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2:54:12.341" v="21000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54:12.342" v="21002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54:12.342" v="21004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54:12.342" v="21006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54:12.343" v="21009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4:12.344" v="21012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4:12.344" v="21013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4:12.343" v="21011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54:12.343" v="21010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54:12.355" v="21025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4:12.330" v="20958"/>
          <ac:graphicFrameMkLst>
            <pc:docMk/>
            <pc:sldMk cId="1407012127" sldId="272"/>
            <ac:graphicFrameMk id="8" creationId="{AAAC8924-6B0B-0F9E-61C5-4A4E2DC72989}"/>
          </ac:graphicFrameMkLst>
        </pc:graphicFrameChg>
        <pc:graphicFrameChg chg="del">
          <ac:chgData name="Joelle Brehm" userId="a518f54c-6985-42c0-8041-2bb16a414839" providerId="ADAL" clId="{3C9B919C-9CFF-4DBD-AE30-72DF3107A706}" dt="2023-06-05T22:53:25.267" v="19408"/>
          <ac:graphicFrameMkLst>
            <pc:docMk/>
            <pc:sldMk cId="1407012127" sldId="272"/>
            <ac:graphicFrameMk id="9" creationId="{DCFC0D19-9087-3F9E-76C2-AAB41CA2AB93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4:12.343" v="21008"/>
          <ac:graphicFrameMkLst>
            <pc:docMk/>
            <pc:sldMk cId="1407012127" sldId="272"/>
            <ac:graphicFrameMk id="42" creationId="{050D58FA-C24E-A0C2-84B9-177180192A6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4:06.798" v="20478"/>
          <ac:graphicFrameMkLst>
            <pc:docMk/>
            <pc:sldMk cId="1407012127" sldId="272"/>
            <ac:graphicFrameMk id="45" creationId="{823B74EB-0C5A-FDDC-D41B-25C59010DC0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4:08.889" v="20767"/>
          <ac:graphicFrameMkLst>
            <pc:docMk/>
            <pc:sldMk cId="1407012127" sldId="272"/>
            <ac:graphicFrameMk id="47" creationId="{42E0CBA5-87E5-249D-1AA1-47B9B8DC9BF9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4:03.581" v="20316"/>
          <ac:graphicFrameMkLst>
            <pc:docMk/>
            <pc:sldMk cId="1407012127" sldId="272"/>
            <ac:graphicFrameMk id="49" creationId="{6FF54E1E-DD96-2AE3-5545-0C41F73AD817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4:12.310" v="20944"/>
          <ac:graphicFrameMkLst>
            <pc:docMk/>
            <pc:sldMk cId="1407012127" sldId="272"/>
            <ac:graphicFrameMk id="51" creationId="{97F83DC1-7C3F-560B-2B8D-30D5C5EFE36A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3:57.769" v="19713"/>
          <ac:graphicFrameMkLst>
            <pc:docMk/>
            <pc:sldMk cId="1407012127" sldId="272"/>
            <ac:graphicFrameMk id="52" creationId="{9401D178-A66F-89C3-BB54-61F99CBC48D5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4:12.336" v="20982"/>
          <ac:graphicFrameMkLst>
            <pc:docMk/>
            <pc:sldMk cId="1407012127" sldId="272"/>
            <ac:graphicFrameMk id="54" creationId="{B1F47FAA-45F2-B834-F1E4-18669B542251}"/>
          </ac:graphicFrameMkLst>
        </pc:graphicFrameChg>
        <pc:picChg chg="del mod ord">
          <ac:chgData name="Joelle Brehm" userId="a518f54c-6985-42c0-8041-2bb16a414839" providerId="ADAL" clId="{3C9B919C-9CFF-4DBD-AE30-72DF3107A706}" dt="2023-06-05T22:53:47.324" v="19578" actId="478"/>
          <ac:picMkLst>
            <pc:docMk/>
            <pc:sldMk cId="1407012127" sldId="272"/>
            <ac:picMk id="10" creationId="{E0200243-8BCF-6DDD-40A6-65A9C33163F9}"/>
          </ac:picMkLst>
        </pc:picChg>
        <pc:picChg chg="add mod ord">
          <ac:chgData name="Joelle Brehm" userId="a518f54c-6985-42c0-8041-2bb16a414839" providerId="ADAL" clId="{3C9B919C-9CFF-4DBD-AE30-72DF3107A706}" dt="2023-06-05T22:54:12.329" v="20952"/>
          <ac:picMkLst>
            <pc:docMk/>
            <pc:sldMk cId="1407012127" sldId="272"/>
            <ac:picMk id="31" creationId="{53F33D7C-A418-9DC3-0AC0-36E535D092CB}"/>
          </ac:picMkLst>
        </pc:picChg>
        <pc:picChg chg="mod ord">
          <ac:chgData name="Joelle Brehm" userId="a518f54c-6985-42c0-8041-2bb16a414839" providerId="ADAL" clId="{3C9B919C-9CFF-4DBD-AE30-72DF3107A706}" dt="2023-06-05T22:54:12.344" v="21015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54:12.330" v="20956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55:35.672" v="22606"/>
        <pc:sldMkLst>
          <pc:docMk/>
          <pc:sldMk cId="4005475890" sldId="273"/>
        </pc:sldMkLst>
        <pc:spChg chg="mod ord">
          <ac:chgData name="Joelle Brehm" userId="a518f54c-6985-42c0-8041-2bb16a414839" providerId="ADAL" clId="{3C9B919C-9CFF-4DBD-AE30-72DF3107A706}" dt="2023-06-05T22:55:35.661" v="22600"/>
          <ac:spMkLst>
            <pc:docMk/>
            <pc:sldMk cId="4005475890" sldId="273"/>
            <ac:spMk id="2" creationId="{072E23F3-409C-46DC-8EB8-140BD200F8C6}"/>
          </ac:spMkLst>
        </pc:spChg>
        <pc:spChg chg="add del mod ord">
          <ac:chgData name="Joelle Brehm" userId="a518f54c-6985-42c0-8041-2bb16a414839" providerId="ADAL" clId="{3C9B919C-9CFF-4DBD-AE30-72DF3107A706}" dt="2023-06-05T22:55:11.484" v="21373" actId="478"/>
          <ac:spMkLst>
            <pc:docMk/>
            <pc:sldMk cId="4005475890" sldId="273"/>
            <ac:spMk id="3" creationId="{A4CEA8B2-2211-7FC6-0C81-9258595B51B1}"/>
          </ac:spMkLst>
        </pc:spChg>
        <pc:spChg chg="add del mod modVis">
          <ac:chgData name="Joelle Brehm" userId="a518f54c-6985-42c0-8041-2bb16a414839" providerId="ADAL" clId="{3C9B919C-9CFF-4DBD-AE30-72DF3107A706}" dt="2023-06-05T22:54:57.252" v="21287"/>
          <ac:spMkLst>
            <pc:docMk/>
            <pc:sldMk cId="4005475890" sldId="273"/>
            <ac:spMk id="5" creationId="{6E855776-7EEB-06B6-59AD-F720473530A8}"/>
          </ac:spMkLst>
        </pc:spChg>
        <pc:spChg chg="mod ord">
          <ac:chgData name="Joelle Brehm" userId="a518f54c-6985-42c0-8041-2bb16a414839" providerId="ADAL" clId="{3C9B919C-9CFF-4DBD-AE30-72DF3107A706}" dt="2023-06-05T22:55:35.644" v="22535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2:55:35.646" v="22542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55:35.647" v="22546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55:35.647" v="22547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55:35.645" v="22541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55:35.646" v="22545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55:35.647" v="22548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55:35.646" v="22544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55:35.645" v="22540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55:35.647" v="22549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55:35.648" v="22550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55:35.648" v="22551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55:35.646" v="22543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55:35.648" v="22553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55:35.649" v="22555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55:35.649" v="22554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55:35.649" v="22556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55:35.650" v="22559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55:35.650" v="22557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55:35.650" v="22558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55:35.650" v="22561"/>
          <ac:spMkLst>
            <pc:docMk/>
            <pc:sldMk cId="4005475890" sldId="273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3C9B919C-9CFF-4DBD-AE30-72DF3107A706}" dt="2023-06-05T22:55:35.651" v="22565"/>
          <ac:spMkLst>
            <pc:docMk/>
            <pc:sldMk cId="4005475890" sldId="273"/>
            <ac:spMk id="32" creationId="{73FBDD3F-B046-DCA8-2889-DF2C26DB5351}"/>
          </ac:spMkLst>
        </pc:spChg>
        <pc:spChg chg="add del mod modVis">
          <ac:chgData name="Joelle Brehm" userId="a518f54c-6985-42c0-8041-2bb16a414839" providerId="ADAL" clId="{3C9B919C-9CFF-4DBD-AE30-72DF3107A706}" dt="2023-06-05T22:55:23.031" v="21957"/>
          <ac:spMkLst>
            <pc:docMk/>
            <pc:sldMk cId="4005475890" sldId="273"/>
            <ac:spMk id="33" creationId="{36516E80-098E-E080-4100-C7A0A33B2E9C}"/>
          </ac:spMkLst>
        </pc:spChg>
        <pc:spChg chg="mod">
          <ac:chgData name="Joelle Brehm" userId="a518f54c-6985-42c0-8041-2bb16a414839" providerId="ADAL" clId="{3C9B919C-9CFF-4DBD-AE30-72DF3107A706}" dt="2023-06-05T22:55:35.654" v="22574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3C9B919C-9CFF-4DBD-AE30-72DF3107A706}" dt="2023-06-05T22:55:35.654" v="22575"/>
          <ac:spMkLst>
            <pc:docMk/>
            <pc:sldMk cId="4005475890" sldId="273"/>
            <ac:spMk id="36" creationId="{2EDF94C4-61E5-066D-4CC5-2CF1F259F61A}"/>
          </ac:spMkLst>
        </pc:spChg>
        <pc:spChg chg="add del mod modVis">
          <ac:chgData name="Joelle Brehm" userId="a518f54c-6985-42c0-8041-2bb16a414839" providerId="ADAL" clId="{3C9B919C-9CFF-4DBD-AE30-72DF3107A706}" dt="2023-06-05T22:55:24.494" v="22165"/>
          <ac:spMkLst>
            <pc:docMk/>
            <pc:sldMk cId="4005475890" sldId="273"/>
            <ac:spMk id="38" creationId="{EABF6F00-5B3F-C8AF-B7CB-0578B780E0F0}"/>
          </ac:spMkLst>
        </pc:spChg>
        <pc:spChg chg="add del mod modVis">
          <ac:chgData name="Joelle Brehm" userId="a518f54c-6985-42c0-8041-2bb16a414839" providerId="ADAL" clId="{3C9B919C-9CFF-4DBD-AE30-72DF3107A706}" dt="2023-06-05T22:55:26.615" v="22363"/>
          <ac:spMkLst>
            <pc:docMk/>
            <pc:sldMk cId="4005475890" sldId="273"/>
            <ac:spMk id="40" creationId="{73D37FF3-09CA-ECF0-DB71-361AB5D4ED96}"/>
          </ac:spMkLst>
        </pc:spChg>
        <pc:spChg chg="add del mod modVis">
          <ac:chgData name="Joelle Brehm" userId="a518f54c-6985-42c0-8041-2bb16a414839" providerId="ADAL" clId="{3C9B919C-9CFF-4DBD-AE30-72DF3107A706}" dt="2023-06-05T22:55:35.662" v="22604"/>
          <ac:spMkLst>
            <pc:docMk/>
            <pc:sldMk cId="4005475890" sldId="273"/>
            <ac:spMk id="42" creationId="{0CC34A9A-567D-95AE-9950-EEC8F7945F82}"/>
          </ac:spMkLst>
        </pc:spChg>
        <pc:spChg chg="mod ord">
          <ac:chgData name="Joelle Brehm" userId="a518f54c-6985-42c0-8041-2bb16a414839" providerId="ADAL" clId="{3C9B919C-9CFF-4DBD-AE30-72DF3107A706}" dt="2023-06-05T22:55:35.661" v="22598"/>
          <ac:spMkLst>
            <pc:docMk/>
            <pc:sldMk cId="4005475890" sldId="273"/>
            <ac:spMk id="58" creationId="{FEC487CB-3123-46A1-8350-8669839FA870}"/>
          </ac:spMkLst>
        </pc:spChg>
        <pc:spChg chg="del mod">
          <ac:chgData name="Joelle Brehm" userId="a518f54c-6985-42c0-8041-2bb16a414839" providerId="ADAL" clId="{3C9B919C-9CFF-4DBD-AE30-72DF3107A706}" dt="2023-06-05T22:55:26.500" v="22168"/>
          <ac:spMkLst>
            <pc:docMk/>
            <pc:sldMk cId="4005475890" sldId="273"/>
            <ac:spMk id="7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2" v="22566"/>
          <ac:spMkLst>
            <pc:docMk/>
            <pc:sldMk cId="4005475890" sldId="273"/>
            <ac:spMk id="7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1" v="22564"/>
          <ac:spMkLst>
            <pc:docMk/>
            <pc:sldMk cId="4005475890" sldId="273"/>
            <ac:spMk id="7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5:35.655" v="22577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55:35.655" v="22579"/>
          <ac:spMkLst>
            <pc:docMk/>
            <pc:sldMk cId="4005475890" sldId="273"/>
            <ac:spMk id="79" creationId="{F1476AC4-694B-4D83-BFD8-8DCAA4BB1923}"/>
          </ac:spMkLst>
        </pc:spChg>
        <pc:spChg chg="mod">
          <ac:chgData name="Joelle Brehm" userId="a518f54c-6985-42c0-8041-2bb16a414839" providerId="ADAL" clId="{3C9B919C-9CFF-4DBD-AE30-72DF3107A706}" dt="2023-06-05T22:55:35.652" v="22567"/>
          <ac:spMkLst>
            <pc:docMk/>
            <pc:sldMk cId="4005475890" sldId="273"/>
            <ac:spMk id="8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3" v="22570"/>
          <ac:spMkLst>
            <pc:docMk/>
            <pc:sldMk cId="4005475890" sldId="273"/>
            <ac:spMk id="8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3" v="22569"/>
          <ac:spMkLst>
            <pc:docMk/>
            <pc:sldMk cId="4005475890" sldId="273"/>
            <ac:spMk id="8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2" v="22568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3" v="22571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3" v="22572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4" v="22573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5:35.656" v="22581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55:35.656" v="22583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55:35.657" v="22585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55:35.657" v="22587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55:35.658" v="22590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9" v="22592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9" v="22593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5:35.659" v="22591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55:35.660" v="22594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55:35.672" v="22606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5:35.645" v="22539"/>
          <ac:graphicFrameMkLst>
            <pc:docMk/>
            <pc:sldMk cId="4005475890" sldId="273"/>
            <ac:graphicFrameMk id="8" creationId="{F709BD7E-2710-6994-745B-61A772A2A8EC}"/>
          </ac:graphicFrameMkLst>
        </pc:graphicFrameChg>
        <pc:graphicFrameChg chg="del">
          <ac:chgData name="Joelle Brehm" userId="a518f54c-6985-42c0-8041-2bb16a414839" providerId="ADAL" clId="{3C9B919C-9CFF-4DBD-AE30-72DF3107A706}" dt="2023-06-05T22:54:57.189" v="21204"/>
          <ac:graphicFrameMkLst>
            <pc:docMk/>
            <pc:sldMk cId="4005475890" sldId="273"/>
            <ac:graphicFrameMk id="10" creationId="{24D20382-4DA8-DEEA-E2F0-6727F85B24AE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5:35.611" v="22525"/>
          <ac:graphicFrameMkLst>
            <pc:docMk/>
            <pc:sldMk cId="4005475890" sldId="273"/>
            <ac:graphicFrameMk id="35" creationId="{7C370BF5-1C01-B2C0-DA44-C10F6A242C7B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5:24.438" v="22065"/>
          <ac:graphicFrameMkLst>
            <pc:docMk/>
            <pc:sldMk cId="4005475890" sldId="273"/>
            <ac:graphicFrameMk id="37" creationId="{3B9A2D40-05C6-CDD6-10D8-1C3EE54501A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5:26.575" v="22284"/>
          <ac:graphicFrameMkLst>
            <pc:docMk/>
            <pc:sldMk cId="4005475890" sldId="273"/>
            <ac:graphicFrameMk id="39" creationId="{DCC5D2F3-184A-93DE-7958-C81B80950D6A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5:35.651" v="22563"/>
          <ac:graphicFrameMkLst>
            <pc:docMk/>
            <pc:sldMk cId="4005475890" sldId="273"/>
            <ac:graphicFrameMk id="41" creationId="{BCB1879D-9617-A6F0-0920-09AD930BA7E0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5:35.657" v="22589"/>
          <ac:graphicFrameMkLst>
            <pc:docMk/>
            <pc:sldMk cId="4005475890" sldId="273"/>
            <ac:graphicFrameMk id="43" creationId="{3EA6FA13-E5A3-C37B-73AA-6DDAC1E171BA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5:22.978" v="21871"/>
          <ac:graphicFrameMkLst>
            <pc:docMk/>
            <pc:sldMk cId="4005475890" sldId="273"/>
            <ac:graphicFrameMk id="44" creationId="{5F3F3722-1079-5F18-3268-9B37A5544C00}"/>
          </ac:graphicFrameMkLst>
        </pc:graphicFrameChg>
        <pc:picChg chg="add mod ord">
          <ac:chgData name="Joelle Brehm" userId="a518f54c-6985-42c0-8041-2bb16a414839" providerId="ADAL" clId="{3C9B919C-9CFF-4DBD-AE30-72DF3107A706}" dt="2023-06-05T22:55:35.643" v="22533"/>
          <ac:picMkLst>
            <pc:docMk/>
            <pc:sldMk cId="4005475890" sldId="273"/>
            <ac:picMk id="9" creationId="{15643956-2907-085D-0AC8-D3CBB55291D8}"/>
          </ac:picMkLst>
        </pc:picChg>
        <pc:picChg chg="del mod ord">
          <ac:chgData name="Joelle Brehm" userId="a518f54c-6985-42c0-8041-2bb16a414839" providerId="ADAL" clId="{3C9B919C-9CFF-4DBD-AE30-72DF3107A706}" dt="2023-06-05T22:55:09.446" v="21372" actId="478"/>
          <ac:picMkLst>
            <pc:docMk/>
            <pc:sldMk cId="4005475890" sldId="273"/>
            <ac:picMk id="31" creationId="{EE488F33-94CD-11A0-0B42-2EE6002D1CC0}"/>
          </ac:picMkLst>
        </pc:picChg>
        <pc:picChg chg="mod ord">
          <ac:chgData name="Joelle Brehm" userId="a518f54c-6985-42c0-8041-2bb16a414839" providerId="ADAL" clId="{3C9B919C-9CFF-4DBD-AE30-72DF3107A706}" dt="2023-06-05T22:55:35.660" v="22596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55:35.644" v="22537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56:26.420" v="24108"/>
        <pc:sldMkLst>
          <pc:docMk/>
          <pc:sldMk cId="3374649050" sldId="274"/>
        </pc:sldMkLst>
        <pc:spChg chg="mod ord">
          <ac:chgData name="Joelle Brehm" userId="a518f54c-6985-42c0-8041-2bb16a414839" providerId="ADAL" clId="{3C9B919C-9CFF-4DBD-AE30-72DF3107A706}" dt="2023-06-05T22:56:26.404" v="24102"/>
          <ac:spMkLst>
            <pc:docMk/>
            <pc:sldMk cId="3374649050" sldId="274"/>
            <ac:spMk id="2" creationId="{5B9511BD-9A18-4BDB-8C3B-3627E48A258D}"/>
          </ac:spMkLst>
        </pc:spChg>
        <pc:spChg chg="add del mod ord">
          <ac:chgData name="Joelle Brehm" userId="a518f54c-6985-42c0-8041-2bb16a414839" providerId="ADAL" clId="{3C9B919C-9CFF-4DBD-AE30-72DF3107A706}" dt="2023-06-05T22:56:14.048" v="22956" actId="478"/>
          <ac:spMkLst>
            <pc:docMk/>
            <pc:sldMk cId="3374649050" sldId="274"/>
            <ac:spMk id="3" creationId="{DE4B96CF-D7D9-D5BD-8FE2-63A7A99D1A0A}"/>
          </ac:spMkLst>
        </pc:spChg>
        <pc:spChg chg="add del mod modVis">
          <ac:chgData name="Joelle Brehm" userId="a518f54c-6985-42c0-8041-2bb16a414839" providerId="ADAL" clId="{3C9B919C-9CFF-4DBD-AE30-72DF3107A706}" dt="2023-06-05T22:55:54.809" v="22870"/>
          <ac:spMkLst>
            <pc:docMk/>
            <pc:sldMk cId="3374649050" sldId="274"/>
            <ac:spMk id="5" creationId="{9315681E-7AA0-71AD-5708-F24434FC1D08}"/>
          </ac:spMkLst>
        </pc:spChg>
        <pc:spChg chg="mod ord">
          <ac:chgData name="Joelle Brehm" userId="a518f54c-6985-42c0-8041-2bb16a414839" providerId="ADAL" clId="{3C9B919C-9CFF-4DBD-AE30-72DF3107A706}" dt="2023-06-05T22:56:26.379" v="24037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2:56:26.381" v="24044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56:26.382" v="24045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56:26.383" v="24047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56:26.381" v="24042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56:26.382" v="24046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56:26.383" v="24048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56:26.383" v="24049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56:26.381" v="24043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56:26.384" v="24050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56:26.384" v="24051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56:26.385" v="24052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56:26.385" v="24053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56:26.386" v="24055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56:26.387" v="24058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56:26.386" v="24056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56:26.387" v="24057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56:26.388" v="24059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56:26.388" v="24060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56:26.388" v="24061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56:26.389" v="24063"/>
          <ac:spMkLst>
            <pc:docMk/>
            <pc:sldMk cId="3374649050" sldId="274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3C9B919C-9CFF-4DBD-AE30-72DF3107A706}" dt="2023-06-05T22:56:17.422" v="23197"/>
          <ac:spMkLst>
            <pc:docMk/>
            <pc:sldMk cId="3374649050" sldId="274"/>
            <ac:spMk id="31" creationId="{1F8EFFBA-2B29-71DC-FBB3-265D40DF223C}"/>
          </ac:spMkLst>
        </pc:spChg>
        <pc:spChg chg="mod">
          <ac:chgData name="Joelle Brehm" userId="a518f54c-6985-42c0-8041-2bb16a414839" providerId="ADAL" clId="{3C9B919C-9CFF-4DBD-AE30-72DF3107A706}" dt="2023-06-05T22:56:26.393" v="24073"/>
          <ac:spMkLst>
            <pc:docMk/>
            <pc:sldMk cId="3374649050" sldId="274"/>
            <ac:spMk id="33" creationId="{8A5C4479-0363-6F13-F887-8871FD03F34C}"/>
          </ac:spMkLst>
        </pc:spChg>
        <pc:spChg chg="add mod replST">
          <ac:chgData name="Joelle Brehm" userId="a518f54c-6985-42c0-8041-2bb16a414839" providerId="ADAL" clId="{3C9B919C-9CFF-4DBD-AE30-72DF3107A706}" dt="2023-06-05T22:56:26.392" v="24071"/>
          <ac:spMkLst>
            <pc:docMk/>
            <pc:sldMk cId="3374649050" sldId="274"/>
            <ac:spMk id="35" creationId="{2802A121-31E5-DB0B-5B38-DE9CBE8BEA57}"/>
          </ac:spMkLst>
        </pc:spChg>
        <pc:spChg chg="add del mod modVis">
          <ac:chgData name="Joelle Brehm" userId="a518f54c-6985-42c0-8041-2bb16a414839" providerId="ADAL" clId="{3C9B919C-9CFF-4DBD-AE30-72DF3107A706}" dt="2023-06-05T22:56:22.570" v="23700"/>
          <ac:spMkLst>
            <pc:docMk/>
            <pc:sldMk cId="3374649050" sldId="274"/>
            <ac:spMk id="36" creationId="{237DB8B1-DF4B-AB23-4720-E6AAA3EEB4A8}"/>
          </ac:spMkLst>
        </pc:spChg>
        <pc:spChg chg="mod">
          <ac:chgData name="Joelle Brehm" userId="a518f54c-6985-42c0-8041-2bb16a414839" providerId="ADAL" clId="{3C9B919C-9CFF-4DBD-AE30-72DF3107A706}" dt="2023-06-05T22:56:26.390" v="24066"/>
          <ac:spMkLst>
            <pc:docMk/>
            <pc:sldMk cId="3374649050" sldId="274"/>
            <ac:spMk id="38" creationId="{1995B1DD-126C-92BA-1668-3B87C2F5B1E5}"/>
          </ac:spMkLst>
        </pc:spChg>
        <pc:spChg chg="add del mod modVis">
          <ac:chgData name="Joelle Brehm" userId="a518f54c-6985-42c0-8041-2bb16a414839" providerId="ADAL" clId="{3C9B919C-9CFF-4DBD-AE30-72DF3107A706}" dt="2023-06-05T22:56:23.878" v="23908"/>
          <ac:spMkLst>
            <pc:docMk/>
            <pc:sldMk cId="3374649050" sldId="274"/>
            <ac:spMk id="40" creationId="{F7491FC3-1998-655D-92D0-478F3BF4C34D}"/>
          </ac:spMkLst>
        </pc:spChg>
        <pc:spChg chg="add del mod modVis">
          <ac:chgData name="Joelle Brehm" userId="a518f54c-6985-42c0-8041-2bb16a414839" providerId="ADAL" clId="{3C9B919C-9CFF-4DBD-AE30-72DF3107A706}" dt="2023-06-05T22:56:26.405" v="24106"/>
          <ac:spMkLst>
            <pc:docMk/>
            <pc:sldMk cId="3374649050" sldId="274"/>
            <ac:spMk id="42" creationId="{F9C0E329-905F-98D1-C534-83E5305593C8}"/>
          </ac:spMkLst>
        </pc:spChg>
        <pc:spChg chg="mod">
          <ac:chgData name="Joelle Brehm" userId="a518f54c-6985-42c0-8041-2bb16a414839" providerId="ADAL" clId="{3C9B919C-9CFF-4DBD-AE30-72DF3107A706}" dt="2023-06-05T22:56:26.400" v="24092"/>
          <ac:spMkLst>
            <pc:docMk/>
            <pc:sldMk cId="3374649050" sldId="274"/>
            <ac:spMk id="43" creationId="{71A50278-0560-C951-1F18-CA11BF2F6494}"/>
          </ac:spMkLst>
        </pc:spChg>
        <pc:spChg chg="mod ord">
          <ac:chgData name="Joelle Brehm" userId="a518f54c-6985-42c0-8041-2bb16a414839" providerId="ADAL" clId="{3C9B919C-9CFF-4DBD-AE30-72DF3107A706}" dt="2023-06-05T22:56:26.403" v="24100"/>
          <ac:spMkLst>
            <pc:docMk/>
            <pc:sldMk cId="3374649050" sldId="274"/>
            <ac:spMk id="58" creationId="{5BBF118A-F952-4AA1-8B74-92A00B5F6171}"/>
          </ac:spMkLst>
        </pc:spChg>
        <pc:spChg chg="del mod">
          <ac:chgData name="Joelle Brehm" userId="a518f54c-6985-42c0-8041-2bb16a414839" providerId="ADAL" clId="{3C9B919C-9CFF-4DBD-AE30-72DF3107A706}" dt="2023-06-05T22:56:26.222" v="23911"/>
          <ac:spMkLst>
            <pc:docMk/>
            <pc:sldMk cId="3374649050" sldId="274"/>
            <ac:spMk id="7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1" v="24068"/>
          <ac:spMkLst>
            <pc:docMk/>
            <pc:sldMk cId="3374649050" sldId="274"/>
            <ac:spMk id="7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6:26.395" v="24079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56:26.396" v="24081"/>
          <ac:spMkLst>
            <pc:docMk/>
            <pc:sldMk cId="3374649050" sldId="274"/>
            <ac:spMk id="79" creationId="{F1476AC4-694B-4D83-BFD8-8DCAA4BB1923}"/>
          </ac:spMkLst>
        </pc:spChg>
        <pc:spChg chg="mod">
          <ac:chgData name="Joelle Brehm" userId="a518f54c-6985-42c0-8041-2bb16a414839" providerId="ADAL" clId="{3C9B919C-9CFF-4DBD-AE30-72DF3107A706}" dt="2023-06-05T22:56:26.390" v="24067"/>
          <ac:spMkLst>
            <pc:docMk/>
            <pc:sldMk cId="3374649050" sldId="274"/>
            <ac:spMk id="8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2" v="24070"/>
          <ac:spMkLst>
            <pc:docMk/>
            <pc:sldMk cId="3374649050" sldId="274"/>
            <ac:spMk id="8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1" v="24069"/>
          <ac:spMkLst>
            <pc:docMk/>
            <pc:sldMk cId="3374649050" sldId="274"/>
            <ac:spMk id="8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3" v="24072"/>
          <ac:spMkLst>
            <pc:docMk/>
            <pc:sldMk cId="3374649050" sldId="274"/>
            <ac:spMk id="8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3" v="24074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4" v="24075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4" v="24076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395" v="24077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6:26.396" v="24083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56:26.397" v="24085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56:26.398" v="24087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56:26.399" v="24089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56:26.400" v="24093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401" v="24094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6:26.402" v="24096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56:26.401" v="24095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56:26.420" v="24108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6:26.380" v="24041"/>
          <ac:graphicFrameMkLst>
            <pc:docMk/>
            <pc:sldMk cId="3374649050" sldId="274"/>
            <ac:graphicFrameMk id="8" creationId="{C7CFF8C6-CCF4-49D5-7751-5C619B799D47}"/>
          </ac:graphicFrameMkLst>
        </pc:graphicFrameChg>
        <pc:graphicFrameChg chg="del">
          <ac:chgData name="Joelle Brehm" userId="a518f54c-6985-42c0-8041-2bb16a414839" providerId="ADAL" clId="{3C9B919C-9CFF-4DBD-AE30-72DF3107A706}" dt="2023-06-05T22:55:54.759" v="22783"/>
          <ac:graphicFrameMkLst>
            <pc:docMk/>
            <pc:sldMk cId="3374649050" sldId="274"/>
            <ac:graphicFrameMk id="10" creationId="{B15CBB23-204F-920A-1842-5A6FC1C9134D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6:26.399" v="24091"/>
          <ac:graphicFrameMkLst>
            <pc:docMk/>
            <pc:sldMk cId="3374649050" sldId="274"/>
            <ac:graphicFrameMk id="34" creationId="{02B180AC-0CC4-F3CC-E1D1-41F7C375046D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6:17.367" v="23118"/>
          <ac:graphicFrameMkLst>
            <pc:docMk/>
            <pc:sldMk cId="3374649050" sldId="274"/>
            <ac:graphicFrameMk id="37" creationId="{776DFCBF-4CB9-1193-87BB-E9031EC95DE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6:23.770" v="23808"/>
          <ac:graphicFrameMkLst>
            <pc:docMk/>
            <pc:sldMk cId="3374649050" sldId="274"/>
            <ac:graphicFrameMk id="39" creationId="{AF6FB2CB-6E9F-7DED-D2E1-5BB6F3D9FBD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6:26.341" v="24027"/>
          <ac:graphicFrameMkLst>
            <pc:docMk/>
            <pc:sldMk cId="3374649050" sldId="274"/>
            <ac:graphicFrameMk id="41" creationId="{36FCA68B-7324-7276-667C-EDB7418EF3FF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6:26.390" v="24065"/>
          <ac:graphicFrameMkLst>
            <pc:docMk/>
            <pc:sldMk cId="3374649050" sldId="274"/>
            <ac:graphicFrameMk id="44" creationId="{E1E61A59-87CA-7559-6E79-6C366BC327F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6:22.494" v="23616"/>
          <ac:graphicFrameMkLst>
            <pc:docMk/>
            <pc:sldMk cId="3374649050" sldId="274"/>
            <ac:graphicFrameMk id="50" creationId="{64C86CD2-075D-ECE9-DF8D-07A421DAACBC}"/>
          </ac:graphicFrameMkLst>
        </pc:graphicFrameChg>
        <pc:picChg chg="add mod ord">
          <ac:chgData name="Joelle Brehm" userId="a518f54c-6985-42c0-8041-2bb16a414839" providerId="ADAL" clId="{3C9B919C-9CFF-4DBD-AE30-72DF3107A706}" dt="2023-06-05T22:56:26.378" v="24035"/>
          <ac:picMkLst>
            <pc:docMk/>
            <pc:sldMk cId="3374649050" sldId="274"/>
            <ac:picMk id="9" creationId="{D920F2D8-2C56-7838-F707-23E04440A7E7}"/>
          </ac:picMkLst>
        </pc:picChg>
        <pc:picChg chg="del mod ord">
          <ac:chgData name="Joelle Brehm" userId="a518f54c-6985-42c0-8041-2bb16a414839" providerId="ADAL" clId="{3C9B919C-9CFF-4DBD-AE30-72DF3107A706}" dt="2023-06-05T22:56:05.732" v="22955" actId="478"/>
          <ac:picMkLst>
            <pc:docMk/>
            <pc:sldMk cId="3374649050" sldId="274"/>
            <ac:picMk id="32" creationId="{19411738-029D-E26D-E12D-C26389B38804}"/>
          </ac:picMkLst>
        </pc:picChg>
        <pc:picChg chg="mod ord">
          <ac:chgData name="Joelle Brehm" userId="a518f54c-6985-42c0-8041-2bb16a414839" providerId="ADAL" clId="{3C9B919C-9CFF-4DBD-AE30-72DF3107A706}" dt="2023-06-05T22:56:26.402" v="24098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56:26.380" v="24039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57:31.632" v="25594"/>
        <pc:sldMkLst>
          <pc:docMk/>
          <pc:sldMk cId="592117244" sldId="275"/>
        </pc:sldMkLst>
        <pc:spChg chg="mod ord">
          <ac:chgData name="Joelle Brehm" userId="a518f54c-6985-42c0-8041-2bb16a414839" providerId="ADAL" clId="{3C9B919C-9CFF-4DBD-AE30-72DF3107A706}" dt="2023-06-05T22:57:31.622" v="25588"/>
          <ac:spMkLst>
            <pc:docMk/>
            <pc:sldMk cId="592117244" sldId="275"/>
            <ac:spMk id="3" creationId="{0C27DD68-4A51-4792-857F-F431DC7C99BB}"/>
          </ac:spMkLst>
        </pc:spChg>
        <pc:spChg chg="add del mod ord">
          <ac:chgData name="Joelle Brehm" userId="a518f54c-6985-42c0-8041-2bb16a414839" providerId="ADAL" clId="{3C9B919C-9CFF-4DBD-AE30-72DF3107A706}" dt="2023-06-05T22:57:10.893" v="24460" actId="478"/>
          <ac:spMkLst>
            <pc:docMk/>
            <pc:sldMk cId="592117244" sldId="275"/>
            <ac:spMk id="5" creationId="{2FEBFFB8-2F01-1E71-742D-AB2C2D42DC9A}"/>
          </ac:spMkLst>
        </pc:spChg>
        <pc:spChg chg="mod ord">
          <ac:chgData name="Joelle Brehm" userId="a518f54c-6985-42c0-8041-2bb16a414839" providerId="ADAL" clId="{3C9B919C-9CFF-4DBD-AE30-72DF3107A706}" dt="2023-06-05T22:57:31.607" v="25523"/>
          <ac:spMkLst>
            <pc:docMk/>
            <pc:sldMk cId="592117244" sldId="275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3C9B919C-9CFF-4DBD-AE30-72DF3107A706}" dt="2023-06-05T22:56:53.179" v="24374"/>
          <ac:spMkLst>
            <pc:docMk/>
            <pc:sldMk cId="592117244" sldId="275"/>
            <ac:spMk id="8" creationId="{D72E4C72-1460-440A-2DA8-2A1E77FA5435}"/>
          </ac:spMkLst>
        </pc:spChg>
        <pc:spChg chg="mod">
          <ac:chgData name="Joelle Brehm" userId="a518f54c-6985-42c0-8041-2bb16a414839" providerId="ADAL" clId="{3C9B919C-9CFF-4DBD-AE30-72DF3107A706}" dt="2023-06-05T22:57:31.609" v="25534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57:31.609" v="25532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57:31.609" v="25531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57:31.608" v="25529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57:31.608" v="25530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57:31.610" v="25536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57:31.610" v="25535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57:31.609" v="25533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57:31.610" v="25537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57:31.610" v="25538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57:31.611" v="25539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57:31.608" v="25528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57:31.611" v="25541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57:31.611" v="25543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57:31.612" v="25544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57:31.611" v="25542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57:31.612" v="25546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57:31.612" v="25545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57:31.612" v="25547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57:31.613" v="25549"/>
          <ac:spMkLst>
            <pc:docMk/>
            <pc:sldMk cId="592117244" sldId="275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3C9B919C-9CFF-4DBD-AE30-72DF3107A706}" dt="2023-06-05T22:57:31.615" v="25557"/>
          <ac:spMkLst>
            <pc:docMk/>
            <pc:sldMk cId="592117244" sldId="275"/>
            <ac:spMk id="32" creationId="{EFD7F861-36C7-CE7A-55EC-A3296A1A6932}"/>
          </ac:spMkLst>
        </pc:spChg>
        <pc:spChg chg="add del mod modVis">
          <ac:chgData name="Joelle Brehm" userId="a518f54c-6985-42c0-8041-2bb16a414839" providerId="ADAL" clId="{3C9B919C-9CFF-4DBD-AE30-72DF3107A706}" dt="2023-06-05T22:57:16.117" v="24985"/>
          <ac:spMkLst>
            <pc:docMk/>
            <pc:sldMk cId="592117244" sldId="275"/>
            <ac:spMk id="33" creationId="{E6D20CD8-E8A8-4AA8-0503-5B058651679F}"/>
          </ac:spMkLst>
        </pc:spChg>
        <pc:spChg chg="add del mod modVis">
          <ac:chgData name="Joelle Brehm" userId="a518f54c-6985-42c0-8041-2bb16a414839" providerId="ADAL" clId="{3C9B919C-9CFF-4DBD-AE30-72DF3107A706}" dt="2023-06-05T22:57:20.200" v="25139"/>
          <ac:spMkLst>
            <pc:docMk/>
            <pc:sldMk cId="592117244" sldId="275"/>
            <ac:spMk id="36" creationId="{52B56D26-036C-6277-54D4-10F2843DA3BE}"/>
          </ac:spMkLst>
        </pc:spChg>
        <pc:spChg chg="mod">
          <ac:chgData name="Joelle Brehm" userId="a518f54c-6985-42c0-8041-2bb16a414839" providerId="ADAL" clId="{3C9B919C-9CFF-4DBD-AE30-72DF3107A706}" dt="2023-06-05T22:57:31.617" v="25563"/>
          <ac:spMkLst>
            <pc:docMk/>
            <pc:sldMk cId="592117244" sldId="275"/>
            <ac:spMk id="37" creationId="{90FA8FF8-BF43-F8ED-7D69-4D34F348E5E1}"/>
          </ac:spMkLst>
        </pc:spChg>
        <pc:spChg chg="mod">
          <ac:chgData name="Joelle Brehm" userId="a518f54c-6985-42c0-8041-2bb16a414839" providerId="ADAL" clId="{3C9B919C-9CFF-4DBD-AE30-72DF3107A706}" dt="2023-06-05T22:57:31.616" v="25562"/>
          <ac:spMkLst>
            <pc:docMk/>
            <pc:sldMk cId="592117244" sldId="275"/>
            <ac:spMk id="39" creationId="{1EFCB791-16E1-BC87-1C92-0DDD24DA7D5F}"/>
          </ac:spMkLst>
        </pc:spChg>
        <pc:spChg chg="add del mod modVis">
          <ac:chgData name="Joelle Brehm" userId="a518f54c-6985-42c0-8041-2bb16a414839" providerId="ADAL" clId="{3C9B919C-9CFF-4DBD-AE30-72DF3107A706}" dt="2023-06-05T22:57:22.486" v="25335"/>
          <ac:spMkLst>
            <pc:docMk/>
            <pc:sldMk cId="592117244" sldId="275"/>
            <ac:spMk id="40" creationId="{F2BD5C89-2402-36A7-E80A-FAE95CEB766A}"/>
          </ac:spMkLst>
        </pc:spChg>
        <pc:spChg chg="add del mod modVis">
          <ac:chgData name="Joelle Brehm" userId="a518f54c-6985-42c0-8041-2bb16a414839" providerId="ADAL" clId="{3C9B919C-9CFF-4DBD-AE30-72DF3107A706}" dt="2023-06-05T22:57:31.623" v="25592"/>
          <ac:spMkLst>
            <pc:docMk/>
            <pc:sldMk cId="592117244" sldId="275"/>
            <ac:spMk id="42" creationId="{24AD3A0D-BB07-3F09-1A60-309052F1AB00}"/>
          </ac:spMkLst>
        </pc:spChg>
        <pc:spChg chg="mod ord">
          <ac:chgData name="Joelle Brehm" userId="a518f54c-6985-42c0-8041-2bb16a414839" providerId="ADAL" clId="{3C9B919C-9CFF-4DBD-AE30-72DF3107A706}" dt="2023-06-05T22:57:31.622" v="25586"/>
          <ac:spMkLst>
            <pc:docMk/>
            <pc:sldMk cId="592117244" sldId="275"/>
            <ac:spMk id="58" creationId="{E203E344-295B-447B-A55D-50D302A82D3F}"/>
          </ac:spMkLst>
        </pc:spChg>
        <pc:spChg chg="del mod">
          <ac:chgData name="Joelle Brehm" userId="a518f54c-6985-42c0-8041-2bb16a414839" providerId="ADAL" clId="{3C9B919C-9CFF-4DBD-AE30-72DF3107A706}" dt="2023-06-05T22:57:22.341" v="25142"/>
          <ac:spMkLst>
            <pc:docMk/>
            <pc:sldMk cId="592117244" sldId="275"/>
            <ac:spMk id="7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7:31.617" v="25565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57:31.618" v="25567"/>
          <ac:spMkLst>
            <pc:docMk/>
            <pc:sldMk cId="592117244" sldId="275"/>
            <ac:spMk id="79" creationId="{F1476AC4-694B-4D83-BFD8-8DCAA4BB1923}"/>
          </ac:spMkLst>
        </pc:spChg>
        <pc:spChg chg="mod">
          <ac:chgData name="Joelle Brehm" userId="a518f54c-6985-42c0-8041-2bb16a414839" providerId="ADAL" clId="{3C9B919C-9CFF-4DBD-AE30-72DF3107A706}" dt="2023-06-05T22:57:31.613" v="25552"/>
          <ac:spMkLst>
            <pc:docMk/>
            <pc:sldMk cId="592117244" sldId="275"/>
            <ac:spMk id="8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4" v="25553"/>
          <ac:spMkLst>
            <pc:docMk/>
            <pc:sldMk cId="592117244" sldId="275"/>
            <ac:spMk id="8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4" v="25554"/>
          <ac:spMkLst>
            <pc:docMk/>
            <pc:sldMk cId="592117244" sldId="275"/>
            <ac:spMk id="8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5" v="25558"/>
          <ac:spMkLst>
            <pc:docMk/>
            <pc:sldMk cId="592117244" sldId="275"/>
            <ac:spMk id="8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5" v="25556"/>
          <ac:spMkLst>
            <pc:docMk/>
            <pc:sldMk cId="592117244" sldId="275"/>
            <ac:spMk id="8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4" v="25555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6" v="25559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6" v="25560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16" v="25561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2:57:31.618" v="25569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57:31.618" v="25571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57:31.619" v="25573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57:31.619" v="25575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57:31.620" v="25578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20" v="25579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20" v="25580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7:31.621" v="25581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2:57:31.621" v="25582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2:57:31.632" v="25594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2:56:53.128" v="24289"/>
          <ac:graphicFrameMkLst>
            <pc:docMk/>
            <pc:sldMk cId="592117244" sldId="275"/>
            <ac:graphicFrameMk id="9" creationId="{D3FF4F29-0E0D-F5D1-289D-C6183DFD0799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7:31.608" v="25527"/>
          <ac:graphicFrameMkLst>
            <pc:docMk/>
            <pc:sldMk cId="592117244" sldId="275"/>
            <ac:graphicFrameMk id="10" creationId="{6420A1BC-FDA9-DB66-E4B5-F076F0A4A0FA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7:31.579" v="25513"/>
          <ac:graphicFrameMkLst>
            <pc:docMk/>
            <pc:sldMk cId="592117244" sldId="275"/>
            <ac:graphicFrameMk id="34" creationId="{51301D48-0FED-8FC3-6E6D-5CAF25ECDA5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7:20.159" v="25059"/>
          <ac:graphicFrameMkLst>
            <pc:docMk/>
            <pc:sldMk cId="592117244" sldId="275"/>
            <ac:graphicFrameMk id="35" creationId="{B886E2A9-B72D-90B9-4B1B-AC6A88FF610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7:22.434" v="25256"/>
          <ac:graphicFrameMkLst>
            <pc:docMk/>
            <pc:sldMk cId="592117244" sldId="275"/>
            <ac:graphicFrameMk id="38" creationId="{05E43718-0A10-531B-91A5-51490B4E9A54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7:31.613" v="25551"/>
          <ac:graphicFrameMkLst>
            <pc:docMk/>
            <pc:sldMk cId="592117244" sldId="275"/>
            <ac:graphicFrameMk id="41" creationId="{56D39CBB-3854-A9B8-AD69-9FC34259905D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7:31.619" v="25577"/>
          <ac:graphicFrameMkLst>
            <pc:docMk/>
            <pc:sldMk cId="592117244" sldId="275"/>
            <ac:graphicFrameMk id="43" creationId="{105DABE8-CF63-3DEF-4E1F-C19347D4B51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7:16.065" v="24899"/>
          <ac:graphicFrameMkLst>
            <pc:docMk/>
            <pc:sldMk cId="592117244" sldId="275"/>
            <ac:graphicFrameMk id="44" creationId="{9B61F21C-105A-301E-7E88-7B999114BED9}"/>
          </ac:graphicFrameMkLst>
        </pc:graphicFrameChg>
        <pc:picChg chg="del mod ord">
          <ac:chgData name="Joelle Brehm" userId="a518f54c-6985-42c0-8041-2bb16a414839" providerId="ADAL" clId="{3C9B919C-9CFF-4DBD-AE30-72DF3107A706}" dt="2023-06-05T22:57:05.934" v="24459" actId="478"/>
          <ac:picMkLst>
            <pc:docMk/>
            <pc:sldMk cId="592117244" sldId="275"/>
            <ac:picMk id="2" creationId="{6DEAC285-E54C-6584-AFB4-ECCC35A20947}"/>
          </ac:picMkLst>
        </pc:picChg>
        <pc:picChg chg="add mod ord">
          <ac:chgData name="Joelle Brehm" userId="a518f54c-6985-42c0-8041-2bb16a414839" providerId="ADAL" clId="{3C9B919C-9CFF-4DBD-AE30-72DF3107A706}" dt="2023-06-05T22:57:31.606" v="25521"/>
          <ac:picMkLst>
            <pc:docMk/>
            <pc:sldMk cId="592117244" sldId="275"/>
            <ac:picMk id="31" creationId="{DB721931-A6AA-760A-5055-C359E186FA14}"/>
          </ac:picMkLst>
        </pc:picChg>
        <pc:picChg chg="mod ord">
          <ac:chgData name="Joelle Brehm" userId="a518f54c-6985-42c0-8041-2bb16a414839" providerId="ADAL" clId="{3C9B919C-9CFF-4DBD-AE30-72DF3107A706}" dt="2023-06-05T22:57:31.621" v="25584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57:31.607" v="25525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2:59:24.468" v="27568"/>
        <pc:sldMkLst>
          <pc:docMk/>
          <pc:sldMk cId="3358644479" sldId="276"/>
        </pc:sldMkLst>
        <pc:spChg chg="mod ord">
          <ac:chgData name="Joelle Brehm" userId="a518f54c-6985-42c0-8041-2bb16a414839" providerId="ADAL" clId="{3C9B919C-9CFF-4DBD-AE30-72DF3107A706}" dt="2023-06-05T22:59:24.458" v="27562"/>
          <ac:spMkLst>
            <pc:docMk/>
            <pc:sldMk cId="3358644479" sldId="276"/>
            <ac:spMk id="2" creationId="{2688F805-F703-4FD1-AEE0-0F8E6A5589FE}"/>
          </ac:spMkLst>
        </pc:spChg>
        <pc:spChg chg="add del mod ord">
          <ac:chgData name="Joelle Brehm" userId="a518f54c-6985-42c0-8041-2bb16a414839" providerId="ADAL" clId="{3C9B919C-9CFF-4DBD-AE30-72DF3107A706}" dt="2023-06-05T22:58:58.770" v="25939" actId="478"/>
          <ac:spMkLst>
            <pc:docMk/>
            <pc:sldMk cId="3358644479" sldId="276"/>
            <ac:spMk id="5" creationId="{C475AA57-C8A8-FC64-445C-94A6150F370F}"/>
          </ac:spMkLst>
        </pc:spChg>
        <pc:spChg chg="mod ord">
          <ac:chgData name="Joelle Brehm" userId="a518f54c-6985-42c0-8041-2bb16a414839" providerId="ADAL" clId="{3C9B919C-9CFF-4DBD-AE30-72DF3107A706}" dt="2023-06-05T22:59:24.441" v="27497"/>
          <ac:spMkLst>
            <pc:docMk/>
            <pc:sldMk cId="3358644479" sldId="27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3C9B919C-9CFF-4DBD-AE30-72DF3107A706}" dt="2023-06-05T22:58:30.843" v="25847"/>
          <ac:spMkLst>
            <pc:docMk/>
            <pc:sldMk cId="3358644479" sldId="276"/>
            <ac:spMk id="8" creationId="{60FA6C8F-4241-18B1-0534-78C5D6497C57}"/>
          </ac:spMkLst>
        </pc:spChg>
        <pc:spChg chg="mod">
          <ac:chgData name="Joelle Brehm" userId="a518f54c-6985-42c0-8041-2bb16a414839" providerId="ADAL" clId="{3C9B919C-9CFF-4DBD-AE30-72DF3107A706}" dt="2023-06-05T22:59:24.452" v="27536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3C9B919C-9CFF-4DBD-AE30-72DF3107A706}" dt="2023-06-05T22:59:24.444" v="27509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2:59:24.443" v="27505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2:59:24.444" v="27508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2:59:24.443" v="27504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2:59:24.443" v="27506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2:59:24.442" v="27503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2:59:24.445" v="27510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2:59:24.442" v="27502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2:59:24.445" v="27511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2:59:24.444" v="27507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2:59:24.445" v="27512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2:59:24.446" v="27513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2:59:24.446" v="27515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2:59:24.447" v="27516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2:59:24.447" v="27517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2:59:24.447" v="27518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2:59:24.448" v="27521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2:59:24.448" v="27520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2:59:24.448" v="27519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2:59:24.448" v="27523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2:59:24.450" v="27529"/>
          <ac:spMkLst>
            <pc:docMk/>
            <pc:sldMk cId="3358644479" sldId="276"/>
            <ac:spMk id="31" creationId="{65EF0830-A1F0-A253-1BB2-8CDCFF5CECBB}"/>
          </ac:spMkLst>
        </pc:spChg>
        <pc:spChg chg="mod">
          <ac:chgData name="Joelle Brehm" userId="a518f54c-6985-42c0-8041-2bb16a414839" providerId="ADAL" clId="{3C9B919C-9CFF-4DBD-AE30-72DF3107A706}" dt="2023-06-05T22:59:24.451" v="27533"/>
          <ac:spMkLst>
            <pc:docMk/>
            <pc:sldMk cId="3358644479" sldId="276"/>
            <ac:spMk id="32" creationId="{8D25BC14-41C5-8647-5CC0-BE12A57BA555}"/>
          </ac:spMkLst>
        </pc:spChg>
        <pc:spChg chg="mod">
          <ac:chgData name="Joelle Brehm" userId="a518f54c-6985-42c0-8041-2bb16a414839" providerId="ADAL" clId="{3C9B919C-9CFF-4DBD-AE30-72DF3107A706}" dt="2023-06-05T22:59:24.450" v="27531"/>
          <ac:spMkLst>
            <pc:docMk/>
            <pc:sldMk cId="3358644479" sldId="276"/>
            <ac:spMk id="33" creationId="{F9C148ED-6941-E56C-2F19-150E6514366D}"/>
          </ac:spMkLst>
        </pc:spChg>
        <pc:spChg chg="mod">
          <ac:chgData name="Joelle Brehm" userId="a518f54c-6985-42c0-8041-2bb16a414839" providerId="ADAL" clId="{3C9B919C-9CFF-4DBD-AE30-72DF3107A706}" dt="2023-06-05T22:59:24.451" v="27532"/>
          <ac:spMkLst>
            <pc:docMk/>
            <pc:sldMk cId="3358644479" sldId="276"/>
            <ac:spMk id="34" creationId="{2EC784B5-4DDF-6FD0-D462-50F110303F01}"/>
          </ac:spMkLst>
        </pc:spChg>
        <pc:spChg chg="mod">
          <ac:chgData name="Joelle Brehm" userId="a518f54c-6985-42c0-8041-2bb16a414839" providerId="ADAL" clId="{3C9B919C-9CFF-4DBD-AE30-72DF3107A706}" dt="2023-06-05T22:59:24.450" v="27528"/>
          <ac:spMkLst>
            <pc:docMk/>
            <pc:sldMk cId="3358644479" sldId="276"/>
            <ac:spMk id="35" creationId="{F6E5A8F3-72AC-F44C-CACB-ED952FD27440}"/>
          </ac:spMkLst>
        </pc:spChg>
        <pc:spChg chg="mod">
          <ac:chgData name="Joelle Brehm" userId="a518f54c-6985-42c0-8041-2bb16a414839" providerId="ADAL" clId="{3C9B919C-9CFF-4DBD-AE30-72DF3107A706}" dt="2023-06-05T22:59:24.450" v="27530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3C9B919C-9CFF-4DBD-AE30-72DF3107A706}" dt="2023-06-05T22:59:24.451" v="27534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3C9B919C-9CFF-4DBD-AE30-72DF3107A706}" dt="2023-06-05T22:59:24.457" v="27555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3C9B919C-9CFF-4DBD-AE30-72DF3107A706}" dt="2023-06-05T22:59:24.457" v="27554"/>
          <ac:spMkLst>
            <pc:docMk/>
            <pc:sldMk cId="3358644479" sldId="276"/>
            <ac:spMk id="40" creationId="{BF422452-141B-CCA7-F304-DD7C41C4B026}"/>
          </ac:spMkLst>
        </pc:spChg>
        <pc:spChg chg="add mod replST">
          <ac:chgData name="Joelle Brehm" userId="a518f54c-6985-42c0-8041-2bb16a414839" providerId="ADAL" clId="{3C9B919C-9CFF-4DBD-AE30-72DF3107A706}" dt="2023-06-05T22:59:24.452" v="27537"/>
          <ac:spMkLst>
            <pc:docMk/>
            <pc:sldMk cId="3358644479" sldId="276"/>
            <ac:spMk id="42" creationId="{14A59D3D-0E04-F038-E831-1425EC648002}"/>
          </ac:spMkLst>
        </pc:spChg>
        <pc:spChg chg="add del mod modVis">
          <ac:chgData name="Joelle Brehm" userId="a518f54c-6985-42c0-8041-2bb16a414839" providerId="ADAL" clId="{3C9B919C-9CFF-4DBD-AE30-72DF3107A706}" dt="2023-06-05T22:59:02.793" v="26482"/>
          <ac:spMkLst>
            <pc:docMk/>
            <pc:sldMk cId="3358644479" sldId="276"/>
            <ac:spMk id="43" creationId="{5B8F57D7-C906-2FC7-62EB-5884954DBF1B}"/>
          </ac:spMkLst>
        </pc:spChg>
        <pc:spChg chg="mod">
          <ac:chgData name="Joelle Brehm" userId="a518f54c-6985-42c0-8041-2bb16a414839" providerId="ADAL" clId="{3C9B919C-9CFF-4DBD-AE30-72DF3107A706}" dt="2023-06-05T22:59:24.452" v="27535"/>
          <ac:spMkLst>
            <pc:docMk/>
            <pc:sldMk cId="3358644479" sldId="276"/>
            <ac:spMk id="44" creationId="{5C64EA04-B56C-CC91-D9A7-8AB0C80D5C79}"/>
          </ac:spMkLst>
        </pc:spChg>
        <pc:spChg chg="add del mod modVis">
          <ac:chgData name="Joelle Brehm" userId="a518f54c-6985-42c0-8041-2bb16a414839" providerId="ADAL" clId="{3C9B919C-9CFF-4DBD-AE30-72DF3107A706}" dt="2023-06-05T22:59:04.003" v="26684"/>
          <ac:spMkLst>
            <pc:docMk/>
            <pc:sldMk cId="3358644479" sldId="276"/>
            <ac:spMk id="46" creationId="{8EDCD829-2D9B-712A-0F04-8B07C4256619}"/>
          </ac:spMkLst>
        </pc:spChg>
        <pc:spChg chg="add del mod modVis">
          <ac:chgData name="Joelle Brehm" userId="a518f54c-6985-42c0-8041-2bb16a414839" providerId="ADAL" clId="{3C9B919C-9CFF-4DBD-AE30-72DF3107A706}" dt="2023-06-05T22:59:05.997" v="26991"/>
          <ac:spMkLst>
            <pc:docMk/>
            <pc:sldMk cId="3358644479" sldId="276"/>
            <ac:spMk id="48" creationId="{861C5070-6E82-42A4-A964-21EB90CD1AD9}"/>
          </ac:spMkLst>
        </pc:spChg>
        <pc:spChg chg="add del mod ord replST">
          <ac:chgData name="Joelle Brehm" userId="a518f54c-6985-42c0-8041-2bb16a414839" providerId="ADAL" clId="{3C9B919C-9CFF-4DBD-AE30-72DF3107A706}" dt="2023-06-05T22:59:09.199" v="27059"/>
          <ac:spMkLst>
            <pc:docMk/>
            <pc:sldMk cId="3358644479" sldId="276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2:59:09.246" v="27140"/>
          <ac:spMkLst>
            <pc:docMk/>
            <pc:sldMk cId="3358644479" sldId="276"/>
            <ac:spMk id="51" creationId="{8B0CAEFE-2DCC-E61D-2F75-E1A038A87483}"/>
          </ac:spMkLst>
        </pc:spChg>
        <pc:spChg chg="add del mod modVis">
          <ac:chgData name="Joelle Brehm" userId="a518f54c-6985-42c0-8041-2bb16a414839" providerId="ADAL" clId="{3C9B919C-9CFF-4DBD-AE30-72DF3107A706}" dt="2023-06-05T22:59:16.300" v="27424"/>
          <ac:spMkLst>
            <pc:docMk/>
            <pc:sldMk cId="3358644479" sldId="276"/>
            <ac:spMk id="53" creationId="{CF065B4C-768A-3A57-862C-174FD15DD86A}"/>
          </ac:spMkLst>
        </pc:spChg>
        <pc:spChg chg="add del mod modVis">
          <ac:chgData name="Joelle Brehm" userId="a518f54c-6985-42c0-8041-2bb16a414839" providerId="ADAL" clId="{3C9B919C-9CFF-4DBD-AE30-72DF3107A706}" dt="2023-06-05T22:59:24.459" v="27566"/>
          <ac:spMkLst>
            <pc:docMk/>
            <pc:sldMk cId="3358644479" sldId="276"/>
            <ac:spMk id="55" creationId="{987B85DC-65FF-DCA0-2245-D6440FC92270}"/>
          </ac:spMkLst>
        </pc:spChg>
        <pc:spChg chg="mod ord">
          <ac:chgData name="Joelle Brehm" userId="a518f54c-6985-42c0-8041-2bb16a414839" providerId="ADAL" clId="{3C9B919C-9CFF-4DBD-AE30-72DF3107A706}" dt="2023-06-05T22:59:24.458" v="27560"/>
          <ac:spMkLst>
            <pc:docMk/>
            <pc:sldMk cId="3358644479" sldId="276"/>
            <ac:spMk id="58" creationId="{0CB06D1E-8664-4C1B-9ACF-854D6C46B776}"/>
          </ac:spMkLst>
        </pc:spChg>
        <pc:spChg chg="mod">
          <ac:chgData name="Joelle Brehm" userId="a518f54c-6985-42c0-8041-2bb16a414839" providerId="ADAL" clId="{3C9B919C-9CFF-4DBD-AE30-72DF3107A706}" dt="2023-06-05T22:59:24.457" v="27556"/>
          <ac:spMkLst>
            <pc:docMk/>
            <pc:sldMk cId="3358644479" sldId="276"/>
            <ac:spMk id="59" creationId="{5164D3E0-C681-43D3-E345-132BB4AD109F}"/>
          </ac:spMkLst>
        </pc:spChg>
        <pc:spChg chg="del mod">
          <ac:chgData name="Joelle Brehm" userId="a518f54c-6985-42c0-8041-2bb16a414839" providerId="ADAL" clId="{3C9B919C-9CFF-4DBD-AE30-72DF3107A706}" dt="2023-06-05T22:59:05.729" v="26687"/>
          <ac:spMkLst>
            <pc:docMk/>
            <pc:sldMk cId="3358644479" sldId="276"/>
            <ac:spMk id="63" creationId="{C1E0E01D-7EAC-93F2-5670-EC37A815A863}"/>
          </ac:spMkLst>
        </pc:spChg>
        <pc:spChg chg="mod">
          <ac:chgData name="Joelle Brehm" userId="a518f54c-6985-42c0-8041-2bb16a414839" providerId="ADAL" clId="{3C9B919C-9CFF-4DBD-AE30-72DF3107A706}" dt="2023-06-05T22:59:24.449" v="27527"/>
          <ac:spMkLst>
            <pc:docMk/>
            <pc:sldMk cId="3358644479" sldId="276"/>
            <ac:spMk id="64" creationId="{4A72A5C3-DE7B-F940-0B50-F847F976F72F}"/>
          </ac:spMkLst>
        </pc:spChg>
        <pc:spChg chg="mod">
          <ac:chgData name="Joelle Brehm" userId="a518f54c-6985-42c0-8041-2bb16a414839" providerId="ADAL" clId="{3C9B919C-9CFF-4DBD-AE30-72DF3107A706}" dt="2023-06-05T22:59:24.449" v="27526"/>
          <ac:spMkLst>
            <pc:docMk/>
            <pc:sldMk cId="3358644479" sldId="276"/>
            <ac:spMk id="72" creationId="{36005294-C8DA-1E60-8A2A-D3E7C73360FF}"/>
          </ac:spMkLst>
        </pc:spChg>
        <pc:spChg chg="mod ord">
          <ac:chgData name="Joelle Brehm" userId="a518f54c-6985-42c0-8041-2bb16a414839" providerId="ADAL" clId="{3C9B919C-9CFF-4DBD-AE30-72DF3107A706}" dt="2023-06-05T22:59:24.453" v="27539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2:59:24.453" v="27541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2:59:24.453" v="27543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2:59:24.455" v="27545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2:59:24.455" v="27547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2:59:24.455" v="27549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2:59:24.456" v="27553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2:59:24.456" v="27552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3C9B919C-9CFF-4DBD-AE30-72DF3107A706}" dt="2023-06-05T22:59:24.468" v="27568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2:58:30.733" v="25764"/>
          <ac:graphicFrameMkLst>
            <pc:docMk/>
            <pc:sldMk cId="3358644479" sldId="276"/>
            <ac:graphicFrameMk id="9" creationId="{3F667628-A457-CA47-21F2-2A9983DE7C2A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9:24.442" v="27501"/>
          <ac:graphicFrameMkLst>
            <pc:docMk/>
            <pc:sldMk cId="3358644479" sldId="276"/>
            <ac:graphicFrameMk id="36" creationId="{6C7EDE5C-1906-D38D-1C63-EA682524FE5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9:03.930" v="26584"/>
          <ac:graphicFrameMkLst>
            <pc:docMk/>
            <pc:sldMk cId="3358644479" sldId="276"/>
            <ac:graphicFrameMk id="45" creationId="{E7A4585F-0D8B-D406-7E3E-3D17FA06A8B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9:05.930" v="26890"/>
          <ac:graphicFrameMkLst>
            <pc:docMk/>
            <pc:sldMk cId="3358644479" sldId="276"/>
            <ac:graphicFrameMk id="47" creationId="{5676D18B-F915-98AE-8EE3-DE33EB491AF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9:09.202" v="27061"/>
          <ac:graphicFrameMkLst>
            <pc:docMk/>
            <pc:sldMk cId="3358644479" sldId="276"/>
            <ac:graphicFrameMk id="50" creationId="{45BCB931-C8F6-A5C2-E6DA-7A8025BB0CF9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9:24.449" v="27525"/>
          <ac:graphicFrameMkLst>
            <pc:docMk/>
            <pc:sldMk cId="3358644479" sldId="276"/>
            <ac:graphicFrameMk id="52" creationId="{705544FB-6EB8-C039-A284-F0ED2AEBF63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2:59:24.411" v="27487"/>
          <ac:graphicFrameMkLst>
            <pc:docMk/>
            <pc:sldMk cId="3358644479" sldId="276"/>
            <ac:graphicFrameMk id="54" creationId="{E6C85F44-A181-2AD7-8784-4A315A12F11D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2:59:24.456" v="27551"/>
          <ac:graphicFrameMkLst>
            <pc:docMk/>
            <pc:sldMk cId="3358644479" sldId="276"/>
            <ac:graphicFrameMk id="56" creationId="{6ABE3AC4-B7F9-4D87-A1D8-23C0A318D15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9:02.748" v="26400"/>
          <ac:graphicFrameMkLst>
            <pc:docMk/>
            <pc:sldMk cId="3358644479" sldId="276"/>
            <ac:graphicFrameMk id="57" creationId="{96366307-B1CE-848A-D771-D39EC384CB09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2:59:16.256" v="27345"/>
          <ac:graphicFrameMkLst>
            <pc:docMk/>
            <pc:sldMk cId="3358644479" sldId="276"/>
            <ac:graphicFrameMk id="66" creationId="{85DE0A3D-C7C9-14C4-9C25-68CFFB14166F}"/>
          </ac:graphicFrameMkLst>
        </pc:graphicFrameChg>
        <pc:picChg chg="del mod ord">
          <ac:chgData name="Joelle Brehm" userId="a518f54c-6985-42c0-8041-2bb16a414839" providerId="ADAL" clId="{3C9B919C-9CFF-4DBD-AE30-72DF3107A706}" dt="2023-06-05T22:58:53.256" v="25936" actId="478"/>
          <ac:picMkLst>
            <pc:docMk/>
            <pc:sldMk cId="3358644479" sldId="276"/>
            <ac:picMk id="3" creationId="{10966DEA-B1AF-47D3-7443-8B6E238E59F1}"/>
          </ac:picMkLst>
        </pc:picChg>
        <pc:picChg chg="add mod ord">
          <ac:chgData name="Joelle Brehm" userId="a518f54c-6985-42c0-8041-2bb16a414839" providerId="ADAL" clId="{3C9B919C-9CFF-4DBD-AE30-72DF3107A706}" dt="2023-06-05T22:59:24.441" v="27495"/>
          <ac:picMkLst>
            <pc:docMk/>
            <pc:sldMk cId="3358644479" sldId="276"/>
            <ac:picMk id="41" creationId="{A5B20F83-D271-13D8-0040-528A527DF259}"/>
          </ac:picMkLst>
        </pc:picChg>
        <pc:picChg chg="mod ord">
          <ac:chgData name="Joelle Brehm" userId="a518f54c-6985-42c0-8041-2bb16a414839" providerId="ADAL" clId="{3C9B919C-9CFF-4DBD-AE30-72DF3107A706}" dt="2023-06-05T22:59:24.457" v="27558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2:59:24.442" v="27499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00:20.344" v="29390"/>
        <pc:sldMkLst>
          <pc:docMk/>
          <pc:sldMk cId="1336352168" sldId="277"/>
        </pc:sldMkLst>
        <pc:spChg chg="mod ord">
          <ac:chgData name="Joelle Brehm" userId="a518f54c-6985-42c0-8041-2bb16a414839" providerId="ADAL" clId="{3C9B919C-9CFF-4DBD-AE30-72DF3107A706}" dt="2023-06-05T23:00:20.318" v="29384"/>
          <ac:spMkLst>
            <pc:docMk/>
            <pc:sldMk cId="1336352168" sldId="277"/>
            <ac:spMk id="2" creationId="{92BF2826-0C6B-4A3A-89A1-7B17EE6A8135}"/>
          </ac:spMkLst>
        </pc:spChg>
        <pc:spChg chg="add del mod ord">
          <ac:chgData name="Joelle Brehm" userId="a518f54c-6985-42c0-8041-2bb16a414839" providerId="ADAL" clId="{3C9B919C-9CFF-4DBD-AE30-72DF3107A706}" dt="2023-06-05T22:59:58.566" v="27923" actId="478"/>
          <ac:spMkLst>
            <pc:docMk/>
            <pc:sldMk cId="1336352168" sldId="277"/>
            <ac:spMk id="3" creationId="{A0252105-AA92-C6F3-B1DC-3C06CB7858F8}"/>
          </ac:spMkLst>
        </pc:spChg>
        <pc:spChg chg="add del mod modVis">
          <ac:chgData name="Joelle Brehm" userId="a518f54c-6985-42c0-8041-2bb16a414839" providerId="ADAL" clId="{3C9B919C-9CFF-4DBD-AE30-72DF3107A706}" dt="2023-06-05T22:59:43.779" v="27837"/>
          <ac:spMkLst>
            <pc:docMk/>
            <pc:sldMk cId="1336352168" sldId="277"/>
            <ac:spMk id="5" creationId="{EC489937-E25F-4499-4752-3EFF138DEB2E}"/>
          </ac:spMkLst>
        </pc:spChg>
        <pc:spChg chg="mod ord">
          <ac:chgData name="Joelle Brehm" userId="a518f54c-6985-42c0-8041-2bb16a414839" providerId="ADAL" clId="{3C9B919C-9CFF-4DBD-AE30-72DF3107A706}" dt="2023-06-05T23:00:20.279" v="29319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00:20.286" v="29330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00:20.285" v="29329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00:20.283" v="29326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00:20.282" v="29325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00:20.284" v="29328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00:20.281" v="29324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00:20.286" v="29331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00:20.284" v="29327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00:20.287" v="29332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00:20.287" v="29333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00:20.288" v="29334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00:20.289" v="29335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00:20.290" v="29337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00:20.292" v="29340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00:20.291" v="29338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00:20.292" v="29339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00:20.294" v="29342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00:20.293" v="29341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00:20.294" v="29343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00:20.295" v="29345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00:20.299" v="29351"/>
          <ac:spMkLst>
            <pc:docMk/>
            <pc:sldMk cId="1336352168" sldId="277"/>
            <ac:spMk id="31" creationId="{4A07E04C-1B9D-B1D4-ED08-6B67E4FD9CA7}"/>
          </ac:spMkLst>
        </pc:spChg>
        <pc:spChg chg="mod">
          <ac:chgData name="Joelle Brehm" userId="a518f54c-6985-42c0-8041-2bb16a414839" providerId="ADAL" clId="{3C9B919C-9CFF-4DBD-AE30-72DF3107A706}" dt="2023-06-05T23:00:20.297" v="29348"/>
          <ac:spMkLst>
            <pc:docMk/>
            <pc:sldMk cId="1336352168" sldId="277"/>
            <ac:spMk id="33" creationId="{CBC56295-E0C4-1963-15A7-B869935D155D}"/>
          </ac:spMkLst>
        </pc:spChg>
        <pc:spChg chg="mod">
          <ac:chgData name="Joelle Brehm" userId="a518f54c-6985-42c0-8041-2bb16a414839" providerId="ADAL" clId="{3C9B919C-9CFF-4DBD-AE30-72DF3107A706}" dt="2023-06-05T23:00:20.301" v="29353"/>
          <ac:spMkLst>
            <pc:docMk/>
            <pc:sldMk cId="1336352168" sldId="277"/>
            <ac:spMk id="34" creationId="{AC95B571-934C-3912-0ACC-4C3A108EC104}"/>
          </ac:spMkLst>
        </pc:spChg>
        <pc:spChg chg="mod">
          <ac:chgData name="Joelle Brehm" userId="a518f54c-6985-42c0-8041-2bb16a414839" providerId="ADAL" clId="{3C9B919C-9CFF-4DBD-AE30-72DF3107A706}" dt="2023-06-05T23:00:20.301" v="29354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3C9B919C-9CFF-4DBD-AE30-72DF3107A706}" dt="2023-06-05T23:00:20.300" v="29352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3C9B919C-9CFF-4DBD-AE30-72DF3107A706}" dt="2023-06-05T23:00:20.302" v="29355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3C9B919C-9CFF-4DBD-AE30-72DF3107A706}" dt="2023-06-05T23:00:20.303" v="29356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3C9B919C-9CFF-4DBD-AE30-72DF3107A706}" dt="2023-06-05T23:00:20.305" v="29358"/>
          <ac:spMkLst>
            <pc:docMk/>
            <pc:sldMk cId="1336352168" sldId="277"/>
            <ac:spMk id="39" creationId="{92EB3DCF-E6D1-6016-64A0-043B49481C0C}"/>
          </ac:spMkLst>
        </pc:spChg>
        <pc:spChg chg="add mod replST">
          <ac:chgData name="Joelle Brehm" userId="a518f54c-6985-42c0-8041-2bb16a414839" providerId="ADAL" clId="{3C9B919C-9CFF-4DBD-AE30-72DF3107A706}" dt="2023-06-05T23:00:20.305" v="29359"/>
          <ac:spMkLst>
            <pc:docMk/>
            <pc:sldMk cId="1336352168" sldId="277"/>
            <ac:spMk id="40" creationId="{22DE2434-BBBF-CBE5-DB4B-76B8CE949CF7}"/>
          </ac:spMkLst>
        </pc:spChg>
        <pc:spChg chg="add del mod modVis">
          <ac:chgData name="Joelle Brehm" userId="a518f54c-6985-42c0-8041-2bb16a414839" providerId="ADAL" clId="{3C9B919C-9CFF-4DBD-AE30-72DF3107A706}" dt="2023-06-05T23:00:03.568" v="28583"/>
          <ac:spMkLst>
            <pc:docMk/>
            <pc:sldMk cId="1336352168" sldId="277"/>
            <ac:spMk id="41" creationId="{F2970A86-C7F8-B6ED-85D2-EB5AAED0E1D9}"/>
          </ac:spMkLst>
        </pc:spChg>
        <pc:spChg chg="add del mod ord replST">
          <ac:chgData name="Joelle Brehm" userId="a518f54c-6985-42c0-8041-2bb16a414839" providerId="ADAL" clId="{3C9B919C-9CFF-4DBD-AE30-72DF3107A706}" dt="2023-06-05T23:00:08.920" v="28885"/>
          <ac:spMkLst>
            <pc:docMk/>
            <pc:sldMk cId="1336352168" sldId="277"/>
            <ac:spMk id="4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0:20.304" v="29357"/>
          <ac:spMkLst>
            <pc:docMk/>
            <pc:sldMk cId="1336352168" sldId="277"/>
            <ac:spMk id="43" creationId="{ECB6CDA6-E36A-D61A-929E-A4CF74A13872}"/>
          </ac:spMkLst>
        </pc:spChg>
        <pc:spChg chg="add del mod modVis">
          <ac:chgData name="Joelle Brehm" userId="a518f54c-6985-42c0-8041-2bb16a414839" providerId="ADAL" clId="{3C9B919C-9CFF-4DBD-AE30-72DF3107A706}" dt="2023-06-05T23:00:07.018" v="28794"/>
          <ac:spMkLst>
            <pc:docMk/>
            <pc:sldMk cId="1336352168" sldId="277"/>
            <ac:spMk id="45" creationId="{82A0D516-7C3E-0C50-A726-6E64C5CE0FE2}"/>
          </ac:spMkLst>
        </pc:spChg>
        <pc:spChg chg="add del mod modVis">
          <ac:chgData name="Joelle Brehm" userId="a518f54c-6985-42c0-8041-2bb16a414839" providerId="ADAL" clId="{3C9B919C-9CFF-4DBD-AE30-72DF3107A706}" dt="2023-06-05T23:00:09.055" v="28995"/>
          <ac:spMkLst>
            <pc:docMk/>
            <pc:sldMk cId="1336352168" sldId="277"/>
            <ac:spMk id="47" creationId="{58FAA998-3FEE-1AB3-1984-2A54A372D9F7}"/>
          </ac:spMkLst>
        </pc:spChg>
        <pc:spChg chg="add del mod modVis">
          <ac:chgData name="Joelle Brehm" userId="a518f54c-6985-42c0-8041-2bb16a414839" providerId="ADAL" clId="{3C9B919C-9CFF-4DBD-AE30-72DF3107A706}" dt="2023-06-05T23:00:12.824" v="29147"/>
          <ac:spMkLst>
            <pc:docMk/>
            <pc:sldMk cId="1336352168" sldId="277"/>
            <ac:spMk id="49" creationId="{C884979E-6BCD-FD72-7F5B-6619DBF16654}"/>
          </ac:spMkLst>
        </pc:spChg>
        <pc:spChg chg="add del mod modVis">
          <ac:chgData name="Joelle Brehm" userId="a518f54c-6985-42c0-8041-2bb16a414839" providerId="ADAL" clId="{3C9B919C-9CFF-4DBD-AE30-72DF3107A706}" dt="2023-06-05T23:00:20.321" v="29388"/>
          <ac:spMkLst>
            <pc:docMk/>
            <pc:sldMk cId="1336352168" sldId="277"/>
            <ac:spMk id="51" creationId="{0320510C-7D11-2BC0-3263-8997E7E4C7F2}"/>
          </ac:spMkLst>
        </pc:spChg>
        <pc:spChg chg="mod ord">
          <ac:chgData name="Joelle Brehm" userId="a518f54c-6985-42c0-8041-2bb16a414839" providerId="ADAL" clId="{3C9B919C-9CFF-4DBD-AE30-72DF3107A706}" dt="2023-06-05T23:00:20.317" v="29382"/>
          <ac:spMkLst>
            <pc:docMk/>
            <pc:sldMk cId="1336352168" sldId="277"/>
            <ac:spMk id="58" creationId="{3378A65B-8FF4-4781-8563-6C0C79CE7E62}"/>
          </ac:spMkLst>
        </pc:spChg>
        <pc:spChg chg="del mod">
          <ac:chgData name="Joelle Brehm" userId="a518f54c-6985-42c0-8041-2bb16a414839" providerId="ADAL" clId="{3C9B919C-9CFF-4DBD-AE30-72DF3107A706}" dt="2023-06-05T23:00:08.775" v="28797"/>
          <ac:spMkLst>
            <pc:docMk/>
            <pc:sldMk cId="1336352168" sldId="277"/>
            <ac:spMk id="60" creationId="{7CF32AD0-385B-89C8-AB93-BDAD59C71EB4}"/>
          </ac:spMkLst>
        </pc:spChg>
        <pc:spChg chg="mod">
          <ac:chgData name="Joelle Brehm" userId="a518f54c-6985-42c0-8041-2bb16a414839" providerId="ADAL" clId="{3C9B919C-9CFF-4DBD-AE30-72DF3107A706}" dt="2023-06-05T23:00:20.298" v="29349"/>
          <ac:spMkLst>
            <pc:docMk/>
            <pc:sldMk cId="1336352168" sldId="277"/>
            <ac:spMk id="65" creationId="{32C431CE-DCBE-F366-2531-99D6DD078066}"/>
          </ac:spMkLst>
        </pc:spChg>
        <pc:spChg chg="mod">
          <ac:chgData name="Joelle Brehm" userId="a518f54c-6985-42c0-8041-2bb16a414839" providerId="ADAL" clId="{3C9B919C-9CFF-4DBD-AE30-72DF3107A706}" dt="2023-06-05T23:00:20.298" v="29350"/>
          <ac:spMkLst>
            <pc:docMk/>
            <pc:sldMk cId="1336352168" sldId="277"/>
            <ac:spMk id="69" creationId="{B717CD87-D6E9-303E-A9A2-A77F88A22D68}"/>
          </ac:spMkLst>
        </pc:spChg>
        <pc:spChg chg="mod ord">
          <ac:chgData name="Joelle Brehm" userId="a518f54c-6985-42c0-8041-2bb16a414839" providerId="ADAL" clId="{3C9B919C-9CFF-4DBD-AE30-72DF3107A706}" dt="2023-06-05T23:00:20.306" v="29361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00:20.307" v="29363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3:00:20.308" v="29365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3:00:20.309" v="29367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00:20.310" v="29369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00:20.312" v="29371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00:20.313" v="29375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0:20.314" v="29376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0:20.315" v="29377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0:20.315" v="29378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00:20.313" v="29374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3:00:20.344" v="29390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0:20.281" v="29323"/>
          <ac:graphicFrameMkLst>
            <pc:docMk/>
            <pc:sldMk cId="1336352168" sldId="277"/>
            <ac:graphicFrameMk id="8" creationId="{A3A5EAFD-9EA8-BF3D-4B4F-B22021ACCB00}"/>
          </ac:graphicFrameMkLst>
        </pc:graphicFrameChg>
        <pc:graphicFrameChg chg="del">
          <ac:chgData name="Joelle Brehm" userId="a518f54c-6985-42c0-8041-2bb16a414839" providerId="ADAL" clId="{3C9B919C-9CFF-4DBD-AE30-72DF3107A706}" dt="2023-06-05T22:59:43.723" v="27754"/>
          <ac:graphicFrameMkLst>
            <pc:docMk/>
            <pc:sldMk cId="1336352168" sldId="277"/>
            <ac:graphicFrameMk id="9" creationId="{EDD17D2D-6D9C-0910-1655-021EE204CCC9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0:06.919" v="28692"/>
          <ac:graphicFrameMkLst>
            <pc:docMk/>
            <pc:sldMk cId="1336352168" sldId="277"/>
            <ac:graphicFrameMk id="44" creationId="{B34512CD-89EE-0482-A6A7-0984146B3A1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0:08.946" v="28916"/>
          <ac:graphicFrameMkLst>
            <pc:docMk/>
            <pc:sldMk cId="1336352168" sldId="277"/>
            <ac:graphicFrameMk id="46" creationId="{AE891DA0-1877-8B49-E3ED-34216881621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0:12.788" v="29068"/>
          <ac:graphicFrameMkLst>
            <pc:docMk/>
            <pc:sldMk cId="1336352168" sldId="277"/>
            <ac:graphicFrameMk id="48" creationId="{54DF0570-1970-001D-3059-94BBA594B05F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0:20.296" v="29347"/>
          <ac:graphicFrameMkLst>
            <pc:docMk/>
            <pc:sldMk cId="1336352168" sldId="277"/>
            <ac:graphicFrameMk id="50" creationId="{FF5798F6-BA6F-49A7-7597-1378B2ECDE07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0:20.312" v="29373"/>
          <ac:graphicFrameMkLst>
            <pc:docMk/>
            <pc:sldMk cId="1336352168" sldId="277"/>
            <ac:graphicFrameMk id="52" creationId="{5AD0E3C1-B765-2B60-E218-13F15E15A274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00:03.511" v="28495"/>
          <ac:graphicFrameMkLst>
            <pc:docMk/>
            <pc:sldMk cId="1336352168" sldId="277"/>
            <ac:graphicFrameMk id="53" creationId="{3F502875-C07E-70EE-F322-CD0B2CBE02FB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00:20.206" v="29309"/>
          <ac:graphicFrameMkLst>
            <pc:docMk/>
            <pc:sldMk cId="1336352168" sldId="277"/>
            <ac:graphicFrameMk id="55" creationId="{E6DAD3D7-F76B-4FF6-DF9D-F2089F12EA5D}"/>
          </ac:graphicFrameMkLst>
        </pc:graphicFrameChg>
        <pc:picChg chg="del mod ord">
          <ac:chgData name="Joelle Brehm" userId="a518f54c-6985-42c0-8041-2bb16a414839" providerId="ADAL" clId="{3C9B919C-9CFF-4DBD-AE30-72DF3107A706}" dt="2023-06-05T22:59:56.585" v="27922" actId="478"/>
          <ac:picMkLst>
            <pc:docMk/>
            <pc:sldMk cId="1336352168" sldId="277"/>
            <ac:picMk id="10" creationId="{5F30E6B4-F5F0-41F1-1E4D-DEE9971AB331}"/>
          </ac:picMkLst>
        </pc:picChg>
        <pc:picChg chg="add mod ord">
          <ac:chgData name="Joelle Brehm" userId="a518f54c-6985-42c0-8041-2bb16a414839" providerId="ADAL" clId="{3C9B919C-9CFF-4DBD-AE30-72DF3107A706}" dt="2023-06-05T23:00:20.278" v="29317"/>
          <ac:picMkLst>
            <pc:docMk/>
            <pc:sldMk cId="1336352168" sldId="277"/>
            <ac:picMk id="32" creationId="{481C85BE-B913-E0E1-FAC2-98F2A7163D9C}"/>
          </ac:picMkLst>
        </pc:picChg>
        <pc:picChg chg="mod ord">
          <ac:chgData name="Joelle Brehm" userId="a518f54c-6985-42c0-8041-2bb16a414839" providerId="ADAL" clId="{3C9B919C-9CFF-4DBD-AE30-72DF3107A706}" dt="2023-06-05T23:00:20.317" v="29380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00:20.280" v="29321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07:19.670" v="33704"/>
        <pc:sldMkLst>
          <pc:docMk/>
          <pc:sldMk cId="1379386497" sldId="278"/>
        </pc:sldMkLst>
        <pc:spChg chg="mod ord">
          <ac:chgData name="Joelle Brehm" userId="a518f54c-6985-42c0-8041-2bb16a414839" providerId="ADAL" clId="{3C9B919C-9CFF-4DBD-AE30-72DF3107A706}" dt="2023-06-05T23:07:19.660" v="33700"/>
          <ac:spMkLst>
            <pc:docMk/>
            <pc:sldMk cId="1379386497" sldId="278"/>
            <ac:spMk id="2" creationId="{F45C2660-F634-4943-BD78-279946171050}"/>
          </ac:spMkLst>
        </pc:spChg>
        <pc:spChg chg="add del mod ord">
          <ac:chgData name="Joelle Brehm" userId="a518f54c-6985-42c0-8041-2bb16a414839" providerId="ADAL" clId="{3C9B919C-9CFF-4DBD-AE30-72DF3107A706}" dt="2023-06-05T23:06:53.503" v="32148" actId="478"/>
          <ac:spMkLst>
            <pc:docMk/>
            <pc:sldMk cId="1379386497" sldId="278"/>
            <ac:spMk id="3" creationId="{F81A9FB4-E175-760D-31D1-6DFE68E7EE73}"/>
          </ac:spMkLst>
        </pc:spChg>
        <pc:spChg chg="add del mod modVis">
          <ac:chgData name="Joelle Brehm" userId="a518f54c-6985-42c0-8041-2bb16a414839" providerId="ADAL" clId="{3C9B919C-9CFF-4DBD-AE30-72DF3107A706}" dt="2023-06-05T23:05:05.714" v="29647"/>
          <ac:spMkLst>
            <pc:docMk/>
            <pc:sldMk cId="1379386497" sldId="278"/>
            <ac:spMk id="5" creationId="{F93952B1-CFD2-7D1D-09AE-C672A048F6CD}"/>
          </ac:spMkLst>
        </pc:spChg>
        <pc:spChg chg="mod ord">
          <ac:chgData name="Joelle Brehm" userId="a518f54c-6985-42c0-8041-2bb16a414839" providerId="ADAL" clId="{3C9B919C-9CFF-4DBD-AE30-72DF3107A706}" dt="2023-06-05T23:07:19.647" v="33635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07:19.650" v="33647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07:19.648" v="33642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07:19.649" v="33645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07:19.649" v="33643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07:19.649" v="33644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07:19.648" v="33641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07:19.649" v="33646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07:19.648" v="33640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07:19.650" v="33648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07:19.650" v="33649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07:19.650" v="33650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07:19.650" v="33651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07:19.651" v="33653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07:19.652" v="33656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07:19.651" v="33654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07:19.651" v="33655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07:19.652" v="33659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07:19.652" v="33657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07:19.652" v="33658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07:19.653" v="33661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07:19.654" v="33667"/>
          <ac:spMkLst>
            <pc:docMk/>
            <pc:sldMk cId="1379386497" sldId="278"/>
            <ac:spMk id="31" creationId="{761920EE-DAF2-B98F-C8B3-EF7A215140D4}"/>
          </ac:spMkLst>
        </pc:spChg>
        <pc:spChg chg="mod">
          <ac:chgData name="Joelle Brehm" userId="a518f54c-6985-42c0-8041-2bb16a414839" providerId="ADAL" clId="{3C9B919C-9CFF-4DBD-AE30-72DF3107A706}" dt="2023-06-05T23:07:19.655" v="33673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3C9B919C-9CFF-4DBD-AE30-72DF3107A706}" dt="2023-06-05T23:07:19.653" v="33665"/>
          <ac:spMkLst>
            <pc:docMk/>
            <pc:sldMk cId="1379386497" sldId="278"/>
            <ac:spMk id="33" creationId="{EE1A50AB-3C6E-8AC0-42BD-B22810C4182F}"/>
          </ac:spMkLst>
        </pc:spChg>
        <pc:spChg chg="mod">
          <ac:chgData name="Joelle Brehm" userId="a518f54c-6985-42c0-8041-2bb16a414839" providerId="ADAL" clId="{3C9B919C-9CFF-4DBD-AE30-72DF3107A706}" dt="2023-06-05T23:07:19.655" v="33670"/>
          <ac:spMkLst>
            <pc:docMk/>
            <pc:sldMk cId="1379386497" sldId="278"/>
            <ac:spMk id="34" creationId="{0B03BBFD-783A-B231-2FA9-DA2AD304A2F4}"/>
          </ac:spMkLst>
        </pc:spChg>
        <pc:spChg chg="mod">
          <ac:chgData name="Joelle Brehm" userId="a518f54c-6985-42c0-8041-2bb16a414839" providerId="ADAL" clId="{3C9B919C-9CFF-4DBD-AE30-72DF3107A706}" dt="2023-06-05T23:07:19.653" v="33664"/>
          <ac:spMkLst>
            <pc:docMk/>
            <pc:sldMk cId="1379386497" sldId="278"/>
            <ac:spMk id="35" creationId="{F2CF5D67-71BE-8A59-E229-76C2662CAC06}"/>
          </ac:spMkLst>
        </pc:spChg>
        <pc:spChg chg="mod">
          <ac:chgData name="Joelle Brehm" userId="a518f54c-6985-42c0-8041-2bb16a414839" providerId="ADAL" clId="{3C9B919C-9CFF-4DBD-AE30-72DF3107A706}" dt="2023-06-05T23:07:19.655" v="33672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3C9B919C-9CFF-4DBD-AE30-72DF3107A706}" dt="2023-06-05T23:07:19.658" v="33690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3C9B919C-9CFF-4DBD-AE30-72DF3107A706}" dt="2023-06-05T23:07:19.659" v="33694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3C9B919C-9CFF-4DBD-AE30-72DF3107A706}" dt="2023-06-05T23:07:19.655" v="33671"/>
          <ac:spMkLst>
            <pc:docMk/>
            <pc:sldMk cId="1379386497" sldId="278"/>
            <ac:spMk id="40" creationId="{19EAC242-0641-3DCA-CBDC-E602B8F0CB05}"/>
          </ac:spMkLst>
        </pc:spChg>
        <pc:spChg chg="add del mod modVis">
          <ac:chgData name="Joelle Brehm" userId="a518f54c-6985-42c0-8041-2bb16a414839" providerId="ADAL" clId="{3C9B919C-9CFF-4DBD-AE30-72DF3107A706}" dt="2023-06-05T23:05:28.095" v="29989"/>
          <ac:spMkLst>
            <pc:docMk/>
            <pc:sldMk cId="1379386497" sldId="278"/>
            <ac:spMk id="41" creationId="{67E7E5F8-CF25-D79A-868C-EF0204DB0AA6}"/>
          </ac:spMkLst>
        </pc:spChg>
        <pc:spChg chg="mod">
          <ac:chgData name="Joelle Brehm" userId="a518f54c-6985-42c0-8041-2bb16a414839" providerId="ADAL" clId="{3C9B919C-9CFF-4DBD-AE30-72DF3107A706}" dt="2023-06-05T23:07:19.654" v="33666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3C9B919C-9CFF-4DBD-AE30-72DF3107A706}" dt="2023-06-05T23:07:19.656" v="33674"/>
          <ac:spMkLst>
            <pc:docMk/>
            <pc:sldMk cId="1379386497" sldId="278"/>
            <ac:spMk id="46" creationId="{86BD7409-404E-F355-254D-BE919727871E}"/>
          </ac:spMkLst>
        </pc:spChg>
        <pc:spChg chg="add mod replST">
          <ac:chgData name="Joelle Brehm" userId="a518f54c-6985-42c0-8041-2bb16a414839" providerId="ADAL" clId="{3C9B919C-9CFF-4DBD-AE30-72DF3107A706}" dt="2023-06-05T23:06:01.846" v="32115"/>
          <ac:spMkLst>
            <pc:docMk/>
            <pc:sldMk cId="1379386497" sldId="278"/>
            <ac:spMk id="47" creationId="{00998702-402E-CBCE-F03F-76A90FA72493}"/>
          </ac:spMkLst>
        </pc:spChg>
        <pc:spChg chg="add del mod modVis">
          <ac:chgData name="Joelle Brehm" userId="a518f54c-6985-42c0-8041-2bb16a414839" providerId="ADAL" clId="{3C9B919C-9CFF-4DBD-AE30-72DF3107A706}" dt="2023-06-05T23:06:01.846" v="32115"/>
          <ac:spMkLst>
            <pc:docMk/>
            <pc:sldMk cId="1379386497" sldId="278"/>
            <ac:spMk id="48" creationId="{551853FD-9609-4161-6BF4-09503BBE3953}"/>
          </ac:spMkLst>
        </pc:spChg>
        <pc:spChg chg="add del mod ord replST delST">
          <ac:chgData name="Joelle Brehm" userId="a518f54c-6985-42c0-8041-2bb16a414839" providerId="ADAL" clId="{3C9B919C-9CFF-4DBD-AE30-72DF3107A706}" dt="2023-06-05T23:06:01.846" v="32115"/>
          <ac:spMkLst>
            <pc:docMk/>
            <pc:sldMk cId="1379386497" sldId="278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06:01.369" v="31590"/>
          <ac:spMkLst>
            <pc:docMk/>
            <pc:sldMk cId="1379386497" sldId="278"/>
            <ac:spMk id="51" creationId="{3718EAB1-E2EF-C45D-20D9-3191334DF289}"/>
          </ac:spMkLst>
        </pc:spChg>
        <pc:spChg chg="add del mod modVis">
          <ac:chgData name="Joelle Brehm" userId="a518f54c-6985-42c0-8041-2bb16a414839" providerId="ADAL" clId="{3C9B919C-9CFF-4DBD-AE30-72DF3107A706}" dt="2023-06-05T23:06:00.897" v="31478"/>
          <ac:spMkLst>
            <pc:docMk/>
            <pc:sldMk cId="1379386497" sldId="278"/>
            <ac:spMk id="53" creationId="{AF9B5EBA-7D74-526F-5379-36363E04244D}"/>
          </ac:spMkLst>
        </pc:spChg>
        <pc:spChg chg="add del mod modVis">
          <ac:chgData name="Joelle Brehm" userId="a518f54c-6985-42c0-8041-2bb16a414839" providerId="ADAL" clId="{3C9B919C-9CFF-4DBD-AE30-72DF3107A706}" dt="2023-06-05T23:06:00.271" v="31399"/>
          <ac:spMkLst>
            <pc:docMk/>
            <pc:sldMk cId="1379386497" sldId="278"/>
            <ac:spMk id="56" creationId="{CA72A3D0-F150-6CB1-5F20-1DD79B2A90C7}"/>
          </ac:spMkLst>
        </pc:spChg>
        <pc:spChg chg="add del mod">
          <ac:chgData name="Joelle Brehm" userId="a518f54c-6985-42c0-8041-2bb16a414839" providerId="ADAL" clId="{3C9B919C-9CFF-4DBD-AE30-72DF3107A706}" dt="2023-06-05T23:07:03.335" v="33054"/>
          <ac:spMkLst>
            <pc:docMk/>
            <pc:sldMk cId="1379386497" sldId="278"/>
            <ac:spMk id="57" creationId="{93482773-710D-ACB3-EB8D-7ED72E3C3487}"/>
          </ac:spMkLst>
        </pc:spChg>
        <pc:spChg chg="mod ord">
          <ac:chgData name="Joelle Brehm" userId="a518f54c-6985-42c0-8041-2bb16a414839" providerId="ADAL" clId="{3C9B919C-9CFF-4DBD-AE30-72DF3107A706}" dt="2023-06-05T23:07:19.660" v="33698"/>
          <ac:spMkLst>
            <pc:docMk/>
            <pc:sldMk cId="1379386497" sldId="278"/>
            <ac:spMk id="58" creationId="{78B81F80-FD88-43AD-B1EA-9D49D321CFA2}"/>
          </ac:spMkLst>
        </pc:spChg>
        <pc:spChg chg="add mod replST">
          <ac:chgData name="Joelle Brehm" userId="a518f54c-6985-42c0-8041-2bb16a414839" providerId="ADAL" clId="{3C9B919C-9CFF-4DBD-AE30-72DF3107A706}" dt="2023-06-05T23:07:19.656" v="33675"/>
          <ac:spMkLst>
            <pc:docMk/>
            <pc:sldMk cId="1379386497" sldId="278"/>
            <ac:spMk id="60" creationId="{2B15A064-F539-2DBC-4751-EC9AD27E414F}"/>
          </ac:spMkLst>
        </pc:spChg>
        <pc:spChg chg="add del mod modVis">
          <ac:chgData name="Joelle Brehm" userId="a518f54c-6985-42c0-8041-2bb16a414839" providerId="ADAL" clId="{3C9B919C-9CFF-4DBD-AE30-72DF3107A706}" dt="2023-06-05T23:06:59.240" v="32848"/>
          <ac:spMkLst>
            <pc:docMk/>
            <pc:sldMk cId="1379386497" sldId="278"/>
            <ac:spMk id="61" creationId="{D98C4D98-2095-D8FB-C648-3BBC03BF1FA2}"/>
          </ac:spMkLst>
        </pc:spChg>
        <pc:spChg chg="add del mod ord replST">
          <ac:chgData name="Joelle Brehm" userId="a518f54c-6985-42c0-8041-2bb16a414839" providerId="ADAL" clId="{3C9B919C-9CFF-4DBD-AE30-72DF3107A706}" dt="2023-06-05T23:07:06.640" v="33318"/>
          <ac:spMkLst>
            <pc:docMk/>
            <pc:sldMk cId="1379386497" sldId="278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07:01.327" v="33051"/>
          <ac:spMkLst>
            <pc:docMk/>
            <pc:sldMk cId="1379386497" sldId="278"/>
            <ac:spMk id="64" creationId="{BBEE4F4F-6B60-54DE-DAE5-2005EBA77225}"/>
          </ac:spMkLst>
        </pc:spChg>
        <pc:spChg chg="add del mod modVis">
          <ac:chgData name="Joelle Brehm" userId="a518f54c-6985-42c0-8041-2bb16a414839" providerId="ADAL" clId="{3C9B919C-9CFF-4DBD-AE30-72DF3107A706}" dt="2023-06-05T23:07:03.477" v="33250"/>
          <ac:spMkLst>
            <pc:docMk/>
            <pc:sldMk cId="1379386497" sldId="278"/>
            <ac:spMk id="66" creationId="{47ADF944-ED50-02BE-7C06-01ECA45401F8}"/>
          </ac:spMkLst>
        </pc:spChg>
        <pc:spChg chg="mod">
          <ac:chgData name="Joelle Brehm" userId="a518f54c-6985-42c0-8041-2bb16a414839" providerId="ADAL" clId="{3C9B919C-9CFF-4DBD-AE30-72DF3107A706}" dt="2023-06-05T23:07:19.654" v="33669"/>
          <ac:spMkLst>
            <pc:docMk/>
            <pc:sldMk cId="1379386497" sldId="278"/>
            <ac:spMk id="68" creationId="{F5EDCF76-2D64-25EA-0D65-38D74867760B}"/>
          </ac:spMkLst>
        </pc:spChg>
        <pc:spChg chg="add del mod modVis">
          <ac:chgData name="Joelle Brehm" userId="a518f54c-6985-42c0-8041-2bb16a414839" providerId="ADAL" clId="{3C9B919C-9CFF-4DBD-AE30-72DF3107A706}" dt="2023-06-05T23:07:06.678" v="33399"/>
          <ac:spMkLst>
            <pc:docMk/>
            <pc:sldMk cId="1379386497" sldId="278"/>
            <ac:spMk id="69" creationId="{ADEEC51B-6FD6-D4D3-4650-FF8E58A8E651}"/>
          </ac:spMkLst>
        </pc:spChg>
        <pc:spChg chg="mod">
          <ac:chgData name="Joelle Brehm" userId="a518f54c-6985-42c0-8041-2bb16a414839" providerId="ADAL" clId="{3C9B919C-9CFF-4DBD-AE30-72DF3107A706}" dt="2023-06-05T23:07:19.654" v="33668"/>
          <ac:spMkLst>
            <pc:docMk/>
            <pc:sldMk cId="1379386497" sldId="278"/>
            <ac:spMk id="71" creationId="{14F28137-9E3D-2F2F-FB1A-431750CB3ADD}"/>
          </ac:spMkLst>
        </pc:spChg>
        <pc:spChg chg="add del mod modVis">
          <ac:chgData name="Joelle Brehm" userId="a518f54c-6985-42c0-8041-2bb16a414839" providerId="ADAL" clId="{3C9B919C-9CFF-4DBD-AE30-72DF3107A706}" dt="2023-06-05T23:07:15.242" v="33603"/>
          <ac:spMkLst>
            <pc:docMk/>
            <pc:sldMk cId="1379386497" sldId="278"/>
            <ac:spMk id="72" creationId="{ED075A05-D5EE-006B-A87C-4396DA38870A}"/>
          </ac:spMkLst>
        </pc:spChg>
        <pc:spChg chg="mod ord">
          <ac:chgData name="Joelle Brehm" userId="a518f54c-6985-42c0-8041-2bb16a414839" providerId="ADAL" clId="{3C9B919C-9CFF-4DBD-AE30-72DF3107A706}" dt="2023-06-05T23:07:19.656" v="33677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07:19.656" v="33679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3:07:19.657" v="33681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3:07:19.657" v="33683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07:19.657" v="33685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07:19.658" v="33687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07:19.659" v="33691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7:19.659" v="33692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7:19.659" v="33693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3C9B919C-9CFF-4DBD-AE30-72DF3107A706}" dt="2023-06-05T23:07:19.670" v="33704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7:19.648" v="33639"/>
          <ac:graphicFrameMkLst>
            <pc:docMk/>
            <pc:sldMk cId="1379386497" sldId="278"/>
            <ac:graphicFrameMk id="8" creationId="{5D146D06-B38E-C64E-4497-C3594D27A434}"/>
          </ac:graphicFrameMkLst>
        </pc:graphicFrameChg>
        <pc:graphicFrameChg chg="del">
          <ac:chgData name="Joelle Brehm" userId="a518f54c-6985-42c0-8041-2bb16a414839" providerId="ADAL" clId="{3C9B919C-9CFF-4DBD-AE30-72DF3107A706}" dt="2023-06-05T23:05:05.641" v="29560"/>
          <ac:graphicFrameMkLst>
            <pc:docMk/>
            <pc:sldMk cId="1379386497" sldId="278"/>
            <ac:graphicFrameMk id="9" creationId="{E71202F0-1680-E8C7-FBE8-4B88C0A1976B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7:15.199" v="33524"/>
          <ac:graphicFrameMkLst>
            <pc:docMk/>
            <pc:sldMk cId="1379386497" sldId="278"/>
            <ac:graphicFrameMk id="42" creationId="{585C9E13-B979-942D-631E-66A05E3FE16A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05:28.039" v="29908"/>
          <ac:graphicFrameMkLst>
            <pc:docMk/>
            <pc:sldMk cId="1379386497" sldId="278"/>
            <ac:graphicFrameMk id="43" creationId="{026EEA44-4C05-E64A-7952-CA4B748B2179}"/>
          </ac:graphicFrameMkLst>
        </pc:graphicFrameChg>
        <pc:graphicFrameChg chg="add mod ord replST delST">
          <ac:chgData name="Joelle Brehm" userId="a518f54c-6985-42c0-8041-2bb16a414839" providerId="ADAL" clId="{3C9B919C-9CFF-4DBD-AE30-72DF3107A706}" dt="2023-06-05T23:06:02.426" v="32143"/>
          <ac:graphicFrameMkLst>
            <pc:docMk/>
            <pc:sldMk cId="1379386497" sldId="278"/>
            <ac:graphicFrameMk id="45" creationId="{30D535B1-CA3D-EBB6-D356-FA63F0CDAABA}"/>
          </ac:graphicFrameMkLst>
        </pc:graphicFrameChg>
        <pc:graphicFrameChg chg="add del mod ord replST delST">
          <ac:chgData name="Joelle Brehm" userId="a518f54c-6985-42c0-8041-2bb16a414839" providerId="ADAL" clId="{3C9B919C-9CFF-4DBD-AE30-72DF3107A706}" dt="2023-06-05T23:06:01.846" v="32115"/>
          <ac:graphicFrameMkLst>
            <pc:docMk/>
            <pc:sldMk cId="1379386497" sldId="278"/>
            <ac:graphicFrameMk id="50" creationId="{2B5D6485-1B2E-028D-B746-DB6C2BAD2728}"/>
          </ac:graphicFrameMkLst>
        </pc:graphicFrameChg>
        <pc:graphicFrameChg chg="add del mod ord replST delST">
          <ac:chgData name="Joelle Brehm" userId="a518f54c-6985-42c0-8041-2bb16a414839" providerId="ADAL" clId="{3C9B919C-9CFF-4DBD-AE30-72DF3107A706}" dt="2023-06-05T23:06:01.369" v="31590"/>
          <ac:graphicFrameMkLst>
            <pc:docMk/>
            <pc:sldMk cId="1379386497" sldId="278"/>
            <ac:graphicFrameMk id="52" creationId="{73B53DC3-26B7-BAD7-D100-BA77A2710052}"/>
          </ac:graphicFrameMkLst>
        </pc:graphicFrameChg>
        <pc:graphicFrameChg chg="add del mod ord">
          <ac:chgData name="Joelle Brehm" userId="a518f54c-6985-42c0-8041-2bb16a414839" providerId="ADAL" clId="{3C9B919C-9CFF-4DBD-AE30-72DF3107A706}" dt="2023-06-05T23:06:59.192" v="32762"/>
          <ac:graphicFrameMkLst>
            <pc:docMk/>
            <pc:sldMk cId="1379386497" sldId="278"/>
            <ac:graphicFrameMk id="54" creationId="{FF94D624-499C-FD43-047F-141285678F4E}"/>
          </ac:graphicFrameMkLst>
        </pc:graphicFrameChg>
        <pc:graphicFrameChg chg="add del mod ord replST delST">
          <ac:chgData name="Joelle Brehm" userId="a518f54c-6985-42c0-8041-2bb16a414839" providerId="ADAL" clId="{3C9B919C-9CFF-4DBD-AE30-72DF3107A706}" dt="2023-06-05T23:06:00.897" v="31478"/>
          <ac:graphicFrameMkLst>
            <pc:docMk/>
            <pc:sldMk cId="1379386497" sldId="278"/>
            <ac:graphicFrameMk id="55" creationId="{823C004F-CD78-9CB1-8FEC-D19A6E623654}"/>
          </ac:graphicFrameMkLst>
        </pc:graphicFrameChg>
        <pc:graphicFrameChg chg="add mod ord replST delST">
          <ac:chgData name="Joelle Brehm" userId="a518f54c-6985-42c0-8041-2bb16a414839" providerId="ADAL" clId="{3C9B919C-9CFF-4DBD-AE30-72DF3107A706}" dt="2023-06-05T23:06:00.271" v="31399"/>
          <ac:graphicFrameMkLst>
            <pc:docMk/>
            <pc:sldMk cId="1379386497" sldId="278"/>
            <ac:graphicFrameMk id="59" creationId="{11C1F27B-4950-AD34-350F-5D7B787C63D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7:01.255" v="32951"/>
          <ac:graphicFrameMkLst>
            <pc:docMk/>
            <pc:sldMk cId="1379386497" sldId="278"/>
            <ac:graphicFrameMk id="63" creationId="{F8B48695-5C51-EF41-6F7E-E9C28D5D53E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7:03.431" v="33169"/>
          <ac:graphicFrameMkLst>
            <pc:docMk/>
            <pc:sldMk cId="1379386497" sldId="278"/>
            <ac:graphicFrameMk id="65" creationId="{75F452F6-23C9-03A3-E68E-8C9E2973C78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7:06.641" v="33320"/>
          <ac:graphicFrameMkLst>
            <pc:docMk/>
            <pc:sldMk cId="1379386497" sldId="278"/>
            <ac:graphicFrameMk id="67" creationId="{2487B74D-279D-3007-F7A0-87ADFCB9322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7:19.653" v="33663"/>
          <ac:graphicFrameMkLst>
            <pc:docMk/>
            <pc:sldMk cId="1379386497" sldId="278"/>
            <ac:graphicFrameMk id="70" creationId="{1B55DDC1-0445-3896-8D42-A80816817EC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7:19.622" v="33625"/>
          <ac:graphicFrameMkLst>
            <pc:docMk/>
            <pc:sldMk cId="1379386497" sldId="278"/>
            <ac:graphicFrameMk id="73" creationId="{DBE987D2-CFAC-9BAB-EDF5-29FC94568CC3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7:19.658" v="33689"/>
          <ac:graphicFrameMkLst>
            <pc:docMk/>
            <pc:sldMk cId="1379386497" sldId="278"/>
            <ac:graphicFrameMk id="74" creationId="{E942EBEA-B052-77F0-D5BA-DAA30532E4E7}"/>
          </ac:graphicFrameMkLst>
        </pc:graphicFrameChg>
        <pc:picChg chg="del mod ord">
          <ac:chgData name="Joelle Brehm" userId="a518f54c-6985-42c0-8041-2bb16a414839" providerId="ADAL" clId="{3C9B919C-9CFF-4DBD-AE30-72DF3107A706}" dt="2023-06-05T23:05:19.850" v="29732" actId="478"/>
          <ac:picMkLst>
            <pc:docMk/>
            <pc:sldMk cId="1379386497" sldId="278"/>
            <ac:picMk id="10" creationId="{65EC1ABB-C245-46D1-26AA-E6D8D3A4B1EA}"/>
          </ac:picMkLst>
        </pc:picChg>
        <pc:picChg chg="add mod ord">
          <ac:chgData name="Joelle Brehm" userId="a518f54c-6985-42c0-8041-2bb16a414839" providerId="ADAL" clId="{3C9B919C-9CFF-4DBD-AE30-72DF3107A706}" dt="2023-06-05T23:07:19.646" v="33633"/>
          <ac:picMkLst>
            <pc:docMk/>
            <pc:sldMk cId="1379386497" sldId="278"/>
            <ac:picMk id="36" creationId="{DCE6B415-0413-05CA-EEA9-C74FF1529B34}"/>
          </ac:picMkLst>
        </pc:picChg>
        <pc:picChg chg="mod ord">
          <ac:chgData name="Joelle Brehm" userId="a518f54c-6985-42c0-8041-2bb16a414839" providerId="ADAL" clId="{3C9B919C-9CFF-4DBD-AE30-72DF3107A706}" dt="2023-06-05T23:07:19.660" v="33696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07:19.647" v="33637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09:00.427" v="36046"/>
        <pc:sldMkLst>
          <pc:docMk/>
          <pc:sldMk cId="1917659360" sldId="279"/>
        </pc:sldMkLst>
        <pc:spChg chg="add del mod ord">
          <ac:chgData name="Joelle Brehm" userId="a518f54c-6985-42c0-8041-2bb16a414839" providerId="ADAL" clId="{3C9B919C-9CFF-4DBD-AE30-72DF3107A706}" dt="2023-06-05T23:08:33.775" v="34060" actId="478"/>
          <ac:spMkLst>
            <pc:docMk/>
            <pc:sldMk cId="1917659360" sldId="279"/>
            <ac:spMk id="2" creationId="{B2E90952-81E2-302B-1FFA-23CA475BB89B}"/>
          </ac:spMkLst>
        </pc:spChg>
        <pc:spChg chg="mod ord">
          <ac:chgData name="Joelle Brehm" userId="a518f54c-6985-42c0-8041-2bb16a414839" providerId="ADAL" clId="{3C9B919C-9CFF-4DBD-AE30-72DF3107A706}" dt="2023-06-05T23:09:00.417" v="36040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3C9B919C-9CFF-4DBD-AE30-72DF3107A706}" dt="2023-06-05T23:08:07.550" v="33968"/>
          <ac:spMkLst>
            <pc:docMk/>
            <pc:sldMk cId="1917659360" sldId="279"/>
            <ac:spMk id="5" creationId="{20E11AD2-4B81-22B8-A302-93BD33D9140A}"/>
          </ac:spMkLst>
        </pc:spChg>
        <pc:spChg chg="mod ord">
          <ac:chgData name="Joelle Brehm" userId="a518f54c-6985-42c0-8041-2bb16a414839" providerId="ADAL" clId="{3C9B919C-9CFF-4DBD-AE30-72DF3107A706}" dt="2023-06-05T23:09:00.404" v="35975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09:00.412" v="36012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3C9B919C-9CFF-4DBD-AE30-72DF3107A706}" dt="2023-06-05T23:09:00.406" v="35984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09:00.406" v="35986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09:00.407" v="35987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09:00.405" v="35982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09:00.406" v="35983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09:00.405" v="35981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09:00.406" v="35985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09:00.405" v="35980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09:00.407" v="35988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09:00.407" v="35989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09:00.407" v="35990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09:00.408" v="35991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09:00.408" v="35993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09:00.408" v="35995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09:00.408" v="35994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09:00.409" v="35996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09:00.409" v="35998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09:00.409" v="35997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09:00.409" v="35999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09:00.410" v="36001"/>
          <ac:spMkLst>
            <pc:docMk/>
            <pc:sldMk cId="1917659360" sldId="279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09:00.411" v="36006"/>
          <ac:spMkLst>
            <pc:docMk/>
            <pc:sldMk cId="1917659360" sldId="279"/>
            <ac:spMk id="31" creationId="{F093A4C8-6E18-05C7-7E72-289C39311345}"/>
          </ac:spMkLst>
        </pc:spChg>
        <pc:spChg chg="mod">
          <ac:chgData name="Joelle Brehm" userId="a518f54c-6985-42c0-8041-2bb16a414839" providerId="ADAL" clId="{3C9B919C-9CFF-4DBD-AE30-72DF3107A706}" dt="2023-06-05T23:09:00.411" v="36007"/>
          <ac:spMkLst>
            <pc:docMk/>
            <pc:sldMk cId="1917659360" sldId="279"/>
            <ac:spMk id="33" creationId="{EF1BE76E-3513-F867-5535-98776D038363}"/>
          </ac:spMkLst>
        </pc:spChg>
        <pc:spChg chg="mod">
          <ac:chgData name="Joelle Brehm" userId="a518f54c-6985-42c0-8041-2bb16a414839" providerId="ADAL" clId="{3C9B919C-9CFF-4DBD-AE30-72DF3107A706}" dt="2023-06-05T23:09:00.411" v="36008"/>
          <ac:spMkLst>
            <pc:docMk/>
            <pc:sldMk cId="1917659360" sldId="279"/>
            <ac:spMk id="34" creationId="{3E8DCD8F-C1DE-43F0-D54C-AEB157F6432C}"/>
          </ac:spMkLst>
        </pc:spChg>
        <pc:spChg chg="mod">
          <ac:chgData name="Joelle Brehm" userId="a518f54c-6985-42c0-8041-2bb16a414839" providerId="ADAL" clId="{3C9B919C-9CFF-4DBD-AE30-72DF3107A706}" dt="2023-06-05T23:09:00.412" v="36009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3C9B919C-9CFF-4DBD-AE30-72DF3107A706}" dt="2023-06-05T23:09:00.412" v="36010"/>
          <ac:spMkLst>
            <pc:docMk/>
            <pc:sldMk cId="1917659360" sldId="279"/>
            <ac:spMk id="36" creationId="{1DD7BBF4-6C80-7EAE-8C4B-809D66ECE570}"/>
          </ac:spMkLst>
        </pc:spChg>
        <pc:spChg chg="mod">
          <ac:chgData name="Joelle Brehm" userId="a518f54c-6985-42c0-8041-2bb16a414839" providerId="ADAL" clId="{3C9B919C-9CFF-4DBD-AE30-72DF3107A706}" dt="2023-06-05T23:09:00.412" v="36013"/>
          <ac:spMkLst>
            <pc:docMk/>
            <pc:sldMk cId="1917659360" sldId="279"/>
            <ac:spMk id="38" creationId="{F98146E0-0CDE-47DF-A82C-B29BE329AD84}"/>
          </ac:spMkLst>
        </pc:spChg>
        <pc:spChg chg="add del mod modVis">
          <ac:chgData name="Joelle Brehm" userId="a518f54c-6985-42c0-8041-2bb16a414839" providerId="ADAL" clId="{3C9B919C-9CFF-4DBD-AE30-72DF3107A706}" dt="2023-06-05T23:08:36.840" v="34299"/>
          <ac:spMkLst>
            <pc:docMk/>
            <pc:sldMk cId="1917659360" sldId="279"/>
            <ac:spMk id="39" creationId="{C08B3A37-D5AF-2CC4-B6A5-C9F7DDDDDA5A}"/>
          </ac:spMkLst>
        </pc:spChg>
        <pc:spChg chg="mod">
          <ac:chgData name="Joelle Brehm" userId="a518f54c-6985-42c0-8041-2bb16a414839" providerId="ADAL" clId="{3C9B919C-9CFF-4DBD-AE30-72DF3107A706}" dt="2023-06-05T23:09:00.413" v="36014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3C9B919C-9CFF-4DBD-AE30-72DF3107A706}" dt="2023-06-05T23:09:00.412" v="36011"/>
          <ac:spMkLst>
            <pc:docMk/>
            <pc:sldMk cId="1917659360" sldId="279"/>
            <ac:spMk id="44" creationId="{6D0C749E-E8C8-88F8-DDE8-851FCBBEB3E2}"/>
          </ac:spMkLst>
        </pc:spChg>
        <pc:spChg chg="add mod replST">
          <ac:chgData name="Joelle Brehm" userId="a518f54c-6985-42c0-8041-2bb16a414839" providerId="ADAL" clId="{3C9B919C-9CFF-4DBD-AE30-72DF3107A706}" dt="2023-06-05T23:09:00.413" v="36015"/>
          <ac:spMkLst>
            <pc:docMk/>
            <pc:sldMk cId="1917659360" sldId="279"/>
            <ac:spMk id="46" creationId="{B9B060A3-E664-8DA1-E53F-1EF51677568B}"/>
          </ac:spMkLst>
        </pc:spChg>
        <pc:spChg chg="add del mod modVis">
          <ac:chgData name="Joelle Brehm" userId="a518f54c-6985-42c0-8041-2bb16a414839" providerId="ADAL" clId="{3C9B919C-9CFF-4DBD-AE30-72DF3107A706}" dt="2023-06-05T23:08:49.506" v="35211"/>
          <ac:spMkLst>
            <pc:docMk/>
            <pc:sldMk cId="1917659360" sldId="279"/>
            <ac:spMk id="47" creationId="{F28EA95D-9986-BD6F-1543-79A49B2FB88F}"/>
          </ac:spMkLst>
        </pc:spChg>
        <pc:spChg chg="add del mod modVis">
          <ac:chgData name="Joelle Brehm" userId="a518f54c-6985-42c0-8041-2bb16a414839" providerId="ADAL" clId="{3C9B919C-9CFF-4DBD-AE30-72DF3107A706}" dt="2023-06-05T23:08:51.156" v="35417"/>
          <ac:spMkLst>
            <pc:docMk/>
            <pc:sldMk cId="1917659360" sldId="279"/>
            <ac:spMk id="49" creationId="{B8EED2C0-9152-0CAD-A950-BF8A04FA8006}"/>
          </ac:spMkLst>
        </pc:spChg>
        <pc:spChg chg="add del mod modVis">
          <ac:chgData name="Joelle Brehm" userId="a518f54c-6985-42c0-8041-2bb16a414839" providerId="ADAL" clId="{3C9B919C-9CFF-4DBD-AE30-72DF3107A706}" dt="2023-06-05T23:08:53.791" v="35727"/>
          <ac:spMkLst>
            <pc:docMk/>
            <pc:sldMk cId="1917659360" sldId="279"/>
            <ac:spMk id="51" creationId="{E5CFE1D2-16DC-20EA-4082-D7F89CD6A6C3}"/>
          </ac:spMkLst>
        </pc:spChg>
        <pc:spChg chg="add del mod ord replST">
          <ac:chgData name="Joelle Brehm" userId="a518f54c-6985-42c0-8041-2bb16a414839" providerId="ADAL" clId="{3C9B919C-9CFF-4DBD-AE30-72DF3107A706}" dt="2023-06-05T23:08:56.700" v="35797"/>
          <ac:spMkLst>
            <pc:docMk/>
            <pc:sldMk cId="1917659360" sldId="279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08:56.763" v="35894"/>
          <ac:spMkLst>
            <pc:docMk/>
            <pc:sldMk cId="1917659360" sldId="279"/>
            <ac:spMk id="56" creationId="{57E7452A-47F8-1998-6E65-2FE5328C32A7}"/>
          </ac:spMkLst>
        </pc:spChg>
        <pc:spChg chg="mod ord">
          <ac:chgData name="Joelle Brehm" userId="a518f54c-6985-42c0-8041-2bb16a414839" providerId="ADAL" clId="{3C9B919C-9CFF-4DBD-AE30-72DF3107A706}" dt="2023-06-05T23:09:00.417" v="36038"/>
          <ac:spMkLst>
            <pc:docMk/>
            <pc:sldMk cId="1917659360" sldId="279"/>
            <ac:spMk id="58" creationId="{C2B29D16-5A5D-43B3-B972-0B57287E081A}"/>
          </ac:spMkLst>
        </pc:spChg>
        <pc:spChg chg="add del mod modVis">
          <ac:chgData name="Joelle Brehm" userId="a518f54c-6985-42c0-8041-2bb16a414839" providerId="ADAL" clId="{3C9B919C-9CFF-4DBD-AE30-72DF3107A706}" dt="2023-06-05T23:09:00.418" v="36044"/>
          <ac:spMkLst>
            <pc:docMk/>
            <pc:sldMk cId="1917659360" sldId="279"/>
            <ac:spMk id="60" creationId="{0751A9B8-0C7F-6C75-2D11-3EE5A5EBA8BC}"/>
          </ac:spMkLst>
        </pc:spChg>
        <pc:spChg chg="del mod">
          <ac:chgData name="Joelle Brehm" userId="a518f54c-6985-42c0-8041-2bb16a414839" providerId="ADAL" clId="{3C9B919C-9CFF-4DBD-AE30-72DF3107A706}" dt="2023-06-05T23:08:53.502" v="35420"/>
          <ac:spMkLst>
            <pc:docMk/>
            <pc:sldMk cId="1917659360" sldId="279"/>
            <ac:spMk id="61" creationId="{89FB0A14-984F-7070-9E9C-AC635E68F43F}"/>
          </ac:spMkLst>
        </pc:spChg>
        <pc:spChg chg="mod">
          <ac:chgData name="Joelle Brehm" userId="a518f54c-6985-42c0-8041-2bb16a414839" providerId="ADAL" clId="{3C9B919C-9CFF-4DBD-AE30-72DF3107A706}" dt="2023-06-05T23:09:00.410" v="36005"/>
          <ac:spMkLst>
            <pc:docMk/>
            <pc:sldMk cId="1917659360" sldId="279"/>
            <ac:spMk id="64" creationId="{35C83473-CEFE-97B3-BB93-6F7EECC70D9C}"/>
          </ac:spMkLst>
        </pc:spChg>
        <pc:spChg chg="mod">
          <ac:chgData name="Joelle Brehm" userId="a518f54c-6985-42c0-8041-2bb16a414839" providerId="ADAL" clId="{3C9B919C-9CFF-4DBD-AE30-72DF3107A706}" dt="2023-06-05T23:09:00.410" v="36004"/>
          <ac:spMkLst>
            <pc:docMk/>
            <pc:sldMk cId="1917659360" sldId="279"/>
            <ac:spMk id="68" creationId="{172D3C4E-809D-7E4B-644C-D1FADA170FF0}"/>
          </ac:spMkLst>
        </pc:spChg>
        <pc:spChg chg="mod ord">
          <ac:chgData name="Joelle Brehm" userId="a518f54c-6985-42c0-8041-2bb16a414839" providerId="ADAL" clId="{3C9B919C-9CFF-4DBD-AE30-72DF3107A706}" dt="2023-06-05T23:09:00.413" v="36017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09:00.413" v="36019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3:09:00.414" v="36021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3:09:00.414" v="36023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09:00.414" v="36025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09:00.415" v="36027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09:00.415" v="36030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9:00.415" v="36031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9:00.416" v="36033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09:00.416" v="36034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09:00.416" v="36032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3:09:00.427" v="36046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9:00.405" v="35979"/>
          <ac:graphicFrameMkLst>
            <pc:docMk/>
            <pc:sldMk cId="1917659360" sldId="279"/>
            <ac:graphicFrameMk id="8" creationId="{51F93571-D053-FA5C-2923-F45664373647}"/>
          </ac:graphicFrameMkLst>
        </pc:graphicFrameChg>
        <pc:graphicFrameChg chg="del">
          <ac:chgData name="Joelle Brehm" userId="a518f54c-6985-42c0-8041-2bb16a414839" providerId="ADAL" clId="{3C9B919C-9CFF-4DBD-AE30-72DF3107A706}" dt="2023-06-05T23:08:07.490" v="33885"/>
          <ac:graphicFrameMkLst>
            <pc:docMk/>
            <pc:sldMk cId="1917659360" sldId="279"/>
            <ac:graphicFrameMk id="9" creationId="{FE00B440-BDE1-BADF-A6C2-6A09C094DE7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8:39.962" v="34321"/>
          <ac:graphicFrameMkLst>
            <pc:docMk/>
            <pc:sldMk cId="1917659360" sldId="279"/>
            <ac:graphicFrameMk id="41" creationId="{48FB1B4F-FFC3-DF0F-D462-89507A72FDA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8:41.190" v="34420"/>
          <ac:graphicFrameMkLst>
            <pc:docMk/>
            <pc:sldMk cId="1917659360" sldId="279"/>
            <ac:graphicFrameMk id="42" creationId="{B59C4049-0E53-6DAB-E36B-C66F6B19023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8:42.662" v="34519"/>
          <ac:graphicFrameMkLst>
            <pc:docMk/>
            <pc:sldMk cId="1917659360" sldId="279"/>
            <ac:graphicFrameMk id="43" creationId="{6D1A1725-493C-99A8-3030-3628939A48AF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9:00.415" v="36029"/>
          <ac:graphicFrameMkLst>
            <pc:docMk/>
            <pc:sldMk cId="1917659360" sldId="279"/>
            <ac:graphicFrameMk id="45" creationId="{3C99A4B4-3B14-424E-8F00-F0289BA5550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8:51.087" v="35315"/>
          <ac:graphicFrameMkLst>
            <pc:docMk/>
            <pc:sldMk cId="1917659360" sldId="279"/>
            <ac:graphicFrameMk id="48" creationId="{D6D60A51-E656-12F8-6AEF-9EC6614FB56B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8:53.709" v="35624"/>
          <ac:graphicFrameMkLst>
            <pc:docMk/>
            <pc:sldMk cId="1917659360" sldId="279"/>
            <ac:graphicFrameMk id="50" creationId="{B4305952-3AB2-95B5-B10A-8CFFD9133B22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08:36.779" v="34220"/>
          <ac:graphicFrameMkLst>
            <pc:docMk/>
            <pc:sldMk cId="1917659360" sldId="279"/>
            <ac:graphicFrameMk id="53" creationId="{C481CBD8-1048-6D07-8F28-3BFA0E5DBD47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8:56.720" v="35813"/>
          <ac:graphicFrameMkLst>
            <pc:docMk/>
            <pc:sldMk cId="1917659360" sldId="279"/>
            <ac:graphicFrameMk id="54" creationId="{95E60AC4-EE36-1EB8-FB05-53193618884A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08:49.462" v="35123"/>
          <ac:graphicFrameMkLst>
            <pc:docMk/>
            <pc:sldMk cId="1917659360" sldId="279"/>
            <ac:graphicFrameMk id="55" creationId="{8A01C037-FBC6-F148-3D36-B94843C2D6BE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09:00.382" v="35965"/>
          <ac:graphicFrameMkLst>
            <pc:docMk/>
            <pc:sldMk cId="1917659360" sldId="279"/>
            <ac:graphicFrameMk id="59" creationId="{1B98CE7F-C1D0-3AFA-DAF8-CDC3F660834B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09:00.410" v="36003"/>
          <ac:graphicFrameMkLst>
            <pc:docMk/>
            <pc:sldMk cId="1917659360" sldId="279"/>
            <ac:graphicFrameMk id="62" creationId="{B806946C-1FFC-994C-F9EE-A64D8CD4CBEF}"/>
          </ac:graphicFrameMkLst>
        </pc:graphicFrameChg>
        <pc:picChg chg="del mod ord">
          <ac:chgData name="Joelle Brehm" userId="a518f54c-6985-42c0-8041-2bb16a414839" providerId="ADAL" clId="{3C9B919C-9CFF-4DBD-AE30-72DF3107A706}" dt="2023-06-05T23:08:28.699" v="34059" actId="478"/>
          <ac:picMkLst>
            <pc:docMk/>
            <pc:sldMk cId="1917659360" sldId="279"/>
            <ac:picMk id="32" creationId="{419580CC-B47A-0C2F-818C-AB0540B520DB}"/>
          </ac:picMkLst>
        </pc:picChg>
        <pc:picChg chg="add mod ord">
          <ac:chgData name="Joelle Brehm" userId="a518f54c-6985-42c0-8041-2bb16a414839" providerId="ADAL" clId="{3C9B919C-9CFF-4DBD-AE30-72DF3107A706}" dt="2023-06-05T23:09:00.403" v="35973"/>
          <ac:picMkLst>
            <pc:docMk/>
            <pc:sldMk cId="1917659360" sldId="279"/>
            <ac:picMk id="37" creationId="{FB3F78EE-2B74-BB96-3F17-059207D3D68F}"/>
          </ac:picMkLst>
        </pc:picChg>
        <pc:picChg chg="mod ord">
          <ac:chgData name="Joelle Brehm" userId="a518f54c-6985-42c0-8041-2bb16a414839" providerId="ADAL" clId="{3C9B919C-9CFF-4DBD-AE30-72DF3107A706}" dt="2023-06-05T23:09:00.416" v="36036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09:00.404" v="35977"/>
          <ac:cxnSpMkLst>
            <pc:docMk/>
            <pc:sldMk cId="1917659360" sldId="279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3C9B919C-9CFF-4DBD-AE30-72DF3107A706}" dt="2023-06-05T23:09:00.381" v="35963"/>
          <ac:cxnSpMkLst>
            <pc:docMk/>
            <pc:sldMk cId="1917659360" sldId="279"/>
            <ac:cxnSpMk id="57" creationId="{11C910FE-96EA-E615-3F74-524983C905B1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18:37.361" v="40129" actId="478"/>
        <pc:sldMkLst>
          <pc:docMk/>
          <pc:sldMk cId="168389892" sldId="281"/>
        </pc:sldMkLst>
        <pc:spChg chg="mod ord">
          <ac:chgData name="Joelle Brehm" userId="a518f54c-6985-42c0-8041-2bb16a414839" providerId="ADAL" clId="{3C9B919C-9CFF-4DBD-AE30-72DF3107A706}" dt="2023-06-05T23:18:36.149" v="40122"/>
          <ac:spMkLst>
            <pc:docMk/>
            <pc:sldMk cId="168389892" sldId="281"/>
            <ac:spMk id="2" creationId="{113280EF-7092-46F4-B9C0-9ADB445F51A4}"/>
          </ac:spMkLst>
        </pc:spChg>
        <pc:spChg chg="add del mod ord">
          <ac:chgData name="Joelle Brehm" userId="a518f54c-6985-42c0-8041-2bb16a414839" providerId="ADAL" clId="{3C9B919C-9CFF-4DBD-AE30-72DF3107A706}" dt="2023-06-05T23:13:56.528" v="38155" actId="478"/>
          <ac:spMkLst>
            <pc:docMk/>
            <pc:sldMk cId="168389892" sldId="281"/>
            <ac:spMk id="3" creationId="{F21D1AEF-0A9C-B517-34BA-B6F60A9D4F9E}"/>
          </ac:spMkLst>
        </pc:spChg>
        <pc:spChg chg="add del mod modVis">
          <ac:chgData name="Joelle Brehm" userId="a518f54c-6985-42c0-8041-2bb16a414839" providerId="ADAL" clId="{3C9B919C-9CFF-4DBD-AE30-72DF3107A706}" dt="2023-06-05T23:10:59.222" v="38045"/>
          <ac:spMkLst>
            <pc:docMk/>
            <pc:sldMk cId="168389892" sldId="281"/>
            <ac:spMk id="5" creationId="{BA0DA2A0-DCEC-A473-4C00-055055D61175}"/>
          </ac:spMkLst>
        </pc:spChg>
        <pc:spChg chg="add del mod modVis">
          <ac:chgData name="Joelle Brehm" userId="a518f54c-6985-42c0-8041-2bb16a414839" providerId="ADAL" clId="{3C9B919C-9CFF-4DBD-AE30-72DF3107A706}" dt="2023-06-05T23:18:36.149" v="40126"/>
          <ac:spMkLst>
            <pc:docMk/>
            <pc:sldMk cId="168389892" sldId="281"/>
            <ac:spMk id="5" creationId="{E1EBA9F9-0049-96F4-1C2D-ED90A8E8B4FE}"/>
          </ac:spMkLst>
        </pc:spChg>
        <pc:spChg chg="mod ord">
          <ac:chgData name="Joelle Brehm" userId="a518f54c-6985-42c0-8041-2bb16a414839" providerId="ADAL" clId="{3C9B919C-9CFF-4DBD-AE30-72DF3107A706}" dt="2023-06-05T23:18:36.133" v="40035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18:36.149" v="40093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3C9B919C-9CFF-4DBD-AE30-72DF3107A706}" dt="2023-06-05T23:18:36.133" v="40045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18:36.133" v="40041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18:36.133" v="40044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18:36.133" v="40042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18:36.133" v="40043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18:36.133" v="40046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18:36.133" v="40040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18:36.133" v="40047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18:36.133" v="40048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18:36.133" v="40049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18:36.133" v="40050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18:36.133" v="40051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18:36.133" v="40053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18:36.133" v="40058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18:36.133" v="40056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18:36.133" v="40057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18:36.133" v="40060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18:36.133" v="40059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18:36.133" v="40062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18:36.133" v="40064"/>
          <ac:spMkLst>
            <pc:docMk/>
            <pc:sldMk cId="168389892" sldId="281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18:36.149" v="40083"/>
          <ac:spMkLst>
            <pc:docMk/>
            <pc:sldMk cId="168389892" sldId="281"/>
            <ac:spMk id="31" creationId="{711541B8-27AE-44A5-8FC9-D12E6804FB92}"/>
          </ac:spMkLst>
        </pc:spChg>
        <pc:spChg chg="mod">
          <ac:chgData name="Joelle Brehm" userId="a518f54c-6985-42c0-8041-2bb16a414839" providerId="ADAL" clId="{3C9B919C-9CFF-4DBD-AE30-72DF3107A706}" dt="2023-06-05T23:18:36.149" v="40082"/>
          <ac:spMkLst>
            <pc:docMk/>
            <pc:sldMk cId="168389892" sldId="281"/>
            <ac:spMk id="32" creationId="{267D9261-1F00-B849-706B-361467A439F9}"/>
          </ac:spMkLst>
        </pc:spChg>
        <pc:spChg chg="mod">
          <ac:chgData name="Joelle Brehm" userId="a518f54c-6985-42c0-8041-2bb16a414839" providerId="ADAL" clId="{3C9B919C-9CFF-4DBD-AE30-72DF3107A706}" dt="2023-06-05T23:18:36.149" v="40087"/>
          <ac:spMkLst>
            <pc:docMk/>
            <pc:sldMk cId="168389892" sldId="281"/>
            <ac:spMk id="33" creationId="{B1E9DD7B-A017-14DB-FDC5-572B2A809BD1}"/>
          </ac:spMkLst>
        </pc:spChg>
        <pc:spChg chg="mod">
          <ac:chgData name="Joelle Brehm" userId="a518f54c-6985-42c0-8041-2bb16a414839" providerId="ADAL" clId="{3C9B919C-9CFF-4DBD-AE30-72DF3107A706}" dt="2023-06-05T23:18:36.149" v="40085"/>
          <ac:spMkLst>
            <pc:docMk/>
            <pc:sldMk cId="168389892" sldId="281"/>
            <ac:spMk id="34" creationId="{A3449709-B02E-77EF-4F6F-B47BC234DA54}"/>
          </ac:spMkLst>
        </pc:spChg>
        <pc:spChg chg="mod">
          <ac:chgData name="Joelle Brehm" userId="a518f54c-6985-42c0-8041-2bb16a414839" providerId="ADAL" clId="{3C9B919C-9CFF-4DBD-AE30-72DF3107A706}" dt="2023-06-05T23:18:36.149" v="40084"/>
          <ac:spMkLst>
            <pc:docMk/>
            <pc:sldMk cId="168389892" sldId="281"/>
            <ac:spMk id="35" creationId="{0B484CBC-5CE9-D383-6E19-BF1B45083FAC}"/>
          </ac:spMkLst>
        </pc:spChg>
        <pc:spChg chg="mod">
          <ac:chgData name="Joelle Brehm" userId="a518f54c-6985-42c0-8041-2bb16a414839" providerId="ADAL" clId="{3C9B919C-9CFF-4DBD-AE30-72DF3107A706}" dt="2023-06-05T23:18:36.149" v="40077"/>
          <ac:spMkLst>
            <pc:docMk/>
            <pc:sldMk cId="168389892" sldId="281"/>
            <ac:spMk id="36" creationId="{36968B59-7E4B-5916-DE24-FBEDF12C1E49}"/>
          </ac:spMkLst>
        </pc:spChg>
        <pc:spChg chg="mod ord">
          <ac:chgData name="Joelle Brehm" userId="a518f54c-6985-42c0-8041-2bb16a414839" providerId="ADAL" clId="{3C9B919C-9CFF-4DBD-AE30-72DF3107A706}" dt="2023-06-05T23:18:36.133" v="40055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3C9B919C-9CFF-4DBD-AE30-72DF3107A706}" dt="2023-06-05T23:18:36.149" v="40076"/>
          <ac:spMkLst>
            <pc:docMk/>
            <pc:sldMk cId="168389892" sldId="281"/>
            <ac:spMk id="38" creationId="{33D6C8F4-21B6-9786-940E-4D86B2714801}"/>
          </ac:spMkLst>
        </pc:spChg>
        <pc:spChg chg="mod">
          <ac:chgData name="Joelle Brehm" userId="a518f54c-6985-42c0-8041-2bb16a414839" providerId="ADAL" clId="{3C9B919C-9CFF-4DBD-AE30-72DF3107A706}" dt="2023-06-05T23:18:36.149" v="40092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3C9B919C-9CFF-4DBD-AE30-72DF3107A706}" dt="2023-06-05T23:18:36.149" v="40089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3C9B919C-9CFF-4DBD-AE30-72DF3107A706}" dt="2023-06-05T23:18:36.149" v="40088"/>
          <ac:spMkLst>
            <pc:docMk/>
            <pc:sldMk cId="168389892" sldId="281"/>
            <ac:spMk id="41" creationId="{FDBDB5F4-8253-DAFB-C27E-59BA58987D05}"/>
          </ac:spMkLst>
        </pc:spChg>
        <pc:spChg chg="mod">
          <ac:chgData name="Joelle Brehm" userId="a518f54c-6985-42c0-8041-2bb16a414839" providerId="ADAL" clId="{3C9B919C-9CFF-4DBD-AE30-72DF3107A706}" dt="2023-06-05T23:18:36.149" v="40086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3C9B919C-9CFF-4DBD-AE30-72DF3107A706}" dt="2023-06-05T23:18:36.149" v="40091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3C9B919C-9CFF-4DBD-AE30-72DF3107A706}" dt="2023-06-05T23:18:36.133" v="40068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33" v="40070"/>
          <ac:spMkLst>
            <pc:docMk/>
            <pc:sldMk cId="168389892" sldId="281"/>
            <ac:spMk id="4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33" v="40071"/>
          <ac:spMkLst>
            <pc:docMk/>
            <pc:sldMk cId="168389892" sldId="281"/>
            <ac:spMk id="4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33" v="40073"/>
          <ac:spMkLst>
            <pc:docMk/>
            <pc:sldMk cId="168389892" sldId="281"/>
            <ac:spMk id="47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49" v="40090"/>
          <ac:spMkLst>
            <pc:docMk/>
            <pc:sldMk cId="168389892" sldId="281"/>
            <ac:spMk id="48" creationId="{D7C724F5-3AF0-C1C4-489C-1D5CE45F0FB0}"/>
          </ac:spMkLst>
        </pc:spChg>
        <pc:spChg chg="mod">
          <ac:chgData name="Joelle Brehm" userId="a518f54c-6985-42c0-8041-2bb16a414839" providerId="ADAL" clId="{3C9B919C-9CFF-4DBD-AE30-72DF3107A706}" dt="2023-06-05T23:18:36.133" v="40067"/>
          <ac:spMkLst>
            <pc:docMk/>
            <pc:sldMk cId="168389892" sldId="281"/>
            <ac:spMk id="50" creationId="{7CAA3B95-4C78-4122-BECA-B5FB0F3F3764}"/>
          </ac:spMkLst>
        </pc:spChg>
        <pc:spChg chg="add mod replST">
          <ac:chgData name="Joelle Brehm" userId="a518f54c-6985-42c0-8041-2bb16a414839" providerId="ADAL" clId="{3C9B919C-9CFF-4DBD-AE30-72DF3107A706}" dt="2023-06-05T23:18:36.149" v="40097"/>
          <ac:spMkLst>
            <pc:docMk/>
            <pc:sldMk cId="168389892" sldId="281"/>
            <ac:spMk id="52" creationId="{C2136919-F830-5FA4-4909-5DFDE94744CA}"/>
          </ac:spMkLst>
        </pc:spChg>
        <pc:spChg chg="add mod replST">
          <ac:chgData name="Joelle Brehm" userId="a518f54c-6985-42c0-8041-2bb16a414839" providerId="ADAL" clId="{3C9B919C-9CFF-4DBD-AE30-72DF3107A706}" dt="2023-06-05T23:18:36.149" v="40096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3C9B919C-9CFF-4DBD-AE30-72DF3107A706}" dt="2023-06-05T23:18:36.149" v="40095"/>
          <ac:spMkLst>
            <pc:docMk/>
            <pc:sldMk cId="168389892" sldId="281"/>
            <ac:spMk id="54" creationId="{622603CE-58AD-807F-F76A-AA9426112C20}"/>
          </ac:spMkLst>
        </pc:spChg>
        <pc:spChg chg="mod">
          <ac:chgData name="Joelle Brehm" userId="a518f54c-6985-42c0-8041-2bb16a414839" providerId="ADAL" clId="{3C9B919C-9CFF-4DBD-AE30-72DF3107A706}" dt="2023-06-05T23:18:36.149" v="40094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3C9B919C-9CFF-4DBD-AE30-72DF3107A706}" dt="2023-06-05T23:18:36.149" v="40081"/>
          <ac:spMkLst>
            <pc:docMk/>
            <pc:sldMk cId="168389892" sldId="281"/>
            <ac:spMk id="57" creationId="{C5C40907-46F2-01D7-4DFC-21E722FD6F82}"/>
          </ac:spMkLst>
        </pc:spChg>
        <pc:spChg chg="add del mod modVis">
          <ac:chgData name="Joelle Brehm" userId="a518f54c-6985-42c0-8041-2bb16a414839" providerId="ADAL" clId="{3C9B919C-9CFF-4DBD-AE30-72DF3107A706}" dt="2023-06-05T23:14:04.982" v="38574"/>
          <ac:spMkLst>
            <pc:docMk/>
            <pc:sldMk cId="168389892" sldId="281"/>
            <ac:spMk id="58" creationId="{8B25796B-5E91-9B31-F9A1-F7B4EFF5220C}"/>
          </ac:spMkLst>
        </pc:spChg>
        <pc:spChg chg="mod ord">
          <ac:chgData name="Joelle Brehm" userId="a518f54c-6985-42c0-8041-2bb16a414839" providerId="ADAL" clId="{3C9B919C-9CFF-4DBD-AE30-72DF3107A706}" dt="2023-06-05T23:18:36.133" v="40074"/>
          <ac:spMkLst>
            <pc:docMk/>
            <pc:sldMk cId="168389892" sldId="281"/>
            <ac:spMk id="60" creationId="{E2CCABD6-E3A5-2DEA-E763-1A50AC421FC3}"/>
          </ac:spMkLst>
        </pc:spChg>
        <pc:spChg chg="add del mod modVis">
          <ac:chgData name="Joelle Brehm" userId="a518f54c-6985-42c0-8041-2bb16a414839" providerId="ADAL" clId="{3C9B919C-9CFF-4DBD-AE30-72DF3107A706}" dt="2023-06-05T23:14:06.542" v="38807"/>
          <ac:spMkLst>
            <pc:docMk/>
            <pc:sldMk cId="168389892" sldId="281"/>
            <ac:spMk id="61" creationId="{6676ED18-F00E-09C2-16E7-A23A93B7071F}"/>
          </ac:spMkLst>
        </pc:spChg>
        <pc:spChg chg="add del mod modVis">
          <ac:chgData name="Joelle Brehm" userId="a518f54c-6985-42c0-8041-2bb16a414839" providerId="ADAL" clId="{3C9B919C-9CFF-4DBD-AE30-72DF3107A706}" dt="2023-06-05T23:14:08.489" v="39073"/>
          <ac:spMkLst>
            <pc:docMk/>
            <pc:sldMk cId="168389892" sldId="281"/>
            <ac:spMk id="63" creationId="{B5876333-5D63-CC07-6999-533C09D4722B}"/>
          </ac:spMkLst>
        </pc:spChg>
        <pc:spChg chg="add del mod modVis">
          <ac:chgData name="Joelle Brehm" userId="a518f54c-6985-42c0-8041-2bb16a414839" providerId="ADAL" clId="{3C9B919C-9CFF-4DBD-AE30-72DF3107A706}" dt="2023-06-05T23:14:12.179" v="39275"/>
          <ac:spMkLst>
            <pc:docMk/>
            <pc:sldMk cId="168389892" sldId="281"/>
            <ac:spMk id="65" creationId="{FD336CD2-1B86-B5E8-101A-802C77D8A56D}"/>
          </ac:spMkLst>
        </pc:spChg>
        <pc:spChg chg="add del mod modVis">
          <ac:chgData name="Joelle Brehm" userId="a518f54c-6985-42c0-8041-2bb16a414839" providerId="ADAL" clId="{3C9B919C-9CFF-4DBD-AE30-72DF3107A706}" dt="2023-06-05T23:14:17.614" v="39513"/>
          <ac:spMkLst>
            <pc:docMk/>
            <pc:sldMk cId="168389892" sldId="281"/>
            <ac:spMk id="68" creationId="{048D0483-76EB-BB3C-6BAD-85E97A7C3F22}"/>
          </ac:spMkLst>
        </pc:spChg>
        <pc:spChg chg="mod">
          <ac:chgData name="Joelle Brehm" userId="a518f54c-6985-42c0-8041-2bb16a414839" providerId="ADAL" clId="{3C9B919C-9CFF-4DBD-AE30-72DF3107A706}" dt="2023-06-05T23:18:36.133" v="40061"/>
          <ac:spMkLst>
            <pc:docMk/>
            <pc:sldMk cId="168389892" sldId="281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5T23:18:36.149" v="40099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18:36.149" v="40101"/>
          <ac:spMkLst>
            <pc:docMk/>
            <pc:sldMk cId="168389892" sldId="281"/>
            <ac:spMk id="79" creationId="{F1476AC4-694B-4D83-BFD8-8DCAA4BB1923}"/>
          </ac:spMkLst>
        </pc:spChg>
        <pc:spChg chg="del mod">
          <ac:chgData name="Joelle Brehm" userId="a518f54c-6985-42c0-8041-2bb16a414839" providerId="ADAL" clId="{3C9B919C-9CFF-4DBD-AE30-72DF3107A706}" dt="2023-06-05T23:14:08.286" v="38811"/>
          <ac:spMkLst>
            <pc:docMk/>
            <pc:sldMk cId="168389892" sldId="281"/>
            <ac:spMk id="80" creationId="{A9EF3557-4ADA-B46D-607F-719093F6BE9E}"/>
          </ac:spMkLst>
        </pc:spChg>
        <pc:spChg chg="del mod">
          <ac:chgData name="Joelle Brehm" userId="a518f54c-6985-42c0-8041-2bb16a414839" providerId="ADAL" clId="{3C9B919C-9CFF-4DBD-AE30-72DF3107A706}" dt="2023-06-05T23:14:08.285" v="38810"/>
          <ac:spMkLst>
            <pc:docMk/>
            <pc:sldMk cId="168389892" sldId="281"/>
            <ac:spMk id="84" creationId="{6A72EA4B-080B-599A-474B-DEB3E2490940}"/>
          </ac:spMkLst>
        </pc:spChg>
        <pc:spChg chg="mod">
          <ac:chgData name="Joelle Brehm" userId="a518f54c-6985-42c0-8041-2bb16a414839" providerId="ADAL" clId="{3C9B919C-9CFF-4DBD-AE30-72DF3107A706}" dt="2023-06-05T23:18:36.149" v="40078"/>
          <ac:spMkLst>
            <pc:docMk/>
            <pc:sldMk cId="168389892" sldId="281"/>
            <ac:spMk id="85" creationId="{DF87CD30-2B02-58E3-EBCD-F3BF3794739E}"/>
          </ac:spMkLst>
        </pc:spChg>
        <pc:spChg chg="mod">
          <ac:chgData name="Joelle Brehm" userId="a518f54c-6985-42c0-8041-2bb16a414839" providerId="ADAL" clId="{3C9B919C-9CFF-4DBD-AE30-72DF3107A706}" dt="2023-06-05T23:18:36.133" v="40069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3:18:36.149" v="40103"/>
          <ac:spMkLst>
            <pc:docMk/>
            <pc:sldMk cId="168389892" sldId="281"/>
            <ac:spMk id="100" creationId="{8B5667AB-609C-4AEA-83B3-24E395C8F420}"/>
          </ac:spMkLst>
        </pc:spChg>
        <pc:spChg chg="mod">
          <ac:chgData name="Joelle Brehm" userId="a518f54c-6985-42c0-8041-2bb16a414839" providerId="ADAL" clId="{3C9B919C-9CFF-4DBD-AE30-72DF3107A706}" dt="2023-06-05T23:18:36.133" v="40072"/>
          <ac:spMkLst>
            <pc:docMk/>
            <pc:sldMk cId="168389892" sldId="281"/>
            <ac:spMk id="10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33" v="40075"/>
          <ac:spMkLst>
            <pc:docMk/>
            <pc:sldMk cId="168389892" sldId="281"/>
            <ac:spMk id="107" creationId="{2C0F3D91-8280-5B6C-3F0D-3BA8A2B7F58D}"/>
          </ac:spMkLst>
        </pc:spChg>
        <pc:spChg chg="mod ord">
          <ac:chgData name="Joelle Brehm" userId="a518f54c-6985-42c0-8041-2bb16a414839" providerId="ADAL" clId="{3C9B919C-9CFF-4DBD-AE30-72DF3107A706}" dt="2023-06-05T23:18:36.149" v="40105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18:36.149" v="40107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18:36.149" v="40109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18:36.149" v="40080"/>
          <ac:spMkLst>
            <pc:docMk/>
            <pc:sldMk cId="168389892" sldId="281"/>
            <ac:spMk id="111" creationId="{F322459F-CC51-9478-D518-8430E52F3C72}"/>
          </ac:spMkLst>
        </pc:spChg>
        <pc:spChg chg="mod">
          <ac:chgData name="Joelle Brehm" userId="a518f54c-6985-42c0-8041-2bb16a414839" providerId="ADAL" clId="{3C9B919C-9CFF-4DBD-AE30-72DF3107A706}" dt="2023-06-05T23:18:36.149" v="40079"/>
          <ac:spMkLst>
            <pc:docMk/>
            <pc:sldMk cId="168389892" sldId="281"/>
            <ac:spMk id="113" creationId="{8044FD4D-AA73-D843-176B-2B2326E5F341}"/>
          </ac:spMkLst>
        </pc:spChg>
        <pc:spChg chg="mod">
          <ac:chgData name="Joelle Brehm" userId="a518f54c-6985-42c0-8041-2bb16a414839" providerId="ADAL" clId="{3C9B919C-9CFF-4DBD-AE30-72DF3107A706}" dt="2023-06-05T23:18:36.149" v="40112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49" v="40113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49" v="40114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8:36.149" v="40115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18:36.149" v="40116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3:18:36.181" v="40128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3:10:59.144" v="37936"/>
          <ac:graphicFrameMkLst>
            <pc:docMk/>
            <pc:sldMk cId="168389892" sldId="281"/>
            <ac:graphicFrameMk id="8" creationId="{65297D9A-5CAE-32A9-276E-D5B1EE89A34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8:36.133" v="40039"/>
          <ac:graphicFrameMkLst>
            <pc:docMk/>
            <pc:sldMk cId="168389892" sldId="281"/>
            <ac:graphicFrameMk id="49" creationId="{759D36F9-39AC-F2F2-5DF0-FE1CFE18DA87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14:17.558" v="39412"/>
          <ac:graphicFrameMkLst>
            <pc:docMk/>
            <pc:sldMk cId="168389892" sldId="281"/>
            <ac:graphicFrameMk id="55" creationId="{CE29D6B0-AF5B-924E-83F1-088DB40178D1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4:06.483" v="38703"/>
          <ac:graphicFrameMkLst>
            <pc:docMk/>
            <pc:sldMk cId="168389892" sldId="281"/>
            <ac:graphicFrameMk id="59" creationId="{6CDF792B-425F-99D0-13F4-9438F6309E52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4:08.425" v="38971"/>
          <ac:graphicFrameMkLst>
            <pc:docMk/>
            <pc:sldMk cId="168389892" sldId="281"/>
            <ac:graphicFrameMk id="62" creationId="{71FDDC2E-A65D-5C4F-AAB9-89032C033B5E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4:12.135" v="39174"/>
          <ac:graphicFrameMkLst>
            <pc:docMk/>
            <pc:sldMk cId="168389892" sldId="281"/>
            <ac:graphicFrameMk id="64" creationId="{EAA6B107-6400-74C9-E55C-75088305C212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14:04.932" v="38470"/>
          <ac:graphicFrameMkLst>
            <pc:docMk/>
            <pc:sldMk cId="168389892" sldId="281"/>
            <ac:graphicFrameMk id="66" creationId="{94395BEC-ED48-2D22-24A0-C230E46B2FB2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8:36.133" v="40066"/>
          <ac:graphicFrameMkLst>
            <pc:docMk/>
            <pc:sldMk cId="168389892" sldId="281"/>
            <ac:graphicFrameMk id="67" creationId="{1403BA26-2D73-4366-E001-2024376B77CC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8:36.149" v="40111"/>
          <ac:graphicFrameMkLst>
            <pc:docMk/>
            <pc:sldMk cId="168389892" sldId="281"/>
            <ac:graphicFrameMk id="69" creationId="{6930B102-D891-2E89-83E2-2FAB081A40EB}"/>
          </ac:graphicFrameMkLst>
        </pc:graphicFrameChg>
        <pc:picChg chg="add mod ord">
          <ac:chgData name="Joelle Brehm" userId="a518f54c-6985-42c0-8041-2bb16a414839" providerId="ADAL" clId="{3C9B919C-9CFF-4DBD-AE30-72DF3107A706}" dt="2023-06-05T23:18:36.133" v="40031"/>
          <ac:picMkLst>
            <pc:docMk/>
            <pc:sldMk cId="168389892" sldId="281"/>
            <ac:picMk id="3" creationId="{2E5E2C9F-031C-086C-BB9A-7EDB99C31DCD}"/>
          </ac:picMkLst>
        </pc:picChg>
        <pc:picChg chg="del mod ord">
          <ac:chgData name="Joelle Brehm" userId="a518f54c-6985-42c0-8041-2bb16a414839" providerId="ADAL" clId="{3C9B919C-9CFF-4DBD-AE30-72DF3107A706}" dt="2023-06-05T23:11:13.830" v="38153" actId="478"/>
          <ac:picMkLst>
            <pc:docMk/>
            <pc:sldMk cId="168389892" sldId="281"/>
            <ac:picMk id="9" creationId="{353F4E72-F543-854D-437E-3EF72E997A68}"/>
          </ac:picMkLst>
        </pc:picChg>
        <pc:picChg chg="add del mod ord">
          <ac:chgData name="Joelle Brehm" userId="a518f54c-6985-42c0-8041-2bb16a414839" providerId="ADAL" clId="{3C9B919C-9CFF-4DBD-AE30-72DF3107A706}" dt="2023-06-05T23:18:37.361" v="40129" actId="478"/>
          <ac:picMkLst>
            <pc:docMk/>
            <pc:sldMk cId="168389892" sldId="281"/>
            <ac:picMk id="51" creationId="{E196D7AD-C8EB-E044-C72A-86B29791C363}"/>
          </ac:picMkLst>
        </pc:picChg>
        <pc:picChg chg="mod ord">
          <ac:chgData name="Joelle Brehm" userId="a518f54c-6985-42c0-8041-2bb16a414839" providerId="ADAL" clId="{3C9B919C-9CFF-4DBD-AE30-72DF3107A706}" dt="2023-06-05T23:18:36.149" v="40120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3C9B919C-9CFF-4DBD-AE30-72DF3107A706}" dt="2023-06-05T23:18:36.149" v="40118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18:36.133" v="40037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19:40.365" v="42609"/>
        <pc:sldMkLst>
          <pc:docMk/>
          <pc:sldMk cId="3564961532" sldId="282"/>
        </pc:sldMkLst>
        <pc:spChg chg="mod ord">
          <ac:chgData name="Joelle Brehm" userId="a518f54c-6985-42c0-8041-2bb16a414839" providerId="ADAL" clId="{3C9B919C-9CFF-4DBD-AE30-72DF3107A706}" dt="2023-06-05T23:19:40.353" v="42605"/>
          <ac:spMkLst>
            <pc:docMk/>
            <pc:sldMk cId="3564961532" sldId="282"/>
            <ac:spMk id="2" creationId="{D4513B5B-A8C4-4146-9B42-032BB78B09F2}"/>
          </ac:spMkLst>
        </pc:spChg>
        <pc:spChg chg="add del mod ord">
          <ac:chgData name="Joelle Brehm" userId="a518f54c-6985-42c0-8041-2bb16a414839" providerId="ADAL" clId="{3C9B919C-9CFF-4DBD-AE30-72DF3107A706}" dt="2023-06-05T23:18:55.798" v="40284" actId="478"/>
          <ac:spMkLst>
            <pc:docMk/>
            <pc:sldMk cId="3564961532" sldId="282"/>
            <ac:spMk id="3" creationId="{6ECD2DDA-449B-848B-2CCE-8F8B364BB818}"/>
          </ac:spMkLst>
        </pc:spChg>
        <pc:spChg chg="add del mod modVis">
          <ac:chgData name="Joelle Brehm" userId="a518f54c-6985-42c0-8041-2bb16a414839" providerId="ADAL" clId="{3C9B919C-9CFF-4DBD-AE30-72DF3107A706}" dt="2023-06-05T23:15:20.933" v="39809"/>
          <ac:spMkLst>
            <pc:docMk/>
            <pc:sldMk cId="3564961532" sldId="282"/>
            <ac:spMk id="5" creationId="{C549CFE0-19B5-09CA-0174-E0177582F43A}"/>
          </ac:spMkLst>
        </pc:spChg>
        <pc:spChg chg="mod ord">
          <ac:chgData name="Joelle Brehm" userId="a518f54c-6985-42c0-8041-2bb16a414839" providerId="ADAL" clId="{3C9B919C-9CFF-4DBD-AE30-72DF3107A706}" dt="2023-06-05T23:19:40.319" v="42514"/>
          <ac:spMkLst>
            <pc:docMk/>
            <pc:sldMk cId="3564961532" sldId="282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3C9B919C-9CFF-4DBD-AE30-72DF3107A706}" dt="2023-06-05T23:18:52.180" v="40280"/>
          <ac:spMkLst>
            <pc:docMk/>
            <pc:sldMk cId="3564961532" sldId="282"/>
            <ac:spMk id="8" creationId="{6FCF0949-1FD9-44C4-07AE-8061BD8A4B61}"/>
          </ac:spMkLst>
        </pc:spChg>
        <pc:spChg chg="mod">
          <ac:chgData name="Joelle Brehm" userId="a518f54c-6985-42c0-8041-2bb16a414839" providerId="ADAL" clId="{3C9B919C-9CFF-4DBD-AE30-72DF3107A706}" dt="2023-06-05T23:19:40.336" v="42561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3C9B919C-9CFF-4DBD-AE30-72DF3107A706}" dt="2023-06-05T23:19:40.319" v="42522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19:40.319" v="42524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19:40.319" v="42526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19:40.319" v="42519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19:40.319" v="42521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19:40.319" v="42525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19:40.319" v="42523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19:40.319" v="42520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19:40.319" v="42527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19:40.319" v="42528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19:40.319" v="42529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19:40.319" v="42530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19:40.319" v="42532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19:40.319" v="42535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19:40.319" v="42533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19:40.319" v="42534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19:40.319" v="42538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19:40.319" v="42539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19:40.335" v="42540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19:40.336" v="42543"/>
          <ac:spMkLst>
            <pc:docMk/>
            <pc:sldMk cId="3564961532" sldId="282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19:40.336" v="42571"/>
          <ac:spMkLst>
            <pc:docMk/>
            <pc:sldMk cId="3564961532" sldId="282"/>
            <ac:spMk id="31" creationId="{A6492FB9-8592-6D5F-05A0-3C55A9F0B290}"/>
          </ac:spMkLst>
        </pc:spChg>
        <pc:spChg chg="mod">
          <ac:chgData name="Joelle Brehm" userId="a518f54c-6985-42c0-8041-2bb16a414839" providerId="ADAL" clId="{3C9B919C-9CFF-4DBD-AE30-72DF3107A706}" dt="2023-06-05T23:19:40.336" v="42563"/>
          <ac:spMkLst>
            <pc:docMk/>
            <pc:sldMk cId="3564961532" sldId="282"/>
            <ac:spMk id="32" creationId="{C76CF01D-E5C9-5360-86BE-563950D79635}"/>
          </ac:spMkLst>
        </pc:spChg>
        <pc:spChg chg="mod">
          <ac:chgData name="Joelle Brehm" userId="a518f54c-6985-42c0-8041-2bb16a414839" providerId="ADAL" clId="{3C9B919C-9CFF-4DBD-AE30-72DF3107A706}" dt="2023-06-05T23:19:40.336" v="42577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3C9B919C-9CFF-4DBD-AE30-72DF3107A706}" dt="2023-06-05T23:19:40.336" v="42572"/>
          <ac:spMkLst>
            <pc:docMk/>
            <pc:sldMk cId="3564961532" sldId="282"/>
            <ac:spMk id="34" creationId="{AE868296-AA73-04E8-5729-F60A467F8321}"/>
          </ac:spMkLst>
        </pc:spChg>
        <pc:spChg chg="mod">
          <ac:chgData name="Joelle Brehm" userId="a518f54c-6985-42c0-8041-2bb16a414839" providerId="ADAL" clId="{3C9B919C-9CFF-4DBD-AE30-72DF3107A706}" dt="2023-06-05T23:19:40.336" v="42557"/>
          <ac:spMkLst>
            <pc:docMk/>
            <pc:sldMk cId="3564961532" sldId="282"/>
            <ac:spMk id="35" creationId="{08798804-7117-7252-16D9-FFE107CEB4CE}"/>
          </ac:spMkLst>
        </pc:spChg>
        <pc:spChg chg="mod">
          <ac:chgData name="Joelle Brehm" userId="a518f54c-6985-42c0-8041-2bb16a414839" providerId="ADAL" clId="{3C9B919C-9CFF-4DBD-AE30-72DF3107A706}" dt="2023-06-05T23:19:40.336" v="42559"/>
          <ac:spMkLst>
            <pc:docMk/>
            <pc:sldMk cId="3564961532" sldId="282"/>
            <ac:spMk id="36" creationId="{D6260AD9-4FAC-BBE1-577F-7BE5C67AAFB3}"/>
          </ac:spMkLst>
        </pc:spChg>
        <pc:spChg chg="mod ord">
          <ac:chgData name="Joelle Brehm" userId="a518f54c-6985-42c0-8041-2bb16a414839" providerId="ADAL" clId="{3C9B919C-9CFF-4DBD-AE30-72DF3107A706}" dt="2023-06-05T23:19:40.319" v="42537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3C9B919C-9CFF-4DBD-AE30-72DF3107A706}" dt="2023-06-05T23:19:40.336" v="42573"/>
          <ac:spMkLst>
            <pc:docMk/>
            <pc:sldMk cId="3564961532" sldId="282"/>
            <ac:spMk id="38" creationId="{1026F8B0-CCCC-40FF-9D5D-1CD95ABD906A}"/>
          </ac:spMkLst>
        </pc:spChg>
        <pc:spChg chg="mod">
          <ac:chgData name="Joelle Brehm" userId="a518f54c-6985-42c0-8041-2bb16a414839" providerId="ADAL" clId="{3C9B919C-9CFF-4DBD-AE30-72DF3107A706}" dt="2023-06-05T23:19:40.336" v="42556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3C9B919C-9CFF-4DBD-AE30-72DF3107A706}" dt="2023-06-05T23:19:40.336" v="42562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3C9B919C-9CFF-4DBD-AE30-72DF3107A706}" dt="2023-06-05T23:19:40.336" v="42558"/>
          <ac:spMkLst>
            <pc:docMk/>
            <pc:sldMk cId="3564961532" sldId="282"/>
            <ac:spMk id="42" creationId="{029DF0F0-1819-B6C9-E910-A68F2546536E}"/>
          </ac:spMkLst>
        </pc:spChg>
        <pc:spChg chg="mod">
          <ac:chgData name="Joelle Brehm" userId="a518f54c-6985-42c0-8041-2bb16a414839" providerId="ADAL" clId="{3C9B919C-9CFF-4DBD-AE30-72DF3107A706}" dt="2023-06-05T23:19:40.336" v="42574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3C9B919C-9CFF-4DBD-AE30-72DF3107A706}" dt="2023-06-05T23:19:40.336" v="42576"/>
          <ac:spMkLst>
            <pc:docMk/>
            <pc:sldMk cId="3564961532" sldId="282"/>
            <ac:spMk id="44" creationId="{1F6C7A4E-3741-C604-E97F-BC7B1D2FF004}"/>
          </ac:spMkLst>
        </pc:spChg>
        <pc:spChg chg="mod">
          <ac:chgData name="Joelle Brehm" userId="a518f54c-6985-42c0-8041-2bb16a414839" providerId="ADAL" clId="{3C9B919C-9CFF-4DBD-AE30-72DF3107A706}" dt="2023-06-05T23:19:40.336" v="42575"/>
          <ac:spMkLst>
            <pc:docMk/>
            <pc:sldMk cId="3564961532" sldId="282"/>
            <ac:spMk id="45" creationId="{13402A60-D873-7DF2-943A-0976851061CD}"/>
          </ac:spMkLst>
        </pc:spChg>
        <pc:spChg chg="add del mod modVis">
          <ac:chgData name="Joelle Brehm" userId="a518f54c-6985-42c0-8041-2bb16a414839" providerId="ADAL" clId="{3C9B919C-9CFF-4DBD-AE30-72DF3107A706}" dt="2023-06-05T23:19:09.632" v="40495"/>
          <ac:spMkLst>
            <pc:docMk/>
            <pc:sldMk cId="3564961532" sldId="282"/>
            <ac:spMk id="46" creationId="{2D618959-375A-FFE9-2AB7-B6BE05FF52E1}"/>
          </ac:spMkLst>
        </pc:spChg>
        <pc:spChg chg="mod">
          <ac:chgData name="Joelle Brehm" userId="a518f54c-6985-42c0-8041-2bb16a414839" providerId="ADAL" clId="{3C9B919C-9CFF-4DBD-AE30-72DF3107A706}" dt="2023-06-05T23:19:40.336" v="42549"/>
          <ac:spMkLst>
            <pc:docMk/>
            <pc:sldMk cId="3564961532" sldId="282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19:10.570" v="40671"/>
          <ac:spMkLst>
            <pc:docMk/>
            <pc:sldMk cId="3564961532" sldId="282"/>
            <ac:spMk id="49" creationId="{CC21F6BA-046C-8E10-9DFF-1B53C9D4D0F9}"/>
          </ac:spMkLst>
        </pc:spChg>
        <pc:spChg chg="mod">
          <ac:chgData name="Joelle Brehm" userId="a518f54c-6985-42c0-8041-2bb16a414839" providerId="ADAL" clId="{3C9B919C-9CFF-4DBD-AE30-72DF3107A706}" dt="2023-06-05T23:19:40.336" v="42579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3C9B919C-9CFF-4DBD-AE30-72DF3107A706}" dt="2023-06-05T23:19:40.336" v="42578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3C9B919C-9CFF-4DBD-AE30-72DF3107A706}" dt="2023-06-05T23:19:40.336" v="42580"/>
          <ac:spMkLst>
            <pc:docMk/>
            <pc:sldMk cId="3564961532" sldId="282"/>
            <ac:spMk id="53" creationId="{38705BBC-1969-2802-06B0-A9451DCAD493}"/>
          </ac:spMkLst>
        </pc:spChg>
        <pc:spChg chg="add del mod modVis">
          <ac:chgData name="Joelle Brehm" userId="a518f54c-6985-42c0-8041-2bb16a414839" providerId="ADAL" clId="{3C9B919C-9CFF-4DBD-AE30-72DF3107A706}" dt="2023-06-05T23:19:11.662" v="40907"/>
          <ac:spMkLst>
            <pc:docMk/>
            <pc:sldMk cId="3564961532" sldId="282"/>
            <ac:spMk id="55" creationId="{0640D8FD-40D3-7785-1B0F-90AC0CAE2DAD}"/>
          </ac:spMkLst>
        </pc:spChg>
        <pc:spChg chg="mod">
          <ac:chgData name="Joelle Brehm" userId="a518f54c-6985-42c0-8041-2bb16a414839" providerId="ADAL" clId="{3C9B919C-9CFF-4DBD-AE30-72DF3107A706}" dt="2023-06-05T23:19:40.336" v="42565"/>
          <ac:spMkLst>
            <pc:docMk/>
            <pc:sldMk cId="3564961532" sldId="282"/>
            <ac:spMk id="56" creationId="{524D0E2B-EC88-5451-10B4-9BAED81D2D7E}"/>
          </ac:spMkLst>
        </pc:spChg>
        <pc:spChg chg="add del mod modVis">
          <ac:chgData name="Joelle Brehm" userId="a518f54c-6985-42c0-8041-2bb16a414839" providerId="ADAL" clId="{3C9B919C-9CFF-4DBD-AE30-72DF3107A706}" dt="2023-06-05T23:19:12.699" v="41275"/>
          <ac:spMkLst>
            <pc:docMk/>
            <pc:sldMk cId="3564961532" sldId="282"/>
            <ac:spMk id="58" creationId="{7150F609-3E67-D634-B4A6-56311074A217}"/>
          </ac:spMkLst>
        </pc:spChg>
        <pc:spChg chg="add del mod modVis">
          <ac:chgData name="Joelle Brehm" userId="a518f54c-6985-42c0-8041-2bb16a414839" providerId="ADAL" clId="{3C9B919C-9CFF-4DBD-AE30-72DF3107A706}" dt="2023-06-05T23:19:15.339" v="41553"/>
          <ac:spMkLst>
            <pc:docMk/>
            <pc:sldMk cId="3564961532" sldId="282"/>
            <ac:spMk id="60" creationId="{8174F1A8-3A29-0500-EC05-449265E56BAB}"/>
          </ac:spMkLst>
        </pc:spChg>
        <pc:spChg chg="add mod replST">
          <ac:chgData name="Joelle Brehm" userId="a518f54c-6985-42c0-8041-2bb16a414839" providerId="ADAL" clId="{3C9B919C-9CFF-4DBD-AE30-72DF3107A706}" dt="2023-06-05T23:19:40.336" v="42570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3C9B919C-9CFF-4DBD-AE30-72DF3107A706}" dt="2023-06-05T23:19:21.011" v="41957"/>
          <ac:spMkLst>
            <pc:docMk/>
            <pc:sldMk cId="3564961532" sldId="282"/>
            <ac:spMk id="63" creationId="{3C8889F6-1E4B-536A-E9F2-2C29E7289CBE}"/>
          </ac:spMkLst>
        </pc:spChg>
        <pc:spChg chg="add mod replST">
          <ac:chgData name="Joelle Brehm" userId="a518f54c-6985-42c0-8041-2bb16a414839" providerId="ADAL" clId="{3C9B919C-9CFF-4DBD-AE30-72DF3107A706}" dt="2023-06-05T23:19:40.336" v="42560"/>
          <ac:spMkLst>
            <pc:docMk/>
            <pc:sldMk cId="3564961532" sldId="282"/>
            <ac:spMk id="66" creationId="{C4A33F4F-7FD9-EA78-EDDC-D0E322FB3032}"/>
          </ac:spMkLst>
        </pc:spChg>
        <pc:spChg chg="add del mod modVis">
          <ac:chgData name="Joelle Brehm" userId="a518f54c-6985-42c0-8041-2bb16a414839" providerId="ADAL" clId="{3C9B919C-9CFF-4DBD-AE30-72DF3107A706}" dt="2023-06-05T23:19:23.450" v="42213"/>
          <ac:spMkLst>
            <pc:docMk/>
            <pc:sldMk cId="3564961532" sldId="282"/>
            <ac:spMk id="67" creationId="{18A7AD7D-7C5C-407E-63C9-6844B5EB7F26}"/>
          </ac:spMkLst>
        </pc:spChg>
        <pc:spChg chg="add del mod modVis">
          <ac:chgData name="Joelle Brehm" userId="a518f54c-6985-42c0-8041-2bb16a414839" providerId="ADAL" clId="{3C9B919C-9CFF-4DBD-AE30-72DF3107A706}" dt="2023-06-05T23:19:25.254" v="42491"/>
          <ac:spMkLst>
            <pc:docMk/>
            <pc:sldMk cId="3564961532" sldId="282"/>
            <ac:spMk id="69" creationId="{67CA3E1F-6EAC-0FD5-8C5D-489FB358C9BD}"/>
          </ac:spMkLst>
        </pc:spChg>
        <pc:spChg chg="mod">
          <ac:chgData name="Joelle Brehm" userId="a518f54c-6985-42c0-8041-2bb16a414839" providerId="ADAL" clId="{3C9B919C-9CFF-4DBD-AE30-72DF3107A706}" dt="2023-06-05T23:19:40.335" v="42541"/>
          <ac:spMkLst>
            <pc:docMk/>
            <pc:sldMk cId="3564961532" sldId="282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5T23:19:40.336" v="42582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19:40.336" v="42584"/>
          <ac:spMkLst>
            <pc:docMk/>
            <pc:sldMk cId="3564961532" sldId="282"/>
            <ac:spMk id="79" creationId="{F1476AC4-694B-4D83-BFD8-8DCAA4BB1923}"/>
          </ac:spMkLst>
        </pc:spChg>
        <pc:spChg chg="del mod">
          <ac:chgData name="Joelle Brehm" userId="a518f54c-6985-42c0-8041-2bb16a414839" providerId="ADAL" clId="{3C9B919C-9CFF-4DBD-AE30-72DF3107A706}" dt="2023-06-05T23:19:25.100" v="42217"/>
          <ac:spMkLst>
            <pc:docMk/>
            <pc:sldMk cId="3564961532" sldId="282"/>
            <ac:spMk id="84" creationId="{11B23473-C052-79F4-4F5E-9BF338FBA3A9}"/>
          </ac:spMkLst>
        </pc:spChg>
        <pc:spChg chg="del mod">
          <ac:chgData name="Joelle Brehm" userId="a518f54c-6985-42c0-8041-2bb16a414839" providerId="ADAL" clId="{3C9B919C-9CFF-4DBD-AE30-72DF3107A706}" dt="2023-06-05T23:19:25.099" v="42216"/>
          <ac:spMkLst>
            <pc:docMk/>
            <pc:sldMk cId="3564961532" sldId="282"/>
            <ac:spMk id="86" creationId="{D8AFA2D7-4D06-FAAC-0564-E43E7ECFA485}"/>
          </ac:spMkLst>
        </pc:spChg>
        <pc:spChg chg="mod ord">
          <ac:chgData name="Joelle Brehm" userId="a518f54c-6985-42c0-8041-2bb16a414839" providerId="ADAL" clId="{3C9B919C-9CFF-4DBD-AE30-72DF3107A706}" dt="2023-06-05T23:19:40.353" v="42603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3C9B919C-9CFF-4DBD-AE30-72DF3107A706}" dt="2023-06-05T23:19:40.336" v="42552"/>
          <ac:spMkLst>
            <pc:docMk/>
            <pc:sldMk cId="3564961532" sldId="282"/>
            <ac:spMk id="97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36" v="42550"/>
          <ac:spMkLst>
            <pc:docMk/>
            <pc:sldMk cId="3564961532" sldId="282"/>
            <ac:spMk id="99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3:19:40.336" v="42586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3C9B919C-9CFF-4DBD-AE30-72DF3107A706}" dt="2023-06-05T23:19:40.336" v="42564"/>
          <ac:spMkLst>
            <pc:docMk/>
            <pc:sldMk cId="3564961532" sldId="282"/>
            <ac:spMk id="101" creationId="{CA49844E-B86F-8C90-638C-8AF7950485A4}"/>
          </ac:spMkLst>
        </pc:spChg>
        <pc:spChg chg="mod">
          <ac:chgData name="Joelle Brehm" userId="a518f54c-6985-42c0-8041-2bb16a414839" providerId="ADAL" clId="{3C9B919C-9CFF-4DBD-AE30-72DF3107A706}" dt="2023-06-05T23:19:40.336" v="42547"/>
          <ac:spMkLst>
            <pc:docMk/>
            <pc:sldMk cId="3564961532" sldId="282"/>
            <ac:spMk id="10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36" v="42553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23:19:40.336" v="42588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19:40.336" v="42590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19:40.336" v="42592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19:40.336" v="42566"/>
          <ac:spMkLst>
            <pc:docMk/>
            <pc:sldMk cId="3564961532" sldId="282"/>
            <ac:spMk id="112" creationId="{68F1D3ED-F4B0-C696-164B-09DBF31508C0}"/>
          </ac:spMkLst>
        </pc:spChg>
        <pc:spChg chg="mod ord">
          <ac:chgData name="Joelle Brehm" userId="a518f54c-6985-42c0-8041-2bb16a414839" providerId="ADAL" clId="{3C9B919C-9CFF-4DBD-AE30-72DF3107A706}" dt="2023-06-05T23:19:40.336" v="42568"/>
          <ac:spMkLst>
            <pc:docMk/>
            <pc:sldMk cId="3564961532" sldId="282"/>
            <ac:spMk id="113" creationId="{65C41EB1-3BE2-44DE-AA6A-7B54A13E4D17}"/>
          </ac:spMkLst>
        </pc:spChg>
        <pc:spChg chg="mod">
          <ac:chgData name="Joelle Brehm" userId="a518f54c-6985-42c0-8041-2bb16a414839" providerId="ADAL" clId="{3C9B919C-9CFF-4DBD-AE30-72DF3107A706}" dt="2023-06-05T23:19:40.336" v="42569"/>
          <ac:spMkLst>
            <pc:docMk/>
            <pc:sldMk cId="3564961532" sldId="282"/>
            <ac:spMk id="115" creationId="{55632136-075D-51AA-E04E-F07B6A30E0C3}"/>
          </ac:spMkLst>
        </pc:spChg>
        <pc:spChg chg="mod">
          <ac:chgData name="Joelle Brehm" userId="a518f54c-6985-42c0-8041-2bb16a414839" providerId="ADAL" clId="{3C9B919C-9CFF-4DBD-AE30-72DF3107A706}" dt="2023-06-05T23:19:40.336" v="42548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36" v="42546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36" v="42551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36" v="42554"/>
          <ac:spMkLst>
            <pc:docMk/>
            <pc:sldMk cId="3564961532" sldId="282"/>
            <ac:spMk id="12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36" v="42555"/>
          <ac:spMkLst>
            <pc:docMk/>
            <pc:sldMk cId="3564961532" sldId="282"/>
            <ac:spMk id="12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52" v="42596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51" v="42595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52" v="42597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19:40.352" v="42599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19:40.352" v="42598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3:19:40.365" v="42609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3:15:20.877" v="39697"/>
          <ac:graphicFrameMkLst>
            <pc:docMk/>
            <pc:sldMk cId="3564961532" sldId="282"/>
            <ac:graphicFrameMk id="8" creationId="{ECC5F486-3584-9004-4557-816FE1D9BBA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9:40.319" v="42518"/>
          <ac:graphicFrameMkLst>
            <pc:docMk/>
            <pc:sldMk cId="3564961532" sldId="282"/>
            <ac:graphicFrameMk id="39" creationId="{300F6D96-01BA-A0AF-942D-40425D02AAC9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9:10.526" v="40567"/>
          <ac:graphicFrameMkLst>
            <pc:docMk/>
            <pc:sldMk cId="3564961532" sldId="282"/>
            <ac:graphicFrameMk id="48" creationId="{62A16EDE-5AC5-8737-17CB-CAF4EBD93B37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19:09.567" v="40391"/>
          <ac:graphicFrameMkLst>
            <pc:docMk/>
            <pc:sldMk cId="3564961532" sldId="282"/>
            <ac:graphicFrameMk id="51" creationId="{4FA6AFC1-72CC-4CF3-7806-8B2C064E189C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9:11.603" v="40803"/>
          <ac:graphicFrameMkLst>
            <pc:docMk/>
            <pc:sldMk cId="3564961532" sldId="282"/>
            <ac:graphicFrameMk id="54" creationId="{11F6F46F-B013-7003-17D1-CF4ACF5C761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9:12.640" v="41171"/>
          <ac:graphicFrameMkLst>
            <pc:docMk/>
            <pc:sldMk cId="3564961532" sldId="282"/>
            <ac:graphicFrameMk id="57" creationId="{4CF4AA9E-56FE-CBC1-1667-F6E13AF0AD0F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9:15.289" v="41449"/>
          <ac:graphicFrameMkLst>
            <pc:docMk/>
            <pc:sldMk cId="3564961532" sldId="282"/>
            <ac:graphicFrameMk id="59" creationId="{D8462FE8-AF4E-4BAB-B2F9-484FD0B46630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9:40.302" v="42504"/>
          <ac:graphicFrameMkLst>
            <pc:docMk/>
            <pc:sldMk cId="3564961532" sldId="282"/>
            <ac:graphicFrameMk id="61" creationId="{C1914659-36C0-B59C-2527-6DC5D8FDC964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19:20.945" v="41852"/>
          <ac:graphicFrameMkLst>
            <pc:docMk/>
            <pc:sldMk cId="3564961532" sldId="282"/>
            <ac:graphicFrameMk id="64" creationId="{679FE8AA-3F48-B14A-5F64-F8CB7161A13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9:23.392" v="42107"/>
          <ac:graphicFrameMkLst>
            <pc:docMk/>
            <pc:sldMk cId="3564961532" sldId="282"/>
            <ac:graphicFrameMk id="65" creationId="{EF259E01-BAB5-24F6-4BD2-40ECAFADCE9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19:25.201" v="42386"/>
          <ac:graphicFrameMkLst>
            <pc:docMk/>
            <pc:sldMk cId="3564961532" sldId="282"/>
            <ac:graphicFrameMk id="68" creationId="{DBB22D70-063B-BA7D-CACB-8225C189BEAB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9:40.336" v="42545"/>
          <ac:graphicFrameMkLst>
            <pc:docMk/>
            <pc:sldMk cId="3564961532" sldId="282"/>
            <ac:graphicFrameMk id="70" creationId="{20FA8593-0A53-5E1D-B91D-31DAA5D737BC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19:40.336" v="42594"/>
          <ac:graphicFrameMkLst>
            <pc:docMk/>
            <pc:sldMk cId="3564961532" sldId="282"/>
            <ac:graphicFrameMk id="71" creationId="{7732A26A-CE78-AA8B-41C1-FFA8381B45E0}"/>
          </ac:graphicFrameMkLst>
        </pc:graphicFrameChg>
        <pc:picChg chg="add mod ord">
          <ac:chgData name="Joelle Brehm" userId="a518f54c-6985-42c0-8041-2bb16a414839" providerId="ADAL" clId="{3C9B919C-9CFF-4DBD-AE30-72DF3107A706}" dt="2023-06-05T23:19:40.319" v="42512"/>
          <ac:picMkLst>
            <pc:docMk/>
            <pc:sldMk cId="3564961532" sldId="282"/>
            <ac:picMk id="5" creationId="{90375140-30ED-3559-7C8A-4604672C97E2}"/>
          </ac:picMkLst>
        </pc:picChg>
        <pc:picChg chg="del mod ord">
          <ac:chgData name="Joelle Brehm" userId="a518f54c-6985-42c0-8041-2bb16a414839" providerId="ADAL" clId="{3C9B919C-9CFF-4DBD-AE30-72DF3107A706}" dt="2023-06-05T23:18:53.561" v="40283" actId="478"/>
          <ac:picMkLst>
            <pc:docMk/>
            <pc:sldMk cId="3564961532" sldId="282"/>
            <ac:picMk id="9" creationId="{53C3F106-76F8-FF9F-CFE0-23A3E98E9B5E}"/>
          </ac:picMkLst>
        </pc:picChg>
        <pc:picChg chg="add del mod">
          <ac:chgData name="Joelle Brehm" userId="a518f54c-6985-42c0-8041-2bb16a414839" providerId="ADAL" clId="{3C9B919C-9CFF-4DBD-AE30-72DF3107A706}" dt="2023-06-05T23:15:36.830" v="39833" actId="478"/>
          <ac:picMkLst>
            <pc:docMk/>
            <pc:sldMk cId="3564961532" sldId="282"/>
            <ac:picMk id="46" creationId="{39D1B614-488D-16E5-4848-04972F74A017}"/>
          </ac:picMkLst>
        </pc:picChg>
        <pc:picChg chg="mod ord">
          <ac:chgData name="Joelle Brehm" userId="a518f54c-6985-42c0-8041-2bb16a414839" providerId="ADAL" clId="{3C9B919C-9CFF-4DBD-AE30-72DF3107A706}" dt="2023-06-05T23:19:40.353" v="42601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19:40.319" v="42516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21:06.840" v="44489"/>
        <pc:sldMkLst>
          <pc:docMk/>
          <pc:sldMk cId="2958919186" sldId="284"/>
        </pc:sldMkLst>
        <pc:spChg chg="mod ord">
          <ac:chgData name="Joelle Brehm" userId="a518f54c-6985-42c0-8041-2bb16a414839" providerId="ADAL" clId="{3C9B919C-9CFF-4DBD-AE30-72DF3107A706}" dt="2023-06-05T23:21:06.823" v="44483"/>
          <ac:spMkLst>
            <pc:docMk/>
            <pc:sldMk cId="2958919186" sldId="284"/>
            <ac:spMk id="2" creationId="{E0BBFF4A-7EEF-43CB-94FA-0BDC45C7239C}"/>
          </ac:spMkLst>
        </pc:spChg>
        <pc:spChg chg="add del mod ord">
          <ac:chgData name="Joelle Brehm" userId="a518f54c-6985-42c0-8041-2bb16a414839" providerId="ADAL" clId="{3C9B919C-9CFF-4DBD-AE30-72DF3107A706}" dt="2023-06-05T23:20:43.930" v="43335" actId="478"/>
          <ac:spMkLst>
            <pc:docMk/>
            <pc:sldMk cId="2958919186" sldId="284"/>
            <ac:spMk id="3" creationId="{AC4A3286-5C72-8370-17A9-F1CB659AA717}"/>
          </ac:spMkLst>
        </pc:spChg>
        <pc:spChg chg="add del mod modVis">
          <ac:chgData name="Joelle Brehm" userId="a518f54c-6985-42c0-8041-2bb16a414839" providerId="ADAL" clId="{3C9B919C-9CFF-4DBD-AE30-72DF3107A706}" dt="2023-06-05T23:20:07.607" v="42893"/>
          <ac:spMkLst>
            <pc:docMk/>
            <pc:sldMk cId="2958919186" sldId="284"/>
            <ac:spMk id="5" creationId="{FCF14595-9FC9-8891-7707-DB7EA8499569}"/>
          </ac:spMkLst>
        </pc:spChg>
        <pc:spChg chg="mod ord">
          <ac:chgData name="Joelle Brehm" userId="a518f54c-6985-42c0-8041-2bb16a414839" providerId="ADAL" clId="{3C9B919C-9CFF-4DBD-AE30-72DF3107A706}" dt="2023-06-05T23:21:06.775" v="44399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21:06.808" v="44443"/>
          <ac:spMkLst>
            <pc:docMk/>
            <pc:sldMk cId="2958919186" sldId="284"/>
            <ac:spMk id="9" creationId="{581018D9-D474-E6D8-4FB0-2F2B587E2BA8}"/>
          </ac:spMkLst>
        </pc:spChg>
        <pc:spChg chg="mod">
          <ac:chgData name="Joelle Brehm" userId="a518f54c-6985-42c0-8041-2bb16a414839" providerId="ADAL" clId="{3C9B919C-9CFF-4DBD-AE30-72DF3107A706}" dt="2023-06-05T23:21:06.775" v="44410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21:06.775" v="44408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21:06.775" v="44409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21:06.775" v="44406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21:06.775" v="44405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21:06.775" v="44404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21:06.775" v="44407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21:06.791" v="44411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21:06.792" v="44412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21:06.792" v="44414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21:06.792" v="44413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21:06.792" v="44415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21:06.792" v="44417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21:06.792" v="44418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21:06.792" v="44419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21:06.792" v="44422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21:06.792" v="44424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21:06.792" v="44423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21:06.792" v="44426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21:06.792" v="44428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21:06.808" v="44453"/>
          <ac:spMkLst>
            <pc:docMk/>
            <pc:sldMk cId="2958919186" sldId="284"/>
            <ac:spMk id="31" creationId="{125088B1-BC05-E61C-E778-A5953B0A5CC9}"/>
          </ac:spMkLst>
        </pc:spChg>
        <pc:spChg chg="mod">
          <ac:chgData name="Joelle Brehm" userId="a518f54c-6985-42c0-8041-2bb16a414839" providerId="ADAL" clId="{3C9B919C-9CFF-4DBD-AE30-72DF3107A706}" dt="2023-06-05T23:21:06.808" v="44442"/>
          <ac:spMkLst>
            <pc:docMk/>
            <pc:sldMk cId="2958919186" sldId="284"/>
            <ac:spMk id="32" creationId="{7DC518E0-B6F8-2016-02E9-5BDCE98B8BD2}"/>
          </ac:spMkLst>
        </pc:spChg>
        <pc:spChg chg="mod">
          <ac:chgData name="Joelle Brehm" userId="a518f54c-6985-42c0-8041-2bb16a414839" providerId="ADAL" clId="{3C9B919C-9CFF-4DBD-AE30-72DF3107A706}" dt="2023-06-05T23:21:06.808" v="44452"/>
          <ac:spMkLst>
            <pc:docMk/>
            <pc:sldMk cId="2958919186" sldId="284"/>
            <ac:spMk id="33" creationId="{4B94C134-301E-FFE0-B344-351A0F3A058C}"/>
          </ac:spMkLst>
        </pc:spChg>
        <pc:spChg chg="mod">
          <ac:chgData name="Joelle Brehm" userId="a518f54c-6985-42c0-8041-2bb16a414839" providerId="ADAL" clId="{3C9B919C-9CFF-4DBD-AE30-72DF3107A706}" dt="2023-06-05T23:21:06.808" v="44446"/>
          <ac:spMkLst>
            <pc:docMk/>
            <pc:sldMk cId="2958919186" sldId="284"/>
            <ac:spMk id="34" creationId="{1D083AF9-5BB6-268F-E100-556C500563FF}"/>
          </ac:spMkLst>
        </pc:spChg>
        <pc:spChg chg="mod">
          <ac:chgData name="Joelle Brehm" userId="a518f54c-6985-42c0-8041-2bb16a414839" providerId="ADAL" clId="{3C9B919C-9CFF-4DBD-AE30-72DF3107A706}" dt="2023-06-05T23:21:06.808" v="44441"/>
          <ac:spMkLst>
            <pc:docMk/>
            <pc:sldMk cId="2958919186" sldId="284"/>
            <ac:spMk id="35" creationId="{CCB6D4E8-4FEE-67A7-4C47-E83C2C523E98}"/>
          </ac:spMkLst>
        </pc:spChg>
        <pc:spChg chg="mod">
          <ac:chgData name="Joelle Brehm" userId="a518f54c-6985-42c0-8041-2bb16a414839" providerId="ADAL" clId="{3C9B919C-9CFF-4DBD-AE30-72DF3107A706}" dt="2023-06-05T23:21:06.808" v="44444"/>
          <ac:spMkLst>
            <pc:docMk/>
            <pc:sldMk cId="2958919186" sldId="284"/>
            <ac:spMk id="36" creationId="{2B31A95E-66FE-6A51-6096-E25DEE4F6185}"/>
          </ac:spMkLst>
        </pc:spChg>
        <pc:spChg chg="mod ord">
          <ac:chgData name="Joelle Brehm" userId="a518f54c-6985-42c0-8041-2bb16a414839" providerId="ADAL" clId="{3C9B919C-9CFF-4DBD-AE30-72DF3107A706}" dt="2023-06-05T23:21:06.792" v="44421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3C9B919C-9CFF-4DBD-AE30-72DF3107A706}" dt="2023-06-05T23:21:06.808" v="44448"/>
          <ac:spMkLst>
            <pc:docMk/>
            <pc:sldMk cId="2958919186" sldId="284"/>
            <ac:spMk id="38" creationId="{64FE4593-24F9-360D-B61A-345C6A72C704}"/>
          </ac:spMkLst>
        </pc:spChg>
        <pc:spChg chg="mod">
          <ac:chgData name="Joelle Brehm" userId="a518f54c-6985-42c0-8041-2bb16a414839" providerId="ADAL" clId="{3C9B919C-9CFF-4DBD-AE30-72DF3107A706}" dt="2023-06-05T23:21:06.808" v="44440"/>
          <ac:spMkLst>
            <pc:docMk/>
            <pc:sldMk cId="2958919186" sldId="284"/>
            <ac:spMk id="39" creationId="{F91A3A97-9514-6870-9E95-5ED2A350A37A}"/>
          </ac:spMkLst>
        </pc:spChg>
        <pc:spChg chg="mod">
          <ac:chgData name="Joelle Brehm" userId="a518f54c-6985-42c0-8041-2bb16a414839" providerId="ADAL" clId="{3C9B919C-9CFF-4DBD-AE30-72DF3107A706}" dt="2023-06-05T23:21:06.808" v="44449"/>
          <ac:spMkLst>
            <pc:docMk/>
            <pc:sldMk cId="2958919186" sldId="284"/>
            <ac:spMk id="40" creationId="{65B69A5C-0F9E-A4F4-3815-34C5AD49C7B7}"/>
          </ac:spMkLst>
        </pc:spChg>
        <pc:spChg chg="mod ord">
          <ac:chgData name="Joelle Brehm" userId="a518f54c-6985-42c0-8041-2bb16a414839" providerId="ADAL" clId="{3C9B919C-9CFF-4DBD-AE30-72DF3107A706}" dt="2023-06-05T23:21:06.808" v="44445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3C9B919C-9CFF-4DBD-AE30-72DF3107A706}" dt="2023-06-05T23:21:06.808" v="44447"/>
          <ac:spMkLst>
            <pc:docMk/>
            <pc:sldMk cId="2958919186" sldId="284"/>
            <ac:spMk id="43" creationId="{37188F03-F6CA-EE9D-F6C7-47E8CCD42E86}"/>
          </ac:spMkLst>
        </pc:spChg>
        <pc:spChg chg="mod">
          <ac:chgData name="Joelle Brehm" userId="a518f54c-6985-42c0-8041-2bb16a414839" providerId="ADAL" clId="{3C9B919C-9CFF-4DBD-AE30-72DF3107A706}" dt="2023-06-05T23:21:06.792" v="44431"/>
          <ac:spMkLst>
            <pc:docMk/>
            <pc:sldMk cId="2958919186" sldId="284"/>
            <ac:spMk id="4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1:06.808" v="44450"/>
          <ac:spMkLst>
            <pc:docMk/>
            <pc:sldMk cId="2958919186" sldId="284"/>
            <ac:spMk id="45" creationId="{BA6D2150-ACED-DB3B-247D-B1C7D75594BC}"/>
          </ac:spMkLst>
        </pc:spChg>
        <pc:spChg chg="mod">
          <ac:chgData name="Joelle Brehm" userId="a518f54c-6985-42c0-8041-2bb16a414839" providerId="ADAL" clId="{3C9B919C-9CFF-4DBD-AE30-72DF3107A706}" dt="2023-06-05T23:21:06.808" v="44436"/>
          <ac:spMkLst>
            <pc:docMk/>
            <pc:sldMk cId="2958919186" sldId="284"/>
            <ac:spMk id="46" creationId="{57979B6E-92A7-E2CD-D125-48728C290A15}"/>
          </ac:spMkLst>
        </pc:spChg>
        <pc:spChg chg="add del mod modVis">
          <ac:chgData name="Joelle Brehm" userId="a518f54c-6985-42c0-8041-2bb16a414839" providerId="ADAL" clId="{3C9B919C-9CFF-4DBD-AE30-72DF3107A706}" dt="2023-06-05T23:20:08.231" v="43061"/>
          <ac:spMkLst>
            <pc:docMk/>
            <pc:sldMk cId="2958919186" sldId="284"/>
            <ac:spMk id="47" creationId="{DDADF566-0CC0-5C24-3C3E-875B79265A6C}"/>
          </ac:spMkLst>
        </pc:spChg>
        <pc:spChg chg="mod">
          <ac:chgData name="Joelle Brehm" userId="a518f54c-6985-42c0-8041-2bb16a414839" providerId="ADAL" clId="{3C9B919C-9CFF-4DBD-AE30-72DF3107A706}" dt="2023-06-05T23:21:06.792" v="44433"/>
          <ac:spMkLst>
            <pc:docMk/>
            <pc:sldMk cId="2958919186" sldId="284"/>
            <ac:spMk id="48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1:06.808" v="44434"/>
          <ac:spMkLst>
            <pc:docMk/>
            <pc:sldMk cId="2958919186" sldId="284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20:15.601" v="43229"/>
          <ac:spMkLst>
            <pc:docMk/>
            <pc:sldMk cId="2958919186" sldId="284"/>
            <ac:spMk id="51" creationId="{522540CD-7518-99C8-5DD3-F81591838CB1}"/>
          </ac:spMkLst>
        </pc:spChg>
        <pc:spChg chg="mod">
          <ac:chgData name="Joelle Brehm" userId="a518f54c-6985-42c0-8041-2bb16a414839" providerId="ADAL" clId="{3C9B919C-9CFF-4DBD-AE30-72DF3107A706}" dt="2023-06-05T23:21:06.808" v="44454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3C9B919C-9CFF-4DBD-AE30-72DF3107A706}" dt="2023-06-05T23:21:06.808" v="44451"/>
          <ac:spMkLst>
            <pc:docMk/>
            <pc:sldMk cId="2958919186" sldId="284"/>
            <ac:spMk id="53" creationId="{7BFBA14E-9C06-1228-89A6-C1CD785143C9}"/>
          </ac:spMkLst>
        </pc:spChg>
        <pc:spChg chg="add del mod modVis">
          <ac:chgData name="Joelle Brehm" userId="a518f54c-6985-42c0-8041-2bb16a414839" providerId="ADAL" clId="{3C9B919C-9CFF-4DBD-AE30-72DF3107A706}" dt="2023-06-05T23:20:53.334" v="43609"/>
          <ac:spMkLst>
            <pc:docMk/>
            <pc:sldMk cId="2958919186" sldId="284"/>
            <ac:spMk id="56" creationId="{5FDA0852-2379-7191-CA36-F33D723782C7}"/>
          </ac:spMkLst>
        </pc:spChg>
        <pc:spChg chg="add mod replST">
          <ac:chgData name="Joelle Brehm" userId="a518f54c-6985-42c0-8041-2bb16a414839" providerId="ADAL" clId="{3C9B919C-9CFF-4DBD-AE30-72DF3107A706}" dt="2023-06-05T23:21:06.808" v="44457"/>
          <ac:spMkLst>
            <pc:docMk/>
            <pc:sldMk cId="2958919186" sldId="284"/>
            <ac:spMk id="58" creationId="{1FE8095F-70AA-80E7-5AB4-793D17F07A13}"/>
          </ac:spMkLst>
        </pc:spChg>
        <pc:spChg chg="mod">
          <ac:chgData name="Joelle Brehm" userId="a518f54c-6985-42c0-8041-2bb16a414839" providerId="ADAL" clId="{3C9B919C-9CFF-4DBD-AE30-72DF3107A706}" dt="2023-06-05T23:21:06.808" v="44456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3C9B919C-9CFF-4DBD-AE30-72DF3107A706}" dt="2023-06-05T23:21:06.808" v="44455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3C9B919C-9CFF-4DBD-AE30-72DF3107A706}" dt="2023-06-05T23:20:59.795" v="43986"/>
          <ac:spMkLst>
            <pc:docMk/>
            <pc:sldMk cId="2958919186" sldId="284"/>
            <ac:spMk id="62" creationId="{4F84A2E0-24DC-5CDD-2B1A-E264546A14AC}"/>
          </ac:spMkLst>
        </pc:spChg>
        <pc:spChg chg="add mod replST">
          <ac:chgData name="Joelle Brehm" userId="a518f54c-6985-42c0-8041-2bb16a414839" providerId="ADAL" clId="{3C9B919C-9CFF-4DBD-AE30-72DF3107A706}" dt="2023-06-05T23:21:06.808" v="44458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3C9B919C-9CFF-4DBD-AE30-72DF3107A706}" dt="2023-06-05T23:21:04.338" v="44225"/>
          <ac:spMkLst>
            <pc:docMk/>
            <pc:sldMk cId="2958919186" sldId="284"/>
            <ac:spMk id="65" creationId="{41235101-6596-9420-3D47-D3E2D0EADC36}"/>
          </ac:spMkLst>
        </pc:spChg>
        <pc:spChg chg="add del mod modVis">
          <ac:chgData name="Joelle Brehm" userId="a518f54c-6985-42c0-8041-2bb16a414839" providerId="ADAL" clId="{3C9B919C-9CFF-4DBD-AE30-72DF3107A706}" dt="2023-06-05T23:21:06.823" v="44487"/>
          <ac:spMkLst>
            <pc:docMk/>
            <pc:sldMk cId="2958919186" sldId="284"/>
            <ac:spMk id="67" creationId="{52FF06D0-C2E4-937C-936C-C6986FC77DD9}"/>
          </ac:spMkLst>
        </pc:spChg>
        <pc:spChg chg="mod">
          <ac:chgData name="Joelle Brehm" userId="a518f54c-6985-42c0-8041-2bb16a414839" providerId="ADAL" clId="{3C9B919C-9CFF-4DBD-AE30-72DF3107A706}" dt="2023-06-05T23:21:06.792" v="44425"/>
          <ac:spMkLst>
            <pc:docMk/>
            <pc:sldMk cId="2958919186" sldId="284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5T23:21:06.808" v="44460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21:06.808" v="44462"/>
          <ac:spMkLst>
            <pc:docMk/>
            <pc:sldMk cId="2958919186" sldId="284"/>
            <ac:spMk id="79" creationId="{F1476AC4-694B-4D83-BFD8-8DCAA4BB1923}"/>
          </ac:spMkLst>
        </pc:spChg>
        <pc:spChg chg="del mod">
          <ac:chgData name="Joelle Brehm" userId="a518f54c-6985-42c0-8041-2bb16a414839" providerId="ADAL" clId="{3C9B919C-9CFF-4DBD-AE30-72DF3107A706}" dt="2023-06-05T23:21:06.506" v="44229"/>
          <ac:spMkLst>
            <pc:docMk/>
            <pc:sldMk cId="2958919186" sldId="284"/>
            <ac:spMk id="82" creationId="{D0FB41CE-B063-FC26-F0E9-5E969ACF47CC}"/>
          </ac:spMkLst>
        </pc:spChg>
        <pc:spChg chg="del mod">
          <ac:chgData name="Joelle Brehm" userId="a518f54c-6985-42c0-8041-2bb16a414839" providerId="ADAL" clId="{3C9B919C-9CFF-4DBD-AE30-72DF3107A706}" dt="2023-06-05T23:21:06.506" v="44228"/>
          <ac:spMkLst>
            <pc:docMk/>
            <pc:sldMk cId="2958919186" sldId="284"/>
            <ac:spMk id="83" creationId="{EA63F43F-85DF-7D70-A4E9-252904465732}"/>
          </ac:spMkLst>
        </pc:spChg>
        <pc:spChg chg="mod">
          <ac:chgData name="Joelle Brehm" userId="a518f54c-6985-42c0-8041-2bb16a414839" providerId="ADAL" clId="{3C9B919C-9CFF-4DBD-AE30-72DF3107A706}" dt="2023-06-05T23:21:06.808" v="44437"/>
          <ac:spMkLst>
            <pc:docMk/>
            <pc:sldMk cId="2958919186" sldId="284"/>
            <ac:spMk id="86" creationId="{57AED195-9646-E4FC-A746-94013BA36DA2}"/>
          </ac:spMkLst>
        </pc:spChg>
        <pc:spChg chg="mod">
          <ac:chgData name="Joelle Brehm" userId="a518f54c-6985-42c0-8041-2bb16a414839" providerId="ADAL" clId="{3C9B919C-9CFF-4DBD-AE30-72DF3107A706}" dt="2023-06-05T23:21:06.808" v="44435"/>
          <ac:spMkLst>
            <pc:docMk/>
            <pc:sldMk cId="2958919186" sldId="284"/>
            <ac:spMk id="88" creationId="{5F98D601-14D7-936B-BE59-08CA04ED6681}"/>
          </ac:spMkLst>
        </pc:spChg>
        <pc:spChg chg="mod">
          <ac:chgData name="Joelle Brehm" userId="a518f54c-6985-42c0-8041-2bb16a414839" providerId="ADAL" clId="{3C9B919C-9CFF-4DBD-AE30-72DF3107A706}" dt="2023-06-05T23:21:06.808" v="44439"/>
          <ac:spMkLst>
            <pc:docMk/>
            <pc:sldMk cId="2958919186" sldId="284"/>
            <ac:spMk id="89" creationId="{6FE8F8C9-1796-37A4-4BF3-536F80614899}"/>
          </ac:spMkLst>
        </pc:spChg>
        <pc:spChg chg="mod ord">
          <ac:chgData name="Joelle Brehm" userId="a518f54c-6985-42c0-8041-2bb16a414839" providerId="ADAL" clId="{3C9B919C-9CFF-4DBD-AE30-72DF3107A706}" dt="2023-06-05T23:21:06.823" v="44481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3C9B919C-9CFF-4DBD-AE30-72DF3107A706}" dt="2023-06-05T23:21:06.808" v="44464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3:21:06.823" v="44466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21:06.823" v="44468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21:06.823" v="44470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21:06.808" v="44438"/>
          <ac:spMkLst>
            <pc:docMk/>
            <pc:sldMk cId="2958919186" sldId="284"/>
            <ac:spMk id="115" creationId="{CDC3C9AC-C6D8-BD1E-C18E-7E0760B6F0EA}"/>
          </ac:spMkLst>
        </pc:spChg>
        <pc:spChg chg="mod">
          <ac:chgData name="Joelle Brehm" userId="a518f54c-6985-42c0-8041-2bb16a414839" providerId="ADAL" clId="{3C9B919C-9CFF-4DBD-AE30-72DF3107A706}" dt="2023-06-05T23:21:06.823" v="44473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1:06.823" v="44474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1:06.823" v="44476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1:06.823" v="44475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21:06.823" v="44477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3C9B919C-9CFF-4DBD-AE30-72DF3107A706}" dt="2023-06-05T23:21:06.792" v="44432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3C9B919C-9CFF-4DBD-AE30-72DF3107A706}" dt="2023-06-05T23:21:06.840" v="44489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3:20:07.512" v="42789"/>
          <ac:graphicFrameMkLst>
            <pc:docMk/>
            <pc:sldMk cId="2958919186" sldId="284"/>
            <ac:graphicFrameMk id="8" creationId="{55F63674-1165-F745-3DAB-EAF304A56955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0:08.162" v="42961"/>
          <ac:graphicFrameMkLst>
            <pc:docMk/>
            <pc:sldMk cId="2958919186" sldId="284"/>
            <ac:graphicFrameMk id="42" creationId="{6B4C866D-6F94-5B47-02F8-8131D7108BA5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0:15.528" v="43129"/>
          <ac:graphicFrameMkLst>
            <pc:docMk/>
            <pc:sldMk cId="2958919186" sldId="284"/>
            <ac:graphicFrameMk id="50" creationId="{AE8BF3DB-7844-8AE8-37E6-BC188EAEECE4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1:06.775" v="44403"/>
          <ac:graphicFrameMkLst>
            <pc:docMk/>
            <pc:sldMk cId="2958919186" sldId="284"/>
            <ac:graphicFrameMk id="54" creationId="{4D333E7B-88A2-B350-2095-8A481BED0D34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1:06.823" v="44472"/>
          <ac:graphicFrameMkLst>
            <pc:docMk/>
            <pc:sldMk cId="2958919186" sldId="284"/>
            <ac:graphicFrameMk id="57" creationId="{FF676333-E381-2236-A32F-3B121B0E29A0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20:53.253" v="43511"/>
          <ac:graphicFrameMkLst>
            <pc:docMk/>
            <pc:sldMk cId="2958919186" sldId="284"/>
            <ac:graphicFrameMk id="59" creationId="{632F5D80-8C95-78F8-8A28-516585CC0265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1:04.270" v="44124"/>
          <ac:graphicFrameMkLst>
            <pc:docMk/>
            <pc:sldMk cId="2958919186" sldId="284"/>
            <ac:graphicFrameMk id="63" creationId="{A26167C8-E2E1-7879-A097-AB38CD934C2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1:06.726" v="44389"/>
          <ac:graphicFrameMkLst>
            <pc:docMk/>
            <pc:sldMk cId="2958919186" sldId="284"/>
            <ac:graphicFrameMk id="66" creationId="{49B8E2A3-1B45-3723-AAAF-E144FBFA1C53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1:06.792" v="44430"/>
          <ac:graphicFrameMkLst>
            <pc:docMk/>
            <pc:sldMk cId="2958919186" sldId="284"/>
            <ac:graphicFrameMk id="68" creationId="{866321DD-32C7-5C77-F34D-8ECB85311EC6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20:59.719" v="43886"/>
          <ac:graphicFrameMkLst>
            <pc:docMk/>
            <pc:sldMk cId="2958919186" sldId="284"/>
            <ac:graphicFrameMk id="70" creationId="{1E94B327-8E01-9840-F9E1-1197F4FDBB52}"/>
          </ac:graphicFrameMkLst>
        </pc:graphicFrameChg>
        <pc:picChg chg="del mod ord">
          <ac:chgData name="Joelle Brehm" userId="a518f54c-6985-42c0-8041-2bb16a414839" providerId="ADAL" clId="{3C9B919C-9CFF-4DBD-AE30-72DF3107A706}" dt="2023-06-05T23:20:38.330" v="43334" actId="478"/>
          <ac:picMkLst>
            <pc:docMk/>
            <pc:sldMk cId="2958919186" sldId="284"/>
            <ac:picMk id="10" creationId="{AF382D01-C9F5-BD94-9824-8B33D641307F}"/>
          </ac:picMkLst>
        </pc:picChg>
        <pc:picChg chg="add mod ord">
          <ac:chgData name="Joelle Brehm" userId="a518f54c-6985-42c0-8041-2bb16a414839" providerId="ADAL" clId="{3C9B919C-9CFF-4DBD-AE30-72DF3107A706}" dt="2023-06-05T23:21:06.775" v="44397"/>
          <ac:picMkLst>
            <pc:docMk/>
            <pc:sldMk cId="2958919186" sldId="284"/>
            <ac:picMk id="55" creationId="{379D89DD-8BD1-31D2-DC0B-081009B93EBE}"/>
          </ac:picMkLst>
        </pc:picChg>
        <pc:picChg chg="mod ord">
          <ac:chgData name="Joelle Brehm" userId="a518f54c-6985-42c0-8041-2bb16a414839" providerId="ADAL" clId="{3C9B919C-9CFF-4DBD-AE30-72DF3107A706}" dt="2023-06-05T23:21:06.823" v="44479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21:06.775" v="44401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22:06.985" v="46556"/>
        <pc:sldMkLst>
          <pc:docMk/>
          <pc:sldMk cId="3959601197" sldId="285"/>
        </pc:sldMkLst>
        <pc:spChg chg="mod ord">
          <ac:chgData name="Joelle Brehm" userId="a518f54c-6985-42c0-8041-2bb16a414839" providerId="ADAL" clId="{3C9B919C-9CFF-4DBD-AE30-72DF3107A706}" dt="2023-06-05T23:22:06.968" v="46550"/>
          <ac:spMkLst>
            <pc:docMk/>
            <pc:sldMk cId="3959601197" sldId="285"/>
            <ac:spMk id="2" creationId="{834E3642-3BF8-4D50-9A2A-9ADF91017D8B}"/>
          </ac:spMkLst>
        </pc:spChg>
        <pc:spChg chg="add del mod ord">
          <ac:chgData name="Joelle Brehm" userId="a518f54c-6985-42c0-8041-2bb16a414839" providerId="ADAL" clId="{3C9B919C-9CFF-4DBD-AE30-72DF3107A706}" dt="2023-06-05T23:21:41.076" v="44850" actId="478"/>
          <ac:spMkLst>
            <pc:docMk/>
            <pc:sldMk cId="3959601197" sldId="285"/>
            <ac:spMk id="3" creationId="{FEC24AE0-2051-E530-F4A4-4FEE75429287}"/>
          </ac:spMkLst>
        </pc:spChg>
        <pc:spChg chg="add del mod modVis">
          <ac:chgData name="Joelle Brehm" userId="a518f54c-6985-42c0-8041-2bb16a414839" providerId="ADAL" clId="{3C9B919C-9CFF-4DBD-AE30-72DF3107A706}" dt="2023-06-05T23:21:19.488" v="44756"/>
          <ac:spMkLst>
            <pc:docMk/>
            <pc:sldMk cId="3959601197" sldId="285"/>
            <ac:spMk id="5" creationId="{03DF78C6-3508-16DF-DA21-E68C803BF3E5}"/>
          </ac:spMkLst>
        </pc:spChg>
        <pc:spChg chg="mod ord">
          <ac:chgData name="Joelle Brehm" userId="a518f54c-6985-42c0-8041-2bb16a414839" providerId="ADAL" clId="{3C9B919C-9CFF-4DBD-AE30-72DF3107A706}" dt="2023-06-05T23:22:06.952" v="46482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22:06.968" v="46514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3C9B919C-9CFF-4DBD-AE30-72DF3107A706}" dt="2023-06-05T23:22:06.968" v="46493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22:06.968" v="46490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22:06.968" v="46492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22:06.968" v="46489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22:06.968" v="46491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22:06.968" v="46488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22:06.952" v="46487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22:06.968" v="46494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22:06.968" v="46495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22:06.968" v="46496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22:06.968" v="46497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22:06.968" v="46498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22:06.968" v="46500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22:06.968" v="46505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22:06.968" v="46504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22:06.968" v="46503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22:06.968" v="46507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22:06.968" v="46506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22:06.968" v="46508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22:06.968" v="46511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22:06.968" v="46517"/>
          <ac:spMkLst>
            <pc:docMk/>
            <pc:sldMk cId="3959601197" sldId="285"/>
            <ac:spMk id="31" creationId="{9D8A59E9-C471-9618-6B0F-F3E414CCD2A7}"/>
          </ac:spMkLst>
        </pc:spChg>
        <pc:spChg chg="mod">
          <ac:chgData name="Joelle Brehm" userId="a518f54c-6985-42c0-8041-2bb16a414839" providerId="ADAL" clId="{3C9B919C-9CFF-4DBD-AE30-72DF3107A706}" dt="2023-06-05T23:22:06.968" v="46522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3C9B919C-9CFF-4DBD-AE30-72DF3107A706}" dt="2023-06-05T23:22:06.968" v="46515"/>
          <ac:spMkLst>
            <pc:docMk/>
            <pc:sldMk cId="3959601197" sldId="285"/>
            <ac:spMk id="33" creationId="{C5132F62-12DF-25F1-3C35-C772E0E4C2D8}"/>
          </ac:spMkLst>
        </pc:spChg>
        <pc:spChg chg="mod">
          <ac:chgData name="Joelle Brehm" userId="a518f54c-6985-42c0-8041-2bb16a414839" providerId="ADAL" clId="{3C9B919C-9CFF-4DBD-AE30-72DF3107A706}" dt="2023-06-05T23:22:06.968" v="46519"/>
          <ac:spMkLst>
            <pc:docMk/>
            <pc:sldMk cId="3959601197" sldId="285"/>
            <ac:spMk id="34" creationId="{7296A792-C9A5-603D-0DFE-510144F74B20}"/>
          </ac:spMkLst>
        </pc:spChg>
        <pc:spChg chg="mod">
          <ac:chgData name="Joelle Brehm" userId="a518f54c-6985-42c0-8041-2bb16a414839" providerId="ADAL" clId="{3C9B919C-9CFF-4DBD-AE30-72DF3107A706}" dt="2023-06-05T23:22:06.968" v="46521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3C9B919C-9CFF-4DBD-AE30-72DF3107A706}" dt="2023-06-05T23:22:06.968" v="46502"/>
          <ac:spMkLst>
            <pc:docMk/>
            <pc:sldMk cId="3959601197" sldId="285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3C9B919C-9CFF-4DBD-AE30-72DF3107A706}" dt="2023-06-05T23:21:44.141" v="45095"/>
          <ac:spMkLst>
            <pc:docMk/>
            <pc:sldMk cId="3959601197" sldId="285"/>
            <ac:spMk id="39" creationId="{FD29E4DE-7500-859E-5CE5-CAAC6C49A790}"/>
          </ac:spMkLst>
        </pc:spChg>
        <pc:spChg chg="mod">
          <ac:chgData name="Joelle Brehm" userId="a518f54c-6985-42c0-8041-2bb16a414839" providerId="ADAL" clId="{3C9B919C-9CFF-4DBD-AE30-72DF3107A706}" dt="2023-06-05T23:22:06.968" v="46524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3C9B919C-9CFF-4DBD-AE30-72DF3107A706}" dt="2023-06-05T23:22:06.968" v="46523"/>
          <ac:spMkLst>
            <pc:docMk/>
            <pc:sldMk cId="3959601197" sldId="285"/>
            <ac:spMk id="43" creationId="{7A0654C5-E72A-A91E-A2D8-90D96122F7D7}"/>
          </ac:spMkLst>
        </pc:spChg>
        <pc:spChg chg="add del mod modVis">
          <ac:chgData name="Joelle Brehm" userId="a518f54c-6985-42c0-8041-2bb16a414839" providerId="ADAL" clId="{3C9B919C-9CFF-4DBD-AE30-72DF3107A706}" dt="2023-06-05T23:21:52.953" v="45241"/>
          <ac:spMkLst>
            <pc:docMk/>
            <pc:sldMk cId="3959601197" sldId="285"/>
            <ac:spMk id="44" creationId="{A781F6D7-58AC-D653-15EC-05ED6E313175}"/>
          </ac:spMkLst>
        </pc:spChg>
        <pc:spChg chg="mod">
          <ac:chgData name="Joelle Brehm" userId="a518f54c-6985-42c0-8041-2bb16a414839" providerId="ADAL" clId="{3C9B919C-9CFF-4DBD-AE30-72DF3107A706}" dt="2023-06-05T23:22:06.968" v="46520"/>
          <ac:spMkLst>
            <pc:docMk/>
            <pc:sldMk cId="3959601197" sldId="285"/>
            <ac:spMk id="45" creationId="{C0C2677E-B02A-A9FD-C32D-94A1D148E0A5}"/>
          </ac:spMkLst>
        </pc:spChg>
        <pc:spChg chg="add mod replST">
          <ac:chgData name="Joelle Brehm" userId="a518f54c-6985-42c0-8041-2bb16a414839" providerId="ADAL" clId="{3C9B919C-9CFF-4DBD-AE30-72DF3107A706}" dt="2023-06-05T23:22:06.968" v="46525"/>
          <ac:spMkLst>
            <pc:docMk/>
            <pc:sldMk cId="3959601197" sldId="285"/>
            <ac:spMk id="47" creationId="{E68B1E78-8D9D-3E69-597C-1E05491CF1D5}"/>
          </ac:spMkLst>
        </pc:spChg>
        <pc:spChg chg="add del mod modVis">
          <ac:chgData name="Joelle Brehm" userId="a518f54c-6985-42c0-8041-2bb16a414839" providerId="ADAL" clId="{3C9B919C-9CFF-4DBD-AE30-72DF3107A706}" dt="2023-06-05T23:21:59.952" v="45864"/>
          <ac:spMkLst>
            <pc:docMk/>
            <pc:sldMk cId="3959601197" sldId="285"/>
            <ac:spMk id="48" creationId="{BEC93E6B-089B-575A-B72E-3F6E6A59ED3F}"/>
          </ac:spMkLst>
        </pc:spChg>
        <pc:spChg chg="add del mod modVis">
          <ac:chgData name="Joelle Brehm" userId="a518f54c-6985-42c0-8041-2bb16a414839" providerId="ADAL" clId="{3C9B919C-9CFF-4DBD-AE30-72DF3107A706}" dt="2023-06-05T23:22:01.904" v="46078"/>
          <ac:spMkLst>
            <pc:docMk/>
            <pc:sldMk cId="3959601197" sldId="285"/>
            <ac:spMk id="50" creationId="{A7CD84B4-4B03-2D42-2566-E15CAC4C5FFC}"/>
          </ac:spMkLst>
        </pc:spChg>
        <pc:spChg chg="add del mod modVis">
          <ac:chgData name="Joelle Brehm" userId="a518f54c-6985-42c0-8041-2bb16a414839" providerId="ADAL" clId="{3C9B919C-9CFF-4DBD-AE30-72DF3107A706}" dt="2023-06-05T23:22:03.891" v="46395"/>
          <ac:spMkLst>
            <pc:docMk/>
            <pc:sldMk cId="3959601197" sldId="285"/>
            <ac:spMk id="53" creationId="{F7A7B811-8F85-96F3-F35A-512A922F04A9}"/>
          </ac:spMkLst>
        </pc:spChg>
        <pc:spChg chg="add del mod ord replST">
          <ac:chgData name="Joelle Brehm" userId="a518f54c-6985-42c0-8041-2bb16a414839" providerId="ADAL" clId="{3C9B919C-9CFF-4DBD-AE30-72DF3107A706}" dt="2023-06-05T23:22:06.936" v="46470"/>
          <ac:spMkLst>
            <pc:docMk/>
            <pc:sldMk cId="3959601197" sldId="285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22:06.968" v="46554"/>
          <ac:spMkLst>
            <pc:docMk/>
            <pc:sldMk cId="3959601197" sldId="285"/>
            <ac:spMk id="56" creationId="{99EE7A7B-7A32-4E5D-14EE-E1E5F35320DA}"/>
          </ac:spMkLst>
        </pc:spChg>
        <pc:spChg chg="del mod">
          <ac:chgData name="Joelle Brehm" userId="a518f54c-6985-42c0-8041-2bb16a414839" providerId="ADAL" clId="{3C9B919C-9CFF-4DBD-AE30-72DF3107A706}" dt="2023-06-05T23:22:03.631" v="46081"/>
          <ac:spMkLst>
            <pc:docMk/>
            <pc:sldMk cId="3959601197" sldId="285"/>
            <ac:spMk id="62" creationId="{9A7B675A-F1D5-5C86-528A-F9A5A685D8F4}"/>
          </ac:spMkLst>
        </pc:spChg>
        <pc:spChg chg="mod">
          <ac:chgData name="Joelle Brehm" userId="a518f54c-6985-42c0-8041-2bb16a414839" providerId="ADAL" clId="{3C9B919C-9CFF-4DBD-AE30-72DF3107A706}" dt="2023-06-05T23:22:06.968" v="46518"/>
          <ac:spMkLst>
            <pc:docMk/>
            <pc:sldMk cId="3959601197" sldId="285"/>
            <ac:spMk id="65" creationId="{1502E1FD-2F2B-2E4B-A0D1-76C34AFFCCA4}"/>
          </ac:spMkLst>
        </pc:spChg>
        <pc:spChg chg="mod">
          <ac:chgData name="Joelle Brehm" userId="a518f54c-6985-42c0-8041-2bb16a414839" providerId="ADAL" clId="{3C9B919C-9CFF-4DBD-AE30-72DF3107A706}" dt="2023-06-05T23:22:06.968" v="46516"/>
          <ac:spMkLst>
            <pc:docMk/>
            <pc:sldMk cId="3959601197" sldId="285"/>
            <ac:spMk id="68" creationId="{DEFABF45-FA4F-8FCA-5A28-35602D22E667}"/>
          </ac:spMkLst>
        </pc:spChg>
        <pc:spChg chg="mod">
          <ac:chgData name="Joelle Brehm" userId="a518f54c-6985-42c0-8041-2bb16a414839" providerId="ADAL" clId="{3C9B919C-9CFF-4DBD-AE30-72DF3107A706}" dt="2023-06-05T23:22:06.968" v="46509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5T23:22:06.968" v="46527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22:06.968" v="46529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3:22:06.968" v="46548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3C9B919C-9CFF-4DBD-AE30-72DF3107A706}" dt="2023-06-05T23:22:06.968" v="46531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3:22:06.968" v="46533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22:06.968" v="46535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22:06.968" v="46537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22:06.968" v="46541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2:06.968" v="46542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2:06.968" v="46540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2:06.968" v="46543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22:06.968" v="46544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3:22:06.985" v="46556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3:21:19.388" v="44668"/>
          <ac:graphicFrameMkLst>
            <pc:docMk/>
            <pc:sldMk cId="3959601197" sldId="285"/>
            <ac:graphicFrameMk id="8" creationId="{A03C769B-02E3-4B02-F4B2-AE8119D19A72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2:06.952" v="46486"/>
          <ac:graphicFrameMkLst>
            <pc:docMk/>
            <pc:sldMk cId="3959601197" sldId="285"/>
            <ac:graphicFrameMk id="36" creationId="{025A8D86-95F1-EF1E-0DC7-1DBC5ABBB53E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21:44.052" v="45013"/>
          <ac:graphicFrameMkLst>
            <pc:docMk/>
            <pc:sldMk cId="3959601197" sldId="285"/>
            <ac:graphicFrameMk id="40" creationId="{DF33484B-5D4A-0993-52B8-CFCA8830E7F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1:52.910" v="45159"/>
          <ac:graphicFrameMkLst>
            <pc:docMk/>
            <pc:sldMk cId="3959601197" sldId="285"/>
            <ac:graphicFrameMk id="41" creationId="{23FBF3D3-C99D-0885-29D4-8191141E4317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2:06.968" v="46539"/>
          <ac:graphicFrameMkLst>
            <pc:docMk/>
            <pc:sldMk cId="3959601197" sldId="285"/>
            <ac:graphicFrameMk id="46" creationId="{BE44EACC-84D5-B699-FF50-BBDA56728BE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2:01.842" v="45973"/>
          <ac:graphicFrameMkLst>
            <pc:docMk/>
            <pc:sldMk cId="3959601197" sldId="285"/>
            <ac:graphicFrameMk id="49" creationId="{C161749A-5874-82CD-4383-11AE40A1AC51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2:03.822" v="46289"/>
          <ac:graphicFrameMkLst>
            <pc:docMk/>
            <pc:sldMk cId="3959601197" sldId="285"/>
            <ac:graphicFrameMk id="51" creationId="{843F1989-8CE8-F772-CBF2-F4BC249D852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21:59.891" v="45773"/>
          <ac:graphicFrameMkLst>
            <pc:docMk/>
            <pc:sldMk cId="3959601197" sldId="285"/>
            <ac:graphicFrameMk id="52" creationId="{FEB7069D-8571-9F1C-90EF-FF53DC29C7E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2:06.936" v="46472"/>
          <ac:graphicFrameMkLst>
            <pc:docMk/>
            <pc:sldMk cId="3959601197" sldId="285"/>
            <ac:graphicFrameMk id="55" creationId="{8896B7C6-EB21-ECBB-2798-C2669CCC0613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2:06.968" v="46513"/>
          <ac:graphicFrameMkLst>
            <pc:docMk/>
            <pc:sldMk cId="3959601197" sldId="285"/>
            <ac:graphicFrameMk id="57" creationId="{FDAA8866-D6A1-F7EA-C9B4-597FE0E139F3}"/>
          </ac:graphicFrameMkLst>
        </pc:graphicFrameChg>
        <pc:picChg chg="del mod ord">
          <ac:chgData name="Joelle Brehm" userId="a518f54c-6985-42c0-8041-2bb16a414839" providerId="ADAL" clId="{3C9B919C-9CFF-4DBD-AE30-72DF3107A706}" dt="2023-06-05T23:21:35.944" v="44849" actId="478"/>
          <ac:picMkLst>
            <pc:docMk/>
            <pc:sldMk cId="3959601197" sldId="285"/>
            <ac:picMk id="10" creationId="{93738B24-31AB-AC0A-C92E-06E019214997}"/>
          </ac:picMkLst>
        </pc:picChg>
        <pc:picChg chg="add mod ord">
          <ac:chgData name="Joelle Brehm" userId="a518f54c-6985-42c0-8041-2bb16a414839" providerId="ADAL" clId="{3C9B919C-9CFF-4DBD-AE30-72DF3107A706}" dt="2023-06-05T23:22:06.952" v="46480"/>
          <ac:picMkLst>
            <pc:docMk/>
            <pc:sldMk cId="3959601197" sldId="285"/>
            <ac:picMk id="38" creationId="{9170D1F7-72D5-42F8-D789-21451789E383}"/>
          </ac:picMkLst>
        </pc:picChg>
        <pc:picChg chg="mod ord">
          <ac:chgData name="Joelle Brehm" userId="a518f54c-6985-42c0-8041-2bb16a414839" providerId="ADAL" clId="{3C9B919C-9CFF-4DBD-AE30-72DF3107A706}" dt="2023-06-05T23:22:06.968" v="46546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22:06.952" v="46484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23:22:53.231" v="48280"/>
        <pc:sldMkLst>
          <pc:docMk/>
          <pc:sldMk cId="3093897313" sldId="286"/>
        </pc:sldMkLst>
        <pc:spChg chg="mod ord">
          <ac:chgData name="Joelle Brehm" userId="a518f54c-6985-42c0-8041-2bb16a414839" providerId="ADAL" clId="{3C9B919C-9CFF-4DBD-AE30-72DF3107A706}" dt="2023-06-05T23:22:53.209" v="48274"/>
          <ac:spMkLst>
            <pc:docMk/>
            <pc:sldMk cId="3093897313" sldId="286"/>
            <ac:spMk id="2" creationId="{F7E4C1AF-4B86-49C2-BCE8-3BD8367EC27A}"/>
          </ac:spMkLst>
        </pc:spChg>
        <pc:spChg chg="add del mod ord">
          <ac:chgData name="Joelle Brehm" userId="a518f54c-6985-42c0-8041-2bb16a414839" providerId="ADAL" clId="{3C9B919C-9CFF-4DBD-AE30-72DF3107A706}" dt="2023-06-05T23:22:36.476" v="46906" actId="478"/>
          <ac:spMkLst>
            <pc:docMk/>
            <pc:sldMk cId="3093897313" sldId="286"/>
            <ac:spMk id="3" creationId="{E2268697-4AE6-A18A-4C68-825751BC1877}"/>
          </ac:spMkLst>
        </pc:spChg>
        <pc:spChg chg="add del mod modVis">
          <ac:chgData name="Joelle Brehm" userId="a518f54c-6985-42c0-8041-2bb16a414839" providerId="ADAL" clId="{3C9B919C-9CFF-4DBD-AE30-72DF3107A706}" dt="2023-06-05T23:22:23.156" v="46816"/>
          <ac:spMkLst>
            <pc:docMk/>
            <pc:sldMk cId="3093897313" sldId="286"/>
            <ac:spMk id="5" creationId="{E82E4DB7-F4F6-F731-1C8F-CE271930CB85}"/>
          </ac:spMkLst>
        </pc:spChg>
        <pc:spChg chg="mod ord">
          <ac:chgData name="Joelle Brehm" userId="a518f54c-6985-42c0-8041-2bb16a414839" providerId="ADAL" clId="{3C9B919C-9CFF-4DBD-AE30-72DF3107A706}" dt="2023-06-05T23:22:53.163" v="48206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5T23:22:53.197" v="48246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3C9B919C-9CFF-4DBD-AE30-72DF3107A706}" dt="2023-06-05T23:22:53.177" v="48219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5T23:22:53.177" v="48216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5T23:22:53.177" v="48217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5T23:22:53.177" v="48212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5T23:22:53.177" v="48215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5T23:22:53.177" v="48211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5T23:22:53.177" v="48213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5T23:22:53.177" v="48218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5T23:22:53.177" v="48220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5T23:22:53.177" v="48214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5T23:22:53.177" v="48221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5T23:22:53.177" v="48222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5T23:22:53.185" v="48224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5T23:22:53.187" v="48227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5T23:22:53.186" v="48225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5T23:22:53.186" v="48226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5T23:22:53.189" v="48231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5T23:22:53.188" v="48230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5T23:22:53.190" v="48233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5T23:22:53.192" v="48235"/>
          <ac:spMkLst>
            <pc:docMk/>
            <pc:sldMk cId="3093897313" sldId="286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5T23:22:53.196" v="48243"/>
          <ac:spMkLst>
            <pc:docMk/>
            <pc:sldMk cId="3093897313" sldId="286"/>
            <ac:spMk id="31" creationId="{D74F390C-8EAC-8563-0D4D-5C8848394552}"/>
          </ac:spMkLst>
        </pc:spChg>
        <pc:spChg chg="mod">
          <ac:chgData name="Joelle Brehm" userId="a518f54c-6985-42c0-8041-2bb16a414839" providerId="ADAL" clId="{3C9B919C-9CFF-4DBD-AE30-72DF3107A706}" dt="2023-06-05T23:22:53.193" v="48238"/>
          <ac:spMkLst>
            <pc:docMk/>
            <pc:sldMk cId="3093897313" sldId="286"/>
            <ac:spMk id="32" creationId="{5F8F84C4-6A6C-C5DC-AE29-77E5B4E909D7}"/>
          </ac:spMkLst>
        </pc:spChg>
        <pc:spChg chg="mod">
          <ac:chgData name="Joelle Brehm" userId="a518f54c-6985-42c0-8041-2bb16a414839" providerId="ADAL" clId="{3C9B919C-9CFF-4DBD-AE30-72DF3107A706}" dt="2023-06-05T23:22:53.196" v="48244"/>
          <ac:spMkLst>
            <pc:docMk/>
            <pc:sldMk cId="3093897313" sldId="286"/>
            <ac:spMk id="33" creationId="{1334CF39-A6F8-7069-C022-3F7175A20401}"/>
          </ac:spMkLst>
        </pc:spChg>
        <pc:spChg chg="mod">
          <ac:chgData name="Joelle Brehm" userId="a518f54c-6985-42c0-8041-2bb16a414839" providerId="ADAL" clId="{3C9B919C-9CFF-4DBD-AE30-72DF3107A706}" dt="2023-06-05T23:22:53.194" v="48240"/>
          <ac:spMkLst>
            <pc:docMk/>
            <pc:sldMk cId="3093897313" sldId="286"/>
            <ac:spMk id="34" creationId="{99F86B53-3C14-F4B7-5920-953490F3E4CD}"/>
          </ac:spMkLst>
        </pc:spChg>
        <pc:spChg chg="mod">
          <ac:chgData name="Joelle Brehm" userId="a518f54c-6985-42c0-8041-2bb16a414839" providerId="ADAL" clId="{3C9B919C-9CFF-4DBD-AE30-72DF3107A706}" dt="2023-06-05T23:22:53.197" v="48245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3C9B919C-9CFF-4DBD-AE30-72DF3107A706}" dt="2023-06-05T23:22:53.188" v="48229"/>
          <ac:spMkLst>
            <pc:docMk/>
            <pc:sldMk cId="3093897313" sldId="286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3C9B919C-9CFF-4DBD-AE30-72DF3107A706}" dt="2023-06-05T23:22:45.140" v="47164"/>
          <ac:spMkLst>
            <pc:docMk/>
            <pc:sldMk cId="3093897313" sldId="286"/>
            <ac:spMk id="39" creationId="{924CF980-FD2F-C846-18CC-1381C60FFC8B}"/>
          </ac:spMkLst>
        </pc:spChg>
        <pc:spChg chg="mod">
          <ac:chgData name="Joelle Brehm" userId="a518f54c-6985-42c0-8041-2bb16a414839" providerId="ADAL" clId="{3C9B919C-9CFF-4DBD-AE30-72DF3107A706}" dt="2023-06-05T23:22:53.195" v="48241"/>
          <ac:spMkLst>
            <pc:docMk/>
            <pc:sldMk cId="3093897313" sldId="286"/>
            <ac:spMk id="40" creationId="{C9855917-BD95-0D5A-6B07-14EBAD7B2828}"/>
          </ac:spMkLst>
        </pc:spChg>
        <pc:spChg chg="mod">
          <ac:chgData name="Joelle Brehm" userId="a518f54c-6985-42c0-8041-2bb16a414839" providerId="ADAL" clId="{3C9B919C-9CFF-4DBD-AE30-72DF3107A706}" dt="2023-06-05T23:22:53.198" v="48247"/>
          <ac:spMkLst>
            <pc:docMk/>
            <pc:sldMk cId="3093897313" sldId="286"/>
            <ac:spMk id="42" creationId="{D859979A-C7CC-20E7-C4CA-F18D382485A8}"/>
          </ac:spMkLst>
        </pc:spChg>
        <pc:spChg chg="mod">
          <ac:chgData name="Joelle Brehm" userId="a518f54c-6985-42c0-8041-2bb16a414839" providerId="ADAL" clId="{3C9B919C-9CFF-4DBD-AE30-72DF3107A706}" dt="2023-06-05T23:22:53.199" v="48248"/>
          <ac:spMkLst>
            <pc:docMk/>
            <pc:sldMk cId="3093897313" sldId="286"/>
            <ac:spMk id="44" creationId="{725B225B-D384-EFBB-722A-58317FBB47BF}"/>
          </ac:spMkLst>
        </pc:spChg>
        <pc:spChg chg="add mod replST">
          <ac:chgData name="Joelle Brehm" userId="a518f54c-6985-42c0-8041-2bb16a414839" providerId="ADAL" clId="{3C9B919C-9CFF-4DBD-AE30-72DF3107A706}" dt="2023-06-05T23:22:53.199" v="48249"/>
          <ac:spMkLst>
            <pc:docMk/>
            <pc:sldMk cId="3093897313" sldId="286"/>
            <ac:spMk id="45" creationId="{0F9CEF9A-7834-B39E-CB12-DD7EDCF963B1}"/>
          </ac:spMkLst>
        </pc:spChg>
        <pc:spChg chg="add del mod modVis">
          <ac:chgData name="Joelle Brehm" userId="a518f54c-6985-42c0-8041-2bb16a414839" providerId="ADAL" clId="{3C9B919C-9CFF-4DBD-AE30-72DF3107A706}" dt="2023-06-05T23:22:49.675" v="47856"/>
          <ac:spMkLst>
            <pc:docMk/>
            <pc:sldMk cId="3093897313" sldId="286"/>
            <ac:spMk id="46" creationId="{5E3A6FD0-99F6-EA9A-7457-B63B96093454}"/>
          </ac:spMkLst>
        </pc:spChg>
        <pc:spChg chg="add del mod ord replST">
          <ac:chgData name="Joelle Brehm" userId="a518f54c-6985-42c0-8041-2bb16a414839" providerId="ADAL" clId="{3C9B919C-9CFF-4DBD-AE30-72DF3107A706}" dt="2023-06-05T23:22:53.102" v="48151"/>
          <ac:spMkLst>
            <pc:docMk/>
            <pc:sldMk cId="3093897313" sldId="286"/>
            <ac:spMk id="47" creationId="{7CAA3B95-4C78-4122-BECA-B5FB0F3F3764}"/>
          </ac:spMkLst>
        </pc:spChg>
        <pc:spChg chg="add del mod ord replST">
          <ac:chgData name="Joelle Brehm" userId="a518f54c-6985-42c0-8041-2bb16a414839" providerId="ADAL" clId="{3C9B919C-9CFF-4DBD-AE30-72DF3107A706}" dt="2023-06-05T23:22:53.118" v="48187"/>
          <ac:spMkLst>
            <pc:docMk/>
            <pc:sldMk cId="3093897313" sldId="286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23:22:50.529" v="48072"/>
          <ac:spMkLst>
            <pc:docMk/>
            <pc:sldMk cId="3093897313" sldId="286"/>
            <ac:spMk id="51" creationId="{EE05A6DC-11F7-3281-9DBF-7321E63AD4A2}"/>
          </ac:spMkLst>
        </pc:spChg>
        <pc:spChg chg="add del mod modVis">
          <ac:chgData name="Joelle Brehm" userId="a518f54c-6985-42c0-8041-2bb16a414839" providerId="ADAL" clId="{3C9B919C-9CFF-4DBD-AE30-72DF3107A706}" dt="2023-06-05T23:22:53.210" v="48278"/>
          <ac:spMkLst>
            <pc:docMk/>
            <pc:sldMk cId="3093897313" sldId="286"/>
            <ac:spMk id="53" creationId="{658D4DE4-DE68-6636-C899-9933AA937A6A}"/>
          </ac:spMkLst>
        </pc:spChg>
        <pc:spChg chg="del mod">
          <ac:chgData name="Joelle Brehm" userId="a518f54c-6985-42c0-8041-2bb16a414839" providerId="ADAL" clId="{3C9B919C-9CFF-4DBD-AE30-72DF3107A706}" dt="2023-06-05T23:22:52.965" v="48075"/>
          <ac:spMkLst>
            <pc:docMk/>
            <pc:sldMk cId="3093897313" sldId="286"/>
            <ac:spMk id="62" creationId="{2F881654-2CD6-1559-8CE0-D050D9915BCB}"/>
          </ac:spMkLst>
        </pc:spChg>
        <pc:spChg chg="mod">
          <ac:chgData name="Joelle Brehm" userId="a518f54c-6985-42c0-8041-2bb16a414839" providerId="ADAL" clId="{3C9B919C-9CFF-4DBD-AE30-72DF3107A706}" dt="2023-06-05T23:22:53.195" v="48242"/>
          <ac:spMkLst>
            <pc:docMk/>
            <pc:sldMk cId="3093897313" sldId="286"/>
            <ac:spMk id="66" creationId="{D24BFD29-661B-4491-5975-FE849427D9EF}"/>
          </ac:spMkLst>
        </pc:spChg>
        <pc:spChg chg="mod">
          <ac:chgData name="Joelle Brehm" userId="a518f54c-6985-42c0-8041-2bb16a414839" providerId="ADAL" clId="{3C9B919C-9CFF-4DBD-AE30-72DF3107A706}" dt="2023-06-05T23:22:53.193" v="48239"/>
          <ac:spMkLst>
            <pc:docMk/>
            <pc:sldMk cId="3093897313" sldId="286"/>
            <ac:spMk id="69" creationId="{E0A21F3E-CAC2-F1DA-B8CE-98C7E55D5258}"/>
          </ac:spMkLst>
        </pc:spChg>
        <pc:spChg chg="mod">
          <ac:chgData name="Joelle Brehm" userId="a518f54c-6985-42c0-8041-2bb16a414839" providerId="ADAL" clId="{3C9B919C-9CFF-4DBD-AE30-72DF3107A706}" dt="2023-06-05T23:22:53.190" v="48232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5T23:22:53.200" v="48251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5T23:22:53.201" v="48253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5T23:22:53.208" v="48272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3C9B919C-9CFF-4DBD-AE30-72DF3107A706}" dt="2023-06-05T23:22:53.201" v="48255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5T23:22:53.202" v="48257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5T23:22:53.203" v="48259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5T23:22:53.203" v="48261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5T23:22:53.204" v="48264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2:53.205" v="48265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2:53.206" v="48267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23:22:53.206" v="48268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5T23:22:53.205" v="48266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5T23:22:53.231" v="48280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3C9B919C-9CFF-4DBD-AE30-72DF3107A706}" dt="2023-06-05T23:22:23.093" v="46728"/>
          <ac:graphicFrameMkLst>
            <pc:docMk/>
            <pc:sldMk cId="3093897313" sldId="286"/>
            <ac:graphicFrameMk id="8" creationId="{5D36739F-CEE7-CE3C-1834-08A847D6147F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2:53.177" v="48210"/>
          <ac:graphicFrameMkLst>
            <pc:docMk/>
            <pc:sldMk cId="3093897313" sldId="286"/>
            <ac:graphicFrameMk id="35" creationId="{1FFC6687-55DC-7F17-C872-1F1E1B65044F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2:53.204" v="48263"/>
          <ac:graphicFrameMkLst>
            <pc:docMk/>
            <pc:sldMk cId="3093897313" sldId="286"/>
            <ac:graphicFrameMk id="41" creationId="{87DA5EC7-5A8C-6408-9A57-FC01ACB93BE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22:45.088" v="47082"/>
          <ac:graphicFrameMkLst>
            <pc:docMk/>
            <pc:sldMk cId="3093897313" sldId="286"/>
            <ac:graphicFrameMk id="43" creationId="{BA218739-AEFE-8230-9DA8-456B38FA25A8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2:50.483" v="47965"/>
          <ac:graphicFrameMkLst>
            <pc:docMk/>
            <pc:sldMk cId="3093897313" sldId="286"/>
            <ac:graphicFrameMk id="49" creationId="{A91E10F6-211B-ED6E-E68B-799F32A7B02C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23:22:49.619" v="47749"/>
          <ac:graphicFrameMkLst>
            <pc:docMk/>
            <pc:sldMk cId="3093897313" sldId="286"/>
            <ac:graphicFrameMk id="50" creationId="{7D52E32D-ABED-048F-AB4D-FFFDB86A662B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23:22:53.118" v="48196"/>
          <ac:graphicFrameMkLst>
            <pc:docMk/>
            <pc:sldMk cId="3093897313" sldId="286"/>
            <ac:graphicFrameMk id="52" creationId="{5CDEC895-DDB3-A35E-DF11-4785A223DAAC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23:22:53.193" v="48237"/>
          <ac:graphicFrameMkLst>
            <pc:docMk/>
            <pc:sldMk cId="3093897313" sldId="286"/>
            <ac:graphicFrameMk id="54" creationId="{1D2582EC-A9FF-9FCA-0494-449A72D9C17E}"/>
          </ac:graphicFrameMkLst>
        </pc:graphicFrameChg>
        <pc:picChg chg="del mod ord">
          <ac:chgData name="Joelle Brehm" userId="a518f54c-6985-42c0-8041-2bb16a414839" providerId="ADAL" clId="{3C9B919C-9CFF-4DBD-AE30-72DF3107A706}" dt="2023-06-05T23:22:34.522" v="46905" actId="478"/>
          <ac:picMkLst>
            <pc:docMk/>
            <pc:sldMk cId="3093897313" sldId="286"/>
            <ac:picMk id="9" creationId="{CFFC98E2-2080-F00D-88E9-93B310C9481B}"/>
          </ac:picMkLst>
        </pc:picChg>
        <pc:picChg chg="add mod ord">
          <ac:chgData name="Joelle Brehm" userId="a518f54c-6985-42c0-8041-2bb16a414839" providerId="ADAL" clId="{3C9B919C-9CFF-4DBD-AE30-72DF3107A706}" dt="2023-06-05T23:22:53.163" v="48204"/>
          <ac:picMkLst>
            <pc:docMk/>
            <pc:sldMk cId="3093897313" sldId="286"/>
            <ac:picMk id="38" creationId="{949DD5E3-3093-5EF4-846F-89E4A0219D69}"/>
          </ac:picMkLst>
        </pc:picChg>
        <pc:picChg chg="mod ord">
          <ac:chgData name="Joelle Brehm" userId="a518f54c-6985-42c0-8041-2bb16a414839" providerId="ADAL" clId="{3C9B919C-9CFF-4DBD-AE30-72DF3107A706}" dt="2023-06-05T23:22:53.208" v="48270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5T23:22:53.163" v="48208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7T14:02:48.547" v="52115"/>
        <pc:sldMkLst>
          <pc:docMk/>
          <pc:sldMk cId="1459118046" sldId="288"/>
        </pc:sldMkLst>
        <pc:spChg chg="mod ord">
          <ac:chgData name="Joelle Brehm" userId="a518f54c-6985-42c0-8041-2bb16a414839" providerId="ADAL" clId="{3C9B919C-9CFF-4DBD-AE30-72DF3107A706}" dt="2023-06-07T14:02:48.525" v="52079"/>
          <ac:spMkLst>
            <pc:docMk/>
            <pc:sldMk cId="1459118046" sldId="288"/>
            <ac:spMk id="2" creationId="{845E990D-F1AA-419F-97F0-12FFB2CEF6D1}"/>
          </ac:spMkLst>
        </pc:spChg>
        <pc:spChg chg="add del mod ord">
          <ac:chgData name="Joelle Brehm" userId="a518f54c-6985-42c0-8041-2bb16a414839" providerId="ADAL" clId="{3C9B919C-9CFF-4DBD-AE30-72DF3107A706}" dt="2023-06-07T14:01:23.943" v="50685" actId="478"/>
          <ac:spMkLst>
            <pc:docMk/>
            <pc:sldMk cId="1459118046" sldId="288"/>
            <ac:spMk id="3" creationId="{CCA6092E-D4EB-6C82-A5C1-9063B1E34317}"/>
          </ac:spMkLst>
        </pc:spChg>
        <pc:spChg chg="add del mod modVis">
          <ac:chgData name="Joelle Brehm" userId="a518f54c-6985-42c0-8041-2bb16a414839" providerId="ADAL" clId="{3C9B919C-9CFF-4DBD-AE30-72DF3107A706}" dt="2023-06-07T13:58:50.687" v="48555"/>
          <ac:spMkLst>
            <pc:docMk/>
            <pc:sldMk cId="1459118046" sldId="288"/>
            <ac:spMk id="5" creationId="{7583FF67-99C9-3D4E-DECE-8B54E18BD2CC}"/>
          </ac:spMkLst>
        </pc:spChg>
        <pc:spChg chg="mod ord">
          <ac:chgData name="Joelle Brehm" userId="a518f54c-6985-42c0-8041-2bb16a414839" providerId="ADAL" clId="{3C9B919C-9CFF-4DBD-AE30-72DF3107A706}" dt="2023-06-07T14:02:48.517" v="52041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7T14:02:48.520" v="52056"/>
          <ac:spMkLst>
            <pc:docMk/>
            <pc:sldMk cId="1459118046" sldId="288"/>
            <ac:spMk id="8" creationId="{76022A0B-4CC0-BD01-B601-16975F52FDC8}"/>
          </ac:spMkLst>
        </pc:spChg>
        <pc:spChg chg="mod">
          <ac:chgData name="Joelle Brehm" userId="a518f54c-6985-42c0-8041-2bb16a414839" providerId="ADAL" clId="{3C9B919C-9CFF-4DBD-AE30-72DF3107A706}" dt="2023-06-07T14:02:48.520" v="52054"/>
          <ac:spMkLst>
            <pc:docMk/>
            <pc:sldMk cId="1459118046" sldId="288"/>
            <ac:spMk id="11" creationId="{DC53A836-E5C3-0006-CBB8-57FCA1C2DBA6}"/>
          </ac:spMkLst>
        </pc:spChg>
        <pc:spChg chg="mod">
          <ac:chgData name="Joelle Brehm" userId="a518f54c-6985-42c0-8041-2bb16a414839" providerId="ADAL" clId="{3C9B919C-9CFF-4DBD-AE30-72DF3107A706}" dt="2023-06-07T14:02:48.520" v="52057"/>
          <ac:spMkLst>
            <pc:docMk/>
            <pc:sldMk cId="1459118046" sldId="288"/>
            <ac:spMk id="13" creationId="{3F6C20EF-E32A-5D01-E3DC-3079317054CC}"/>
          </ac:spMkLst>
        </pc:spChg>
        <pc:spChg chg="mod">
          <ac:chgData name="Joelle Brehm" userId="a518f54c-6985-42c0-8041-2bb16a414839" providerId="ADAL" clId="{3C9B919C-9CFF-4DBD-AE30-72DF3107A706}" dt="2023-06-07T14:02:48.519" v="52050"/>
          <ac:spMkLst>
            <pc:docMk/>
            <pc:sldMk cId="1459118046" sldId="288"/>
            <ac:spMk id="14" creationId="{25D946D5-9986-579D-41E4-6C10E6C340A5}"/>
          </ac:spMkLst>
        </pc:spChg>
        <pc:spChg chg="mod">
          <ac:chgData name="Joelle Brehm" userId="a518f54c-6985-42c0-8041-2bb16a414839" providerId="ADAL" clId="{3C9B919C-9CFF-4DBD-AE30-72DF3107A706}" dt="2023-06-07T14:02:48.521" v="52059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3C9B919C-9CFF-4DBD-AE30-72DF3107A706}" dt="2023-06-07T14:02:48.520" v="52055"/>
          <ac:spMkLst>
            <pc:docMk/>
            <pc:sldMk cId="1459118046" sldId="288"/>
            <ac:spMk id="17" creationId="{DBE0A1F6-A1CF-2057-B929-F159E2F0790D}"/>
          </ac:spMkLst>
        </pc:spChg>
        <pc:spChg chg="add mod replST">
          <ac:chgData name="Joelle Brehm" userId="a518f54c-6985-42c0-8041-2bb16a414839" providerId="ADAL" clId="{3C9B919C-9CFF-4DBD-AE30-72DF3107A706}" dt="2023-06-07T14:00:54.514" v="50682"/>
          <ac:spMkLst>
            <pc:docMk/>
            <pc:sldMk cId="1459118046" sldId="288"/>
            <ac:spMk id="18" creationId="{7A2983AC-204D-B1AF-F3A3-8D84CAB17973}"/>
          </ac:spMkLst>
        </pc:spChg>
        <pc:spChg chg="mod">
          <ac:chgData name="Joelle Brehm" userId="a518f54c-6985-42c0-8041-2bb16a414839" providerId="ADAL" clId="{3C9B919C-9CFF-4DBD-AE30-72DF3107A706}" dt="2023-06-07T14:02:48.521" v="52058"/>
          <ac:spMkLst>
            <pc:docMk/>
            <pc:sldMk cId="1459118046" sldId="288"/>
            <ac:spMk id="19" creationId="{DB3F3EB9-B7F2-D75A-D1DE-540B3423B405}"/>
          </ac:spMkLst>
        </pc:spChg>
        <pc:spChg chg="add mod replST">
          <ac:chgData name="Joelle Brehm" userId="a518f54c-6985-42c0-8041-2bb16a414839" providerId="ADAL" clId="{3C9B919C-9CFF-4DBD-AE30-72DF3107A706}" dt="2023-06-07T14:00:54.514" v="50682"/>
          <ac:spMkLst>
            <pc:docMk/>
            <pc:sldMk cId="1459118046" sldId="288"/>
            <ac:spMk id="20" creationId="{0A1765A3-C7C5-5BA8-63DF-D604450D08C7}"/>
          </ac:spMkLst>
        </pc:spChg>
        <pc:spChg chg="mod">
          <ac:chgData name="Joelle Brehm" userId="a518f54c-6985-42c0-8041-2bb16a414839" providerId="ADAL" clId="{3C9B919C-9CFF-4DBD-AE30-72DF3107A706}" dt="2023-06-07T14:02:48.519" v="52052"/>
          <ac:spMkLst>
            <pc:docMk/>
            <pc:sldMk cId="1459118046" sldId="288"/>
            <ac:spMk id="21" creationId="{693CD003-5CC2-D30E-1431-FA729AD817E1}"/>
          </ac:spMkLst>
        </pc:spChg>
        <pc:spChg chg="mod ord">
          <ac:chgData name="Joelle Brehm" userId="a518f54c-6985-42c0-8041-2bb16a414839" providerId="ADAL" clId="{3C9B919C-9CFF-4DBD-AE30-72DF3107A706}" dt="2023-06-07T14:02:48.517" v="52045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7T14:02:48.521" v="52060"/>
          <ac:spMkLst>
            <pc:docMk/>
            <pc:sldMk cId="1459118046" sldId="288"/>
            <ac:spMk id="24" creationId="{C635EC53-592F-A2D5-EF91-370516B08014}"/>
          </ac:spMkLst>
        </pc:spChg>
        <pc:spChg chg="add mod replST">
          <ac:chgData name="Joelle Brehm" userId="a518f54c-6985-42c0-8041-2bb16a414839" providerId="ADAL" clId="{3C9B919C-9CFF-4DBD-AE30-72DF3107A706}" dt="2023-06-07T14:00:54.514" v="50682"/>
          <ac:spMkLst>
            <pc:docMk/>
            <pc:sldMk cId="1459118046" sldId="288"/>
            <ac:spMk id="25" creationId="{D2092245-CE5B-08BE-F38E-3300F9854369}"/>
          </ac:spMkLst>
        </pc:spChg>
        <pc:spChg chg="add del mod modVis">
          <ac:chgData name="Joelle Brehm" userId="a518f54c-6985-42c0-8041-2bb16a414839" providerId="ADAL" clId="{3C9B919C-9CFF-4DBD-AE30-72DF3107A706}" dt="2023-06-07T14:00:54.514" v="50682"/>
          <ac:spMkLst>
            <pc:docMk/>
            <pc:sldMk cId="1459118046" sldId="288"/>
            <ac:spMk id="26" creationId="{C3FD24F5-E307-3031-FED2-3F31B1266405}"/>
          </ac:spMkLst>
        </pc:spChg>
        <pc:spChg chg="add del mod replST delST">
          <ac:chgData name="Joelle Brehm" userId="a518f54c-6985-42c0-8041-2bb16a414839" providerId="ADAL" clId="{3C9B919C-9CFF-4DBD-AE30-72DF3107A706}" dt="2023-06-07T14:00:54.514" v="50682"/>
          <ac:spMkLst>
            <pc:docMk/>
            <pc:sldMk cId="1459118046" sldId="288"/>
            <ac:spMk id="28" creationId="{C3BBC971-FE11-8831-7A28-68A263AFBC79}"/>
          </ac:spMkLst>
        </pc:spChg>
        <pc:spChg chg="add del mod replST delST">
          <ac:chgData name="Joelle Brehm" userId="a518f54c-6985-42c0-8041-2bb16a414839" providerId="ADAL" clId="{3C9B919C-9CFF-4DBD-AE30-72DF3107A706}" dt="2023-06-07T14:00:54.514" v="50682"/>
          <ac:spMkLst>
            <pc:docMk/>
            <pc:sldMk cId="1459118046" sldId="288"/>
            <ac:spMk id="29" creationId="{7106A1C2-5E9C-B44B-C316-FFADFAB029C2}"/>
          </ac:spMkLst>
        </pc:spChg>
        <pc:spChg chg="mod ord">
          <ac:chgData name="Joelle Brehm" userId="a518f54c-6985-42c0-8041-2bb16a414839" providerId="ADAL" clId="{3C9B919C-9CFF-4DBD-AE30-72DF3107A706}" dt="2023-06-07T14:02:48.518" v="52047"/>
          <ac:spMkLst>
            <pc:docMk/>
            <pc:sldMk cId="1459118046" sldId="288"/>
            <ac:spMk id="30" creationId="{121A2A89-FB4E-4B9A-840D-28523B0B457F}"/>
          </ac:spMkLst>
        </pc:spChg>
        <pc:spChg chg="add del mod replST delST">
          <ac:chgData name="Joelle Brehm" userId="a518f54c-6985-42c0-8041-2bb16a414839" providerId="ADAL" clId="{3C9B919C-9CFF-4DBD-AE30-72DF3107A706}" dt="2023-06-07T14:00:54.514" v="50682"/>
          <ac:spMkLst>
            <pc:docMk/>
            <pc:sldMk cId="1459118046" sldId="288"/>
            <ac:spMk id="31" creationId="{79EE4D90-F796-797F-1E44-3BB863EB039A}"/>
          </ac:spMkLst>
        </pc:spChg>
        <pc:spChg chg="add mod replST">
          <ac:chgData name="Joelle Brehm" userId="a518f54c-6985-42c0-8041-2bb16a414839" providerId="ADAL" clId="{3C9B919C-9CFF-4DBD-AE30-72DF3107A706}" dt="2023-06-07T14:02:48.521" v="52061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3C9B919C-9CFF-4DBD-AE30-72DF3107A706}" dt="2023-06-07T14:01:42.158" v="51294"/>
          <ac:spMkLst>
            <pc:docMk/>
            <pc:sldMk cId="1459118046" sldId="288"/>
            <ac:spMk id="33" creationId="{12651DC9-0E20-E782-54FE-5E27D2FAD624}"/>
          </ac:spMkLst>
        </pc:spChg>
        <pc:spChg chg="add del mod modVis">
          <ac:chgData name="Joelle Brehm" userId="a518f54c-6985-42c0-8041-2bb16a414839" providerId="ADAL" clId="{3C9B919C-9CFF-4DBD-AE30-72DF3107A706}" dt="2023-06-07T14:02:16.096" v="51506"/>
          <ac:spMkLst>
            <pc:docMk/>
            <pc:sldMk cId="1459118046" sldId="288"/>
            <ac:spMk id="36" creationId="{C60A6469-DC9E-566F-90B8-460AF119F2E9}"/>
          </ac:spMkLst>
        </pc:spChg>
        <pc:spChg chg="add del mod modVis">
          <ac:chgData name="Joelle Brehm" userId="a518f54c-6985-42c0-8041-2bb16a414839" providerId="ADAL" clId="{3C9B919C-9CFF-4DBD-AE30-72DF3107A706}" dt="2023-06-07T14:02:19.640" v="51708"/>
          <ac:spMkLst>
            <pc:docMk/>
            <pc:sldMk cId="1459118046" sldId="288"/>
            <ac:spMk id="38" creationId="{CBD18B37-25F5-168D-95D6-0811909AA375}"/>
          </ac:spMkLst>
        </pc:spChg>
        <pc:spChg chg="add del mod modVis">
          <ac:chgData name="Joelle Brehm" userId="a518f54c-6985-42c0-8041-2bb16a414839" providerId="ADAL" clId="{3C9B919C-9CFF-4DBD-AE30-72DF3107A706}" dt="2023-06-07T14:02:35.336" v="51967"/>
          <ac:spMkLst>
            <pc:docMk/>
            <pc:sldMk cId="1459118046" sldId="288"/>
            <ac:spMk id="40" creationId="{FB8BC5FC-1566-7C11-87DE-E1167F80E96D}"/>
          </ac:spMkLst>
        </pc:spChg>
        <pc:spChg chg="add del mod modVis">
          <ac:chgData name="Joelle Brehm" userId="a518f54c-6985-42c0-8041-2bb16a414839" providerId="ADAL" clId="{3C9B919C-9CFF-4DBD-AE30-72DF3107A706}" dt="2023-06-07T14:02:48.533" v="52113"/>
          <ac:spMkLst>
            <pc:docMk/>
            <pc:sldMk cId="1459118046" sldId="288"/>
            <ac:spMk id="42" creationId="{042BBC03-E191-4FA7-F27F-2BD005268C8B}"/>
          </ac:spMkLst>
        </pc:spChg>
        <pc:spChg chg="del mod">
          <ac:chgData name="Joelle Brehm" userId="a518f54c-6985-42c0-8041-2bb16a414839" providerId="ADAL" clId="{3C9B919C-9CFF-4DBD-AE30-72DF3107A706}" dt="2023-06-07T14:02:19.495" v="51509"/>
          <ac:spMkLst>
            <pc:docMk/>
            <pc:sldMk cId="1459118046" sldId="288"/>
            <ac:spMk id="63" creationId="{8693B3C9-C216-EFA0-1967-9BD95AA1C83E}"/>
          </ac:spMkLst>
        </pc:spChg>
        <pc:spChg chg="mod">
          <ac:chgData name="Joelle Brehm" userId="a518f54c-6985-42c0-8041-2bb16a414839" providerId="ADAL" clId="{3C9B919C-9CFF-4DBD-AE30-72DF3107A706}" dt="2023-06-07T14:02:48.519" v="52051"/>
          <ac:spMkLst>
            <pc:docMk/>
            <pc:sldMk cId="1459118046" sldId="288"/>
            <ac:spMk id="67" creationId="{32D86967-F5B6-9936-B498-1283DDCD5BD7}"/>
          </ac:spMkLst>
        </pc:spChg>
        <pc:spChg chg="mod">
          <ac:chgData name="Joelle Brehm" userId="a518f54c-6985-42c0-8041-2bb16a414839" providerId="ADAL" clId="{3C9B919C-9CFF-4DBD-AE30-72DF3107A706}" dt="2023-06-07T14:02:48.519" v="52053"/>
          <ac:spMkLst>
            <pc:docMk/>
            <pc:sldMk cId="1459118046" sldId="288"/>
            <ac:spMk id="69" creationId="{E3515AE7-81C8-44F5-EAE8-D82D93DDACD6}"/>
          </ac:spMkLst>
        </pc:spChg>
        <pc:spChg chg="mod ord">
          <ac:chgData name="Joelle Brehm" userId="a518f54c-6985-42c0-8041-2bb16a414839" providerId="ADAL" clId="{3C9B919C-9CFF-4DBD-AE30-72DF3107A706}" dt="2023-06-07T14:02:48.522" v="52063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7T14:02:48.522" v="52065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3C9B919C-9CFF-4DBD-AE30-72DF3107A706}" dt="2023-06-07T14:02:48.528" v="52093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3C9B919C-9CFF-4DBD-AE30-72DF3107A706}" dt="2023-06-07T14:02:48.526" v="52084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3C9B919C-9CFF-4DBD-AE30-72DF3107A706}" dt="2023-06-07T14:02:48.524" v="52077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3C9B919C-9CFF-4DBD-AE30-72DF3107A706}" dt="2023-06-07T14:02:48.526" v="52087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3C9B919C-9CFF-4DBD-AE30-72DF3107A706}" dt="2023-06-07T14:02:48.526" v="52085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3C9B919C-9CFF-4DBD-AE30-72DF3107A706}" dt="2023-06-07T14:02:48.527" v="52089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3C9B919C-9CFF-4DBD-AE30-72DF3107A706}" dt="2023-06-07T14:02:48.523" v="52067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3C9B919C-9CFF-4DBD-AE30-72DF3107A706}" dt="2023-06-07T14:02:48.526" v="52083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3C9B919C-9CFF-4DBD-AE30-72DF3107A706}" dt="2023-06-07T14:02:48.526" v="52086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3C9B919C-9CFF-4DBD-AE30-72DF3107A706}" dt="2023-06-07T14:02:48.527" v="52090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3C9B919C-9CFF-4DBD-AE30-72DF3107A706}" dt="2023-06-07T14:02:48.527" v="52088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3C9B919C-9CFF-4DBD-AE30-72DF3107A706}" dt="2023-06-07T14:02:48.527" v="52091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3C9B919C-9CFF-4DBD-AE30-72DF3107A706}" dt="2023-06-07T14:02:48.528" v="52092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3C9B919C-9CFF-4DBD-AE30-72DF3107A706}" dt="2023-06-07T14:02:48.525" v="52082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3C9B919C-9CFF-4DBD-AE30-72DF3107A706}" dt="2023-06-07T14:02:48.523" v="52069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7T14:02:48.523" v="52071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7T14:02:48.524" v="52073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7T14:02:48.529" v="52095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3C9B919C-9CFF-4DBD-AE30-72DF3107A706}" dt="2023-06-07T14:02:48.528" v="52094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3C9B919C-9CFF-4DBD-AE30-72DF3107A706}" dt="2023-06-07T14:02:48.529" v="52096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3C9B919C-9CFF-4DBD-AE30-72DF3107A706}" dt="2023-06-07T14:02:48.529" v="52098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3C9B919C-9CFF-4DBD-AE30-72DF3107A706}" dt="2023-06-07T14:02:48.529" v="52099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3C9B919C-9CFF-4DBD-AE30-72DF3107A706}" dt="2023-06-07T14:02:48.530" v="52100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3C9B919C-9CFF-4DBD-AE30-72DF3107A706}" dt="2023-06-07T14:02:48.530" v="52102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3C9B919C-9CFF-4DBD-AE30-72DF3107A706}" dt="2023-06-07T14:02:48.530" v="52101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3C9B919C-9CFF-4DBD-AE30-72DF3107A706}" dt="2023-06-07T14:02:48.532" v="52108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3C9B919C-9CFF-4DBD-AE30-72DF3107A706}" dt="2023-06-07T14:02:48.531" v="52106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3C9B919C-9CFF-4DBD-AE30-72DF3107A706}" dt="2023-06-07T14:02:48.531" v="52105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3C9B919C-9CFF-4DBD-AE30-72DF3107A706}" dt="2023-06-07T14:02:48.531" v="52107"/>
          <ac:spMkLst>
            <pc:docMk/>
            <pc:sldMk cId="1459118046" sldId="288"/>
            <ac:spMk id="179" creationId="{2DB7AD78-1CB7-4520-A137-CDF9BD645C94}"/>
          </ac:spMkLst>
        </pc:spChg>
        <pc:spChg chg="mod">
          <ac:chgData name="Joelle Brehm" userId="a518f54c-6985-42c0-8041-2bb16a414839" providerId="ADAL" clId="{3C9B919C-9CFF-4DBD-AE30-72DF3107A706}" dt="2023-06-07T14:02:48.532" v="52109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3C9B919C-9CFF-4DBD-AE30-72DF3107A706}" dt="2023-06-07T14:02:48.547" v="52115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2:48.525" v="52081"/>
          <ac:graphicFrameMkLst>
            <pc:docMk/>
            <pc:sldMk cId="1459118046" sldId="288"/>
            <ac:graphicFrameMk id="9" creationId="{DDE1F1D2-AA37-EAA8-0BB4-876C1DD22291}"/>
          </ac:graphicFrameMkLst>
        </pc:graphicFrameChg>
        <pc:graphicFrameChg chg="del">
          <ac:chgData name="Joelle Brehm" userId="a518f54c-6985-42c0-8041-2bb16a414839" providerId="ADAL" clId="{3C9B919C-9CFF-4DBD-AE30-72DF3107A706}" dt="2023-06-07T13:58:50.565" v="48469"/>
          <ac:graphicFrameMkLst>
            <pc:docMk/>
            <pc:sldMk cId="1459118046" sldId="288"/>
            <ac:graphicFrameMk id="10" creationId="{EC5A87D1-B670-7BC0-8451-44CFFF581359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2:35.276" v="51885"/>
          <ac:graphicFrameMkLst>
            <pc:docMk/>
            <pc:sldMk cId="1459118046" sldId="288"/>
            <ac:graphicFrameMk id="22" creationId="{C6E583B8-413B-2AFB-FB10-BE6846C1F1A3}"/>
          </ac:graphicFrameMkLst>
        </pc:graphicFrameChg>
        <pc:graphicFrameChg chg="add mod ord replST delST">
          <ac:chgData name="Joelle Brehm" userId="a518f54c-6985-42c0-8041-2bb16a414839" providerId="ADAL" clId="{3C9B919C-9CFF-4DBD-AE30-72DF3107A706}" dt="2023-06-07T14:00:54.514" v="50682"/>
          <ac:graphicFrameMkLst>
            <pc:docMk/>
            <pc:sldMk cId="1459118046" sldId="288"/>
            <ac:graphicFrameMk id="27" creationId="{F0B0A4FB-BCF8-14AD-DED0-CF0D37EF876E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1:42.108" v="51205"/>
          <ac:graphicFrameMkLst>
            <pc:docMk/>
            <pc:sldMk cId="1459118046" sldId="288"/>
            <ac:graphicFrameMk id="34" creationId="{4C0BDA67-1ED9-FCCC-FEDB-98C0B0396A1F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2:16.039" v="51403"/>
          <ac:graphicFrameMkLst>
            <pc:docMk/>
            <pc:sldMk cId="1459118046" sldId="288"/>
            <ac:graphicFrameMk id="35" creationId="{4EC3B0FB-8CE4-F53D-CF5A-F2F998A37EC8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2:19.585" v="51626"/>
          <ac:graphicFrameMkLst>
            <pc:docMk/>
            <pc:sldMk cId="1459118046" sldId="288"/>
            <ac:graphicFrameMk id="37" creationId="{B29095B8-27C7-3A86-EDE5-78C26F6A1F44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2:48.518" v="52049"/>
          <ac:graphicFrameMkLst>
            <pc:docMk/>
            <pc:sldMk cId="1459118046" sldId="288"/>
            <ac:graphicFrameMk id="39" creationId="{B1F80FB5-974A-F9D2-900E-99BE409DB68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2:48.489" v="52031"/>
          <ac:graphicFrameMkLst>
            <pc:docMk/>
            <pc:sldMk cId="1459118046" sldId="288"/>
            <ac:graphicFrameMk id="41" creationId="{26254C7C-B126-8CF5-440D-A024CAB08FC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2:48.530" v="52104"/>
          <ac:graphicFrameMkLst>
            <pc:docMk/>
            <pc:sldMk cId="1459118046" sldId="288"/>
            <ac:graphicFrameMk id="43" creationId="{2E074BE4-F5D7-2CCF-48C1-686B5D473627}"/>
          </ac:graphicFrameMkLst>
        </pc:graphicFrameChg>
        <pc:picChg chg="del mod ord">
          <ac:chgData name="Joelle Brehm" userId="a518f54c-6985-42c0-8041-2bb16a414839" providerId="ADAL" clId="{3C9B919C-9CFF-4DBD-AE30-72DF3107A706}" dt="2023-06-07T13:59:14.325" v="48646" actId="478"/>
          <ac:picMkLst>
            <pc:docMk/>
            <pc:sldMk cId="1459118046" sldId="288"/>
            <ac:picMk id="12" creationId="{A97A80C1-A348-E7D4-4676-7D151C3A8D34}"/>
          </ac:picMkLst>
        </pc:picChg>
        <pc:picChg chg="add mod ord">
          <ac:chgData name="Joelle Brehm" userId="a518f54c-6985-42c0-8041-2bb16a414839" providerId="ADAL" clId="{3C9B919C-9CFF-4DBD-AE30-72DF3107A706}" dt="2023-06-07T14:02:48.516" v="52039"/>
          <ac:picMkLst>
            <pc:docMk/>
            <pc:sldMk cId="1459118046" sldId="288"/>
            <ac:picMk id="15" creationId="{C2F37CFA-3E18-A357-1E7F-97E402AD1E50}"/>
          </ac:picMkLst>
        </pc:picChg>
        <pc:picChg chg="mod ord">
          <ac:chgData name="Joelle Brehm" userId="a518f54c-6985-42c0-8041-2bb16a414839" providerId="ADAL" clId="{3C9B919C-9CFF-4DBD-AE30-72DF3107A706}" dt="2023-06-07T14:02:48.524" v="52075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7T14:02:48.517" v="52043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7T14:04:08.898" v="52920"/>
        <pc:sldMkLst>
          <pc:docMk/>
          <pc:sldMk cId="10849840" sldId="290"/>
        </pc:sldMkLst>
        <pc:spChg chg="add del mod">
          <ac:chgData name="Joelle Brehm" userId="a518f54c-6985-42c0-8041-2bb16a414839" providerId="ADAL" clId="{3C9B919C-9CFF-4DBD-AE30-72DF3107A706}" dt="2023-06-07T13:59:18.895" v="48647" actId="478"/>
          <ac:spMkLst>
            <pc:docMk/>
            <pc:sldMk cId="10849840" sldId="290"/>
            <ac:spMk id="2" creationId="{434A752C-38D9-CFF4-9060-9D1A708260AF}"/>
          </ac:spMkLst>
        </pc:spChg>
        <pc:spChg chg="mod ord">
          <ac:chgData name="Joelle Brehm" userId="a518f54c-6985-42c0-8041-2bb16a414839" providerId="ADAL" clId="{3C9B919C-9CFF-4DBD-AE30-72DF3107A706}" dt="2023-06-07T14:04:08.889" v="52916"/>
          <ac:spMkLst>
            <pc:docMk/>
            <pc:sldMk cId="10849840" sldId="290"/>
            <ac:spMk id="3" creationId="{FEC2577F-AB16-4713-8FC2-F4589EF3DD34}"/>
          </ac:spMkLst>
        </pc:spChg>
        <pc:spChg chg="add mod replST">
          <ac:chgData name="Joelle Brehm" userId="a518f54c-6985-42c0-8041-2bb16a414839" providerId="ADAL" clId="{3C9B919C-9CFF-4DBD-AE30-72DF3107A706}" dt="2023-06-07T14:04:08.883" v="52887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3C9B919C-9CFF-4DBD-AE30-72DF3107A706}" dt="2023-06-07T14:04:08.873" v="52848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3C9B919C-9CFF-4DBD-AE30-72DF3107A706}" dt="2023-06-07T13:59:26.386" v="49330"/>
          <ac:spMkLst>
            <pc:docMk/>
            <pc:sldMk cId="10849840" sldId="290"/>
            <ac:spMk id="8" creationId="{07661281-A2CC-9601-18F6-72D4973F6311}"/>
          </ac:spMkLst>
        </pc:spChg>
        <pc:spChg chg="add del mod ord replST">
          <ac:chgData name="Joelle Brehm" userId="a518f54c-6985-42c0-8041-2bb16a414839" providerId="ADAL" clId="{3C9B919C-9CFF-4DBD-AE30-72DF3107A706}" dt="2023-06-07T13:59:33.589" v="49817"/>
          <ac:spMkLst>
            <pc:docMk/>
            <pc:sldMk cId="10849840" sldId="290"/>
            <ac:spMk id="1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4:08.874" v="52856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7T14:04:08.874" v="52855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7T14:04:08.875" v="52857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7T14:04:08.874" v="52853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7T14:04:08.874" v="52854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7T14:04:08.875" v="52859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7T14:04:08.875" v="52858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7T14:04:08.876" v="52860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7T14:04:08.876" v="52861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7T14:04:08.876" v="52862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7T14:04:08.876" v="52863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7T14:04:08.877" v="52864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7T14:04:08.877" v="52866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7T14:04:08.877" v="52867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7T14:04:08.877" v="52868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7T14:04:08.878" v="52869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7T14:04:08.879" v="52874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7T14:04:08.878" v="52872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7T14:04:08.879" v="52873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7T14:04:08.880" v="52877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7T14:04:08.882" v="52885"/>
          <ac:spMkLst>
            <pc:docMk/>
            <pc:sldMk cId="10849840" sldId="290"/>
            <ac:spMk id="31" creationId="{7AB81A3E-9DE7-CB71-14B7-5B53FD3178AE}"/>
          </ac:spMkLst>
        </pc:spChg>
        <pc:spChg chg="mod">
          <ac:chgData name="Joelle Brehm" userId="a518f54c-6985-42c0-8041-2bb16a414839" providerId="ADAL" clId="{3C9B919C-9CFF-4DBD-AE30-72DF3107A706}" dt="2023-06-07T14:04:08.882" v="52884"/>
          <ac:spMkLst>
            <pc:docMk/>
            <pc:sldMk cId="10849840" sldId="290"/>
            <ac:spMk id="32" creationId="{47DE593B-1A30-2341-AF40-57CA8B07E1EE}"/>
          </ac:spMkLst>
        </pc:spChg>
        <pc:spChg chg="mod">
          <ac:chgData name="Joelle Brehm" userId="a518f54c-6985-42c0-8041-2bb16a414839" providerId="ADAL" clId="{3C9B919C-9CFF-4DBD-AE30-72DF3107A706}" dt="2023-06-07T14:04:08.881" v="52882"/>
          <ac:spMkLst>
            <pc:docMk/>
            <pc:sldMk cId="10849840" sldId="290"/>
            <ac:spMk id="34" creationId="{2324DD3B-E106-01D1-4B12-42A8E001839F}"/>
          </ac:spMkLst>
        </pc:spChg>
        <pc:spChg chg="mod">
          <ac:chgData name="Joelle Brehm" userId="a518f54c-6985-42c0-8041-2bb16a414839" providerId="ADAL" clId="{3C9B919C-9CFF-4DBD-AE30-72DF3107A706}" dt="2023-06-07T14:04:08.880" v="52881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3C9B919C-9CFF-4DBD-AE30-72DF3107A706}" dt="2023-06-07T14:04:08.882" v="52886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3C9B919C-9CFF-4DBD-AE30-72DF3107A706}" dt="2023-06-07T14:04:08.878" v="52871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3C9B919C-9CFF-4DBD-AE30-72DF3107A706}" dt="2023-06-07T14:04:08.883" v="52888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3C9B919C-9CFF-4DBD-AE30-72DF3107A706}" dt="2023-06-07T14:04:08.883" v="52889"/>
          <ac:spMkLst>
            <pc:docMk/>
            <pc:sldMk cId="10849840" sldId="290"/>
            <ac:spMk id="39" creationId="{810C784D-B902-D4A3-E0DE-5483A97F9C49}"/>
          </ac:spMkLst>
        </pc:spChg>
        <pc:spChg chg="add del mod modVis">
          <ac:chgData name="Joelle Brehm" userId="a518f54c-6985-42c0-8041-2bb16a414839" providerId="ADAL" clId="{3C9B919C-9CFF-4DBD-AE30-72DF3107A706}" dt="2023-06-07T13:59:27.461" v="49541"/>
          <ac:spMkLst>
            <pc:docMk/>
            <pc:sldMk cId="10849840" sldId="290"/>
            <ac:spMk id="41" creationId="{86665E89-AE27-7502-9FFA-714149D3DD14}"/>
          </ac:spMkLst>
        </pc:spChg>
        <pc:spChg chg="add del mod modVis">
          <ac:chgData name="Joelle Brehm" userId="a518f54c-6985-42c0-8041-2bb16a414839" providerId="ADAL" clId="{3C9B919C-9CFF-4DBD-AE30-72DF3107A706}" dt="2023-06-07T13:59:29.939" v="49746"/>
          <ac:spMkLst>
            <pc:docMk/>
            <pc:sldMk cId="10849840" sldId="290"/>
            <ac:spMk id="43" creationId="{D5E2DBEE-AF36-95EB-8EFC-7E44B7DFA925}"/>
          </ac:spMkLst>
        </pc:spChg>
        <pc:spChg chg="mod">
          <ac:chgData name="Joelle Brehm" userId="a518f54c-6985-42c0-8041-2bb16a414839" providerId="ADAL" clId="{3C9B919C-9CFF-4DBD-AE30-72DF3107A706}" dt="2023-06-07T14:04:08.884" v="52890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3C9B919C-9CFF-4DBD-AE30-72DF3107A706}" dt="2023-06-07T14:04:08.884" v="52891"/>
          <ac:spMkLst>
            <pc:docMk/>
            <pc:sldMk cId="10849840" sldId="290"/>
            <ac:spMk id="46" creationId="{3E1C433A-5376-E641-B9A1-4367058A9B7F}"/>
          </ac:spMkLst>
        </pc:spChg>
        <pc:spChg chg="add del mod modVis">
          <ac:chgData name="Joelle Brehm" userId="a518f54c-6985-42c0-8041-2bb16a414839" providerId="ADAL" clId="{3C9B919C-9CFF-4DBD-AE30-72DF3107A706}" dt="2023-06-07T13:59:33.624" v="49901"/>
          <ac:spMkLst>
            <pc:docMk/>
            <pc:sldMk cId="10849840" sldId="290"/>
            <ac:spMk id="48" creationId="{415DE2B0-C142-F929-D1AF-CBD762C54BA1}"/>
          </ac:spMkLst>
        </pc:spChg>
        <pc:spChg chg="add del mod modVis">
          <ac:chgData name="Joelle Brehm" userId="a518f54c-6985-42c0-8041-2bb16a414839" providerId="ADAL" clId="{3C9B919C-9CFF-4DBD-AE30-72DF3107A706}" dt="2023-06-07T14:00:29.627" v="50156"/>
          <ac:spMkLst>
            <pc:docMk/>
            <pc:sldMk cId="10849840" sldId="290"/>
            <ac:spMk id="50" creationId="{00E1A958-7F3E-7AE8-19A1-62A4C33E1F07}"/>
          </ac:spMkLst>
        </pc:spChg>
        <pc:spChg chg="add del mod modVis">
          <ac:chgData name="Joelle Brehm" userId="a518f54c-6985-42c0-8041-2bb16a414839" providerId="ADAL" clId="{3C9B919C-9CFF-4DBD-AE30-72DF3107A706}" dt="2023-06-07T14:03:03.173" v="52314"/>
          <ac:spMkLst>
            <pc:docMk/>
            <pc:sldMk cId="10849840" sldId="290"/>
            <ac:spMk id="53" creationId="{7C4B8A7E-3766-5FFD-2CF7-EDCC7A6C941E}"/>
          </ac:spMkLst>
        </pc:spChg>
        <pc:spChg chg="add del mod modVis">
          <ac:chgData name="Joelle Brehm" userId="a518f54c-6985-42c0-8041-2bb16a414839" providerId="ADAL" clId="{3C9B919C-9CFF-4DBD-AE30-72DF3107A706}" dt="2023-06-07T14:03:54.120" v="52554"/>
          <ac:spMkLst>
            <pc:docMk/>
            <pc:sldMk cId="10849840" sldId="290"/>
            <ac:spMk id="57" creationId="{E27FABAC-3FC2-6541-8664-58971F44DB5D}"/>
          </ac:spMkLst>
        </pc:spChg>
        <pc:spChg chg="add del mod modVis">
          <ac:chgData name="Joelle Brehm" userId="a518f54c-6985-42c0-8041-2bb16a414839" providerId="ADAL" clId="{3C9B919C-9CFF-4DBD-AE30-72DF3107A706}" dt="2023-06-07T14:04:03.495" v="52815"/>
          <ac:spMkLst>
            <pc:docMk/>
            <pc:sldMk cId="10849840" sldId="290"/>
            <ac:spMk id="59" creationId="{39FF565A-E0D0-B6B6-F11F-FAF018B80DEF}"/>
          </ac:spMkLst>
        </pc:spChg>
        <pc:spChg chg="mod ord">
          <ac:chgData name="Joelle Brehm" userId="a518f54c-6985-42c0-8041-2bb16a414839" providerId="ADAL" clId="{3C9B919C-9CFF-4DBD-AE30-72DF3107A706}" dt="2023-06-07T14:04:08.889" v="52914"/>
          <ac:spMkLst>
            <pc:docMk/>
            <pc:sldMk cId="10849840" sldId="290"/>
            <ac:spMk id="60" creationId="{AB5689A7-20F6-4DF1-88AE-FB8557333BFB}"/>
          </ac:spMkLst>
        </pc:spChg>
        <pc:spChg chg="mod">
          <ac:chgData name="Joelle Brehm" userId="a518f54c-6985-42c0-8041-2bb16a414839" providerId="ADAL" clId="{3C9B919C-9CFF-4DBD-AE30-72DF3107A706}" dt="2023-06-07T14:04:08.880" v="52880"/>
          <ac:spMkLst>
            <pc:docMk/>
            <pc:sldMk cId="10849840" sldId="290"/>
            <ac:spMk id="65" creationId="{08A8FFCA-5E7A-95C9-8AC6-A7A03935606F}"/>
          </ac:spMkLst>
        </pc:spChg>
        <pc:spChg chg="mod">
          <ac:chgData name="Joelle Brehm" userId="a518f54c-6985-42c0-8041-2bb16a414839" providerId="ADAL" clId="{3C9B919C-9CFF-4DBD-AE30-72DF3107A706}" dt="2023-06-07T14:04:08.881" v="52883"/>
          <ac:spMkLst>
            <pc:docMk/>
            <pc:sldMk cId="10849840" sldId="290"/>
            <ac:spMk id="71" creationId="{AFA698B7-287C-7ADA-5B16-273A59634E79}"/>
          </ac:spMkLst>
        </pc:spChg>
        <pc:spChg chg="mod">
          <ac:chgData name="Joelle Brehm" userId="a518f54c-6985-42c0-8041-2bb16a414839" providerId="ADAL" clId="{3C9B919C-9CFF-4DBD-AE30-72DF3107A706}" dt="2023-06-07T14:04:08.879" v="52875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7T14:04:08.884" v="52893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7T14:04:08.885" v="52895"/>
          <ac:spMkLst>
            <pc:docMk/>
            <pc:sldMk cId="10849840" sldId="290"/>
            <ac:spMk id="79" creationId="{F1476AC4-694B-4D83-BFD8-8DCAA4BB1923}"/>
          </ac:spMkLst>
        </pc:spChg>
        <pc:spChg chg="del mod">
          <ac:chgData name="Joelle Brehm" userId="a518f54c-6985-42c0-8041-2bb16a414839" providerId="ADAL" clId="{3C9B919C-9CFF-4DBD-AE30-72DF3107A706}" dt="2023-06-07T13:59:29.805" v="49544"/>
          <ac:spMkLst>
            <pc:docMk/>
            <pc:sldMk cId="10849840" sldId="290"/>
            <ac:spMk id="81" creationId="{8ED9272B-C38D-5DC6-0AD3-B7478B52DBBD}"/>
          </ac:spMkLst>
        </pc:spChg>
        <pc:spChg chg="mod ord">
          <ac:chgData name="Joelle Brehm" userId="a518f54c-6985-42c0-8041-2bb16a414839" providerId="ADAL" clId="{3C9B919C-9CFF-4DBD-AE30-72DF3107A706}" dt="2023-06-07T14:04:08.885" v="52897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7T14:04:08.885" v="52899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7T14:04:08.886" v="52901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7T14:04:08.886" v="52903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7T14:04:08.887" v="52907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4:08.887" v="52909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4:08.888" v="52910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4:08.887" v="52908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7T14:04:08.887" v="52906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7T14:04:08.898" v="52920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0:29.570" v="50072"/>
          <ac:graphicFrameMkLst>
            <pc:docMk/>
            <pc:sldMk cId="10849840" sldId="290"/>
            <ac:graphicFrameMk id="9" creationId="{20B3C904-4885-AD98-18DF-8257D7E264EE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3:59:27.403" v="49436"/>
          <ac:graphicFrameMkLst>
            <pc:docMk/>
            <pc:sldMk cId="10849840" sldId="290"/>
            <ac:graphicFrameMk id="40" creationId="{F090D449-FD01-7B91-0A04-236DE361CD0A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3:59:29.897" v="49662"/>
          <ac:graphicFrameMkLst>
            <pc:docMk/>
            <pc:sldMk cId="10849840" sldId="290"/>
            <ac:graphicFrameMk id="42" creationId="{8CE9F13B-D9F8-66BF-19CF-62A692B5F203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4:03.443" v="52733"/>
          <ac:graphicFrameMkLst>
            <pc:docMk/>
            <pc:sldMk cId="10849840" sldId="290"/>
            <ac:graphicFrameMk id="45" creationId="{911620A5-F84D-0679-0BA1-FE3C0D936547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3:59:33.589" v="49819"/>
          <ac:graphicFrameMkLst>
            <pc:docMk/>
            <pc:sldMk cId="10849840" sldId="290"/>
            <ac:graphicFrameMk id="47" creationId="{7D0BB061-EA5D-8707-062C-7257E048CB0E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3:54.044" v="52472"/>
          <ac:graphicFrameMkLst>
            <pc:docMk/>
            <pc:sldMk cId="10849840" sldId="290"/>
            <ac:graphicFrameMk id="49" creationId="{871EC643-D56D-1957-8218-DF2E2CDD531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3:03.118" v="52224"/>
          <ac:graphicFrameMkLst>
            <pc:docMk/>
            <pc:sldMk cId="10849840" sldId="290"/>
            <ac:graphicFrameMk id="51" creationId="{AE4F2FCA-1309-DF5C-8A69-0E148D47BDB6}"/>
          </ac:graphicFrameMkLst>
        </pc:graphicFrameChg>
        <pc:graphicFrameChg chg="del">
          <ac:chgData name="Joelle Brehm" userId="a518f54c-6985-42c0-8041-2bb16a414839" providerId="ADAL" clId="{3C9B919C-9CFF-4DBD-AE30-72DF3107A706}" dt="2023-06-07T13:59:26.323" v="49239"/>
          <ac:graphicFrameMkLst>
            <pc:docMk/>
            <pc:sldMk cId="10849840" sldId="290"/>
            <ac:graphicFrameMk id="54" creationId="{A0BC5DCC-EE8C-40F1-4981-6EA6549CDF10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4:08.873" v="52852"/>
          <ac:graphicFrameMkLst>
            <pc:docMk/>
            <pc:sldMk cId="10849840" sldId="290"/>
            <ac:graphicFrameMk id="55" creationId="{9ED65528-39A7-8187-F069-8D437EFD3B83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4:08.880" v="52879"/>
          <ac:graphicFrameMkLst>
            <pc:docMk/>
            <pc:sldMk cId="10849840" sldId="290"/>
            <ac:graphicFrameMk id="58" creationId="{A52CB224-BC64-35C1-F3FF-E0CCFDE9A88D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4:08.848" v="52838"/>
          <ac:graphicFrameMkLst>
            <pc:docMk/>
            <pc:sldMk cId="10849840" sldId="290"/>
            <ac:graphicFrameMk id="61" creationId="{4773072D-42E7-2A40-84FD-E189DE1AEA59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4:08.886" v="52905"/>
          <ac:graphicFrameMkLst>
            <pc:docMk/>
            <pc:sldMk cId="10849840" sldId="290"/>
            <ac:graphicFrameMk id="62" creationId="{D10AA92C-678B-285C-4B7C-CD5CACA0D606}"/>
          </ac:graphicFrameMkLst>
        </pc:graphicFrameChg>
        <pc:picChg chg="del mod ord">
          <ac:chgData name="Joelle Brehm" userId="a518f54c-6985-42c0-8041-2bb16a414839" providerId="ADAL" clId="{3C9B919C-9CFF-4DBD-AE30-72DF3107A706}" dt="2023-06-07T14:03:10.753" v="52317" actId="478"/>
          <ac:picMkLst>
            <pc:docMk/>
            <pc:sldMk cId="10849840" sldId="290"/>
            <ac:picMk id="33" creationId="{77A48385-2D94-004F-6CA5-2C36C987E210}"/>
          </ac:picMkLst>
        </pc:picChg>
        <pc:picChg chg="add del mod ord">
          <ac:chgData name="Joelle Brehm" userId="a518f54c-6985-42c0-8041-2bb16a414839" providerId="ADAL" clId="{3C9B919C-9CFF-4DBD-AE30-72DF3107A706}" dt="2023-06-07T14:03:28.966" v="52402" actId="478"/>
          <ac:picMkLst>
            <pc:docMk/>
            <pc:sldMk cId="10849840" sldId="290"/>
            <ac:picMk id="52" creationId="{4AB3DBFF-5F6F-CA27-88AF-7E06C81639D0}"/>
          </ac:picMkLst>
        </pc:picChg>
        <pc:picChg chg="add mod ord">
          <ac:chgData name="Joelle Brehm" userId="a518f54c-6985-42c0-8041-2bb16a414839" providerId="ADAL" clId="{3C9B919C-9CFF-4DBD-AE30-72DF3107A706}" dt="2023-06-07T14:04:08.872" v="52846"/>
          <ac:picMkLst>
            <pc:docMk/>
            <pc:sldMk cId="10849840" sldId="290"/>
            <ac:picMk id="56" creationId="{B9DA40A5-458C-A552-F701-C452E6ED87E2}"/>
          </ac:picMkLst>
        </pc:picChg>
        <pc:picChg chg="mod ord">
          <ac:chgData name="Joelle Brehm" userId="a518f54c-6985-42c0-8041-2bb16a414839" providerId="ADAL" clId="{3C9B919C-9CFF-4DBD-AE30-72DF3107A706}" dt="2023-06-07T14:04:08.888" v="52912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7T14:04:08.873" v="52850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7T14:08:44.156" v="56791"/>
        <pc:sldMkLst>
          <pc:docMk/>
          <pc:sldMk cId="996393659" sldId="291"/>
        </pc:sldMkLst>
        <pc:spChg chg="mod ord">
          <ac:chgData name="Joelle Brehm" userId="a518f54c-6985-42c0-8041-2bb16a414839" providerId="ADAL" clId="{3C9B919C-9CFF-4DBD-AE30-72DF3107A706}" dt="2023-06-07T14:08:44.146" v="56785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3C9B919C-9CFF-4DBD-AE30-72DF3107A706}" dt="2023-06-07T14:06:56.639" v="55119" actId="478"/>
          <ac:spMkLst>
            <pc:docMk/>
            <pc:sldMk cId="996393659" sldId="291"/>
            <ac:spMk id="3" creationId="{0B8E1ED8-CE60-37F3-1A14-36C908755BCB}"/>
          </ac:spMkLst>
        </pc:spChg>
        <pc:spChg chg="add del mod modVis">
          <ac:chgData name="Joelle Brehm" userId="a518f54c-6985-42c0-8041-2bb16a414839" providerId="ADAL" clId="{3C9B919C-9CFF-4DBD-AE30-72DF3107A706}" dt="2023-06-07T14:07:07.613" v="55389"/>
          <ac:spMkLst>
            <pc:docMk/>
            <pc:sldMk cId="996393659" sldId="291"/>
            <ac:spMk id="5" creationId="{C9E9366B-E73B-A789-41C5-D3292646A335}"/>
          </ac:spMkLst>
        </pc:spChg>
        <pc:spChg chg="mod ord">
          <ac:chgData name="Joelle Brehm" userId="a518f54c-6985-42c0-8041-2bb16a414839" providerId="ADAL" clId="{3C9B919C-9CFF-4DBD-AE30-72DF3107A706}" dt="2023-06-07T14:08:44.128" v="56717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7T14:08:44.131" v="56729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7T14:08:44.130" v="56727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7T14:08:44.130" v="56726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7T14:08:44.129" v="56723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7T14:08:44.129" v="56724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7T14:08:44.130" v="56728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7T14:08:44.130" v="56725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7T14:08:44.129" v="56722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7T14:08:44.131" v="56730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7T14:08:44.131" v="56731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7T14:08:44.131" v="56732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7T14:08:44.132" v="56733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7T14:08:44.132" v="56735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7T14:08:44.133" v="56738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7T14:08:44.132" v="56736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7T14:08:44.132" v="56737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7T14:08:44.134" v="56744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7T14:08:44.133" v="56741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7T14:08:44.134" v="56743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7T14:08:44.135" v="56746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7T14:08:44.136" v="56750"/>
          <ac:spMkLst>
            <pc:docMk/>
            <pc:sldMk cId="996393659" sldId="291"/>
            <ac:spMk id="31" creationId="{18F84874-BF1C-CE57-E4F7-12A82924407E}"/>
          </ac:spMkLst>
        </pc:spChg>
        <pc:spChg chg="mod">
          <ac:chgData name="Joelle Brehm" userId="a518f54c-6985-42c0-8041-2bb16a414839" providerId="ADAL" clId="{3C9B919C-9CFF-4DBD-AE30-72DF3107A706}" dt="2023-06-07T14:08:44.138" v="56754"/>
          <ac:spMkLst>
            <pc:docMk/>
            <pc:sldMk cId="996393659" sldId="291"/>
            <ac:spMk id="33" creationId="{7F65E50F-0922-5AA2-A553-47A66BCD0434}"/>
          </ac:spMkLst>
        </pc:spChg>
        <pc:spChg chg="mod">
          <ac:chgData name="Joelle Brehm" userId="a518f54c-6985-42c0-8041-2bb16a414839" providerId="ADAL" clId="{3C9B919C-9CFF-4DBD-AE30-72DF3107A706}" dt="2023-06-07T14:08:44.137" v="56753"/>
          <ac:spMkLst>
            <pc:docMk/>
            <pc:sldMk cId="996393659" sldId="291"/>
            <ac:spMk id="34" creationId="{93CE5F4B-80AA-6CF5-D97D-0127CD5DB126}"/>
          </ac:spMkLst>
        </pc:spChg>
        <pc:spChg chg="mod">
          <ac:chgData name="Joelle Brehm" userId="a518f54c-6985-42c0-8041-2bb16a414839" providerId="ADAL" clId="{3C9B919C-9CFF-4DBD-AE30-72DF3107A706}" dt="2023-06-07T14:08:44.138" v="56755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3C9B919C-9CFF-4DBD-AE30-72DF3107A706}" dt="2023-06-07T14:08:44.138" v="56756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3C9B919C-9CFF-4DBD-AE30-72DF3107A706}" dt="2023-06-07T14:08:44.133" v="56740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3C9B919C-9CFF-4DBD-AE30-72DF3107A706}" dt="2023-06-07T14:08:44.137" v="56752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3C9B919C-9CFF-4DBD-AE30-72DF3107A706}" dt="2023-06-07T14:08:44.139" v="56757"/>
          <ac:spMkLst>
            <pc:docMk/>
            <pc:sldMk cId="996393659" sldId="291"/>
            <ac:spMk id="39" creationId="{63684D46-546D-B41E-0863-73E06E68A018}"/>
          </ac:spMkLst>
        </pc:spChg>
        <pc:spChg chg="add mod replST">
          <ac:chgData name="Joelle Brehm" userId="a518f54c-6985-42c0-8041-2bb16a414839" providerId="ADAL" clId="{3C9B919C-9CFF-4DBD-AE30-72DF3107A706}" dt="2023-06-07T14:08:44.140" v="56760"/>
          <ac:spMkLst>
            <pc:docMk/>
            <pc:sldMk cId="996393659" sldId="291"/>
            <ac:spMk id="40" creationId="{A8312A9A-B611-54E0-AD6D-1D2A98468FCC}"/>
          </ac:spMkLst>
        </pc:spChg>
        <pc:spChg chg="add del mod modVis">
          <ac:chgData name="Joelle Brehm" userId="a518f54c-6985-42c0-8041-2bb16a414839" providerId="ADAL" clId="{3C9B919C-9CFF-4DBD-AE30-72DF3107A706}" dt="2023-06-07T14:08:24.279" v="56122"/>
          <ac:spMkLst>
            <pc:docMk/>
            <pc:sldMk cId="996393659" sldId="291"/>
            <ac:spMk id="41" creationId="{F55618A8-B11A-EAA9-EB57-52926A49CA64}"/>
          </ac:spMkLst>
        </pc:spChg>
        <pc:spChg chg="mod">
          <ac:chgData name="Joelle Brehm" userId="a518f54c-6985-42c0-8041-2bb16a414839" providerId="ADAL" clId="{3C9B919C-9CFF-4DBD-AE30-72DF3107A706}" dt="2023-06-07T14:08:44.139" v="56758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3C9B919C-9CFF-4DBD-AE30-72DF3107A706}" dt="2023-06-07T14:08:44.139" v="56759"/>
          <ac:spMkLst>
            <pc:docMk/>
            <pc:sldMk cId="996393659" sldId="291"/>
            <ac:spMk id="44" creationId="{DFD20995-23FA-9A59-8153-A2DE50612FF0}"/>
          </ac:spMkLst>
        </pc:spChg>
        <pc:spChg chg="add del mod modVis">
          <ac:chgData name="Joelle Brehm" userId="a518f54c-6985-42c0-8041-2bb16a414839" providerId="ADAL" clId="{3C9B919C-9CFF-4DBD-AE30-72DF3107A706}" dt="2023-06-07T14:08:25.656" v="56332"/>
          <ac:spMkLst>
            <pc:docMk/>
            <pc:sldMk cId="996393659" sldId="291"/>
            <ac:spMk id="46" creationId="{4BC75121-C8E1-1560-D626-FD233D6D8754}"/>
          </ac:spMkLst>
        </pc:spChg>
        <pc:spChg chg="add del mod modVis">
          <ac:chgData name="Joelle Brehm" userId="a518f54c-6985-42c0-8041-2bb16a414839" providerId="ADAL" clId="{3C9B919C-9CFF-4DBD-AE30-72DF3107A706}" dt="2023-06-07T14:08:28.059" v="56530"/>
          <ac:spMkLst>
            <pc:docMk/>
            <pc:sldMk cId="996393659" sldId="291"/>
            <ac:spMk id="48" creationId="{EFC5B4FD-0BAD-E9DF-6984-07F3F0FF6D70}"/>
          </ac:spMkLst>
        </pc:spChg>
        <pc:spChg chg="add del mod modVis">
          <ac:chgData name="Joelle Brehm" userId="a518f54c-6985-42c0-8041-2bb16a414839" providerId="ADAL" clId="{3C9B919C-9CFF-4DBD-AE30-72DF3107A706}" dt="2023-06-07T14:08:44.147" v="56789"/>
          <ac:spMkLst>
            <pc:docMk/>
            <pc:sldMk cId="996393659" sldId="291"/>
            <ac:spMk id="50" creationId="{561DF6D9-FA31-B1F3-ADD8-36BD9AA228A9}"/>
          </ac:spMkLst>
        </pc:spChg>
        <pc:spChg chg="del mod">
          <ac:chgData name="Joelle Brehm" userId="a518f54c-6985-42c0-8041-2bb16a414839" providerId="ADAL" clId="{3C9B919C-9CFF-4DBD-AE30-72DF3107A706}" dt="2023-06-07T14:08:27.913" v="56335"/>
          <ac:spMkLst>
            <pc:docMk/>
            <pc:sldMk cId="996393659" sldId="291"/>
            <ac:spMk id="61" creationId="{56C6AB84-0FCB-25CD-7CE5-0CC56CF7CBC2}"/>
          </ac:spMkLst>
        </pc:spChg>
        <pc:spChg chg="mod">
          <ac:chgData name="Joelle Brehm" userId="a518f54c-6985-42c0-8041-2bb16a414839" providerId="ADAL" clId="{3C9B919C-9CFF-4DBD-AE30-72DF3107A706}" dt="2023-06-07T14:08:44.136" v="56749"/>
          <ac:spMkLst>
            <pc:docMk/>
            <pc:sldMk cId="996393659" sldId="291"/>
            <ac:spMk id="65" creationId="{E10362A7-9270-C772-78D4-2D35EE58F409}"/>
          </ac:spMkLst>
        </pc:spChg>
        <pc:spChg chg="mod">
          <ac:chgData name="Joelle Brehm" userId="a518f54c-6985-42c0-8041-2bb16a414839" providerId="ADAL" clId="{3C9B919C-9CFF-4DBD-AE30-72DF3107A706}" dt="2023-06-07T14:08:44.136" v="56751"/>
          <ac:spMkLst>
            <pc:docMk/>
            <pc:sldMk cId="996393659" sldId="291"/>
            <ac:spMk id="67" creationId="{E8964985-DC27-BEA5-4249-CD30EFCD5B61}"/>
          </ac:spMkLst>
        </pc:spChg>
        <pc:spChg chg="mod">
          <ac:chgData name="Joelle Brehm" userId="a518f54c-6985-42c0-8041-2bb16a414839" providerId="ADAL" clId="{3C9B919C-9CFF-4DBD-AE30-72DF3107A706}" dt="2023-06-07T14:08:44.133" v="56742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7T14:08:44.140" v="56762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7T14:08:44.141" v="56764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7T14:08:44.146" v="56783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3C9B919C-9CFF-4DBD-AE30-72DF3107A706}" dt="2023-06-07T14:08:44.142" v="56766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7T14:08:44.142" v="56768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7T14:08:44.143" v="56770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7T14:08:44.143" v="56772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7T14:08:44.144" v="56776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8:44.144" v="56777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8:44.145" v="56778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8:44.144" v="56775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7T14:08:44.145" v="56779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7T14:08:44.156" v="56791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8:44.129" v="56721"/>
          <ac:graphicFrameMkLst>
            <pc:docMk/>
            <pc:sldMk cId="996393659" sldId="291"/>
            <ac:graphicFrameMk id="8" creationId="{0475B4BF-9365-6A58-A3E9-5D5B0F0C2E52}"/>
          </ac:graphicFrameMkLst>
        </pc:graphicFrameChg>
        <pc:graphicFrameChg chg="del">
          <ac:chgData name="Joelle Brehm" userId="a518f54c-6985-42c0-8041-2bb16a414839" providerId="ADAL" clId="{3C9B919C-9CFF-4DBD-AE30-72DF3107A706}" dt="2023-06-07T14:07:07.559" v="55301"/>
          <ac:graphicFrameMkLst>
            <pc:docMk/>
            <pc:sldMk cId="996393659" sldId="291"/>
            <ac:graphicFrameMk id="9" creationId="{5EABE3D8-CFE8-65D4-D88F-A42E1AC2C806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8:44.099" v="56707"/>
          <ac:graphicFrameMkLst>
            <pc:docMk/>
            <pc:sldMk cId="996393659" sldId="291"/>
            <ac:graphicFrameMk id="43" creationId="{E6CA8659-4636-433F-24D6-CC36D31023D5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8:25.599" v="56227"/>
          <ac:graphicFrameMkLst>
            <pc:docMk/>
            <pc:sldMk cId="996393659" sldId="291"/>
            <ac:graphicFrameMk id="45" creationId="{C5BD7C26-2014-FED8-E12C-F699B8E38C89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8:27.997" v="56448"/>
          <ac:graphicFrameMkLst>
            <pc:docMk/>
            <pc:sldMk cId="996393659" sldId="291"/>
            <ac:graphicFrameMk id="47" creationId="{6F19B914-DB7E-A732-F45C-7F6422A08429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8:44.135" v="56748"/>
          <ac:graphicFrameMkLst>
            <pc:docMk/>
            <pc:sldMk cId="996393659" sldId="291"/>
            <ac:graphicFrameMk id="49" creationId="{743BB8ED-751A-B231-AF9A-F0A039CE1CBE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8:44.144" v="56774"/>
          <ac:graphicFrameMkLst>
            <pc:docMk/>
            <pc:sldMk cId="996393659" sldId="291"/>
            <ac:graphicFrameMk id="51" creationId="{0AF13DD0-F84A-00CC-8080-98AB2B75011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8:24.216" v="56017"/>
          <ac:graphicFrameMkLst>
            <pc:docMk/>
            <pc:sldMk cId="996393659" sldId="291"/>
            <ac:graphicFrameMk id="53" creationId="{B25AFC1E-C30C-AE20-BEB3-CF5EA8AF7FC4}"/>
          </ac:graphicFrameMkLst>
        </pc:graphicFrameChg>
        <pc:picChg chg="del mod ord">
          <ac:chgData name="Joelle Brehm" userId="a518f54c-6985-42c0-8041-2bb16a414839" providerId="ADAL" clId="{3C9B919C-9CFF-4DBD-AE30-72DF3107A706}" dt="2023-06-07T14:07:29.246" v="55482" actId="478"/>
          <ac:picMkLst>
            <pc:docMk/>
            <pc:sldMk cId="996393659" sldId="291"/>
            <ac:picMk id="10" creationId="{862EDCB7-6126-06D3-15F1-E9A01C52D770}"/>
          </ac:picMkLst>
        </pc:picChg>
        <pc:picChg chg="add mod ord">
          <ac:chgData name="Joelle Brehm" userId="a518f54c-6985-42c0-8041-2bb16a414839" providerId="ADAL" clId="{3C9B919C-9CFF-4DBD-AE30-72DF3107A706}" dt="2023-06-07T14:08:44.128" v="56715"/>
          <ac:picMkLst>
            <pc:docMk/>
            <pc:sldMk cId="996393659" sldId="291"/>
            <ac:picMk id="32" creationId="{0A3240FF-4E70-09D4-DD09-C23236FB79C7}"/>
          </ac:picMkLst>
        </pc:picChg>
        <pc:picChg chg="mod ord">
          <ac:chgData name="Joelle Brehm" userId="a518f54c-6985-42c0-8041-2bb16a414839" providerId="ADAL" clId="{3C9B919C-9CFF-4DBD-AE30-72DF3107A706}" dt="2023-06-07T14:08:44.145" v="56781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7T14:08:44.128" v="56719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7T14:06:51.392" v="55118"/>
        <pc:sldMkLst>
          <pc:docMk/>
          <pc:sldMk cId="3635637425" sldId="292"/>
        </pc:sldMkLst>
        <pc:spChg chg="mod ord">
          <ac:chgData name="Joelle Brehm" userId="a518f54c-6985-42c0-8041-2bb16a414839" providerId="ADAL" clId="{3C9B919C-9CFF-4DBD-AE30-72DF3107A706}" dt="2023-06-07T14:06:51.379" v="55112"/>
          <ac:spMkLst>
            <pc:docMk/>
            <pc:sldMk cId="3635637425" sldId="292"/>
            <ac:spMk id="2" creationId="{9445A78E-5217-4459-B540-57B5B2359A2E}"/>
          </ac:spMkLst>
        </pc:spChg>
        <pc:spChg chg="add del mod ord">
          <ac:chgData name="Joelle Brehm" userId="a518f54c-6985-42c0-8041-2bb16a414839" providerId="ADAL" clId="{3C9B919C-9CFF-4DBD-AE30-72DF3107A706}" dt="2023-06-07T14:06:08.278" v="53289" actId="478"/>
          <ac:spMkLst>
            <pc:docMk/>
            <pc:sldMk cId="3635637425" sldId="292"/>
            <ac:spMk id="3" creationId="{E0E651C3-8809-6D3D-C224-D9DECB1C8073}"/>
          </ac:spMkLst>
        </pc:spChg>
        <pc:spChg chg="add del mod modVis">
          <ac:chgData name="Joelle Brehm" userId="a518f54c-6985-42c0-8041-2bb16a414839" providerId="ADAL" clId="{3C9B919C-9CFF-4DBD-AE30-72DF3107A706}" dt="2023-06-07T14:05:44.910" v="53194"/>
          <ac:spMkLst>
            <pc:docMk/>
            <pc:sldMk cId="3635637425" sldId="292"/>
            <ac:spMk id="5" creationId="{69CA680D-3B89-96F8-ADCD-825018C5B5EF}"/>
          </ac:spMkLst>
        </pc:spChg>
        <pc:spChg chg="mod ord">
          <ac:chgData name="Joelle Brehm" userId="a518f54c-6985-42c0-8041-2bb16a414839" providerId="ADAL" clId="{3C9B919C-9CFF-4DBD-AE30-72DF3107A706}" dt="2023-06-07T14:06:51.358" v="55044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3C9B919C-9CFF-4DBD-AE30-72DF3107A706}" dt="2023-06-07T14:06:51.363" v="55055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3C9B919C-9CFF-4DBD-AE30-72DF3107A706}" dt="2023-06-07T14:06:51.362" v="55053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3C9B919C-9CFF-4DBD-AE30-72DF3107A706}" dt="2023-06-07T14:06:51.363" v="55054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3C9B919C-9CFF-4DBD-AE30-72DF3107A706}" dt="2023-06-07T14:06:51.360" v="55050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3C9B919C-9CFF-4DBD-AE30-72DF3107A706}" dt="2023-06-07T14:06:51.361" v="55052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3C9B919C-9CFF-4DBD-AE30-72DF3107A706}" dt="2023-06-07T14:06:51.363" v="55056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3C9B919C-9CFF-4DBD-AE30-72DF3107A706}" dt="2023-06-07T14:06:51.361" v="55051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3C9B919C-9CFF-4DBD-AE30-72DF3107A706}" dt="2023-06-07T14:06:51.360" v="55049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3C9B919C-9CFF-4DBD-AE30-72DF3107A706}" dt="2023-06-07T14:06:51.364" v="55057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3C9B919C-9CFF-4DBD-AE30-72DF3107A706}" dt="2023-06-07T14:06:51.364" v="55058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3C9B919C-9CFF-4DBD-AE30-72DF3107A706}" dt="2023-06-07T14:06:51.365" v="55059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3C9B919C-9CFF-4DBD-AE30-72DF3107A706}" dt="2023-06-07T14:06:51.365" v="55060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3C9B919C-9CFF-4DBD-AE30-72DF3107A706}" dt="2023-06-07T14:06:51.366" v="55062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3C9B919C-9CFF-4DBD-AE30-72DF3107A706}" dt="2023-06-07T14:06:51.367" v="55065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3C9B919C-9CFF-4DBD-AE30-72DF3107A706}" dt="2023-06-07T14:06:51.366" v="55063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3C9B919C-9CFF-4DBD-AE30-72DF3107A706}" dt="2023-06-07T14:06:51.366" v="55064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3C9B919C-9CFF-4DBD-AE30-72DF3107A706}" dt="2023-06-07T14:06:51.368" v="55070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3C9B919C-9CFF-4DBD-AE30-72DF3107A706}" dt="2023-06-07T14:06:51.368" v="55069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3C9B919C-9CFF-4DBD-AE30-72DF3107A706}" dt="2023-06-07T14:06:51.368" v="55071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3C9B919C-9CFF-4DBD-AE30-72DF3107A706}" dt="2023-06-07T14:06:51.369" v="55073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3C9B919C-9CFF-4DBD-AE30-72DF3107A706}" dt="2023-06-07T14:06:51.371" v="55082"/>
          <ac:spMkLst>
            <pc:docMk/>
            <pc:sldMk cId="3635637425" sldId="292"/>
            <ac:spMk id="31" creationId="{75814527-E466-B01B-1983-40ECB343B6BF}"/>
          </ac:spMkLst>
        </pc:spChg>
        <pc:spChg chg="mod">
          <ac:chgData name="Joelle Brehm" userId="a518f54c-6985-42c0-8041-2bb16a414839" providerId="ADAL" clId="{3C9B919C-9CFF-4DBD-AE30-72DF3107A706}" dt="2023-06-07T14:06:51.372" v="55084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3C9B919C-9CFF-4DBD-AE30-72DF3107A706}" dt="2023-06-07T14:06:51.371" v="55083"/>
          <ac:spMkLst>
            <pc:docMk/>
            <pc:sldMk cId="3635637425" sldId="292"/>
            <ac:spMk id="33" creationId="{3D97C813-EA7E-2516-68C7-9A8F0022EEB9}"/>
          </ac:spMkLst>
        </pc:spChg>
        <pc:spChg chg="mod">
          <ac:chgData name="Joelle Brehm" userId="a518f54c-6985-42c0-8041-2bb16a414839" providerId="ADAL" clId="{3C9B919C-9CFF-4DBD-AE30-72DF3107A706}" dt="2023-06-07T14:06:51.370" v="55079"/>
          <ac:spMkLst>
            <pc:docMk/>
            <pc:sldMk cId="3635637425" sldId="292"/>
            <ac:spMk id="34" creationId="{2D56DCBB-CAC0-D3CA-B5B2-D6B7B1E4A4D6}"/>
          </ac:spMkLst>
        </pc:spChg>
        <pc:spChg chg="mod">
          <ac:chgData name="Joelle Brehm" userId="a518f54c-6985-42c0-8041-2bb16a414839" providerId="ADAL" clId="{3C9B919C-9CFF-4DBD-AE30-72DF3107A706}" dt="2023-06-07T14:06:51.370" v="55076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3C9B919C-9CFF-4DBD-AE30-72DF3107A706}" dt="2023-06-07T14:06:51.367" v="55067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3C9B919C-9CFF-4DBD-AE30-72DF3107A706}" dt="2023-06-07T14:06:51.370" v="55078"/>
          <ac:spMkLst>
            <pc:docMk/>
            <pc:sldMk cId="3635637425" sldId="292"/>
            <ac:spMk id="38" creationId="{3FFCD1FD-A1E7-E0E9-3B0A-272DB96B6E85}"/>
          </ac:spMkLst>
        </pc:spChg>
        <pc:spChg chg="add mod replST">
          <ac:chgData name="Joelle Brehm" userId="a518f54c-6985-42c0-8041-2bb16a414839" providerId="ADAL" clId="{3C9B919C-9CFF-4DBD-AE30-72DF3107A706}" dt="2023-06-07T14:06:51.372" v="55087"/>
          <ac:spMkLst>
            <pc:docMk/>
            <pc:sldMk cId="3635637425" sldId="292"/>
            <ac:spMk id="39" creationId="{5BC6A367-B4D4-6E5E-2078-D86D8BF0E50F}"/>
          </ac:spMkLst>
        </pc:spChg>
        <pc:spChg chg="add del mod modVis">
          <ac:chgData name="Joelle Brehm" userId="a518f54c-6985-42c0-8041-2bb16a414839" providerId="ADAL" clId="{3C9B919C-9CFF-4DBD-AE30-72DF3107A706}" dt="2023-06-07T14:06:13.002" v="53841"/>
          <ac:spMkLst>
            <pc:docMk/>
            <pc:sldMk cId="3635637425" sldId="292"/>
            <ac:spMk id="40" creationId="{BCDBB033-E72D-13E5-69F2-157B7F44FA36}"/>
          </ac:spMkLst>
        </pc:spChg>
        <pc:spChg chg="mod">
          <ac:chgData name="Joelle Brehm" userId="a518f54c-6985-42c0-8041-2bb16a414839" providerId="ADAL" clId="{3C9B919C-9CFF-4DBD-AE30-72DF3107A706}" dt="2023-06-07T14:06:51.370" v="55077"/>
          <ac:spMkLst>
            <pc:docMk/>
            <pc:sldMk cId="3635637425" sldId="292"/>
            <ac:spMk id="42" creationId="{668AF5D9-4E8D-2E4B-2079-072182484759}"/>
          </ac:spMkLst>
        </pc:spChg>
        <pc:spChg chg="add del mod modVis">
          <ac:chgData name="Joelle Brehm" userId="a518f54c-6985-42c0-8041-2bb16a414839" providerId="ADAL" clId="{3C9B919C-9CFF-4DBD-AE30-72DF3107A706}" dt="2023-06-07T14:06:21.148" v="54111"/>
          <ac:spMkLst>
            <pc:docMk/>
            <pc:sldMk cId="3635637425" sldId="292"/>
            <ac:spMk id="43" creationId="{A194B172-4B61-991C-44FF-80E31EE51236}"/>
          </ac:spMkLst>
        </pc:spChg>
        <pc:spChg chg="mod">
          <ac:chgData name="Joelle Brehm" userId="a518f54c-6985-42c0-8041-2bb16a414839" providerId="ADAL" clId="{3C9B919C-9CFF-4DBD-AE30-72DF3107A706}" dt="2023-06-07T14:06:51.372" v="55085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3C9B919C-9CFF-4DBD-AE30-72DF3107A706}" dt="2023-06-07T14:06:51.372" v="55086"/>
          <ac:spMkLst>
            <pc:docMk/>
            <pc:sldMk cId="3635637425" sldId="292"/>
            <ac:spMk id="46" creationId="{38D3D6F2-A854-D543-7C6D-CB3894DB11AC}"/>
          </ac:spMkLst>
        </pc:spChg>
        <pc:spChg chg="add del mod ord replST">
          <ac:chgData name="Joelle Brehm" userId="a518f54c-6985-42c0-8041-2bb16a414839" providerId="ADAL" clId="{3C9B919C-9CFF-4DBD-AE30-72DF3107A706}" dt="2023-06-07T14:06:32.161" v="54827"/>
          <ac:spMkLst>
            <pc:docMk/>
            <pc:sldMk cId="3635637425" sldId="292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7T14:06:22.582" v="54431"/>
          <ac:spMkLst>
            <pc:docMk/>
            <pc:sldMk cId="3635637425" sldId="292"/>
            <ac:spMk id="49" creationId="{8F7BBAEC-DE3C-B924-106D-592615D5D1A7}"/>
          </ac:spMkLst>
        </pc:spChg>
        <pc:spChg chg="add del mod ord replST">
          <ac:chgData name="Joelle Brehm" userId="a518f54c-6985-42c0-8041-2bb16a414839" providerId="ADAL" clId="{3C9B919C-9CFF-4DBD-AE30-72DF3107A706}" dt="2023-06-07T14:06:27.614" v="54501"/>
          <ac:spMkLst>
            <pc:docMk/>
            <pc:sldMk cId="3635637425" sldId="292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7T14:06:27.667" v="54603"/>
          <ac:spMkLst>
            <pc:docMk/>
            <pc:sldMk cId="3635637425" sldId="292"/>
            <ac:spMk id="52" creationId="{E5A0D3F2-3BA5-FFDE-315C-52EE3827517D}"/>
          </ac:spMkLst>
        </pc:spChg>
        <pc:spChg chg="add del mod modVis">
          <ac:chgData name="Joelle Brehm" userId="a518f54c-6985-42c0-8041-2bb16a414839" providerId="ADAL" clId="{3C9B919C-9CFF-4DBD-AE30-72DF3107A706}" dt="2023-06-07T14:06:30.078" v="54758"/>
          <ac:spMkLst>
            <pc:docMk/>
            <pc:sldMk cId="3635637425" sldId="292"/>
            <ac:spMk id="56" creationId="{5C6AF06A-00CD-DE80-F7A3-2FA7E9A465B8}"/>
          </ac:spMkLst>
        </pc:spChg>
        <pc:spChg chg="add del mod modVis">
          <ac:chgData name="Joelle Brehm" userId="a518f54c-6985-42c0-8041-2bb16a414839" providerId="ADAL" clId="{3C9B919C-9CFF-4DBD-AE30-72DF3107A706}" dt="2023-06-07T14:06:32.205" v="54911"/>
          <ac:spMkLst>
            <pc:docMk/>
            <pc:sldMk cId="3635637425" sldId="292"/>
            <ac:spMk id="58" creationId="{06F1A62D-68B6-D1F9-373C-2DFBA00E7445}"/>
          </ac:spMkLst>
        </pc:spChg>
        <pc:spChg chg="mod ord">
          <ac:chgData name="Joelle Brehm" userId="a518f54c-6985-42c0-8041-2bb16a414839" providerId="ADAL" clId="{3C9B919C-9CFF-4DBD-AE30-72DF3107A706}" dt="2023-06-07T14:06:51.379" v="55110"/>
          <ac:spMkLst>
            <pc:docMk/>
            <pc:sldMk cId="3635637425" sldId="292"/>
            <ac:spMk id="60" creationId="{8AFF754E-1785-41DB-892C-A30765DCA565}"/>
          </ac:spMkLst>
        </pc:spChg>
        <pc:spChg chg="add del mod modVis">
          <ac:chgData name="Joelle Brehm" userId="a518f54c-6985-42c0-8041-2bb16a414839" providerId="ADAL" clId="{3C9B919C-9CFF-4DBD-AE30-72DF3107A706}" dt="2023-06-07T14:06:51.381" v="55116"/>
          <ac:spMkLst>
            <pc:docMk/>
            <pc:sldMk cId="3635637425" sldId="292"/>
            <ac:spMk id="61" creationId="{B61C644E-9314-5733-4969-862C5608C041}"/>
          </ac:spMkLst>
        </pc:spChg>
        <pc:spChg chg="del mod">
          <ac:chgData name="Joelle Brehm" userId="a518f54c-6985-42c0-8041-2bb16a414839" providerId="ADAL" clId="{3C9B919C-9CFF-4DBD-AE30-72DF3107A706}" dt="2023-06-07T14:06:22.243" v="54114"/>
          <ac:spMkLst>
            <pc:docMk/>
            <pc:sldMk cId="3635637425" sldId="292"/>
            <ac:spMk id="63" creationId="{347B7B45-3D7E-B955-9F3A-45A4F5B4DF16}"/>
          </ac:spMkLst>
        </pc:spChg>
        <pc:spChg chg="mod">
          <ac:chgData name="Joelle Brehm" userId="a518f54c-6985-42c0-8041-2bb16a414839" providerId="ADAL" clId="{3C9B919C-9CFF-4DBD-AE30-72DF3107A706}" dt="2023-06-07T14:06:51.371" v="55080"/>
          <ac:spMkLst>
            <pc:docMk/>
            <pc:sldMk cId="3635637425" sldId="292"/>
            <ac:spMk id="69" creationId="{8C9D4DEA-D518-B2DC-CBFE-885271E371BE}"/>
          </ac:spMkLst>
        </pc:spChg>
        <pc:spChg chg="mod">
          <ac:chgData name="Joelle Brehm" userId="a518f54c-6985-42c0-8041-2bb16a414839" providerId="ADAL" clId="{3C9B919C-9CFF-4DBD-AE30-72DF3107A706}" dt="2023-06-07T14:06:51.371" v="55081"/>
          <ac:spMkLst>
            <pc:docMk/>
            <pc:sldMk cId="3635637425" sldId="292"/>
            <ac:spMk id="70" creationId="{11E248BC-BF48-30A1-6494-256B48A0B38F}"/>
          </ac:spMkLst>
        </pc:spChg>
        <pc:spChg chg="mod">
          <ac:chgData name="Joelle Brehm" userId="a518f54c-6985-42c0-8041-2bb16a414839" providerId="ADAL" clId="{3C9B919C-9CFF-4DBD-AE30-72DF3107A706}" dt="2023-06-07T14:06:51.367" v="55068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3C9B919C-9CFF-4DBD-AE30-72DF3107A706}" dt="2023-06-07T14:06:51.373" v="55089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3C9B919C-9CFF-4DBD-AE30-72DF3107A706}" dt="2023-06-07T14:06:51.373" v="55091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3C9B919C-9CFF-4DBD-AE30-72DF3107A706}" dt="2023-06-07T14:06:51.374" v="55093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3C9B919C-9CFF-4DBD-AE30-72DF3107A706}" dt="2023-06-07T14:06:51.374" v="55095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3C9B919C-9CFF-4DBD-AE30-72DF3107A706}" dt="2023-06-07T14:06:51.375" v="55097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3C9B919C-9CFF-4DBD-AE30-72DF3107A706}" dt="2023-06-07T14:06:51.375" v="55099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3C9B919C-9CFF-4DBD-AE30-72DF3107A706}" dt="2023-06-07T14:06:51.376" v="55102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6:51.377" v="55104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6:51.377" v="55103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7T14:06:51.377" v="55105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3C9B919C-9CFF-4DBD-AE30-72DF3107A706}" dt="2023-06-07T14:06:51.378" v="55106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3C9B919C-9CFF-4DBD-AE30-72DF3107A706}" dt="2023-06-07T14:06:51.392" v="55118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6:51.359" v="55048"/>
          <ac:graphicFrameMkLst>
            <pc:docMk/>
            <pc:sldMk cId="3635637425" sldId="292"/>
            <ac:graphicFrameMk id="8" creationId="{360F0CB1-518C-EFDC-CBE3-9387EC21CF30}"/>
          </ac:graphicFrameMkLst>
        </pc:graphicFrameChg>
        <pc:graphicFrameChg chg="del">
          <ac:chgData name="Joelle Brehm" userId="a518f54c-6985-42c0-8041-2bb16a414839" providerId="ADAL" clId="{3C9B919C-9CFF-4DBD-AE30-72DF3107A706}" dt="2023-06-07T14:05:44.843" v="53106"/>
          <ac:graphicFrameMkLst>
            <pc:docMk/>
            <pc:sldMk cId="3635637425" sldId="292"/>
            <ac:graphicFrameMk id="9" creationId="{9CEDCB17-AC3E-8CED-1A2C-7AF51C2004A8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6:21.076" v="54004"/>
          <ac:graphicFrameMkLst>
            <pc:docMk/>
            <pc:sldMk cId="3635637425" sldId="292"/>
            <ac:graphicFrameMk id="41" creationId="{F6C44DBF-1AE4-8605-29AF-EFF64560CE66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6:51.314" v="55034"/>
          <ac:graphicFrameMkLst>
            <pc:docMk/>
            <pc:sldMk cId="3635637425" sldId="292"/>
            <ac:graphicFrameMk id="45" creationId="{D1D754BC-D65A-6A1D-870A-8188B0F1B8C9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6:22.498" v="54323"/>
          <ac:graphicFrameMkLst>
            <pc:docMk/>
            <pc:sldMk cId="3635637425" sldId="292"/>
            <ac:graphicFrameMk id="48" creationId="{2E907CE5-2540-D604-DCB6-77334988F5EF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6:27.625" v="54517"/>
          <ac:graphicFrameMkLst>
            <pc:docMk/>
            <pc:sldMk cId="3635637425" sldId="292"/>
            <ac:graphicFrameMk id="51" creationId="{F617DB49-CEE5-975B-3075-5E38FC843515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7T14:06:12.948" v="53750"/>
          <ac:graphicFrameMkLst>
            <pc:docMk/>
            <pc:sldMk cId="3635637425" sldId="292"/>
            <ac:graphicFrameMk id="54" creationId="{528CE2AC-9C41-C16B-8E46-030406F48E32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6:30.038" v="54674"/>
          <ac:graphicFrameMkLst>
            <pc:docMk/>
            <pc:sldMk cId="3635637425" sldId="292"/>
            <ac:graphicFrameMk id="55" creationId="{AAC1E22D-71CE-146A-F810-4F91D83A58E5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7T14:06:32.162" v="54829"/>
          <ac:graphicFrameMkLst>
            <pc:docMk/>
            <pc:sldMk cId="3635637425" sldId="292"/>
            <ac:graphicFrameMk id="57" creationId="{0F305F21-252C-83F1-9CCE-0CE8FB5A2C1B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6:51.369" v="55075"/>
          <ac:graphicFrameMkLst>
            <pc:docMk/>
            <pc:sldMk cId="3635637425" sldId="292"/>
            <ac:graphicFrameMk id="59" creationId="{3798E50C-B98D-E7AD-5907-76EC11865BD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7T14:06:51.376" v="55101"/>
          <ac:graphicFrameMkLst>
            <pc:docMk/>
            <pc:sldMk cId="3635637425" sldId="292"/>
            <ac:graphicFrameMk id="62" creationId="{AA65F23B-FDBD-24C9-C25A-85AA9381FAD1}"/>
          </ac:graphicFrameMkLst>
        </pc:graphicFrameChg>
        <pc:picChg chg="add mod ord">
          <ac:chgData name="Joelle Brehm" userId="a518f54c-6985-42c0-8041-2bb16a414839" providerId="ADAL" clId="{3C9B919C-9CFF-4DBD-AE30-72DF3107A706}" dt="2023-06-07T14:06:51.358" v="55042"/>
          <ac:picMkLst>
            <pc:docMk/>
            <pc:sldMk cId="3635637425" sldId="292"/>
            <ac:picMk id="10" creationId="{FFE80A40-D8EB-B3A5-EB12-38C53AC0E12C}"/>
          </ac:picMkLst>
        </pc:picChg>
        <pc:picChg chg="del mod ord">
          <ac:chgData name="Joelle Brehm" userId="a518f54c-6985-42c0-8041-2bb16a414839" providerId="ADAL" clId="{3C9B919C-9CFF-4DBD-AE30-72DF3107A706}" dt="2023-06-07T14:06:05.758" v="53288" actId="478"/>
          <ac:picMkLst>
            <pc:docMk/>
            <pc:sldMk cId="3635637425" sldId="292"/>
            <ac:picMk id="35" creationId="{AA0F356D-27D8-477F-B610-F8BA62C145DD}"/>
          </ac:picMkLst>
        </pc:picChg>
        <pc:picChg chg="mod ord">
          <ac:chgData name="Joelle Brehm" userId="a518f54c-6985-42c0-8041-2bb16a414839" providerId="ADAL" clId="{3C9B919C-9CFF-4DBD-AE30-72DF3107A706}" dt="2023-06-07T14:06:51.378" v="55108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3C9B919C-9CFF-4DBD-AE30-72DF3107A706}" dt="2023-06-07T14:06:51.359" v="55046"/>
          <ac:cxnSpMkLst>
            <pc:docMk/>
            <pc:sldMk cId="3635637425" sldId="292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3C9B919C-9CFF-4DBD-AE30-72DF3107A706}" dt="2023-06-07T14:06:30.036" v="54672"/>
          <ac:cxnSpMkLst>
            <pc:docMk/>
            <pc:sldMk cId="3635637425" sldId="292"/>
            <ac:cxnSpMk id="53" creationId="{A8245D7F-61B7-2DD8-BEEB-4E3109CB9F22}"/>
          </ac:cxnSpMkLst>
        </pc:cxnChg>
      </pc:sldChg>
      <pc:sldChg chg="addSp delSp modSp mod">
        <pc:chgData name="Joelle Brehm" userId="a518f54c-6985-42c0-8041-2bb16a414839" providerId="ADAL" clId="{3C9B919C-9CFF-4DBD-AE30-72DF3107A706}" dt="2023-06-05T19:12:02.889" v="1137" actId="1076"/>
        <pc:sldMkLst>
          <pc:docMk/>
          <pc:sldMk cId="4143996880" sldId="293"/>
        </pc:sldMkLst>
        <pc:spChg chg="mod ord">
          <ac:chgData name="Joelle Brehm" userId="a518f54c-6985-42c0-8041-2bb16a414839" providerId="ADAL" clId="{3C9B919C-9CFF-4DBD-AE30-72DF3107A706}" dt="2023-06-05T19:09:45.776" v="1114"/>
          <ac:spMkLst>
            <pc:docMk/>
            <pc:sldMk cId="4143996880" sldId="293"/>
            <ac:spMk id="2" creationId="{01E014B2-1FBF-48C6-9093-6CFE20AFFCCE}"/>
          </ac:spMkLst>
        </pc:spChg>
        <pc:spChg chg="add del mod">
          <ac:chgData name="Joelle Brehm" userId="a518f54c-6985-42c0-8041-2bb16a414839" providerId="ADAL" clId="{3C9B919C-9CFF-4DBD-AE30-72DF3107A706}" dt="2023-06-05T19:09:09.923" v="601" actId="478"/>
          <ac:spMkLst>
            <pc:docMk/>
            <pc:sldMk cId="4143996880" sldId="293"/>
            <ac:spMk id="3" creationId="{C5158E5E-DEFC-B0D0-1843-9BB55BABBEEA}"/>
          </ac:spMkLst>
        </pc:spChg>
        <pc:spChg chg="mod ord">
          <ac:chgData name="Joelle Brehm" userId="a518f54c-6985-42c0-8041-2bb16a414839" providerId="ADAL" clId="{3C9B919C-9CFF-4DBD-AE30-72DF3107A706}" dt="2023-06-05T19:09:45.769" v="1089"/>
          <ac:spMkLst>
            <pc:docMk/>
            <pc:sldMk cId="4143996880" sldId="29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3C9B919C-9CFF-4DBD-AE30-72DF3107A706}" dt="2023-06-05T19:09:45.778" v="1122"/>
          <ac:spMkLst>
            <pc:docMk/>
            <pc:sldMk cId="4143996880" sldId="293"/>
            <ac:spMk id="7" creationId="{B9A3C8C1-87D7-40D9-0E75-278F2CC83EDD}"/>
          </ac:spMkLst>
        </pc:spChg>
        <pc:spChg chg="mod">
          <ac:chgData name="Joelle Brehm" userId="a518f54c-6985-42c0-8041-2bb16a414839" providerId="ADAL" clId="{3C9B919C-9CFF-4DBD-AE30-72DF3107A706}" dt="2023-06-05T19:09:45.771" v="1096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3C9B919C-9CFF-4DBD-AE30-72DF3107A706}" dt="2023-06-05T19:09:45.771" v="1098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3C9B919C-9CFF-4DBD-AE30-72DF3107A706}" dt="2023-06-05T19:09:45.770" v="1092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3C9B919C-9CFF-4DBD-AE30-72DF3107A706}" dt="2023-06-05T19:09:45.770" v="1094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3C9B919C-9CFF-4DBD-AE30-72DF3107A706}" dt="2023-06-05T19:09:45.771" v="1095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3C9B919C-9CFF-4DBD-AE30-72DF3107A706}" dt="2023-06-05T19:09:45.773" v="1102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3C9B919C-9CFF-4DBD-AE30-72DF3107A706}" dt="2023-06-05T19:09:45.772" v="1099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3C9B919C-9CFF-4DBD-AE30-72DF3107A706}" dt="2023-06-05T19:09:45.772" v="1100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3C9B919C-9CFF-4DBD-AE30-72DF3107A706}" dt="2023-06-05T19:09:45.771" v="1097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3C9B919C-9CFF-4DBD-AE30-72DF3107A706}" dt="2023-06-05T19:09:45.772" v="1101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3C9B919C-9CFF-4DBD-AE30-72DF3107A706}" dt="2023-06-05T19:09:45.770" v="1093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3C9B919C-9CFF-4DBD-AE30-72DF3107A706}" dt="2023-06-05T19:09:45.773" v="1103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3C9B919C-9CFF-4DBD-AE30-72DF3107A706}" dt="2023-06-05T19:09:45.773" v="1105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3C9B919C-9CFF-4DBD-AE30-72DF3107A706}" dt="2023-06-05T19:09:45.774" v="1107"/>
          <ac:spMkLst>
            <pc:docMk/>
            <pc:sldMk cId="4143996880" sldId="293"/>
            <ac:spMk id="21" creationId="{B5AE4010-508F-4A3F-85C7-752A1F15F54F}"/>
          </ac:spMkLst>
        </pc:spChg>
        <pc:spChg chg="mod ord">
          <ac:chgData name="Joelle Brehm" userId="a518f54c-6985-42c0-8041-2bb16a414839" providerId="ADAL" clId="{3C9B919C-9CFF-4DBD-AE30-72DF3107A706}" dt="2023-06-05T19:12:02.889" v="1137" actId="1076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3C9B919C-9CFF-4DBD-AE30-72DF3107A706}" dt="2023-06-05T19:09:45.775" v="1109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3C9B919C-9CFF-4DBD-AE30-72DF3107A706}" dt="2023-06-05T19:09:45.775" v="1111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3C9B919C-9CFF-4DBD-AE30-72DF3107A706}" dt="2023-06-05T19:09:45.786" v="1124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09:45.746" v="1079"/>
          <ac:graphicFrameMkLst>
            <pc:docMk/>
            <pc:sldMk cId="4143996880" sldId="293"/>
            <ac:graphicFrameMk id="22" creationId="{BF7BC2E1-BDD5-8BEB-FB70-7CACDC028172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19:09:45.769" v="1091"/>
          <ac:graphicFrameMkLst>
            <pc:docMk/>
            <pc:sldMk cId="4143996880" sldId="293"/>
            <ac:graphicFrameMk id="23" creationId="{4576AD06-EC6E-EEB9-1577-169A428C7A9F}"/>
          </ac:graphicFrameMkLst>
        </pc:graphicFrameChg>
        <pc:picChg chg="add del mod">
          <ac:chgData name="Joelle Brehm" userId="a518f54c-6985-42c0-8041-2bb16a414839" providerId="ADAL" clId="{3C9B919C-9CFF-4DBD-AE30-72DF3107A706}" dt="2023-06-05T19:11:11.214" v="1130" actId="478"/>
          <ac:picMkLst>
            <pc:docMk/>
            <pc:sldMk cId="4143996880" sldId="293"/>
            <ac:picMk id="3" creationId="{C0D3F0A3-2327-E515-9C37-AB62E4A352C6}"/>
          </ac:picMkLst>
        </pc:picChg>
        <pc:picChg chg="add mod ord">
          <ac:chgData name="Joelle Brehm" userId="a518f54c-6985-42c0-8041-2bb16a414839" providerId="ADAL" clId="{3C9B919C-9CFF-4DBD-AE30-72DF3107A706}" dt="2023-06-05T19:09:45.769" v="1087"/>
          <ac:picMkLst>
            <pc:docMk/>
            <pc:sldMk cId="4143996880" sldId="293"/>
            <ac:picMk id="6" creationId="{64EA9DD1-8010-F5EE-7134-85F8ADD1D689}"/>
          </ac:picMkLst>
        </pc:picChg>
        <pc:picChg chg="add mod">
          <ac:chgData name="Joelle Brehm" userId="a518f54c-6985-42c0-8041-2bb16a414839" providerId="ADAL" clId="{3C9B919C-9CFF-4DBD-AE30-72DF3107A706}" dt="2023-06-05T19:12:01.003" v="1136" actId="1035"/>
          <ac:picMkLst>
            <pc:docMk/>
            <pc:sldMk cId="4143996880" sldId="293"/>
            <ac:picMk id="7" creationId="{DAE0FEA7-C441-97EF-870C-4A465CF5C03E}"/>
          </ac:picMkLst>
        </pc:picChg>
        <pc:picChg chg="add del mod">
          <ac:chgData name="Joelle Brehm" userId="a518f54c-6985-42c0-8041-2bb16a414839" providerId="ADAL" clId="{3C9B919C-9CFF-4DBD-AE30-72DF3107A706}" dt="2023-06-05T19:09:57.553" v="1127" actId="478"/>
          <ac:picMkLst>
            <pc:docMk/>
            <pc:sldMk cId="4143996880" sldId="293"/>
            <ac:picMk id="24" creationId="{354173EE-D753-19F4-B1F2-77A3DB4791BA}"/>
          </ac:picMkLst>
        </pc:picChg>
        <pc:picChg chg="del mod ord">
          <ac:chgData name="Joelle Brehm" userId="a518f54c-6985-42c0-8041-2bb16a414839" providerId="ADAL" clId="{3C9B919C-9CFF-4DBD-AE30-72DF3107A706}" dt="2023-06-05T19:09:20.880" v="643" actId="478"/>
          <ac:picMkLst>
            <pc:docMk/>
            <pc:sldMk cId="4143996880" sldId="293"/>
            <ac:picMk id="25" creationId="{9FA650E8-B3E5-9EF5-EEBF-5B8C4BA5388F}"/>
          </ac:picMkLst>
        </pc:picChg>
        <pc:picChg chg="del mod ord">
          <ac:chgData name="Joelle Brehm" userId="a518f54c-6985-42c0-8041-2bb16a414839" providerId="ADAL" clId="{3C9B919C-9CFF-4DBD-AE30-72DF3107A706}" dt="2023-06-05T19:11:23.110" v="1131" actId="478"/>
          <ac:picMkLst>
            <pc:docMk/>
            <pc:sldMk cId="4143996880" sldId="293"/>
            <ac:picMk id="26" creationId="{1B57B385-88BC-DCF9-E585-8314708BB2B0}"/>
          </ac:picMkLst>
        </pc:picChg>
        <pc:picChg chg="mod">
          <ac:chgData name="Joelle Brehm" userId="a518f54c-6985-42c0-8041-2bb16a414839" providerId="ADAL" clId="{3C9B919C-9CFF-4DBD-AE30-72DF3107A706}" dt="2023-06-05T19:09:45.775" v="1112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3C9B919C-9CFF-4DBD-AE30-72DF3107A706}" dt="2023-06-05T19:24:51.650" v="8402" actId="478"/>
        <pc:sldMkLst>
          <pc:docMk/>
          <pc:sldMk cId="77660323" sldId="295"/>
        </pc:sldMkLst>
        <pc:spChg chg="add del mod ord">
          <ac:chgData name="Joelle Brehm" userId="a518f54c-6985-42c0-8041-2bb16a414839" providerId="ADAL" clId="{3C9B919C-9CFF-4DBD-AE30-72DF3107A706}" dt="2023-06-05T19:24:08.644" v="8165" actId="478"/>
          <ac:spMkLst>
            <pc:docMk/>
            <pc:sldMk cId="77660323" sldId="295"/>
            <ac:spMk id="2" creationId="{FF6A9D71-DA4C-54C0-8BEA-312C163B3053}"/>
          </ac:spMkLst>
        </pc:spChg>
        <pc:spChg chg="mod ord">
          <ac:chgData name="Joelle Brehm" userId="a518f54c-6985-42c0-8041-2bb16a414839" providerId="ADAL" clId="{3C9B919C-9CFF-4DBD-AE30-72DF3107A706}" dt="2023-06-05T19:24:49.547" v="8301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3C9B919C-9CFF-4DBD-AE30-72DF3107A706}" dt="2023-06-05T19:24:49.554" v="8321"/>
          <ac:spMkLst>
            <pc:docMk/>
            <pc:sldMk cId="77660323" sldId="295"/>
            <ac:spMk id="6" creationId="{16B77BC2-AAA9-8E81-BA99-9CC4E4A186E7}"/>
          </ac:spMkLst>
        </pc:spChg>
        <pc:spChg chg="add mod replST">
          <ac:chgData name="Joelle Brehm" userId="a518f54c-6985-42c0-8041-2bb16a414839" providerId="ADAL" clId="{3C9B919C-9CFF-4DBD-AE30-72DF3107A706}" dt="2023-06-05T19:24:49.554" v="8320"/>
          <ac:spMkLst>
            <pc:docMk/>
            <pc:sldMk cId="77660323" sldId="295"/>
            <ac:spMk id="7" creationId="{AC248985-01B4-CD8C-E025-DF4D35603919}"/>
          </ac:spMkLst>
        </pc:spChg>
        <pc:spChg chg="add del mod modVis">
          <ac:chgData name="Joelle Brehm" userId="a518f54c-6985-42c0-8041-2bb16a414839" providerId="ADAL" clId="{3C9B919C-9CFF-4DBD-AE30-72DF3107A706}" dt="2023-06-05T19:16:37.876" v="4902"/>
          <ac:spMkLst>
            <pc:docMk/>
            <pc:sldMk cId="77660323" sldId="295"/>
            <ac:spMk id="8" creationId="{D20F7045-AF16-6C86-6F9D-55C6A24D8508}"/>
          </ac:spMkLst>
        </pc:spChg>
        <pc:spChg chg="add del mod modVis">
          <ac:chgData name="Joelle Brehm" userId="a518f54c-6985-42c0-8041-2bb16a414839" providerId="ADAL" clId="{3C9B919C-9CFF-4DBD-AE30-72DF3107A706}" dt="2023-06-05T19:16:43.157" v="5145"/>
          <ac:spMkLst>
            <pc:docMk/>
            <pc:sldMk cId="77660323" sldId="295"/>
            <ac:spMk id="10" creationId="{1D5777E9-529A-98E3-D51D-7A23D0BC2C22}"/>
          </ac:spMkLst>
        </pc:spChg>
        <pc:spChg chg="add del mod modVis">
          <ac:chgData name="Joelle Brehm" userId="a518f54c-6985-42c0-8041-2bb16a414839" providerId="ADAL" clId="{3C9B919C-9CFF-4DBD-AE30-72DF3107A706}" dt="2023-06-05T19:16:45.039" v="5409"/>
          <ac:spMkLst>
            <pc:docMk/>
            <pc:sldMk cId="77660323" sldId="295"/>
            <ac:spMk id="12" creationId="{CF92D3A0-C109-FB9F-C0C1-73658412667B}"/>
          </ac:spMkLst>
        </pc:spChg>
        <pc:spChg chg="mod">
          <ac:chgData name="Joelle Brehm" userId="a518f54c-6985-42c0-8041-2bb16a414839" providerId="ADAL" clId="{3C9B919C-9CFF-4DBD-AE30-72DF3107A706}" dt="2023-06-05T19:24:49.568" v="8361"/>
          <ac:spMkLst>
            <pc:docMk/>
            <pc:sldMk cId="77660323" sldId="295"/>
            <ac:spMk id="15" creationId="{27258EE9-1FF7-FE0C-8AAD-1E026430A115}"/>
          </ac:spMkLst>
        </pc:spChg>
        <pc:spChg chg="add mod replST">
          <ac:chgData name="Joelle Brehm" userId="a518f54c-6985-42c0-8041-2bb16a414839" providerId="ADAL" clId="{3C9B919C-9CFF-4DBD-AE30-72DF3107A706}" dt="2023-06-05T19:24:49.571" v="8367"/>
          <ac:spMkLst>
            <pc:docMk/>
            <pc:sldMk cId="77660323" sldId="295"/>
            <ac:spMk id="16" creationId="{0C8CCB69-36B4-CA42-0B21-8F9AC080BAE4}"/>
          </ac:spMkLst>
        </pc:spChg>
        <pc:spChg chg="add del mod modVis">
          <ac:chgData name="Joelle Brehm" userId="a518f54c-6985-42c0-8041-2bb16a414839" providerId="ADAL" clId="{3C9B919C-9CFF-4DBD-AE30-72DF3107A706}" dt="2023-06-05T19:17:00.819" v="6100"/>
          <ac:spMkLst>
            <pc:docMk/>
            <pc:sldMk cId="77660323" sldId="295"/>
            <ac:spMk id="17" creationId="{E9E1516A-F34A-B610-C5C0-DB5E9B372795}"/>
          </ac:spMkLst>
        </pc:spChg>
        <pc:spChg chg="add del mod modVis">
          <ac:chgData name="Joelle Brehm" userId="a518f54c-6985-42c0-8041-2bb16a414839" providerId="ADAL" clId="{3C9B919C-9CFF-4DBD-AE30-72DF3107A706}" dt="2023-06-05T19:17:01.970" v="6315"/>
          <ac:spMkLst>
            <pc:docMk/>
            <pc:sldMk cId="77660323" sldId="295"/>
            <ac:spMk id="19" creationId="{370AA79E-68D6-D3AA-78CD-D079F3E92736}"/>
          </ac:spMkLst>
        </pc:spChg>
        <pc:spChg chg="add del mod modVis">
          <ac:chgData name="Joelle Brehm" userId="a518f54c-6985-42c0-8041-2bb16a414839" providerId="ADAL" clId="{3C9B919C-9CFF-4DBD-AE30-72DF3107A706}" dt="2023-06-05T19:17:04.946" v="6528"/>
          <ac:spMkLst>
            <pc:docMk/>
            <pc:sldMk cId="77660323" sldId="295"/>
            <ac:spMk id="21" creationId="{0704290D-0711-2B7F-D0DD-EC3B7A44F382}"/>
          </ac:spMkLst>
        </pc:spChg>
        <pc:spChg chg="add del mod modVis">
          <ac:chgData name="Joelle Brehm" userId="a518f54c-6985-42c0-8041-2bb16a414839" providerId="ADAL" clId="{3C9B919C-9CFF-4DBD-AE30-72DF3107A706}" dt="2023-06-05T19:17:07.975" v="6767"/>
          <ac:spMkLst>
            <pc:docMk/>
            <pc:sldMk cId="77660323" sldId="295"/>
            <ac:spMk id="23" creationId="{9321AF35-91FB-D880-B554-BF8E772F2767}"/>
          </ac:spMkLst>
        </pc:spChg>
        <pc:spChg chg="add mod replST">
          <ac:chgData name="Joelle Brehm" userId="a518f54c-6985-42c0-8041-2bb16a414839" providerId="ADAL" clId="{3C9B919C-9CFF-4DBD-AE30-72DF3107A706}" dt="2023-06-05T19:24:49.582" v="8389"/>
          <ac:spMkLst>
            <pc:docMk/>
            <pc:sldMk cId="77660323" sldId="295"/>
            <ac:spMk id="25" creationId="{6DC07032-6758-7576-40F7-7ED141F5C6D9}"/>
          </ac:spMkLst>
        </pc:spChg>
        <pc:spChg chg="add del mod modVis">
          <ac:chgData name="Joelle Brehm" userId="a518f54c-6985-42c0-8041-2bb16a414839" providerId="ADAL" clId="{3C9B919C-9CFF-4DBD-AE30-72DF3107A706}" dt="2023-06-05T19:17:15.397" v="7469"/>
          <ac:spMkLst>
            <pc:docMk/>
            <pc:sldMk cId="77660323" sldId="295"/>
            <ac:spMk id="26" creationId="{4D6EC0A7-72C3-0DE1-0AF2-0A99913F2388}"/>
          </ac:spMkLst>
        </pc:spChg>
        <pc:spChg chg="add del mod modVis">
          <ac:chgData name="Joelle Brehm" userId="a518f54c-6985-42c0-8041-2bb16a414839" providerId="ADAL" clId="{3C9B919C-9CFF-4DBD-AE30-72DF3107A706}" dt="2023-06-05T19:17:18.548" v="7690"/>
          <ac:spMkLst>
            <pc:docMk/>
            <pc:sldMk cId="77660323" sldId="295"/>
            <ac:spMk id="28" creationId="{FAC5A956-1863-77D3-FA5B-3CCB3F1F52B2}"/>
          </ac:spMkLst>
        </pc:spChg>
        <pc:spChg chg="add del mod modVis">
          <ac:chgData name="Joelle Brehm" userId="a518f54c-6985-42c0-8041-2bb16a414839" providerId="ADAL" clId="{3C9B919C-9CFF-4DBD-AE30-72DF3107A706}" dt="2023-06-05T19:17:20.854" v="7909"/>
          <ac:spMkLst>
            <pc:docMk/>
            <pc:sldMk cId="77660323" sldId="295"/>
            <ac:spMk id="30" creationId="{DD7B7FF7-FB3C-292D-6D43-49210D513224}"/>
          </ac:spMkLst>
        </pc:spChg>
        <pc:spChg chg="mod">
          <ac:chgData name="Joelle Brehm" userId="a518f54c-6985-42c0-8041-2bb16a414839" providerId="ADAL" clId="{3C9B919C-9CFF-4DBD-AE30-72DF3107A706}" dt="2023-06-05T19:24:49.563" v="8349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63" v="8350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3C9B919C-9CFF-4DBD-AE30-72DF3107A706}" dt="2023-06-05T19:17:23.204" v="8154"/>
          <ac:spMkLst>
            <pc:docMk/>
            <pc:sldMk cId="77660323" sldId="295"/>
            <ac:spMk id="34" creationId="{2D4128DE-0F51-EF38-AB5F-EE7103A98B54}"/>
          </ac:spMkLst>
        </pc:spChg>
        <pc:spChg chg="mod">
          <ac:chgData name="Joelle Brehm" userId="a518f54c-6985-42c0-8041-2bb16a414839" providerId="ADAL" clId="{3C9B919C-9CFF-4DBD-AE30-72DF3107A706}" dt="2023-06-05T19:24:49.563" v="8348"/>
          <ac:spMkLst>
            <pc:docMk/>
            <pc:sldMk cId="77660323" sldId="295"/>
            <ac:spMk id="42" creationId="{A32B7D8C-DAE5-D336-7D31-9ECFB1F6E20C}"/>
          </ac:spMkLst>
        </pc:spChg>
        <pc:spChg chg="mod">
          <ac:chgData name="Joelle Brehm" userId="a518f54c-6985-42c0-8041-2bb16a414839" providerId="ADAL" clId="{3C9B919C-9CFF-4DBD-AE30-72DF3107A706}" dt="2023-06-05T19:24:49.582" v="8388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3C9B919C-9CFF-4DBD-AE30-72DF3107A706}" dt="2023-06-05T19:24:49.579" v="8382"/>
          <ac:spMkLst>
            <pc:docMk/>
            <pc:sldMk cId="77660323" sldId="295"/>
            <ac:spMk id="78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79" v="8381"/>
          <ac:spMkLst>
            <pc:docMk/>
            <pc:sldMk cId="77660323" sldId="295"/>
            <ac:spMk id="79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78" v="8380"/>
          <ac:spMkLst>
            <pc:docMk/>
            <pc:sldMk cId="77660323" sldId="295"/>
            <ac:spMk id="8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80" v="8383"/>
          <ac:spMkLst>
            <pc:docMk/>
            <pc:sldMk cId="77660323" sldId="295"/>
            <ac:spMk id="8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77" v="8378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80" v="8384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80" v="8385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81" v="8386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81" v="8387"/>
          <ac:spMkLst>
            <pc:docMk/>
            <pc:sldMk cId="77660323" sldId="295"/>
            <ac:spMk id="87" creationId="{7CAA3B95-4C78-4122-BECA-B5FB0F3F3764}"/>
          </ac:spMkLst>
        </pc:spChg>
        <pc:spChg chg="del mod">
          <ac:chgData name="Joelle Brehm" userId="a518f54c-6985-42c0-8041-2bb16a414839" providerId="ADAL" clId="{3C9B919C-9CFF-4DBD-AE30-72DF3107A706}" dt="2023-06-05T19:16:44.823" v="5148"/>
          <ac:spMkLst>
            <pc:docMk/>
            <pc:sldMk cId="77660323" sldId="295"/>
            <ac:spMk id="9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5" v="8322"/>
          <ac:spMkLst>
            <pc:docMk/>
            <pc:sldMk cId="77660323" sldId="295"/>
            <ac:spMk id="9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5" v="8323"/>
          <ac:spMkLst>
            <pc:docMk/>
            <pc:sldMk cId="77660323" sldId="295"/>
            <ac:spMk id="95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19:24:49.550" v="8307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3C9B919C-9CFF-4DBD-AE30-72DF3107A706}" dt="2023-06-05T19:24:49.550" v="8309"/>
          <ac:spMkLst>
            <pc:docMk/>
            <pc:sldMk cId="77660323" sldId="295"/>
            <ac:spMk id="97" creationId="{64B2B8D7-E8A8-4757-99A4-69F1EAA48321}"/>
          </ac:spMkLst>
        </pc:spChg>
        <pc:spChg chg="mod">
          <ac:chgData name="Joelle Brehm" userId="a518f54c-6985-42c0-8041-2bb16a414839" providerId="ADAL" clId="{3C9B919C-9CFF-4DBD-AE30-72DF3107A706}" dt="2023-06-05T19:24:49.555" v="8324"/>
          <ac:spMkLst>
            <pc:docMk/>
            <pc:sldMk cId="77660323" sldId="295"/>
            <ac:spMk id="98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6" v="8325"/>
          <ac:spMkLst>
            <pc:docMk/>
            <pc:sldMk cId="77660323" sldId="295"/>
            <ac:spMk id="99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1" v="8314"/>
          <ac:spMkLst>
            <pc:docMk/>
            <pc:sldMk cId="77660323" sldId="295"/>
            <ac:spMk id="100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6" v="8326"/>
          <ac:spMkLst>
            <pc:docMk/>
            <pc:sldMk cId="77660323" sldId="295"/>
            <ac:spMk id="10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7" v="8328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19:24:49.548" v="8303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3C9B919C-9CFF-4DBD-AE30-72DF3107A706}" dt="2023-06-05T19:24:49.552" v="8315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7" v="8329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7" v="8330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8" v="8331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6" v="8327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3" v="8317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2" v="8316"/>
          <ac:spMkLst>
            <pc:docMk/>
            <pc:sldMk cId="77660323" sldId="295"/>
            <ac:spMk id="13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3" v="8318"/>
          <ac:spMkLst>
            <pc:docMk/>
            <pc:sldMk cId="77660323" sldId="295"/>
            <ac:spMk id="15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53" v="8319"/>
          <ac:spMkLst>
            <pc:docMk/>
            <pc:sldMk cId="77660323" sldId="295"/>
            <ac:spMk id="171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19:24:49.551" v="8311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3C9B919C-9CFF-4DBD-AE30-72DF3107A706}" dt="2023-06-05T19:24:49.564" v="8353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3C9B919C-9CFF-4DBD-AE30-72DF3107A706}" dt="2023-06-05T19:24:49.575" v="8374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3C9B919C-9CFF-4DBD-AE30-72DF3107A706}" dt="2023-06-05T19:24:49.575" v="8375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3C9B919C-9CFF-4DBD-AE30-72DF3107A706}" dt="2023-06-05T19:24:49.585" v="8396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3C9B919C-9CFF-4DBD-AE30-72DF3107A706}" dt="2023-06-05T19:24:49.586" v="8397"/>
          <ac:spMkLst>
            <pc:docMk/>
            <pc:sldMk cId="77660323" sldId="295"/>
            <ac:spMk id="402" creationId="{54A50511-8137-91F0-6AA8-1D657EEE3E68}"/>
          </ac:spMkLst>
        </pc:spChg>
        <pc:spChg chg="mod ord">
          <ac:chgData name="Joelle Brehm" userId="a518f54c-6985-42c0-8041-2bb16a414839" providerId="ADAL" clId="{3C9B919C-9CFF-4DBD-AE30-72DF3107A706}" dt="2023-06-05T19:24:49.562" v="8345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3C9B919C-9CFF-4DBD-AE30-72DF3107A706}" dt="2023-06-05T19:24:49.561" v="8341"/>
          <ac:spMkLst>
            <pc:docMk/>
            <pc:sldMk cId="77660323" sldId="295"/>
            <ac:spMk id="485" creationId="{0E817BE1-E587-06E4-D9FC-07EC7C45C787}"/>
          </ac:spMkLst>
        </pc:spChg>
        <pc:spChg chg="del mod">
          <ac:chgData name="Joelle Brehm" userId="a518f54c-6985-42c0-8041-2bb16a414839" providerId="ADAL" clId="{3C9B919C-9CFF-4DBD-AE30-72DF3107A706}" dt="2023-06-05T19:17:07.795" v="6531"/>
          <ac:spMkLst>
            <pc:docMk/>
            <pc:sldMk cId="77660323" sldId="295"/>
            <ac:spMk id="486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67" v="8358"/>
          <ac:spMkLst>
            <pc:docMk/>
            <pc:sldMk cId="77660323" sldId="295"/>
            <ac:spMk id="487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68" v="8359"/>
          <ac:spMkLst>
            <pc:docMk/>
            <pc:sldMk cId="77660323" sldId="295"/>
            <ac:spMk id="488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65" v="8356"/>
          <ac:spMkLst>
            <pc:docMk/>
            <pc:sldMk cId="77660323" sldId="295"/>
            <ac:spMk id="489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19:24:49.561" v="8343"/>
          <ac:spMkLst>
            <pc:docMk/>
            <pc:sldMk cId="77660323" sldId="295"/>
            <ac:spMk id="490" creationId="{9C81118A-E471-58E2-D54E-14C43A3A7D15}"/>
          </ac:spMkLst>
        </pc:spChg>
        <pc:spChg chg="mod">
          <ac:chgData name="Joelle Brehm" userId="a518f54c-6985-42c0-8041-2bb16a414839" providerId="ADAL" clId="{3C9B919C-9CFF-4DBD-AE30-72DF3107A706}" dt="2023-06-05T19:24:49.568" v="8360"/>
          <ac:spMkLst>
            <pc:docMk/>
            <pc:sldMk cId="77660323" sldId="295"/>
            <ac:spMk id="491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66" v="8357"/>
          <ac:spMkLst>
            <pc:docMk/>
            <pc:sldMk cId="77660323" sldId="295"/>
            <ac:spMk id="492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68" v="8362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70" v="8363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70" v="8364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64" v="8351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3C9B919C-9CFF-4DBD-AE30-72DF3107A706}" dt="2023-06-05T19:24:49.570" v="8365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3C9B919C-9CFF-4DBD-AE30-72DF3107A706}" dt="2023-06-05T19:24:49.571" v="8366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19:24:49.562" v="8347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3C9B919C-9CFF-4DBD-AE30-72DF3107A706}" dt="2023-06-05T19:24:49.574" v="8373"/>
          <ac:spMkLst>
            <pc:docMk/>
            <pc:sldMk cId="77660323" sldId="295"/>
            <ac:spMk id="504" creationId="{C36E8BD6-8022-E319-F497-214FADCFA676}"/>
          </ac:spMkLst>
        </pc:spChg>
        <pc:spChg chg="del mod">
          <ac:chgData name="Joelle Brehm" userId="a518f54c-6985-42c0-8041-2bb16a414839" providerId="ADAL" clId="{3C9B919C-9CFF-4DBD-AE30-72DF3107A706}" dt="2023-06-05T19:17:22.975" v="7912"/>
          <ac:spMkLst>
            <pc:docMk/>
            <pc:sldMk cId="77660323" sldId="295"/>
            <ac:spMk id="507" creationId="{7CAA3B95-4C78-4122-BECA-B5FB0F3F3764}"/>
          </ac:spMkLst>
        </pc:spChg>
        <pc:spChg chg="mod ord">
          <ac:chgData name="Joelle Brehm" userId="a518f54c-6985-42c0-8041-2bb16a414839" providerId="ADAL" clId="{3C9B919C-9CFF-4DBD-AE30-72DF3107A706}" dt="2023-06-05T19:24:49.585" v="8395"/>
          <ac:spMkLst>
            <pc:docMk/>
            <pc:sldMk cId="77660323" sldId="295"/>
            <ac:spMk id="508" creationId="{1A0CE076-C63A-CB72-E6B9-5523E3C2C4DF}"/>
          </ac:spMkLst>
        </pc:spChg>
        <pc:spChg chg="mod">
          <ac:chgData name="Joelle Brehm" userId="a518f54c-6985-42c0-8041-2bb16a414839" providerId="ADAL" clId="{3C9B919C-9CFF-4DBD-AE30-72DF3107A706}" dt="2023-06-05T19:24:49.578" v="8379"/>
          <ac:spMkLst>
            <pc:docMk/>
            <pc:sldMk cId="77660323" sldId="295"/>
            <ac:spMk id="509" creationId="{7CAA3B95-4C78-4122-BECA-B5FB0F3F3764}"/>
          </ac:spMkLst>
        </pc:spChg>
        <pc:graphicFrameChg chg="mod">
          <ac:chgData name="Joelle Brehm" userId="a518f54c-6985-42c0-8041-2bb16a414839" providerId="ADAL" clId="{3C9B919C-9CFF-4DBD-AE30-72DF3107A706}" dt="2023-06-05T19:24:49.613" v="8401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6:43.061" v="4984"/>
          <ac:graphicFrameMkLst>
            <pc:docMk/>
            <pc:sldMk cId="77660323" sldId="295"/>
            <ac:graphicFrameMk id="9" creationId="{67B058F1-8ED5-63D5-5D29-0E689E8E4993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6:44.922" v="5249"/>
          <ac:graphicFrameMkLst>
            <pc:docMk/>
            <pc:sldMk cId="77660323" sldId="295"/>
            <ac:graphicFrameMk id="11" creationId="{0135DE3D-8645-D658-E930-9F54CAB5B831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19:24:49.551" v="8313"/>
          <ac:graphicFrameMkLst>
            <pc:docMk/>
            <pc:sldMk cId="77660323" sldId="295"/>
            <ac:graphicFrameMk id="13" creationId="{FBFF4FC0-0824-25BD-86F9-BBA757BB1735}"/>
          </ac:graphicFrameMkLst>
        </pc:graphicFrameChg>
        <pc:graphicFrameChg chg="del">
          <ac:chgData name="Joelle Brehm" userId="a518f54c-6985-42c0-8041-2bb16a414839" providerId="ADAL" clId="{3C9B919C-9CFF-4DBD-AE30-72DF3107A706}" dt="2023-06-05T19:16:37.738" v="4741"/>
          <ac:graphicFrameMkLst>
            <pc:docMk/>
            <pc:sldMk cId="77660323" sldId="295"/>
            <ac:graphicFrameMk id="14" creationId="{A175AEEF-8692-328B-3AA2-72077469B204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7:01.872" v="6178"/>
          <ac:graphicFrameMkLst>
            <pc:docMk/>
            <pc:sldMk cId="77660323" sldId="295"/>
            <ac:graphicFrameMk id="18" creationId="{AB6B064A-C51B-84D8-BF51-5C759589F656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7:04.877" v="6391"/>
          <ac:graphicFrameMkLst>
            <pc:docMk/>
            <pc:sldMk cId="77660323" sldId="295"/>
            <ac:graphicFrameMk id="20" creationId="{5E7A042B-F33C-BFD8-2CC7-51C272D44F0B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7:07.897" v="6631"/>
          <ac:graphicFrameMkLst>
            <pc:docMk/>
            <pc:sldMk cId="77660323" sldId="295"/>
            <ac:graphicFrameMk id="22" creationId="{36E39328-E126-CEE6-8D47-AA124FED5146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19:24:49.565" v="8355"/>
          <ac:graphicFrameMkLst>
            <pc:docMk/>
            <pc:sldMk cId="77660323" sldId="295"/>
            <ac:graphicFrameMk id="24" creationId="{DDA32B8D-1B70-040C-953A-82BF9726F122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7:18.470" v="7553"/>
          <ac:graphicFrameMkLst>
            <pc:docMk/>
            <pc:sldMk cId="77660323" sldId="295"/>
            <ac:graphicFrameMk id="27" creationId="{51433476-31FF-F346-7873-66A9CE004383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7:20.750" v="7772"/>
          <ac:graphicFrameMkLst>
            <pc:docMk/>
            <pc:sldMk cId="77660323" sldId="295"/>
            <ac:graphicFrameMk id="29" creationId="{B7F11A21-5E35-FD4B-6D36-249FEAD64C32}"/>
          </ac:graphicFrameMkLst>
        </pc:graphicFrameChg>
        <pc:graphicFrameChg chg="add del mod ord replST">
          <ac:chgData name="Joelle Brehm" userId="a518f54c-6985-42c0-8041-2bb16a414839" providerId="ADAL" clId="{3C9B919C-9CFF-4DBD-AE30-72DF3107A706}" dt="2023-06-05T19:17:23.098" v="8018"/>
          <ac:graphicFrameMkLst>
            <pc:docMk/>
            <pc:sldMk cId="77660323" sldId="295"/>
            <ac:graphicFrameMk id="32" creationId="{58EB69A1-BCD8-03AE-2DAD-D40AA0E8F550}"/>
          </ac:graphicFrameMkLst>
        </pc:graphicFrameChg>
        <pc:graphicFrameChg chg="add mod ord replST">
          <ac:chgData name="Joelle Brehm" userId="a518f54c-6985-42c0-8041-2bb16a414839" providerId="ADAL" clId="{3C9B919C-9CFF-4DBD-AE30-72DF3107A706}" dt="2023-06-05T19:24:49.576" v="8377"/>
          <ac:graphicFrameMkLst>
            <pc:docMk/>
            <pc:sldMk cId="77660323" sldId="295"/>
            <ac:graphicFrameMk id="35" creationId="{406D77BE-C0F8-2C91-1704-147071A9B97E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17:00.656" v="5953"/>
          <ac:graphicFrameMkLst>
            <pc:docMk/>
            <pc:sldMk cId="77660323" sldId="295"/>
            <ac:graphicFrameMk id="47" creationId="{86A6F529-47B1-3197-1557-AAD69E746671}"/>
          </ac:graphicFrameMkLst>
        </pc:graphicFrameChg>
        <pc:graphicFrameChg chg="del mod ord">
          <ac:chgData name="Joelle Brehm" userId="a518f54c-6985-42c0-8041-2bb16a414839" providerId="ADAL" clId="{3C9B919C-9CFF-4DBD-AE30-72DF3107A706}" dt="2023-06-05T19:17:15.314" v="7322"/>
          <ac:graphicFrameMkLst>
            <pc:docMk/>
            <pc:sldMk cId="77660323" sldId="295"/>
            <ac:graphicFrameMk id="56" creationId="{3AC46159-F03D-F609-EAA0-28DA5749C5AD}"/>
          </ac:graphicFrameMkLst>
        </pc:graphicFrameChg>
        <pc:picChg chg="mod ord">
          <ac:chgData name="Joelle Brehm" userId="a518f54c-6985-42c0-8041-2bb16a414839" providerId="ADAL" clId="{3C9B919C-9CFF-4DBD-AE30-72DF3107A706}" dt="2023-06-05T19:24:49.548" v="8305"/>
          <ac:picMkLst>
            <pc:docMk/>
            <pc:sldMk cId="77660323" sldId="295"/>
            <ac:picMk id="3" creationId="{2D4B0DAF-6DD7-4B10-8D9C-0B8AAD6563B0}"/>
          </ac:picMkLst>
        </pc:picChg>
        <pc:picChg chg="add del mod">
          <ac:chgData name="Joelle Brehm" userId="a518f54c-6985-42c0-8041-2bb16a414839" providerId="ADAL" clId="{3C9B919C-9CFF-4DBD-AE30-72DF3107A706}" dt="2023-06-05T19:24:14.715" v="8168" actId="478"/>
          <ac:picMkLst>
            <pc:docMk/>
            <pc:sldMk cId="77660323" sldId="295"/>
            <ac:picMk id="36" creationId="{72BD92A2-7B1E-460D-E936-287107C0BBCE}"/>
          </ac:picMkLst>
        </pc:picChg>
        <pc:picChg chg="add del mod ord">
          <ac:chgData name="Joelle Brehm" userId="a518f54c-6985-42c0-8041-2bb16a414839" providerId="ADAL" clId="{3C9B919C-9CFF-4DBD-AE30-72DF3107A706}" dt="2023-06-05T19:24:51.650" v="8402" actId="478"/>
          <ac:picMkLst>
            <pc:docMk/>
            <pc:sldMk cId="77660323" sldId="295"/>
            <ac:picMk id="37" creationId="{10F68326-47DC-0F72-C0C3-F2AB889EC604}"/>
          </ac:picMkLst>
        </pc:picChg>
        <pc:picChg chg="add mod ord">
          <ac:chgData name="Joelle Brehm" userId="a518f54c-6985-42c0-8041-2bb16a414839" providerId="ADAL" clId="{3C9B919C-9CFF-4DBD-AE30-72DF3107A706}" dt="2023-06-05T19:24:49.543" v="8297"/>
          <ac:picMkLst>
            <pc:docMk/>
            <pc:sldMk cId="77660323" sldId="295"/>
            <ac:picMk id="38" creationId="{E2A1807B-2279-E0C3-403E-354977712D60}"/>
          </ac:picMkLst>
        </pc:picChg>
        <pc:picChg chg="add del mod ord">
          <ac:chgData name="Joelle Brehm" userId="a518f54c-6985-42c0-8041-2bb16a414839" providerId="ADAL" clId="{3C9B919C-9CFF-4DBD-AE30-72DF3107A706}" dt="2023-06-05T19:24:29.085" v="8285" actId="478"/>
          <ac:picMkLst>
            <pc:docMk/>
            <pc:sldMk cId="77660323" sldId="295"/>
            <ac:picMk id="57" creationId="{0D949C86-E068-36A4-5784-4BBB27949706}"/>
          </ac:picMkLst>
        </pc:picChg>
        <pc:cxnChg chg="mod ord">
          <ac:chgData name="Joelle Brehm" userId="a518f54c-6985-42c0-8041-2bb16a414839" providerId="ADAL" clId="{3C9B919C-9CFF-4DBD-AE30-72DF3107A706}" dt="2023-06-05T19:24:49.558" v="8333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3C9B919C-9CFF-4DBD-AE30-72DF3107A706}" dt="2023-06-05T19:24:49.560" v="8337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3C9B919C-9CFF-4DBD-AE30-72DF3107A706}" dt="2023-06-05T19:24:49.559" v="8335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3C9B919C-9CFF-4DBD-AE30-72DF3107A706}" dt="2023-06-05T19:24:49.573" v="8371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3C9B919C-9CFF-4DBD-AE30-72DF3107A706}" dt="2023-06-05T19:24:49.572" v="8369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3C9B919C-9CFF-4DBD-AE30-72DF3107A706}" dt="2023-06-05T19:24:49.583" v="8391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3C9B919C-9CFF-4DBD-AE30-72DF3107A706}" dt="2023-06-05T19:24:49.584" v="8393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3C9B919C-9CFF-4DBD-AE30-72DF3107A706}" dt="2023-06-05T19:24:49.560" v="8339"/>
          <ac:cxnSpMkLst>
            <pc:docMk/>
            <pc:sldMk cId="77660323" sldId="295"/>
            <ac:cxnSpMk id="499" creationId="{03F78B4F-B1A0-4DEB-C1BE-2365D8B94D05}"/>
          </ac:cxnSpMkLst>
        </pc:cxnChg>
      </pc:sldChg>
    </pc:docChg>
  </pc:docChgLst>
  <pc:docChgLst>
    <pc:chgData name="Joelle Brehm" userId="a518f54c-6985-42c0-8041-2bb16a414839" providerId="ADAL" clId="{E58FA468-8508-4D9D-B61C-DD2554E44EF7}"/>
    <pc:docChg chg="undo custSel addSld delSld modSld replTag">
      <pc:chgData name="Joelle Brehm" userId="a518f54c-6985-42c0-8041-2bb16a414839" providerId="ADAL" clId="{E58FA468-8508-4D9D-B61C-DD2554E44EF7}" dt="2024-03-07T19:45:49.180" v="64733" actId="20577"/>
      <pc:docMkLst>
        <pc:docMk/>
      </pc:docMkLst>
      <pc:sldChg chg="addSp delSp modSp mod">
        <pc:chgData name="Joelle Brehm" userId="a518f54c-6985-42c0-8041-2bb16a414839" providerId="ADAL" clId="{E58FA468-8508-4D9D-B61C-DD2554E44EF7}" dt="2024-03-07T18:27:20.596" v="64213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E58FA468-8508-4D9D-B61C-DD2554E44EF7}" dt="2024-03-07T18:12:51.495" v="64141" actId="478"/>
          <ac:spMkLst>
            <pc:docMk/>
            <pc:sldMk cId="3839614074" sldId="258"/>
            <ac:spMk id="9" creationId="{99D52C31-385B-5C56-F213-C29E0F135D02}"/>
          </ac:spMkLst>
        </pc:spChg>
        <pc:spChg chg="add del mod">
          <ac:chgData name="Joelle Brehm" userId="a518f54c-6985-42c0-8041-2bb16a414839" providerId="ADAL" clId="{E58FA468-8508-4D9D-B61C-DD2554E44EF7}" dt="2024-03-06T23:05:21.662" v="11056" actId="478"/>
          <ac:spMkLst>
            <pc:docMk/>
            <pc:sldMk cId="3839614074" sldId="258"/>
            <ac:spMk id="9" creationId="{EA3D0730-53D5-97C2-16EE-8FF857ACE3B3}"/>
          </ac:spMkLst>
        </pc:spChg>
        <pc:spChg chg="mod">
          <ac:chgData name="Joelle Brehm" userId="a518f54c-6985-42c0-8041-2bb16a414839" providerId="ADAL" clId="{E58FA468-8508-4D9D-B61C-DD2554E44EF7}" dt="2024-03-07T18:27:20.596" v="64213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E58FA468-8508-4D9D-B61C-DD2554E44EF7}" dt="2024-03-07T18:13:39.958" v="64145" actId="20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E58FA468-8508-4D9D-B61C-DD2554E44EF7}" dt="2024-03-07T16:18:40.334" v="12665"/>
        <pc:sldMkLst>
          <pc:docMk/>
          <pc:sldMk cId="3798164587" sldId="259"/>
        </pc:sldMkLst>
        <pc:spChg chg="mod ord">
          <ac:chgData name="Joelle Brehm" userId="a518f54c-6985-42c0-8041-2bb16a414839" providerId="ADAL" clId="{E58FA468-8508-4D9D-B61C-DD2554E44EF7}" dt="2024-03-07T16:18:40.318" v="12659"/>
          <ac:spMkLst>
            <pc:docMk/>
            <pc:sldMk cId="3798164587" sldId="259"/>
            <ac:spMk id="2" creationId="{8EDF2A74-9587-4C1D-91CA-8D21248ED6E8}"/>
          </ac:spMkLst>
        </pc:spChg>
        <pc:spChg chg="add del mod">
          <ac:chgData name="Joelle Brehm" userId="a518f54c-6985-42c0-8041-2bb16a414839" providerId="ADAL" clId="{E58FA468-8508-4D9D-B61C-DD2554E44EF7}" dt="2024-03-07T16:17:24.935" v="11059" actId="478"/>
          <ac:spMkLst>
            <pc:docMk/>
            <pc:sldMk cId="3798164587" sldId="259"/>
            <ac:spMk id="3" creationId="{7AD209B1-995C-630D-1EA9-9EB18F9EF01A}"/>
          </ac:spMkLst>
        </pc:spChg>
        <pc:spChg chg="mod ord">
          <ac:chgData name="Joelle Brehm" userId="a518f54c-6985-42c0-8041-2bb16a414839" providerId="ADAL" clId="{E58FA468-8508-4D9D-B61C-DD2554E44EF7}" dt="2024-03-07T16:18:40.301" v="12574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58FA468-8508-4D9D-B61C-DD2554E44EF7}" dt="2024-03-07T16:17:50.438" v="11298"/>
          <ac:spMkLst>
            <pc:docMk/>
            <pc:sldMk cId="3798164587" sldId="259"/>
            <ac:spMk id="8" creationId="{79D6EDAE-7D00-1925-2713-DD069A7D546D}"/>
          </ac:spMkLst>
        </pc:spChg>
        <pc:spChg chg="mod">
          <ac:chgData name="Joelle Brehm" userId="a518f54c-6985-42c0-8041-2bb16a414839" providerId="ADAL" clId="{E58FA468-8508-4D9D-B61C-DD2554E44EF7}" dt="2024-03-07T16:18:40.301" v="12585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18:40.301" v="12581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18:40.301" v="12582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18:40.301" v="12579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18:40.301" v="12580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18:40.301" v="12583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18:40.301" v="12584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18:40.301" v="12586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18:40.301" v="12587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18:40.301" v="12588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18:40.301" v="12589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18:40.301" v="12590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18:40.301" v="12592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18:40.301" v="12593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18:40.301" v="12595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18:40.301" v="12594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18:40.301" v="12597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18:40.301" v="12598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18:40.301" v="12596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18:40.301" v="12600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18:40.317" v="12621"/>
          <ac:spMkLst>
            <pc:docMk/>
            <pc:sldMk cId="3798164587" sldId="259"/>
            <ac:spMk id="32" creationId="{2EFC59B1-C208-1816-2539-FFF2F0D2CED4}"/>
          </ac:spMkLst>
        </pc:spChg>
        <pc:spChg chg="add del mod modVis">
          <ac:chgData name="Joelle Brehm" userId="a518f54c-6985-42c0-8041-2bb16a414839" providerId="ADAL" clId="{E58FA468-8508-4D9D-B61C-DD2554E44EF7}" dt="2024-03-07T16:18:20.803" v="11597"/>
          <ac:spMkLst>
            <pc:docMk/>
            <pc:sldMk cId="3798164587" sldId="259"/>
            <ac:spMk id="33" creationId="{BF80C3C6-ECE2-E618-8198-8339A9BB3F32}"/>
          </ac:spMkLst>
        </pc:spChg>
        <pc:spChg chg="mod">
          <ac:chgData name="Joelle Brehm" userId="a518f54c-6985-42c0-8041-2bb16a414839" providerId="ADAL" clId="{E58FA468-8508-4D9D-B61C-DD2554E44EF7}" dt="2024-03-07T16:18:40.317" v="12618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E58FA468-8508-4D9D-B61C-DD2554E44EF7}" dt="2024-03-07T16:18:40.301" v="12617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E58FA468-8508-4D9D-B61C-DD2554E44EF7}" dt="2024-03-07T16:18:40.318" v="12627"/>
          <ac:spMkLst>
            <pc:docMk/>
            <pc:sldMk cId="3798164587" sldId="259"/>
            <ac:spMk id="36" creationId="{24FD96C4-2F4A-AA43-27EB-B5B3270F9A1D}"/>
          </ac:spMkLst>
        </pc:spChg>
        <pc:spChg chg="mod">
          <ac:chgData name="Joelle Brehm" userId="a518f54c-6985-42c0-8041-2bb16a414839" providerId="ADAL" clId="{E58FA468-8508-4D9D-B61C-DD2554E44EF7}" dt="2024-03-07T16:18:40.317" v="12620"/>
          <ac:spMkLst>
            <pc:docMk/>
            <pc:sldMk cId="3798164587" sldId="259"/>
            <ac:spMk id="37" creationId="{E3EAC238-37CE-FE97-F754-1E4E04FB6278}"/>
          </ac:spMkLst>
        </pc:spChg>
        <pc:spChg chg="mod">
          <ac:chgData name="Joelle Brehm" userId="a518f54c-6985-42c0-8041-2bb16a414839" providerId="ADAL" clId="{E58FA468-8508-4D9D-B61C-DD2554E44EF7}" dt="2024-03-07T16:18:40.318" v="12629"/>
          <ac:spMkLst>
            <pc:docMk/>
            <pc:sldMk cId="3798164587" sldId="259"/>
            <ac:spMk id="38" creationId="{76111FA9-1A54-7051-3AE8-877C73800496}"/>
          </ac:spMkLst>
        </pc:spChg>
        <pc:spChg chg="mod">
          <ac:chgData name="Joelle Brehm" userId="a518f54c-6985-42c0-8041-2bb16a414839" providerId="ADAL" clId="{E58FA468-8508-4D9D-B61C-DD2554E44EF7}" dt="2024-03-07T16:18:40.318" v="12626"/>
          <ac:spMkLst>
            <pc:docMk/>
            <pc:sldMk cId="3798164587" sldId="259"/>
            <ac:spMk id="39" creationId="{D4D13DFD-8B8D-47B0-DF09-93358F670D14}"/>
          </ac:spMkLst>
        </pc:spChg>
        <pc:spChg chg="mod">
          <ac:chgData name="Joelle Brehm" userId="a518f54c-6985-42c0-8041-2bb16a414839" providerId="ADAL" clId="{E58FA468-8508-4D9D-B61C-DD2554E44EF7}" dt="2024-03-07T16:18:40.318" v="12636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E58FA468-8508-4D9D-B61C-DD2554E44EF7}" dt="2024-03-07T16:18:40.317" v="12619"/>
          <ac:spMkLst>
            <pc:docMk/>
            <pc:sldMk cId="3798164587" sldId="259"/>
            <ac:spMk id="41" creationId="{AAEA4991-6EDC-4585-53B3-43FCB8287F41}"/>
          </ac:spMkLst>
        </pc:spChg>
        <pc:spChg chg="mod">
          <ac:chgData name="Joelle Brehm" userId="a518f54c-6985-42c0-8041-2bb16a414839" providerId="ADAL" clId="{E58FA468-8508-4D9D-B61C-DD2554E44EF7}" dt="2024-03-07T16:18:40.318" v="12633"/>
          <ac:spMkLst>
            <pc:docMk/>
            <pc:sldMk cId="3798164587" sldId="259"/>
            <ac:spMk id="45" creationId="{834A4A6E-F942-97CD-1964-C91BE6483977}"/>
          </ac:spMkLst>
        </pc:spChg>
        <pc:spChg chg="mod">
          <ac:chgData name="Joelle Brehm" userId="a518f54c-6985-42c0-8041-2bb16a414839" providerId="ADAL" clId="{E58FA468-8508-4D9D-B61C-DD2554E44EF7}" dt="2024-03-07T16:18:40.318" v="12632"/>
          <ac:spMkLst>
            <pc:docMk/>
            <pc:sldMk cId="3798164587" sldId="259"/>
            <ac:spMk id="46" creationId="{E6B65AFA-ED65-790E-FD9D-900AB5F10F73}"/>
          </ac:spMkLst>
        </pc:spChg>
        <pc:spChg chg="mod">
          <ac:chgData name="Joelle Brehm" userId="a518f54c-6985-42c0-8041-2bb16a414839" providerId="ADAL" clId="{E58FA468-8508-4D9D-B61C-DD2554E44EF7}" dt="2024-03-07T16:18:40.301" v="12609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E58FA468-8508-4D9D-B61C-DD2554E44EF7}" dt="2024-03-07T16:18:40.301" v="12613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E58FA468-8508-4D9D-B61C-DD2554E44EF7}" dt="2024-03-07T16:18:40.301" v="12615"/>
          <ac:spMkLst>
            <pc:docMk/>
            <pc:sldMk cId="3798164587" sldId="259"/>
            <ac:spMk id="49" creationId="{4EF4B9C9-590D-7FAC-314A-6E7170817158}"/>
          </ac:spMkLst>
        </pc:spChg>
        <pc:spChg chg="del mod">
          <ac:chgData name="Joelle Brehm" userId="a518f54c-6985-42c0-8041-2bb16a414839" providerId="ADAL" clId="{E58FA468-8508-4D9D-B61C-DD2554E44EF7}" dt="2024-03-07T16:18:36.007" v="12220"/>
          <ac:spMkLst>
            <pc:docMk/>
            <pc:sldMk cId="3798164587" sldId="259"/>
            <ac:spMk id="50" creationId="{6E0EEE28-854C-B3D5-8CC6-BD69B0BE61B8}"/>
          </ac:spMkLst>
        </pc:spChg>
        <pc:spChg chg="mod">
          <ac:chgData name="Joelle Brehm" userId="a518f54c-6985-42c0-8041-2bb16a414839" providerId="ADAL" clId="{E58FA468-8508-4D9D-B61C-DD2554E44EF7}" dt="2024-03-07T16:18:40.318" v="12623"/>
          <ac:spMkLst>
            <pc:docMk/>
            <pc:sldMk cId="3798164587" sldId="259"/>
            <ac:spMk id="51" creationId="{3CCC5AEF-7BB6-2440-B43E-35D020EB1B82}"/>
          </ac:spMkLst>
        </pc:spChg>
        <pc:spChg chg="mod">
          <ac:chgData name="Joelle Brehm" userId="a518f54c-6985-42c0-8041-2bb16a414839" providerId="ADAL" clId="{E58FA468-8508-4D9D-B61C-DD2554E44EF7}" dt="2024-03-07T16:18:40.317" v="12622"/>
          <ac:spMkLst>
            <pc:docMk/>
            <pc:sldMk cId="3798164587" sldId="259"/>
            <ac:spMk id="52" creationId="{D8EE27B5-3F46-02AD-6192-2B83C625A7E3}"/>
          </ac:spMkLst>
        </pc:spChg>
        <pc:spChg chg="add mod replST">
          <ac:chgData name="Joelle Brehm" userId="a518f54c-6985-42c0-8041-2bb16a414839" providerId="ADAL" clId="{E58FA468-8508-4D9D-B61C-DD2554E44EF7}" dt="2024-03-07T16:18:40.318" v="12634"/>
          <ac:spMkLst>
            <pc:docMk/>
            <pc:sldMk cId="3798164587" sldId="259"/>
            <ac:spMk id="53" creationId="{EA5E416E-EAE0-1FEE-B3B8-C4682B7468DA}"/>
          </ac:spMkLst>
        </pc:spChg>
        <pc:spChg chg="mod">
          <ac:chgData name="Joelle Brehm" userId="a518f54c-6985-42c0-8041-2bb16a414839" providerId="ADAL" clId="{E58FA468-8508-4D9D-B61C-DD2554E44EF7}" dt="2024-03-07T16:18:40.318" v="12625"/>
          <ac:spMkLst>
            <pc:docMk/>
            <pc:sldMk cId="3798164587" sldId="259"/>
            <ac:spMk id="54" creationId="{2CEA7E2C-E3CA-7941-ACCF-262308344C45}"/>
          </ac:spMkLst>
        </pc:spChg>
        <pc:spChg chg="mod">
          <ac:chgData name="Joelle Brehm" userId="a518f54c-6985-42c0-8041-2bb16a414839" providerId="ADAL" clId="{E58FA468-8508-4D9D-B61C-DD2554E44EF7}" dt="2024-03-07T16:18:40.318" v="12624"/>
          <ac:spMkLst>
            <pc:docMk/>
            <pc:sldMk cId="3798164587" sldId="259"/>
            <ac:spMk id="55" creationId="{02AD7D81-8D13-B15E-2594-BD31882D675C}"/>
          </ac:spMkLst>
        </pc:spChg>
        <pc:spChg chg="mod">
          <ac:chgData name="Joelle Brehm" userId="a518f54c-6985-42c0-8041-2bb16a414839" providerId="ADAL" clId="{E58FA468-8508-4D9D-B61C-DD2554E44EF7}" dt="2024-03-07T16:18:40.318" v="12631"/>
          <ac:spMkLst>
            <pc:docMk/>
            <pc:sldMk cId="3798164587" sldId="259"/>
            <ac:spMk id="56" creationId="{D0866A98-946F-C9DC-4025-403A17183A3F}"/>
          </ac:spMkLst>
        </pc:spChg>
        <pc:spChg chg="mod">
          <ac:chgData name="Joelle Brehm" userId="a518f54c-6985-42c0-8041-2bb16a414839" providerId="ADAL" clId="{E58FA468-8508-4D9D-B61C-DD2554E44EF7}" dt="2024-03-07T16:18:40.318" v="12630"/>
          <ac:spMkLst>
            <pc:docMk/>
            <pc:sldMk cId="3798164587" sldId="259"/>
            <ac:spMk id="57" creationId="{9FDD95CB-347D-31C2-8C7C-8885536C3772}"/>
          </ac:spMkLst>
        </pc:spChg>
        <pc:spChg chg="add mod ord replST">
          <ac:chgData name="Joelle Brehm" userId="a518f54c-6985-42c0-8041-2bb16a414839" providerId="ADAL" clId="{E58FA468-8508-4D9D-B61C-DD2554E44EF7}" dt="2024-03-07T16:18:40.318" v="12635"/>
          <ac:spMkLst>
            <pc:docMk/>
            <pc:sldMk cId="3798164587" sldId="259"/>
            <ac:spMk id="58" creationId="{0DD75451-1FE2-C8B1-4E2C-E9CB46E6123B}"/>
          </ac:spMkLst>
        </pc:spChg>
        <pc:spChg chg="mod">
          <ac:chgData name="Joelle Brehm" userId="a518f54c-6985-42c0-8041-2bb16a414839" providerId="ADAL" clId="{E58FA468-8508-4D9D-B61C-DD2554E44EF7}" dt="2024-03-07T16:18:40.318" v="12628"/>
          <ac:spMkLst>
            <pc:docMk/>
            <pc:sldMk cId="3798164587" sldId="259"/>
            <ac:spMk id="59" creationId="{FC0B19CE-D222-373E-7B18-A491724F2CFE}"/>
          </ac:spMkLst>
        </pc:spChg>
        <pc:spChg chg="add del mod modVis">
          <ac:chgData name="Joelle Brehm" userId="a518f54c-6985-42c0-8041-2bb16a414839" providerId="ADAL" clId="{E58FA468-8508-4D9D-B61C-DD2554E44EF7}" dt="2024-03-07T16:18:30.644" v="12003"/>
          <ac:spMkLst>
            <pc:docMk/>
            <pc:sldMk cId="3798164587" sldId="259"/>
            <ac:spMk id="60" creationId="{8A929B61-DC06-96E1-95EC-E7941D40E0F3}"/>
          </ac:spMkLst>
        </pc:spChg>
        <pc:spChg chg="mod">
          <ac:chgData name="Joelle Brehm" userId="a518f54c-6985-42c0-8041-2bb16a414839" providerId="ADAL" clId="{E58FA468-8508-4D9D-B61C-DD2554E44EF7}" dt="2024-03-07T16:18:40.301" v="12603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E58FA468-8508-4D9D-B61C-DD2554E44EF7}" dt="2024-03-07T16:18:40.301" v="12605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E58FA468-8508-4D9D-B61C-DD2554E44EF7}" dt="2024-03-07T16:18:40.301" v="12607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E58FA468-8508-4D9D-B61C-DD2554E44EF7}" dt="2024-03-07T16:18:33.409" v="12217"/>
          <ac:spMkLst>
            <pc:docMk/>
            <pc:sldMk cId="3798164587" sldId="259"/>
            <ac:spMk id="65" creationId="{B7F10932-A5C6-4A4A-487C-2168C5315587}"/>
          </ac:spMkLst>
        </pc:spChg>
        <pc:spChg chg="mod">
          <ac:chgData name="Joelle Brehm" userId="a518f54c-6985-42c0-8041-2bb16a414839" providerId="ADAL" clId="{E58FA468-8508-4D9D-B61C-DD2554E44EF7}" dt="2024-03-07T16:18:40.301" v="12612"/>
          <ac:spMkLst>
            <pc:docMk/>
            <pc:sldMk cId="3798164587" sldId="259"/>
            <ac:spMk id="67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18:36.229" v="12471"/>
          <ac:spMkLst>
            <pc:docMk/>
            <pc:sldMk cId="3798164587" sldId="259"/>
            <ac:spMk id="68" creationId="{26905639-FAC1-90D4-CF64-2FF735599838}"/>
          </ac:spMkLst>
        </pc:spChg>
        <pc:spChg chg="mod">
          <ac:chgData name="Joelle Brehm" userId="a518f54c-6985-42c0-8041-2bb16a414839" providerId="ADAL" clId="{E58FA468-8508-4D9D-B61C-DD2554E44EF7}" dt="2024-03-07T16:18:40.301" v="12604"/>
          <ac:spMkLst>
            <pc:docMk/>
            <pc:sldMk cId="3798164587" sldId="259"/>
            <ac:spMk id="69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18:40.301" v="12606"/>
          <ac:spMkLst>
            <pc:docMk/>
            <pc:sldMk cId="3798164587" sldId="259"/>
            <ac:spMk id="71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18:40.301" v="12608"/>
          <ac:spMkLst>
            <pc:docMk/>
            <pc:sldMk cId="3798164587" sldId="259"/>
            <ac:spMk id="7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18:40.301" v="12610"/>
          <ac:spMkLst>
            <pc:docMk/>
            <pc:sldMk cId="3798164587" sldId="259"/>
            <ac:spMk id="73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18:40.318" v="12663"/>
          <ac:spMkLst>
            <pc:docMk/>
            <pc:sldMk cId="3798164587" sldId="259"/>
            <ac:spMk id="75" creationId="{B3DB340F-ABFD-5DEC-AEDC-37C62E8DCFC2}"/>
          </ac:spMkLst>
        </pc:spChg>
        <pc:spChg chg="mod ord">
          <ac:chgData name="Joelle Brehm" userId="a518f54c-6985-42c0-8041-2bb16a414839" providerId="ADAL" clId="{E58FA468-8508-4D9D-B61C-DD2554E44EF7}" dt="2024-03-07T16:18:40.318" v="12638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18:40.318" v="12640"/>
          <ac:spMkLst>
            <pc:docMk/>
            <pc:sldMk cId="3798164587" sldId="259"/>
            <ac:spMk id="79" creationId="{F1476AC4-694B-4D83-BFD8-8DCAA4BB1923}"/>
          </ac:spMkLst>
        </pc:spChg>
        <pc:spChg chg="mod">
          <ac:chgData name="Joelle Brehm" userId="a518f54c-6985-42c0-8041-2bb16a414839" providerId="ADAL" clId="{E58FA468-8508-4D9D-B61C-DD2554E44EF7}" dt="2024-03-07T16:18:40.301" v="12611"/>
          <ac:spMkLst>
            <pc:docMk/>
            <pc:sldMk cId="3798164587" sldId="259"/>
            <ac:spMk id="91" creationId="{7CAA3B95-4C78-4122-BECA-B5FB0F3F3764}"/>
          </ac:spMkLst>
        </pc:spChg>
        <pc:spChg chg="del mod">
          <ac:chgData name="Joelle Brehm" userId="a518f54c-6985-42c0-8041-2bb16a414839" providerId="ADAL" clId="{E58FA468-8508-4D9D-B61C-DD2554E44EF7}" dt="2024-03-07T16:18:36.007" v="12221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18:40.301" v="12614"/>
          <ac:spMkLst>
            <pc:docMk/>
            <pc:sldMk cId="3798164587" sldId="259"/>
            <ac:spMk id="95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18:40.318" v="12642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E58FA468-8508-4D9D-B61C-DD2554E44EF7}" dt="2024-03-07T16:18:40.301" v="12616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18:40.318" v="12644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18:40.318" v="12646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18:40.318" v="12648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18:40.318" v="12651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18:40.318" v="12652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18:40.318" v="12653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18:40.318" v="12654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18:40.318" v="12655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18:40.334" v="12665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18:40.301" v="12578"/>
          <ac:graphicFrameMkLst>
            <pc:docMk/>
            <pc:sldMk cId="3798164587" sldId="259"/>
            <ac:graphicFrameMk id="9" creationId="{35F28C87-1695-B4D3-D69E-D38AD3C8C47E}"/>
          </ac:graphicFrameMkLst>
        </pc:graphicFrameChg>
        <pc:graphicFrameChg chg="del">
          <ac:chgData name="Joelle Brehm" userId="a518f54c-6985-42c0-8041-2bb16a414839" providerId="ADAL" clId="{E58FA468-8508-4D9D-B61C-DD2554E44EF7}" dt="2024-03-07T16:17:50.306" v="11186"/>
          <ac:graphicFrameMkLst>
            <pc:docMk/>
            <pc:sldMk cId="3798164587" sldId="259"/>
            <ac:graphicFrameMk id="31" creationId="{F261980A-1680-2E6F-BAFA-30AD5D22E472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18:20.766" v="11496"/>
          <ac:graphicFrameMkLst>
            <pc:docMk/>
            <pc:sldMk cId="3798164587" sldId="259"/>
            <ac:graphicFrameMk id="42" creationId="{544B13B6-91F8-54C4-56A5-307E724B139B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18:40.318" v="12650"/>
          <ac:graphicFrameMkLst>
            <pc:docMk/>
            <pc:sldMk cId="3798164587" sldId="259"/>
            <ac:graphicFrameMk id="44" creationId="{EA21C068-F0C4-A879-35AC-19BCCD488BD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18:33.347" v="12113"/>
          <ac:graphicFrameMkLst>
            <pc:docMk/>
            <pc:sldMk cId="3798164587" sldId="259"/>
            <ac:graphicFrameMk id="63" creationId="{DA41222B-EAE7-3669-DC3E-8256C17C6612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18:36.152" v="12369"/>
          <ac:graphicFrameMkLst>
            <pc:docMk/>
            <pc:sldMk cId="3798164587" sldId="259"/>
            <ac:graphicFrameMk id="66" creationId="{0D2D4CBB-201E-88A8-6F32-2B2B543176F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18:40.269" v="12562"/>
          <ac:graphicFrameMkLst>
            <pc:docMk/>
            <pc:sldMk cId="3798164587" sldId="259"/>
            <ac:graphicFrameMk id="70" creationId="{DA74E038-5C95-181D-BE03-517201E3F138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18:30.585" v="11899"/>
          <ac:graphicFrameMkLst>
            <pc:docMk/>
            <pc:sldMk cId="3798164587" sldId="259"/>
            <ac:graphicFrameMk id="74" creationId="{3ECA42EB-B48B-1DA0-2D47-15734F8AA3D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18:40.301" v="12602"/>
          <ac:graphicFrameMkLst>
            <pc:docMk/>
            <pc:sldMk cId="3798164587" sldId="259"/>
            <ac:graphicFrameMk id="76" creationId="{9F21AA97-73F7-FFE2-6D88-F566F1691605}"/>
          </ac:graphicFrameMkLst>
        </pc:graphicFrameChg>
        <pc:picChg chg="mod ord">
          <ac:chgData name="Joelle Brehm" userId="a518f54c-6985-42c0-8041-2bb16a414839" providerId="ADAL" clId="{E58FA468-8508-4D9D-B61C-DD2554E44EF7}" dt="2024-03-07T16:18:40.301" v="12572"/>
          <ac:picMkLst>
            <pc:docMk/>
            <pc:sldMk cId="3798164587" sldId="259"/>
            <ac:picMk id="5" creationId="{8F4A2CF4-0CF3-47E4-B23B-AC49D50CFFA1}"/>
          </ac:picMkLst>
        </pc:picChg>
        <pc:picChg chg="add mod ord">
          <ac:chgData name="Joelle Brehm" userId="a518f54c-6985-42c0-8041-2bb16a414839" providerId="ADAL" clId="{E58FA468-8508-4D9D-B61C-DD2554E44EF7}" dt="2024-03-07T16:18:40.301" v="12570"/>
          <ac:picMkLst>
            <pc:docMk/>
            <pc:sldMk cId="3798164587" sldId="259"/>
            <ac:picMk id="10" creationId="{04195A59-3121-8939-1C7E-5FC73DD93746}"/>
          </ac:picMkLst>
        </pc:picChg>
        <pc:picChg chg="del mod ord">
          <ac:chgData name="Joelle Brehm" userId="a518f54c-6985-42c0-8041-2bb16a414839" providerId="ADAL" clId="{E58FA468-8508-4D9D-B61C-DD2554E44EF7}" dt="2024-03-07T16:18:11.952" v="11407" actId="478"/>
          <ac:picMkLst>
            <pc:docMk/>
            <pc:sldMk cId="3798164587" sldId="259"/>
            <ac:picMk id="43" creationId="{BF486C99-2537-364B-8697-FC9567A0AFE5}"/>
          </ac:picMkLst>
        </pc:picChg>
        <pc:picChg chg="mod ord">
          <ac:chgData name="Joelle Brehm" userId="a518f54c-6985-42c0-8041-2bb16a414839" providerId="ADAL" clId="{E58FA468-8508-4D9D-B61C-DD2554E44EF7}" dt="2024-03-07T16:18:40.318" v="12657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18:40.301" v="12576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E58FA468-8508-4D9D-B61C-DD2554E44EF7}" dt="2024-03-04T23:45:38.452" v="7" actId="20577"/>
        <pc:sldMkLst>
          <pc:docMk/>
          <pc:sldMk cId="4090961396" sldId="260"/>
        </pc:sldMkLst>
        <pc:spChg chg="mod">
          <ac:chgData name="Joelle Brehm" userId="a518f54c-6985-42c0-8041-2bb16a414839" providerId="ADAL" clId="{E58FA468-8508-4D9D-B61C-DD2554E44EF7}" dt="2024-03-04T23:45:38.452" v="7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E58FA468-8508-4D9D-B61C-DD2554E44EF7}" dt="2024-03-06T18:45:08.003" v="1131" actId="1035"/>
        <pc:sldMkLst>
          <pc:docMk/>
          <pc:sldMk cId="3980989934" sldId="263"/>
        </pc:sldMkLst>
        <pc:spChg chg="mod ord">
          <ac:chgData name="Joelle Brehm" userId="a518f54c-6985-42c0-8041-2bb16a414839" providerId="ADAL" clId="{E58FA468-8508-4D9D-B61C-DD2554E44EF7}" dt="2024-03-06T18:44:07.074" v="1067"/>
          <ac:spMkLst>
            <pc:docMk/>
            <pc:sldMk cId="3980989934" sldId="263"/>
            <ac:spMk id="2" creationId="{75C72E1E-661F-4997-A353-2798333F5BE3}"/>
          </ac:spMkLst>
        </pc:spChg>
        <pc:spChg chg="mod ord">
          <ac:chgData name="Joelle Brehm" userId="a518f54c-6985-42c0-8041-2bb16a414839" providerId="ADAL" clId="{E58FA468-8508-4D9D-B61C-DD2554E44EF7}" dt="2024-03-06T18:44:07.067" v="1042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E58FA468-8508-4D9D-B61C-DD2554E44EF7}" dt="2024-03-06T18:44:07.069" v="1051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E58FA468-8508-4D9D-B61C-DD2554E44EF7}" dt="2024-03-06T18:44:07.068" v="1047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E58FA468-8508-4D9D-B61C-DD2554E44EF7}" dt="2024-03-06T18:44:07.068" v="1045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E58FA468-8508-4D9D-B61C-DD2554E44EF7}" dt="2024-03-06T18:44:07.068" v="1046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E58FA468-8508-4D9D-B61C-DD2554E44EF7}" dt="2024-03-06T18:44:07.069" v="1048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E58FA468-8508-4D9D-B61C-DD2554E44EF7}" dt="2024-03-06T18:44:07.070" v="1054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E58FA468-8508-4D9D-B61C-DD2554E44EF7}" dt="2024-03-06T18:44:07.069" v="1049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E58FA468-8508-4D9D-B61C-DD2554E44EF7}" dt="2024-03-06T18:44:07.069" v="1052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E58FA468-8508-4D9D-B61C-DD2554E44EF7}" dt="2024-03-06T18:44:07.069" v="1050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E58FA468-8508-4D9D-B61C-DD2554E44EF7}" dt="2024-03-06T18:44:07.069" v="1053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E58FA468-8508-4D9D-B61C-DD2554E44EF7}" dt="2024-03-06T18:44:07.070" v="1055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E58FA468-8508-4D9D-B61C-DD2554E44EF7}" dt="2024-03-06T18:44:07.070" v="1056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E58FA468-8508-4D9D-B61C-DD2554E44EF7}" dt="2024-03-06T18:44:07.072" v="1058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E58FA468-8508-4D9D-B61C-DD2554E44EF7}" dt="2024-03-06T18:44:07.072" v="1060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E58FA468-8508-4D9D-B61C-DD2554E44EF7}" dt="2024-03-04T23:48:50.841" v="426"/>
          <ac:spMkLst>
            <pc:docMk/>
            <pc:sldMk cId="3980989934" sldId="263"/>
            <ac:spMk id="23" creationId="{C10F9EDB-C746-51A9-1DFC-C0BA1B6F3AA4}"/>
          </ac:spMkLst>
        </pc:spChg>
        <pc:spChg chg="add del mod modVis">
          <ac:chgData name="Joelle Brehm" userId="a518f54c-6985-42c0-8041-2bb16a414839" providerId="ADAL" clId="{E58FA468-8508-4D9D-B61C-DD2554E44EF7}" dt="2024-03-04T23:50:05.216" v="565"/>
          <ac:spMkLst>
            <pc:docMk/>
            <pc:sldMk cId="3980989934" sldId="263"/>
            <ac:spMk id="27" creationId="{1928F620-C6D4-0888-A26B-1445951E3186}"/>
          </ac:spMkLst>
        </pc:spChg>
        <pc:spChg chg="mod ord">
          <ac:chgData name="Joelle Brehm" userId="a518f54c-6985-42c0-8041-2bb16a414839" providerId="ADAL" clId="{E58FA468-8508-4D9D-B61C-DD2554E44EF7}" dt="2024-03-06T18:45:08.003" v="1131" actId="1035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E58FA468-8508-4D9D-B61C-DD2554E44EF7}" dt="2024-03-06T18:44:07.073" v="1062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E58FA468-8508-4D9D-B61C-DD2554E44EF7}" dt="2024-03-06T18:44:07.073" v="1064"/>
          <ac:spMkLst>
            <pc:docMk/>
            <pc:sldMk cId="3980989934" sldId="263"/>
            <ac:spMk id="42" creationId="{CA9B9B17-F2C5-49D5-8AD7-354733D35B07}"/>
          </ac:spMkLst>
        </pc:spChg>
        <pc:graphicFrameChg chg="add mod">
          <ac:chgData name="Joelle Brehm" userId="a518f54c-6985-42c0-8041-2bb16a414839" providerId="ADAL" clId="{E58FA468-8508-4D9D-B61C-DD2554E44EF7}" dt="2024-03-04T23:48:14.705" v="81"/>
          <ac:graphicFrameMkLst>
            <pc:docMk/>
            <pc:sldMk cId="3980989934" sldId="263"/>
            <ac:graphicFrameMk id="3" creationId="{1AA8E36F-A296-9529-48FD-5A48BCB12C75}"/>
          </ac:graphicFrameMkLst>
        </pc:graphicFrameChg>
        <pc:graphicFrameChg chg="mod">
          <ac:chgData name="Joelle Brehm" userId="a518f54c-6985-42c0-8041-2bb16a414839" providerId="ADAL" clId="{E58FA468-8508-4D9D-B61C-DD2554E44EF7}" dt="2024-03-06T18:44:07.086" v="1073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4T23:48:50.808" v="383"/>
          <ac:graphicFrameMkLst>
            <pc:docMk/>
            <pc:sldMk cId="3980989934" sldId="263"/>
            <ac:graphicFrameMk id="24" creationId="{580EAD9A-C7E2-B94A-C17D-B654D5C2D20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4T23:50:05.175" v="522"/>
          <ac:graphicFrameMkLst>
            <pc:docMk/>
            <pc:sldMk cId="3980989934" sldId="263"/>
            <ac:graphicFrameMk id="25" creationId="{195B79B2-2572-FAE4-6C55-685B02A3A38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18:44:07.067" v="1044"/>
          <ac:graphicFrameMkLst>
            <pc:docMk/>
            <pc:sldMk cId="3980989934" sldId="263"/>
            <ac:graphicFrameMk id="29" creationId="{366590D8-414F-5AC7-CBBD-BD9DB7647BC7}"/>
          </ac:graphicFrameMkLst>
        </pc:graphicFrameChg>
        <pc:picChg chg="add mod ord">
          <ac:chgData name="Joelle Brehm" userId="a518f54c-6985-42c0-8041-2bb16a414839" providerId="ADAL" clId="{E58FA468-8508-4D9D-B61C-DD2554E44EF7}" dt="2024-03-06T18:44:20.821" v="1081" actId="14100"/>
          <ac:picMkLst>
            <pc:docMk/>
            <pc:sldMk cId="3980989934" sldId="263"/>
            <ac:picMk id="3" creationId="{781B5013-2A62-F95A-FD78-886661143C09}"/>
          </ac:picMkLst>
        </pc:picChg>
        <pc:picChg chg="del mod ord">
          <ac:chgData name="Joelle Brehm" userId="a518f54c-6985-42c0-8041-2bb16a414839" providerId="ADAL" clId="{E58FA468-8508-4D9D-B61C-DD2554E44EF7}" dt="2024-03-04T23:48:31.906" v="124" actId="478"/>
          <ac:picMkLst>
            <pc:docMk/>
            <pc:sldMk cId="3980989934" sldId="263"/>
            <ac:picMk id="6" creationId="{7B95EC04-C63C-E67F-4497-32E87B7FF817}"/>
          </ac:picMkLst>
        </pc:picChg>
        <pc:picChg chg="del mod ord">
          <ac:chgData name="Joelle Brehm" userId="a518f54c-6985-42c0-8041-2bb16a414839" providerId="ADAL" clId="{E58FA468-8508-4D9D-B61C-DD2554E44EF7}" dt="2024-03-04T23:49:57.406" v="470" actId="478"/>
          <ac:picMkLst>
            <pc:docMk/>
            <pc:sldMk cId="3980989934" sldId="263"/>
            <ac:picMk id="7" creationId="{7CAE78E8-BD45-2D8F-B9F4-2830C482882C}"/>
          </ac:picMkLst>
        </pc:picChg>
        <pc:picChg chg="add del mod ord">
          <ac:chgData name="Joelle Brehm" userId="a518f54c-6985-42c0-8041-2bb16a414839" providerId="ADAL" clId="{E58FA468-8508-4D9D-B61C-DD2554E44EF7}" dt="2024-03-06T18:44:08.456" v="1074" actId="478"/>
          <ac:picMkLst>
            <pc:docMk/>
            <pc:sldMk cId="3980989934" sldId="263"/>
            <ac:picMk id="22" creationId="{1AEBEA8C-CAFF-6FFA-2FC5-956504BCE763}"/>
          </ac:picMkLst>
        </pc:picChg>
        <pc:picChg chg="add mod ord">
          <ac:chgData name="Joelle Brehm" userId="a518f54c-6985-42c0-8041-2bb16a414839" providerId="ADAL" clId="{E58FA468-8508-4D9D-B61C-DD2554E44EF7}" dt="2024-03-06T18:44:07.066" v="1038"/>
          <ac:picMkLst>
            <pc:docMk/>
            <pc:sldMk cId="3980989934" sldId="263"/>
            <ac:picMk id="26" creationId="{89EE14D8-5F76-33FF-0FD7-9F781149BC6C}"/>
          </ac:picMkLst>
        </pc:picChg>
        <pc:picChg chg="mod">
          <ac:chgData name="Joelle Brehm" userId="a518f54c-6985-42c0-8041-2bb16a414839" providerId="ADAL" clId="{E58FA468-8508-4D9D-B61C-DD2554E44EF7}" dt="2024-03-06T18:44:07.073" v="1065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E58FA468-8508-4D9D-B61C-DD2554E44EF7}" dt="2024-03-06T20:17:28.151" v="11013"/>
        <pc:sldMkLst>
          <pc:docMk/>
          <pc:sldMk cId="1450446987" sldId="264"/>
        </pc:sldMkLst>
        <pc:spChg chg="add del mod ord">
          <ac:chgData name="Joelle Brehm" userId="a518f54c-6985-42c0-8041-2bb16a414839" providerId="ADAL" clId="{E58FA468-8508-4D9D-B61C-DD2554E44EF7}" dt="2024-03-06T20:06:53.358" v="5804" actId="478"/>
          <ac:spMkLst>
            <pc:docMk/>
            <pc:sldMk cId="1450446987" sldId="264"/>
            <ac:spMk id="2" creationId="{C37D454B-81A5-BCEF-E17A-946BBE0DC731}"/>
          </ac:spMkLst>
        </pc:spChg>
        <pc:spChg chg="mod ord">
          <ac:chgData name="Joelle Brehm" userId="a518f54c-6985-42c0-8041-2bb16a414839" providerId="ADAL" clId="{E58FA468-8508-4D9D-B61C-DD2554E44EF7}" dt="2024-03-06T20:17:25.192" v="10837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E58FA468-8508-4D9D-B61C-DD2554E44EF7}" dt="2024-03-06T20:17:25.209" v="10905"/>
          <ac:spMkLst>
            <pc:docMk/>
            <pc:sldMk cId="1450446987" sldId="264"/>
            <ac:spMk id="6" creationId="{94041F47-DFC6-9E3F-6F9D-DC51588D95FB}"/>
          </ac:spMkLst>
        </pc:spChg>
        <pc:spChg chg="mod">
          <ac:chgData name="Joelle Brehm" userId="a518f54c-6985-42c0-8041-2bb16a414839" providerId="ADAL" clId="{E58FA468-8508-4D9D-B61C-DD2554E44EF7}" dt="2024-03-06T20:17:25.208" v="10902"/>
          <ac:spMkLst>
            <pc:docMk/>
            <pc:sldMk cId="1450446987" sldId="264"/>
            <ac:spMk id="7" creationId="{DE57A07F-6746-6404-6ACC-31B88A8A6B3A}"/>
          </ac:spMkLst>
        </pc:spChg>
        <pc:spChg chg="mod">
          <ac:chgData name="Joelle Brehm" userId="a518f54c-6985-42c0-8041-2bb16a414839" providerId="ADAL" clId="{E58FA468-8508-4D9D-B61C-DD2554E44EF7}" dt="2024-03-06T20:17:25.209" v="10904"/>
          <ac:spMkLst>
            <pc:docMk/>
            <pc:sldMk cId="1450446987" sldId="264"/>
            <ac:spMk id="8" creationId="{58B78C31-BB5C-89ED-34D3-7C1F9D71DB92}"/>
          </ac:spMkLst>
        </pc:spChg>
        <pc:spChg chg="mod">
          <ac:chgData name="Joelle Brehm" userId="a518f54c-6985-42c0-8041-2bb16a414839" providerId="ADAL" clId="{E58FA468-8508-4D9D-B61C-DD2554E44EF7}" dt="2024-03-06T20:17:25.209" v="10903"/>
          <ac:spMkLst>
            <pc:docMk/>
            <pc:sldMk cId="1450446987" sldId="264"/>
            <ac:spMk id="11" creationId="{D34BD6AF-79B7-0201-A9E6-DEFEE9B380F3}"/>
          </ac:spMkLst>
        </pc:spChg>
        <pc:spChg chg="mod">
          <ac:chgData name="Joelle Brehm" userId="a518f54c-6985-42c0-8041-2bb16a414839" providerId="ADAL" clId="{E58FA468-8508-4D9D-B61C-DD2554E44EF7}" dt="2024-03-06T20:17:25.207" v="10896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E58FA468-8508-4D9D-B61C-DD2554E44EF7}" dt="2024-03-06T20:17:25.209" v="10906"/>
          <ac:spMkLst>
            <pc:docMk/>
            <pc:sldMk cId="1450446987" sldId="264"/>
            <ac:spMk id="13" creationId="{59E51F57-4F87-30DB-F9BB-D534DA6D3887}"/>
          </ac:spMkLst>
        </pc:spChg>
        <pc:spChg chg="add del mod modVis">
          <ac:chgData name="Joelle Brehm" userId="a518f54c-6985-42c0-8041-2bb16a414839" providerId="ADAL" clId="{E58FA468-8508-4D9D-B61C-DD2554E44EF7}" dt="2024-03-06T20:06:48.824" v="5800"/>
          <ac:spMkLst>
            <pc:docMk/>
            <pc:sldMk cId="1450446987" sldId="264"/>
            <ac:spMk id="14" creationId="{95FC035D-B318-B7FA-6DCE-0B4C2FE5EA23}"/>
          </ac:spMkLst>
        </pc:spChg>
        <pc:spChg chg="mod">
          <ac:chgData name="Joelle Brehm" userId="a518f54c-6985-42c0-8041-2bb16a414839" providerId="ADAL" clId="{E58FA468-8508-4D9D-B61C-DD2554E44EF7}" dt="2024-03-06T20:17:25.212" v="10915"/>
          <ac:spMkLst>
            <pc:docMk/>
            <pc:sldMk cId="1450446987" sldId="264"/>
            <ac:spMk id="15" creationId="{78323779-3C77-06EC-7E74-E6B35BABC750}"/>
          </ac:spMkLst>
        </pc:spChg>
        <pc:spChg chg="mod ord">
          <ac:chgData name="Joelle Brehm" userId="a518f54c-6985-42c0-8041-2bb16a414839" providerId="ADAL" clId="{E58FA468-8508-4D9D-B61C-DD2554E44EF7}" dt="2024-03-06T20:17:28.094" v="11005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E58FA468-8508-4D9D-B61C-DD2554E44EF7}" dt="2024-03-06T20:17:25.212" v="10916"/>
          <ac:spMkLst>
            <pc:docMk/>
            <pc:sldMk cId="1450446987" sldId="264"/>
            <ac:spMk id="17" creationId="{A63BB7A4-7E0B-7C45-80AE-587ED115AADD}"/>
          </ac:spMkLst>
        </pc:spChg>
        <pc:spChg chg="del mod">
          <ac:chgData name="Joelle Brehm" userId="a518f54c-6985-42c0-8041-2bb16a414839" providerId="ADAL" clId="{E58FA468-8508-4D9D-B61C-DD2554E44EF7}" dt="2024-03-06T20:07:32.974" v="7603"/>
          <ac:spMkLst>
            <pc:docMk/>
            <pc:sldMk cId="1450446987" sldId="264"/>
            <ac:spMk id="18" creationId="{7CE63A35-6A90-6D8B-CF40-7241933EF0EF}"/>
          </ac:spMkLst>
        </pc:spChg>
        <pc:spChg chg="add mod replST">
          <ac:chgData name="Joelle Brehm" userId="a518f54c-6985-42c0-8041-2bb16a414839" providerId="ADAL" clId="{E58FA468-8508-4D9D-B61C-DD2554E44EF7}" dt="2024-03-06T20:17:25.212" v="10918"/>
          <ac:spMkLst>
            <pc:docMk/>
            <pc:sldMk cId="1450446987" sldId="264"/>
            <ac:spMk id="19" creationId="{2BD2C9D2-45AB-B0EE-41F5-E56B76D40A08}"/>
          </ac:spMkLst>
        </pc:spChg>
        <pc:spChg chg="mod">
          <ac:chgData name="Joelle Brehm" userId="a518f54c-6985-42c0-8041-2bb16a414839" providerId="ADAL" clId="{E58FA468-8508-4D9D-B61C-DD2554E44EF7}" dt="2024-03-06T20:17:25.216" v="10932"/>
          <ac:spMkLst>
            <pc:docMk/>
            <pc:sldMk cId="1450446987" sldId="264"/>
            <ac:spMk id="20" creationId="{18BB98B9-3195-BC71-0830-E8C7C89B36EF}"/>
          </ac:spMkLst>
        </pc:spChg>
        <pc:spChg chg="add del mod modVis">
          <ac:chgData name="Joelle Brehm" userId="a518f54c-6985-42c0-8041-2bb16a414839" providerId="ADAL" clId="{E58FA468-8508-4D9D-B61C-DD2554E44EF7}" dt="2024-03-06T20:07:00.802" v="6123"/>
          <ac:spMkLst>
            <pc:docMk/>
            <pc:sldMk cId="1450446987" sldId="264"/>
            <ac:spMk id="21" creationId="{477709C6-8FAC-1134-010E-A048C3FF3AB2}"/>
          </ac:spMkLst>
        </pc:spChg>
        <pc:spChg chg="del mod">
          <ac:chgData name="Joelle Brehm" userId="a518f54c-6985-42c0-8041-2bb16a414839" providerId="ADAL" clId="{E58FA468-8508-4D9D-B61C-DD2554E44EF7}" dt="2024-03-06T20:07:32.974" v="7602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E58FA468-8508-4D9D-B61C-DD2554E44EF7}" dt="2024-03-06T20:17:25.211" v="10914"/>
          <ac:spMkLst>
            <pc:docMk/>
            <pc:sldMk cId="1450446987" sldId="264"/>
            <ac:spMk id="23" creationId="{ECE85BCC-DA74-38B9-C409-63F89574AA2B}"/>
          </ac:spMkLst>
        </pc:spChg>
        <pc:spChg chg="mod">
          <ac:chgData name="Joelle Brehm" userId="a518f54c-6985-42c0-8041-2bb16a414839" providerId="ADAL" clId="{E58FA468-8508-4D9D-B61C-DD2554E44EF7}" dt="2024-03-06T20:17:25.196" v="10852"/>
          <ac:spMkLst>
            <pc:docMk/>
            <pc:sldMk cId="1450446987" sldId="264"/>
            <ac:spMk id="24" creationId="{E5D53381-936F-04EC-A4BF-61AC62630B7E}"/>
          </ac:spMkLst>
        </pc:spChg>
        <pc:spChg chg="mod">
          <ac:chgData name="Joelle Brehm" userId="a518f54c-6985-42c0-8041-2bb16a414839" providerId="ADAL" clId="{E58FA468-8508-4D9D-B61C-DD2554E44EF7}" dt="2024-03-06T20:17:25.207" v="10897"/>
          <ac:spMkLst>
            <pc:docMk/>
            <pc:sldMk cId="1450446987" sldId="264"/>
            <ac:spMk id="25" creationId="{DDCB9CFD-6336-9FEE-8109-046E7B1EDE09}"/>
          </ac:spMkLst>
        </pc:spChg>
        <pc:spChg chg="mod">
          <ac:chgData name="Joelle Brehm" userId="a518f54c-6985-42c0-8041-2bb16a414839" providerId="ADAL" clId="{E58FA468-8508-4D9D-B61C-DD2554E44EF7}" dt="2024-03-06T20:17:25.212" v="10917"/>
          <ac:spMkLst>
            <pc:docMk/>
            <pc:sldMk cId="1450446987" sldId="264"/>
            <ac:spMk id="27" creationId="{BE79AA66-A658-FB5E-FB38-1F294A525890}"/>
          </ac:spMkLst>
        </pc:spChg>
        <pc:spChg chg="mod">
          <ac:chgData name="Joelle Brehm" userId="a518f54c-6985-42c0-8041-2bb16a414839" providerId="ADAL" clId="{E58FA468-8508-4D9D-B61C-DD2554E44EF7}" dt="2024-03-06T20:17:25.196" v="10853"/>
          <ac:spMkLst>
            <pc:docMk/>
            <pc:sldMk cId="1450446987" sldId="264"/>
            <ac:spMk id="29" creationId="{D93C115D-D127-7D81-3796-9889DB2B0610}"/>
          </ac:spMkLst>
        </pc:spChg>
        <pc:spChg chg="add mod replST">
          <ac:chgData name="Joelle Brehm" userId="a518f54c-6985-42c0-8041-2bb16a414839" providerId="ADAL" clId="{E58FA468-8508-4D9D-B61C-DD2554E44EF7}" dt="2024-03-06T20:17:25.213" v="10919"/>
          <ac:spMkLst>
            <pc:docMk/>
            <pc:sldMk cId="1450446987" sldId="264"/>
            <ac:spMk id="30" creationId="{2F070BDA-EC70-8B53-0816-3E05697FB1EF}"/>
          </ac:spMkLst>
        </pc:spChg>
        <pc:spChg chg="mod">
          <ac:chgData name="Joelle Brehm" userId="a518f54c-6985-42c0-8041-2bb16a414839" providerId="ADAL" clId="{E58FA468-8508-4D9D-B61C-DD2554E44EF7}" dt="2024-03-06T20:17:25.207" v="10898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E58FA468-8508-4D9D-B61C-DD2554E44EF7}" dt="2024-03-06T20:17:25.196" v="10854"/>
          <ac:spMkLst>
            <pc:docMk/>
            <pc:sldMk cId="1450446987" sldId="264"/>
            <ac:spMk id="33" creationId="{F8B53093-42EB-7465-F3DF-B254169B7CA1}"/>
          </ac:spMkLst>
        </pc:spChg>
        <pc:spChg chg="mod">
          <ac:chgData name="Joelle Brehm" userId="a518f54c-6985-42c0-8041-2bb16a414839" providerId="ADAL" clId="{E58FA468-8508-4D9D-B61C-DD2554E44EF7}" dt="2024-03-06T20:17:25.210" v="10908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E58FA468-8508-4D9D-B61C-DD2554E44EF7}" dt="2024-03-06T20:17:25.210" v="10907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E58FA468-8508-4D9D-B61C-DD2554E44EF7}" dt="2024-03-06T20:17:25.211" v="10913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E58FA468-8508-4D9D-B61C-DD2554E44EF7}" dt="2024-03-06T20:17:25.210" v="10909"/>
          <ac:spMkLst>
            <pc:docMk/>
            <pc:sldMk cId="1450446987" sldId="264"/>
            <ac:spMk id="37" creationId="{F4881349-7857-4045-CB14-ED7B5F3DF7AB}"/>
          </ac:spMkLst>
        </pc:spChg>
        <pc:spChg chg="add del mod modVis">
          <ac:chgData name="Joelle Brehm" userId="a518f54c-6985-42c0-8041-2bb16a414839" providerId="ADAL" clId="{E58FA468-8508-4D9D-B61C-DD2554E44EF7}" dt="2024-03-06T20:07:12.831" v="6580"/>
          <ac:spMkLst>
            <pc:docMk/>
            <pc:sldMk cId="1450446987" sldId="264"/>
            <ac:spMk id="38" creationId="{CC2362E4-D3B9-DDBE-916D-BFB796682DD7}"/>
          </ac:spMkLst>
        </pc:spChg>
        <pc:spChg chg="del mod">
          <ac:chgData name="Joelle Brehm" userId="a518f54c-6985-42c0-8041-2bb16a414839" providerId="ADAL" clId="{E58FA468-8508-4D9D-B61C-DD2554E44EF7}" dt="2024-03-06T20:07:02.985" v="6127"/>
          <ac:spMkLst>
            <pc:docMk/>
            <pc:sldMk cId="1450446987" sldId="264"/>
            <ac:spMk id="40" creationId="{C58BB8B9-8023-B442-7CDD-CB5E70953466}"/>
          </ac:spMkLst>
        </pc:spChg>
        <pc:spChg chg="add mod replST">
          <ac:chgData name="Joelle Brehm" userId="a518f54c-6985-42c0-8041-2bb16a414839" providerId="ADAL" clId="{E58FA468-8508-4D9D-B61C-DD2554E44EF7}" dt="2024-03-06T20:17:25.199" v="10866"/>
          <ac:spMkLst>
            <pc:docMk/>
            <pc:sldMk cId="1450446987" sldId="264"/>
            <ac:spMk id="41" creationId="{A2C1F74C-6393-C0BE-3E25-A442CC66BD8E}"/>
          </ac:spMkLst>
        </pc:spChg>
        <pc:spChg chg="mod">
          <ac:chgData name="Joelle Brehm" userId="a518f54c-6985-42c0-8041-2bb16a414839" providerId="ADAL" clId="{E58FA468-8508-4D9D-B61C-DD2554E44EF7}" dt="2024-03-06T20:17:25.208" v="10899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E58FA468-8508-4D9D-B61C-DD2554E44EF7}" dt="2024-03-06T20:17:25.194" v="10845"/>
          <ac:spMkLst>
            <pc:docMk/>
            <pc:sldMk cId="1450446987" sldId="264"/>
            <ac:spMk id="43" creationId="{B0C42678-4B24-F5DF-7ACE-3084C7C56E60}"/>
          </ac:spMkLst>
        </pc:spChg>
        <pc:spChg chg="add del mod modVis">
          <ac:chgData name="Joelle Brehm" userId="a518f54c-6985-42c0-8041-2bb16a414839" providerId="ADAL" clId="{E58FA468-8508-4D9D-B61C-DD2554E44EF7}" dt="2024-03-06T20:07:18.803" v="6861"/>
          <ac:spMkLst>
            <pc:docMk/>
            <pc:sldMk cId="1450446987" sldId="264"/>
            <ac:spMk id="44" creationId="{A73C7041-9142-BC67-6A61-DEF0F243764E}"/>
          </ac:spMkLst>
        </pc:spChg>
        <pc:spChg chg="del mod">
          <ac:chgData name="Joelle Brehm" userId="a518f54c-6985-42c0-8041-2bb16a414839" providerId="ADAL" clId="{E58FA468-8508-4D9D-B61C-DD2554E44EF7}" dt="2024-03-06T20:07:02.984" v="6126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E58FA468-8508-4D9D-B61C-DD2554E44EF7}" dt="2024-03-06T20:17:25.196" v="10851"/>
          <ac:spMkLst>
            <pc:docMk/>
            <pc:sldMk cId="1450446987" sldId="264"/>
            <ac:spMk id="47" creationId="{6D64FB34-D8B2-66AB-BCB4-DA6A0216CA2C}"/>
          </ac:spMkLst>
        </pc:spChg>
        <pc:spChg chg="mod">
          <ac:chgData name="Joelle Brehm" userId="a518f54c-6985-42c0-8041-2bb16a414839" providerId="ADAL" clId="{E58FA468-8508-4D9D-B61C-DD2554E44EF7}" dt="2024-03-06T20:17:25.199" v="10865"/>
          <ac:spMkLst>
            <pc:docMk/>
            <pc:sldMk cId="1450446987" sldId="264"/>
            <ac:spMk id="48" creationId="{0123679F-CC40-E7DD-5F47-C9F2E6E51361}"/>
          </ac:spMkLst>
        </pc:spChg>
        <pc:spChg chg="mod">
          <ac:chgData name="Joelle Brehm" userId="a518f54c-6985-42c0-8041-2bb16a414839" providerId="ADAL" clId="{E58FA468-8508-4D9D-B61C-DD2554E44EF7}" dt="2024-03-06T20:17:25.199" v="10863"/>
          <ac:spMkLst>
            <pc:docMk/>
            <pc:sldMk cId="1450446987" sldId="264"/>
            <ac:spMk id="49" creationId="{6C902FB1-9C72-CCD9-9F28-79FEEA1EBE9E}"/>
          </ac:spMkLst>
        </pc:spChg>
        <pc:spChg chg="mod">
          <ac:chgData name="Joelle Brehm" userId="a518f54c-6985-42c0-8041-2bb16a414839" providerId="ADAL" clId="{E58FA468-8508-4D9D-B61C-DD2554E44EF7}" dt="2024-03-06T20:17:25.208" v="10900"/>
          <ac:spMkLst>
            <pc:docMk/>
            <pc:sldMk cId="1450446987" sldId="264"/>
            <ac:spMk id="50" creationId="{5FE9258F-A945-F4FF-832B-478FD9BAC76D}"/>
          </ac:spMkLst>
        </pc:spChg>
        <pc:spChg chg="del mod">
          <ac:chgData name="Joelle Brehm" userId="a518f54c-6985-42c0-8041-2bb16a414839" providerId="ADAL" clId="{E58FA468-8508-4D9D-B61C-DD2554E44EF7}" dt="2024-03-06T20:16:57.595" v="9854"/>
          <ac:spMkLst>
            <pc:docMk/>
            <pc:sldMk cId="1450446987" sldId="264"/>
            <ac:spMk id="51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17:25.199" v="10864"/>
          <ac:spMkLst>
            <pc:docMk/>
            <pc:sldMk cId="1450446987" sldId="264"/>
            <ac:spMk id="53" creationId="{522E8E80-2D36-FBB2-D9BA-CCEAD36B44DA}"/>
          </ac:spMkLst>
        </pc:spChg>
        <pc:spChg chg="mod">
          <ac:chgData name="Joelle Brehm" userId="a518f54c-6985-42c0-8041-2bb16a414839" providerId="ADAL" clId="{E58FA468-8508-4D9D-B61C-DD2554E44EF7}" dt="2024-03-06T20:17:25.197" v="10856"/>
          <ac:spMkLst>
            <pc:docMk/>
            <pc:sldMk cId="1450446987" sldId="264"/>
            <ac:spMk id="54" creationId="{F4D76317-A1CB-E953-B601-FD6C3D6E8457}"/>
          </ac:spMkLst>
        </pc:spChg>
        <pc:spChg chg="del mod">
          <ac:chgData name="Joelle Brehm" userId="a518f54c-6985-42c0-8041-2bb16a414839" providerId="ADAL" clId="{E58FA468-8508-4D9D-B61C-DD2554E44EF7}" dt="2024-03-06T20:07:20.724" v="6865"/>
          <ac:spMkLst>
            <pc:docMk/>
            <pc:sldMk cId="1450446987" sldId="264"/>
            <ac:spMk id="55" creationId="{21D40969-F481-7C90-2962-9DFFAB84841F}"/>
          </ac:spMkLst>
        </pc:spChg>
        <pc:spChg chg="add mod replST">
          <ac:chgData name="Joelle Brehm" userId="a518f54c-6985-42c0-8041-2bb16a414839" providerId="ADAL" clId="{E58FA468-8508-4D9D-B61C-DD2554E44EF7}" dt="2024-03-06T20:17:25.199" v="10867"/>
          <ac:spMkLst>
            <pc:docMk/>
            <pc:sldMk cId="1450446987" sldId="264"/>
            <ac:spMk id="56" creationId="{1D921D1B-5A18-FD5E-8FE7-0CE90EC79A50}"/>
          </ac:spMkLst>
        </pc:spChg>
        <pc:spChg chg="mod">
          <ac:chgData name="Joelle Brehm" userId="a518f54c-6985-42c0-8041-2bb16a414839" providerId="ADAL" clId="{E58FA468-8508-4D9D-B61C-DD2554E44EF7}" dt="2024-03-06T20:17:25.194" v="10844"/>
          <ac:spMkLst>
            <pc:docMk/>
            <pc:sldMk cId="1450446987" sldId="264"/>
            <ac:spMk id="57" creationId="{691D1289-3B15-0AD2-5838-E87715C40325}"/>
          </ac:spMkLst>
        </pc:spChg>
        <pc:spChg chg="mod">
          <ac:chgData name="Joelle Brehm" userId="a518f54c-6985-42c0-8041-2bb16a414839" providerId="ADAL" clId="{E58FA468-8508-4D9D-B61C-DD2554E44EF7}" dt="2024-03-06T20:17:25.198" v="10862"/>
          <ac:spMkLst>
            <pc:docMk/>
            <pc:sldMk cId="1450446987" sldId="264"/>
            <ac:spMk id="58" creationId="{998C3F37-48B7-D5CB-D2DD-2BF1FE08D1D9}"/>
          </ac:spMkLst>
        </pc:spChg>
        <pc:spChg chg="mod">
          <ac:chgData name="Joelle Brehm" userId="a518f54c-6985-42c0-8041-2bb16a414839" providerId="ADAL" clId="{E58FA468-8508-4D9D-B61C-DD2554E44EF7}" dt="2024-03-06T20:17:25.195" v="10846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E58FA468-8508-4D9D-B61C-DD2554E44EF7}" dt="2024-03-06T20:17:25.213" v="10921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E58FA468-8508-4D9D-B61C-DD2554E44EF7}" dt="2024-03-06T20:17:25.214" v="10923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E58FA468-8508-4D9D-B61C-DD2554E44EF7}" dt="2024-03-06T20:17:25.214" v="10925"/>
          <ac:spMkLst>
            <pc:docMk/>
            <pc:sldMk cId="1450446987" sldId="264"/>
            <ac:spMk id="62" creationId="{19815E26-2ABF-4A16-94FE-6C4A68E6FBBD}"/>
          </ac:spMkLst>
        </pc:spChg>
        <pc:spChg chg="del mod">
          <ac:chgData name="Joelle Brehm" userId="a518f54c-6985-42c0-8041-2bb16a414839" providerId="ADAL" clId="{E58FA468-8508-4D9D-B61C-DD2554E44EF7}" dt="2024-03-06T20:17:03.569" v="10066"/>
          <ac:spMkLst>
            <pc:docMk/>
            <pc:sldMk cId="1450446987" sldId="264"/>
            <ac:spMk id="6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17:25.210" v="10910"/>
          <ac:spMkLst>
            <pc:docMk/>
            <pc:sldMk cId="1450446987" sldId="264"/>
            <ac:spMk id="64" creationId="{A32634C8-6FE7-6BB1-8251-847A1565A477}"/>
          </ac:spMkLst>
        </pc:spChg>
        <pc:spChg chg="del mod">
          <ac:chgData name="Joelle Brehm" userId="a518f54c-6985-42c0-8041-2bb16a414839" providerId="ADAL" clId="{E58FA468-8508-4D9D-B61C-DD2554E44EF7}" dt="2024-03-06T20:07:20.723" v="6864"/>
          <ac:spMkLst>
            <pc:docMk/>
            <pc:sldMk cId="1450446987" sldId="264"/>
            <ac:spMk id="65" creationId="{3157109A-3120-04A6-D693-60F57F766A08}"/>
          </ac:spMkLst>
        </pc:spChg>
        <pc:spChg chg="add del mod modVis">
          <ac:chgData name="Joelle Brehm" userId="a518f54c-6985-42c0-8041-2bb16a414839" providerId="ADAL" clId="{E58FA468-8508-4D9D-B61C-DD2554E44EF7}" dt="2024-03-06T20:07:24.384" v="7318"/>
          <ac:spMkLst>
            <pc:docMk/>
            <pc:sldMk cId="1450446987" sldId="264"/>
            <ac:spMk id="67" creationId="{2F199DF7-435A-0B4C-FECA-C9EC6F6F5212}"/>
          </ac:spMkLst>
        </pc:spChg>
        <pc:spChg chg="mod">
          <ac:chgData name="Joelle Brehm" userId="a518f54c-6985-42c0-8041-2bb16a414839" providerId="ADAL" clId="{E58FA468-8508-4D9D-B61C-DD2554E44EF7}" dt="2024-03-06T20:17:25.197" v="10855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E58FA468-8508-4D9D-B61C-DD2554E44EF7}" dt="2024-03-06T20:17:25.220" v="10950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E58FA468-8508-4D9D-B61C-DD2554E44EF7}" dt="2024-03-06T20:17:25.222" v="10957"/>
          <ac:spMkLst>
            <pc:docMk/>
            <pc:sldMk cId="1450446987" sldId="264"/>
            <ac:spMk id="70" creationId="{13EDC3FB-EAD9-A2B2-8DFB-9D4FBEC4B5A3}"/>
          </ac:spMkLst>
        </pc:spChg>
        <pc:spChg chg="mod">
          <ac:chgData name="Joelle Brehm" userId="a518f54c-6985-42c0-8041-2bb16a414839" providerId="ADAL" clId="{E58FA468-8508-4D9D-B61C-DD2554E44EF7}" dt="2024-03-06T20:17:25.223" v="10959"/>
          <ac:spMkLst>
            <pc:docMk/>
            <pc:sldMk cId="1450446987" sldId="264"/>
            <ac:spMk id="71" creationId="{10A10125-A1F9-AD63-5CE4-891EE0CF5D36}"/>
          </ac:spMkLst>
        </pc:spChg>
        <pc:spChg chg="mod">
          <ac:chgData name="Joelle Brehm" userId="a518f54c-6985-42c0-8041-2bb16a414839" providerId="ADAL" clId="{E58FA468-8508-4D9D-B61C-DD2554E44EF7}" dt="2024-03-06T20:17:25.222" v="10956"/>
          <ac:spMkLst>
            <pc:docMk/>
            <pc:sldMk cId="1450446987" sldId="264"/>
            <ac:spMk id="72" creationId="{083CFBB9-44A9-ECE4-4C8E-DC2ED54DB4C5}"/>
          </ac:spMkLst>
        </pc:spChg>
        <pc:spChg chg="del mod">
          <ac:chgData name="Joelle Brehm" userId="a518f54c-6985-42c0-8041-2bb16a414839" providerId="ADAL" clId="{E58FA468-8508-4D9D-B61C-DD2554E44EF7}" dt="2024-03-06T20:07:51.240" v="8341"/>
          <ac:spMkLst>
            <pc:docMk/>
            <pc:sldMk cId="1450446987" sldId="264"/>
            <ac:spMk id="73" creationId="{9222FB5E-7628-BAAE-A4E4-E9F13F9B74EE}"/>
          </ac:spMkLst>
        </pc:spChg>
        <pc:spChg chg="add mod replST">
          <ac:chgData name="Joelle Brehm" userId="a518f54c-6985-42c0-8041-2bb16a414839" providerId="ADAL" clId="{E58FA468-8508-4D9D-B61C-DD2554E44EF7}" dt="2024-03-06T20:17:25.226" v="10971"/>
          <ac:spMkLst>
            <pc:docMk/>
            <pc:sldMk cId="1450446987" sldId="264"/>
            <ac:spMk id="75" creationId="{5A77E1D9-03F8-D6DC-BE8C-492B2DB70EB0}"/>
          </ac:spMkLst>
        </pc:spChg>
        <pc:spChg chg="mod">
          <ac:chgData name="Joelle Brehm" userId="a518f54c-6985-42c0-8041-2bb16a414839" providerId="ADAL" clId="{E58FA468-8508-4D9D-B61C-DD2554E44EF7}" dt="2024-03-06T20:17:25.197" v="10857"/>
          <ac:spMkLst>
            <pc:docMk/>
            <pc:sldMk cId="1450446987" sldId="264"/>
            <ac:spMk id="76" creationId="{8B86A84A-17AF-C0BB-9688-007EFA1F104D}"/>
          </ac:spMkLst>
        </pc:spChg>
        <pc:spChg chg="del mod">
          <ac:chgData name="Joelle Brehm" userId="a518f54c-6985-42c0-8041-2bb16a414839" providerId="ADAL" clId="{E58FA468-8508-4D9D-B61C-DD2554E44EF7}" dt="2024-03-06T20:17:13.222" v="10226"/>
          <ac:spMkLst>
            <pc:docMk/>
            <pc:sldMk cId="1450446987" sldId="264"/>
            <ac:spMk id="77" creationId="{60F97E40-1529-395D-816D-8834F0F881FD}"/>
          </ac:spMkLst>
        </pc:spChg>
        <pc:spChg chg="add del mod modVis">
          <ac:chgData name="Joelle Brehm" userId="a518f54c-6985-42c0-8041-2bb16a414839" providerId="ADAL" clId="{E58FA468-8508-4D9D-B61C-DD2554E44EF7}" dt="2024-03-06T20:07:31.318" v="7599"/>
          <ac:spMkLst>
            <pc:docMk/>
            <pc:sldMk cId="1450446987" sldId="264"/>
            <ac:spMk id="78" creationId="{4BA5FB13-D1B7-440C-5D6C-D45D16E78E00}"/>
          </ac:spMkLst>
        </pc:spChg>
        <pc:spChg chg="mod">
          <ac:chgData name="Joelle Brehm" userId="a518f54c-6985-42c0-8041-2bb16a414839" providerId="ADAL" clId="{E58FA468-8508-4D9D-B61C-DD2554E44EF7}" dt="2024-03-06T20:17:25.226" v="10968"/>
          <ac:spMkLst>
            <pc:docMk/>
            <pc:sldMk cId="1450446987" sldId="264"/>
            <ac:spMk id="79" creationId="{23BEFDDE-D63B-813D-AA9B-DD3758088EEA}"/>
          </ac:spMkLst>
        </pc:spChg>
        <pc:spChg chg="mod">
          <ac:chgData name="Joelle Brehm" userId="a518f54c-6985-42c0-8041-2bb16a414839" providerId="ADAL" clId="{E58FA468-8508-4D9D-B61C-DD2554E44EF7}" dt="2024-03-06T20:17:25.224" v="10961"/>
          <ac:spMkLst>
            <pc:docMk/>
            <pc:sldMk cId="1450446987" sldId="264"/>
            <ac:spMk id="80" creationId="{322C1714-AD6A-A2C4-9548-45C6502F722D}"/>
          </ac:spMkLst>
        </pc:spChg>
        <pc:spChg chg="del mod">
          <ac:chgData name="Joelle Brehm" userId="a518f54c-6985-42c0-8041-2bb16a414839" providerId="ADAL" clId="{E58FA468-8508-4D9D-B61C-DD2554E44EF7}" dt="2024-03-06T20:07:51.239" v="8340"/>
          <ac:spMkLst>
            <pc:docMk/>
            <pc:sldMk cId="1450446987" sldId="264"/>
            <ac:spMk id="81" creationId="{6F4C96C8-F30F-B7F9-162B-D0B13BC90C2B}"/>
          </ac:spMkLst>
        </pc:spChg>
        <pc:spChg chg="mod">
          <ac:chgData name="Joelle Brehm" userId="a518f54c-6985-42c0-8041-2bb16a414839" providerId="ADAL" clId="{E58FA468-8508-4D9D-B61C-DD2554E44EF7}" dt="2024-03-06T20:17:25.217" v="10937"/>
          <ac:spMkLst>
            <pc:docMk/>
            <pc:sldMk cId="1450446987" sldId="264"/>
            <ac:spMk id="8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17:25.225" v="10967"/>
          <ac:spMkLst>
            <pc:docMk/>
            <pc:sldMk cId="1450446987" sldId="264"/>
            <ac:spMk id="83" creationId="{A21D7036-40FA-BB0C-4CA6-E61688467FC8}"/>
          </ac:spMkLst>
        </pc:spChg>
        <pc:spChg chg="mod">
          <ac:chgData name="Joelle Brehm" userId="a518f54c-6985-42c0-8041-2bb16a414839" providerId="ADAL" clId="{E58FA468-8508-4D9D-B61C-DD2554E44EF7}" dt="2024-03-06T20:17:25.220" v="10949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E58FA468-8508-4D9D-B61C-DD2554E44EF7}" dt="2024-03-06T20:17:25.195" v="10847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E58FA468-8508-4D9D-B61C-DD2554E44EF7}" dt="2024-03-06T20:17:25.200" v="10871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E58FA468-8508-4D9D-B61C-DD2554E44EF7}" dt="2024-03-06T20:17:25.211" v="10911"/>
          <ac:spMkLst>
            <pc:docMk/>
            <pc:sldMk cId="1450446987" sldId="264"/>
            <ac:spMk id="87" creationId="{06946997-7AFB-6327-F61E-B25533F6C115}"/>
          </ac:spMkLst>
        </pc:spChg>
        <pc:spChg chg="mod">
          <ac:chgData name="Joelle Brehm" userId="a518f54c-6985-42c0-8041-2bb16a414839" providerId="ADAL" clId="{E58FA468-8508-4D9D-B61C-DD2554E44EF7}" dt="2024-03-06T20:17:25.226" v="10970"/>
          <ac:spMkLst>
            <pc:docMk/>
            <pc:sldMk cId="1450446987" sldId="264"/>
            <ac:spMk id="88" creationId="{47D2C780-DDE5-CAE0-5CF8-3918C5739A3C}"/>
          </ac:spMkLst>
        </pc:spChg>
        <pc:spChg chg="mod">
          <ac:chgData name="Joelle Brehm" userId="a518f54c-6985-42c0-8041-2bb16a414839" providerId="ADAL" clId="{E58FA468-8508-4D9D-B61C-DD2554E44EF7}" dt="2024-03-06T20:17:25.224" v="10960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E58FA468-8508-4D9D-B61C-DD2554E44EF7}" dt="2024-03-06T20:17:25.203" v="10882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E58FA468-8508-4D9D-B61C-DD2554E44EF7}" dt="2024-03-06T20:17:25.221" v="10951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E58FA468-8508-4D9D-B61C-DD2554E44EF7}" dt="2024-03-06T20:17:25.223" v="10958"/>
          <ac:spMkLst>
            <pc:docMk/>
            <pc:sldMk cId="1450446987" sldId="264"/>
            <ac:spMk id="92" creationId="{04EED9C4-BB27-D966-447B-295E7E5DB4D0}"/>
          </ac:spMkLst>
        </pc:spChg>
        <pc:spChg chg="mod">
          <ac:chgData name="Joelle Brehm" userId="a518f54c-6985-42c0-8041-2bb16a414839" providerId="ADAL" clId="{E58FA468-8508-4D9D-B61C-DD2554E44EF7}" dt="2024-03-06T20:17:25.195" v="10848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E58FA468-8508-4D9D-B61C-DD2554E44EF7}" dt="2024-03-06T20:17:25.197" v="10858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E58FA468-8508-4D9D-B61C-DD2554E44EF7}" dt="2024-03-06T20:17:25.215" v="10927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E58FA468-8508-4D9D-B61C-DD2554E44EF7}" dt="2024-03-06T20:17:25.215" v="10929"/>
          <ac:spMkLst>
            <pc:docMk/>
            <pc:sldMk cId="1450446987" sldId="264"/>
            <ac:spMk id="97" creationId="{64B2B8D7-E8A8-4757-99A4-69F1EAA48321}"/>
          </ac:spMkLst>
        </pc:spChg>
        <pc:spChg chg="mod">
          <ac:chgData name="Joelle Brehm" userId="a518f54c-6985-42c0-8041-2bb16a414839" providerId="ADAL" clId="{E58FA468-8508-4D9D-B61C-DD2554E44EF7}" dt="2024-03-06T20:17:25.202" v="10878"/>
          <ac:spMkLst>
            <pc:docMk/>
            <pc:sldMk cId="1450446987" sldId="264"/>
            <ac:spMk id="98" creationId="{41685772-BE3E-26B1-D464-B2AD278CB65F}"/>
          </ac:spMkLst>
        </pc:spChg>
        <pc:spChg chg="mod">
          <ac:chgData name="Joelle Brehm" userId="a518f54c-6985-42c0-8041-2bb16a414839" providerId="ADAL" clId="{E58FA468-8508-4D9D-B61C-DD2554E44EF7}" dt="2024-03-06T20:17:25.224" v="10962"/>
          <ac:spMkLst>
            <pc:docMk/>
            <pc:sldMk cId="1450446987" sldId="264"/>
            <ac:spMk id="99" creationId="{532CB703-5963-C57B-5D4D-6A2C18AD0509}"/>
          </ac:spMkLst>
        </pc:spChg>
        <pc:spChg chg="mod">
          <ac:chgData name="Joelle Brehm" userId="a518f54c-6985-42c0-8041-2bb16a414839" providerId="ADAL" clId="{E58FA468-8508-4D9D-B61C-DD2554E44EF7}" dt="2024-03-06T20:17:25.202" v="10880"/>
          <ac:spMkLst>
            <pc:docMk/>
            <pc:sldMk cId="1450446987" sldId="264"/>
            <ac:spMk id="101" creationId="{EE29A4AC-9FCC-452F-30B4-8245793C249E}"/>
          </ac:spMkLst>
        </pc:spChg>
        <pc:spChg chg="mod">
          <ac:chgData name="Joelle Brehm" userId="a518f54c-6985-42c0-8041-2bb16a414839" providerId="ADAL" clId="{E58FA468-8508-4D9D-B61C-DD2554E44EF7}" dt="2024-03-06T20:17:25.202" v="10877"/>
          <ac:spMkLst>
            <pc:docMk/>
            <pc:sldMk cId="1450446987" sldId="264"/>
            <ac:spMk id="102" creationId="{6333F09A-AE56-74E1-7B04-F4A5E3860BA0}"/>
          </ac:spMkLst>
        </pc:spChg>
        <pc:spChg chg="mod">
          <ac:chgData name="Joelle Brehm" userId="a518f54c-6985-42c0-8041-2bb16a414839" providerId="ADAL" clId="{E58FA468-8508-4D9D-B61C-DD2554E44EF7}" dt="2024-03-06T20:17:25.200" v="10870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E58FA468-8508-4D9D-B61C-DD2554E44EF7}" dt="2024-03-06T20:17:25.221" v="10952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E58FA468-8508-4D9D-B61C-DD2554E44EF7}" dt="2024-03-06T20:17:25.193" v="10839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E58FA468-8508-4D9D-B61C-DD2554E44EF7}" dt="2024-03-06T20:17:25.205" v="10889"/>
          <ac:spMkLst>
            <pc:docMk/>
            <pc:sldMk cId="1450446987" sldId="264"/>
            <ac:spMk id="107" creationId="{5A262282-AA4F-2691-1334-7CF06DA0EFE3}"/>
          </ac:spMkLst>
        </pc:spChg>
        <pc:spChg chg="mod">
          <ac:chgData name="Joelle Brehm" userId="a518f54c-6985-42c0-8041-2bb16a414839" providerId="ADAL" clId="{E58FA468-8508-4D9D-B61C-DD2554E44EF7}" dt="2024-03-06T20:17:25.203" v="10881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E58FA468-8508-4D9D-B61C-DD2554E44EF7}" dt="2024-03-06T20:17:25.201" v="10872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E58FA468-8508-4D9D-B61C-DD2554E44EF7}" dt="2024-03-06T20:17:25.198" v="10859"/>
          <ac:spMkLst>
            <pc:docMk/>
            <pc:sldMk cId="1450446987" sldId="264"/>
            <ac:spMk id="110" creationId="{3E9DFF71-BC3D-F5AB-9F34-2E7EB64B1AD3}"/>
          </ac:spMkLst>
        </pc:spChg>
        <pc:spChg chg="add mod replST">
          <ac:chgData name="Joelle Brehm" userId="a518f54c-6985-42c0-8041-2bb16a414839" providerId="ADAL" clId="{E58FA468-8508-4D9D-B61C-DD2554E44EF7}" dt="2024-03-06T20:17:25.226" v="10972"/>
          <ac:spMkLst>
            <pc:docMk/>
            <pc:sldMk cId="1450446987" sldId="264"/>
            <ac:spMk id="111" creationId="{C28B988E-6795-274F-9B01-EC3956E8C7D3}"/>
          </ac:spMkLst>
        </pc:spChg>
        <pc:spChg chg="mod">
          <ac:chgData name="Joelle Brehm" userId="a518f54c-6985-42c0-8041-2bb16a414839" providerId="ADAL" clId="{E58FA468-8508-4D9D-B61C-DD2554E44EF7}" dt="2024-03-06T20:17:28.085" v="10985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E58FA468-8508-4D9D-B61C-DD2554E44EF7}" dt="2024-03-06T20:17:25.203" v="10883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E58FA468-8508-4D9D-B61C-DD2554E44EF7}" dt="2024-03-06T20:17:25.205" v="10891"/>
          <ac:spMkLst>
            <pc:docMk/>
            <pc:sldMk cId="1450446987" sldId="264"/>
            <ac:spMk id="114" creationId="{3CBA50EC-8157-24B9-3AC1-20A64EE1A3BF}"/>
          </ac:spMkLst>
        </pc:spChg>
        <pc:spChg chg="mod">
          <ac:chgData name="Joelle Brehm" userId="a518f54c-6985-42c0-8041-2bb16a414839" providerId="ADAL" clId="{E58FA468-8508-4D9D-B61C-DD2554E44EF7}" dt="2024-03-06T20:17:28.086" v="10989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E58FA468-8508-4D9D-B61C-DD2554E44EF7}" dt="2024-03-06T20:17:25.224" v="10963"/>
          <ac:spMkLst>
            <pc:docMk/>
            <pc:sldMk cId="1450446987" sldId="264"/>
            <ac:spMk id="116" creationId="{E6B2D068-E691-A10D-15D8-F8578EFD4C29}"/>
          </ac:spMkLst>
        </pc:spChg>
        <pc:spChg chg="mod">
          <ac:chgData name="Joelle Brehm" userId="a518f54c-6985-42c0-8041-2bb16a414839" providerId="ADAL" clId="{E58FA468-8508-4D9D-B61C-DD2554E44EF7}" dt="2024-03-06T20:17:25.216" v="10933"/>
          <ac:spMkLst>
            <pc:docMk/>
            <pc:sldMk cId="1450446987" sldId="264"/>
            <ac:spMk id="117" creationId="{16ED222C-BE37-1D08-BF7E-D131AE2BBE04}"/>
          </ac:spMkLst>
        </pc:spChg>
        <pc:spChg chg="mod">
          <ac:chgData name="Joelle Brehm" userId="a518f54c-6985-42c0-8041-2bb16a414839" providerId="ADAL" clId="{E58FA468-8508-4D9D-B61C-DD2554E44EF7}" dt="2024-03-06T20:17:25.205" v="10888"/>
          <ac:spMkLst>
            <pc:docMk/>
            <pc:sldMk cId="1450446987" sldId="264"/>
            <ac:spMk id="118" creationId="{64C7D22E-FE71-8346-6A8B-BCCE734C030C}"/>
          </ac:spMkLst>
        </pc:spChg>
        <pc:spChg chg="mod">
          <ac:chgData name="Joelle Brehm" userId="a518f54c-6985-42c0-8041-2bb16a414839" providerId="ADAL" clId="{E58FA468-8508-4D9D-B61C-DD2554E44EF7}" dt="2024-03-06T20:17:25.226" v="10969"/>
          <ac:spMkLst>
            <pc:docMk/>
            <pc:sldMk cId="1450446987" sldId="264"/>
            <ac:spMk id="119" creationId="{68A51B41-5F1C-51E6-B7D6-26BE9B80F9FE}"/>
          </ac:spMkLst>
        </pc:spChg>
        <pc:spChg chg="add del mod modVis">
          <ac:chgData name="Joelle Brehm" userId="a518f54c-6985-42c0-8041-2bb16a414839" providerId="ADAL" clId="{E58FA468-8508-4D9D-B61C-DD2554E44EF7}" dt="2024-03-06T20:07:41.705" v="8056"/>
          <ac:spMkLst>
            <pc:docMk/>
            <pc:sldMk cId="1450446987" sldId="264"/>
            <ac:spMk id="120" creationId="{9DBF0345-B8F6-DD7A-4607-BB77A4C303DA}"/>
          </ac:spMkLst>
        </pc:spChg>
        <pc:spChg chg="mod">
          <ac:chgData name="Joelle Brehm" userId="a518f54c-6985-42c0-8041-2bb16a414839" providerId="ADAL" clId="{E58FA468-8508-4D9D-B61C-DD2554E44EF7}" dt="2024-03-06T20:17:25.202" v="10879"/>
          <ac:spMkLst>
            <pc:docMk/>
            <pc:sldMk cId="1450446987" sldId="264"/>
            <ac:spMk id="122" creationId="{EE58AE63-B2BC-C11A-1802-02E107E19990}"/>
          </ac:spMkLst>
        </pc:spChg>
        <pc:spChg chg="mod">
          <ac:chgData name="Joelle Brehm" userId="a518f54c-6985-42c0-8041-2bb16a414839" providerId="ADAL" clId="{E58FA468-8508-4D9D-B61C-DD2554E44EF7}" dt="2024-03-06T20:17:25.201" v="10873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E58FA468-8508-4D9D-B61C-DD2554E44EF7}" dt="2024-03-06T20:17:25.221" v="10953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E58FA468-8508-4D9D-B61C-DD2554E44EF7}" dt="2024-03-06T20:17:25.196" v="10850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E58FA468-8508-4D9D-B61C-DD2554E44EF7}" dt="2024-03-06T20:17:25.204" v="10884"/>
          <ac:spMkLst>
            <pc:docMk/>
            <pc:sldMk cId="1450446987" sldId="264"/>
            <ac:spMk id="127" creationId="{2CF9A986-1E95-AE1A-FD0F-F8AD045E4589}"/>
          </ac:spMkLst>
        </pc:spChg>
        <pc:spChg chg="add mod replST">
          <ac:chgData name="Joelle Brehm" userId="a518f54c-6985-42c0-8041-2bb16a414839" providerId="ADAL" clId="{E58FA468-8508-4D9D-B61C-DD2554E44EF7}" dt="2024-03-06T20:17:25.206" v="10892"/>
          <ac:spMkLst>
            <pc:docMk/>
            <pc:sldMk cId="1450446987" sldId="264"/>
            <ac:spMk id="128" creationId="{004E9F0D-3290-4792-0B4B-DA40262DC992}"/>
          </ac:spMkLst>
        </pc:spChg>
        <pc:spChg chg="add del mod modVis">
          <ac:chgData name="Joelle Brehm" userId="a518f54c-6985-42c0-8041-2bb16a414839" providerId="ADAL" clId="{E58FA468-8508-4D9D-B61C-DD2554E44EF7}" dt="2024-03-06T20:07:49.199" v="8337"/>
          <ac:spMkLst>
            <pc:docMk/>
            <pc:sldMk cId="1450446987" sldId="264"/>
            <ac:spMk id="129" creationId="{6B4E9D9D-9F2F-D40D-11B0-37670448633B}"/>
          </ac:spMkLst>
        </pc:spChg>
        <pc:spChg chg="mod">
          <ac:chgData name="Joelle Brehm" userId="a518f54c-6985-42c0-8041-2bb16a414839" providerId="ADAL" clId="{E58FA468-8508-4D9D-B61C-DD2554E44EF7}" dt="2024-03-06T20:17:25.198" v="10861"/>
          <ac:spMkLst>
            <pc:docMk/>
            <pc:sldMk cId="1450446987" sldId="264"/>
            <ac:spMk id="130" creationId="{DB0A6969-9BE6-DD88-9511-7F8FD934DA11}"/>
          </ac:spMkLst>
        </pc:spChg>
        <pc:spChg chg="mod">
          <ac:chgData name="Joelle Brehm" userId="a518f54c-6985-42c0-8041-2bb16a414839" providerId="ADAL" clId="{E58FA468-8508-4D9D-B61C-DD2554E44EF7}" dt="2024-03-06T20:17:25.205" v="10890"/>
          <ac:spMkLst>
            <pc:docMk/>
            <pc:sldMk cId="1450446987" sldId="264"/>
            <ac:spMk id="131" creationId="{1E95563A-161A-F388-D6A8-05A228809377}"/>
          </ac:spMkLst>
        </pc:spChg>
        <pc:spChg chg="mod">
          <ac:chgData name="Joelle Brehm" userId="a518f54c-6985-42c0-8041-2bb16a414839" providerId="ADAL" clId="{E58FA468-8508-4D9D-B61C-DD2554E44EF7}" dt="2024-03-06T20:17:25.224" v="10964"/>
          <ac:spMkLst>
            <pc:docMk/>
            <pc:sldMk cId="1450446987" sldId="264"/>
            <ac:spMk id="132" creationId="{8E856E10-A2C3-3BD4-C02F-F3D2D343989C}"/>
          </ac:spMkLst>
        </pc:spChg>
        <pc:spChg chg="mod">
          <ac:chgData name="Joelle Brehm" userId="a518f54c-6985-42c0-8041-2bb16a414839" providerId="ADAL" clId="{E58FA468-8508-4D9D-B61C-DD2554E44EF7}" dt="2024-03-06T20:17:25.208" v="10901"/>
          <ac:spMkLst>
            <pc:docMk/>
            <pc:sldMk cId="1450446987" sldId="264"/>
            <ac:spMk id="134" creationId="{4B21D98E-CBDB-7AFB-94BD-6B7A23D60EC2}"/>
          </ac:spMkLst>
        </pc:spChg>
        <pc:spChg chg="mod">
          <ac:chgData name="Joelle Brehm" userId="a518f54c-6985-42c0-8041-2bb16a414839" providerId="ADAL" clId="{E58FA468-8508-4D9D-B61C-DD2554E44EF7}" dt="2024-03-06T20:17:28.089" v="10997"/>
          <ac:spMkLst>
            <pc:docMk/>
            <pc:sldMk cId="1450446987" sldId="264"/>
            <ac:spMk id="135" creationId="{005E4CB4-2A31-DB1F-88CB-2FBBBD0C091B}"/>
          </ac:spMkLst>
        </pc:spChg>
        <pc:spChg chg="mod">
          <ac:chgData name="Joelle Brehm" userId="a518f54c-6985-42c0-8041-2bb16a414839" providerId="ADAL" clId="{E58FA468-8508-4D9D-B61C-DD2554E44EF7}" dt="2024-03-06T20:17:25.216" v="10934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E58FA468-8508-4D9D-B61C-DD2554E44EF7}" dt="2024-03-06T20:17:25.221" v="10955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E58FA468-8508-4D9D-B61C-DD2554E44EF7}" dt="2024-03-06T20:17:25.201" v="10874"/>
          <ac:spMkLst>
            <pc:docMk/>
            <pc:sldMk cId="1450446987" sldId="264"/>
            <ac:spMk id="139" creationId="{90D6C27A-2B60-467B-C5C7-9CCE43964040}"/>
          </ac:spMkLst>
        </pc:spChg>
        <pc:spChg chg="add mod replST">
          <ac:chgData name="Joelle Brehm" userId="a518f54c-6985-42c0-8041-2bb16a414839" providerId="ADAL" clId="{E58FA468-8508-4D9D-B61C-DD2554E44EF7}" dt="2024-03-06T20:17:25.206" v="10893"/>
          <ac:spMkLst>
            <pc:docMk/>
            <pc:sldMk cId="1450446987" sldId="264"/>
            <ac:spMk id="140" creationId="{68675877-AA6B-0EB2-4A7A-588E2212467E}"/>
          </ac:spMkLst>
        </pc:spChg>
        <pc:spChg chg="mod">
          <ac:chgData name="Joelle Brehm" userId="a518f54c-6985-42c0-8041-2bb16a414839" providerId="ADAL" clId="{E58FA468-8508-4D9D-B61C-DD2554E44EF7}" dt="2024-03-06T20:17:25.211" v="10912"/>
          <ac:spMkLst>
            <pc:docMk/>
            <pc:sldMk cId="1450446987" sldId="264"/>
            <ac:spMk id="141" creationId="{E36F4C8D-EC2C-AF10-792A-6324A776E04A}"/>
          </ac:spMkLst>
        </pc:spChg>
        <pc:spChg chg="add del mod modVis">
          <ac:chgData name="Joelle Brehm" userId="a518f54c-6985-42c0-8041-2bb16a414839" providerId="ADAL" clId="{E58FA468-8508-4D9D-B61C-DD2554E44EF7}" dt="2024-03-06T20:07:54.668" v="8794"/>
          <ac:spMkLst>
            <pc:docMk/>
            <pc:sldMk cId="1450446987" sldId="264"/>
            <ac:spMk id="142" creationId="{60600BB6-21C4-C29C-3EFE-18523006E532}"/>
          </ac:spMkLst>
        </pc:spChg>
        <pc:spChg chg="mod">
          <ac:chgData name="Joelle Brehm" userId="a518f54c-6985-42c0-8041-2bb16a414839" providerId="ADAL" clId="{E58FA468-8508-4D9D-B61C-DD2554E44EF7}" dt="2024-03-06T20:17:25.204" v="10885"/>
          <ac:spMkLst>
            <pc:docMk/>
            <pc:sldMk cId="1450446987" sldId="264"/>
            <ac:spMk id="143" creationId="{8B4F9978-6CBD-ADA8-09AB-786FD14471F8}"/>
          </ac:spMkLst>
        </pc:spChg>
        <pc:spChg chg="mod">
          <ac:chgData name="Joelle Brehm" userId="a518f54c-6985-42c0-8041-2bb16a414839" providerId="ADAL" clId="{E58FA468-8508-4D9D-B61C-DD2554E44EF7}" dt="2024-03-06T20:17:28.088" v="10993"/>
          <ac:spMkLst>
            <pc:docMk/>
            <pc:sldMk cId="1450446987" sldId="264"/>
            <ac:spMk id="144" creationId="{5181FAC4-6DC3-041D-2CC1-374608CD8D5F}"/>
          </ac:spMkLst>
        </pc:spChg>
        <pc:spChg chg="mod">
          <ac:chgData name="Joelle Brehm" userId="a518f54c-6985-42c0-8041-2bb16a414839" providerId="ADAL" clId="{E58FA468-8508-4D9D-B61C-DD2554E44EF7}" dt="2024-03-06T20:17:25.225" v="10966"/>
          <ac:spMkLst>
            <pc:docMk/>
            <pc:sldMk cId="1450446987" sldId="264"/>
            <ac:spMk id="146" creationId="{6414DE83-49A9-C649-08EC-1FB84B54E2EA}"/>
          </ac:spMkLst>
        </pc:spChg>
        <pc:spChg chg="del mod">
          <ac:chgData name="Joelle Brehm" userId="a518f54c-6985-42c0-8041-2bb16a414839" providerId="ADAL" clId="{E58FA468-8508-4D9D-B61C-DD2554E44EF7}" dt="2024-03-06T20:17:15.531" v="10456"/>
          <ac:spMkLst>
            <pc:docMk/>
            <pc:sldMk cId="1450446987" sldId="264"/>
            <ac:spMk id="147" creationId="{609F0876-DAE8-330B-73F0-332D7FC04AD2}"/>
          </ac:spMkLst>
        </pc:spChg>
        <pc:spChg chg="mod">
          <ac:chgData name="Joelle Brehm" userId="a518f54c-6985-42c0-8041-2bb16a414839" providerId="ADAL" clId="{E58FA468-8508-4D9D-B61C-DD2554E44EF7}" dt="2024-03-06T20:17:25.195" v="10849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E58FA468-8508-4D9D-B61C-DD2554E44EF7}" dt="2024-03-06T20:17:25.198" v="10860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E58FA468-8508-4D9D-B61C-DD2554E44EF7}" dt="2024-03-06T20:16:47.984" v="9157"/>
          <ac:spMkLst>
            <pc:docMk/>
            <pc:sldMk cId="1450446987" sldId="264"/>
            <ac:spMk id="150" creationId="{8F3448D1-05A7-2B59-8C0A-D30A043C1ED7}"/>
          </ac:spMkLst>
        </pc:spChg>
        <pc:spChg chg="add del mod replST">
          <ac:chgData name="Joelle Brehm" userId="a518f54c-6985-42c0-8041-2bb16a414839" providerId="ADAL" clId="{E58FA468-8508-4D9D-B61C-DD2554E44EF7}" dt="2024-03-06T20:16:48.466" v="9207"/>
          <ac:spMkLst>
            <pc:docMk/>
            <pc:sldMk cId="1450446987" sldId="264"/>
            <ac:spMk id="15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17:25.202" v="10876"/>
          <ac:spMkLst>
            <pc:docMk/>
            <pc:sldMk cId="1450446987" sldId="264"/>
            <ac:spMk id="154" creationId="{A61E4EE9-FC3E-9FF2-7995-0C75440B927B}"/>
          </ac:spMkLst>
        </pc:spChg>
        <pc:spChg chg="add del mod modVis">
          <ac:chgData name="Joelle Brehm" userId="a518f54c-6985-42c0-8041-2bb16a414839" providerId="ADAL" clId="{E58FA468-8508-4D9D-B61C-DD2554E44EF7}" dt="2024-03-06T20:16:48.546" v="9366"/>
          <ac:spMkLst>
            <pc:docMk/>
            <pc:sldMk cId="1450446987" sldId="264"/>
            <ac:spMk id="155" creationId="{DA35F503-805A-52DC-B125-FD559AA61E0E}"/>
          </ac:spMkLst>
        </pc:spChg>
        <pc:spChg chg="mod">
          <ac:chgData name="Joelle Brehm" userId="a518f54c-6985-42c0-8041-2bb16a414839" providerId="ADAL" clId="{E58FA468-8508-4D9D-B61C-DD2554E44EF7}" dt="2024-03-06T20:17:25.201" v="10875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E58FA468-8508-4D9D-B61C-DD2554E44EF7}" dt="2024-03-06T20:17:25.204" v="10886"/>
          <ac:spMkLst>
            <pc:docMk/>
            <pc:sldMk cId="1450446987" sldId="264"/>
            <ac:spMk id="158" creationId="{5B6F19F9-65BC-D043-328A-0D4F88644681}"/>
          </ac:spMkLst>
        </pc:spChg>
        <pc:spChg chg="mod">
          <ac:chgData name="Joelle Brehm" userId="a518f54c-6985-42c0-8041-2bb16a414839" providerId="ADAL" clId="{E58FA468-8508-4D9D-B61C-DD2554E44EF7}" dt="2024-03-06T20:17:25.217" v="10936"/>
          <ac:spMkLst>
            <pc:docMk/>
            <pc:sldMk cId="1450446987" sldId="264"/>
            <ac:spMk id="159" creationId="{35B271FB-A1D6-D982-7784-49F30BEC4F67}"/>
          </ac:spMkLst>
        </pc:spChg>
        <pc:spChg chg="mod">
          <ac:chgData name="Joelle Brehm" userId="a518f54c-6985-42c0-8041-2bb16a414839" providerId="ADAL" clId="{E58FA468-8508-4D9D-B61C-DD2554E44EF7}" dt="2024-03-06T20:17:25.217" v="10935"/>
          <ac:spMkLst>
            <pc:docMk/>
            <pc:sldMk cId="1450446987" sldId="264"/>
            <ac:spMk id="160" creationId="{07C3E5D2-7583-63D0-37B6-7B151A712896}"/>
          </ac:spMkLst>
        </pc:spChg>
        <pc:spChg chg="add del mod modVis">
          <ac:chgData name="Joelle Brehm" userId="a518f54c-6985-42c0-8041-2bb16a414839" providerId="ADAL" clId="{E58FA468-8508-4D9D-B61C-DD2554E44EF7}" dt="2024-03-06T20:16:52.808" v="9575"/>
          <ac:spMkLst>
            <pc:docMk/>
            <pc:sldMk cId="1450446987" sldId="264"/>
            <ac:spMk id="161" creationId="{106FA92B-AA83-1A25-D251-7E602B398F10}"/>
          </ac:spMkLst>
        </pc:spChg>
        <pc:spChg chg="mod">
          <ac:chgData name="Joelle Brehm" userId="a518f54c-6985-42c0-8041-2bb16a414839" providerId="ADAL" clId="{E58FA468-8508-4D9D-B61C-DD2554E44EF7}" dt="2024-03-06T20:17:28.095" v="11009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E58FA468-8508-4D9D-B61C-DD2554E44EF7}" dt="2024-03-06T20:17:25.204" v="10887"/>
          <ac:spMkLst>
            <pc:docMk/>
            <pc:sldMk cId="1450446987" sldId="264"/>
            <ac:spMk id="163" creationId="{B4BF5702-9B69-493D-938D-23FA87022A8B}"/>
          </ac:spMkLst>
        </pc:spChg>
        <pc:spChg chg="add del mod modVis">
          <ac:chgData name="Joelle Brehm" userId="a518f54c-6985-42c0-8041-2bb16a414839" providerId="ADAL" clId="{E58FA468-8508-4D9D-B61C-DD2554E44EF7}" dt="2024-03-06T20:16:56.738" v="9803"/>
          <ac:spMkLst>
            <pc:docMk/>
            <pc:sldMk cId="1450446987" sldId="264"/>
            <ac:spMk id="165" creationId="{135C06FC-FFEA-E6CD-F445-B82E2EBD35F4}"/>
          </ac:spMkLst>
        </pc:spChg>
        <pc:spChg chg="mod">
          <ac:chgData name="Joelle Brehm" userId="a518f54c-6985-42c0-8041-2bb16a414839" providerId="ADAL" clId="{E58FA468-8508-4D9D-B61C-DD2554E44EF7}" dt="2024-03-06T20:17:25.221" v="10954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E58FA468-8508-4D9D-B61C-DD2554E44EF7}" dt="2024-03-06T20:17:25.225" v="10965"/>
          <ac:spMkLst>
            <pc:docMk/>
            <pc:sldMk cId="1450446987" sldId="264"/>
            <ac:spMk id="167" creationId="{F4E87B54-979D-3FF4-CD65-15E354C7960B}"/>
          </ac:spMkLst>
        </pc:spChg>
        <pc:spChg chg="add del mod modVis">
          <ac:chgData name="Joelle Brehm" userId="a518f54c-6985-42c0-8041-2bb16a414839" providerId="ADAL" clId="{E58FA468-8508-4D9D-B61C-DD2554E44EF7}" dt="2024-03-06T20:16:57.693" v="10012"/>
          <ac:spMkLst>
            <pc:docMk/>
            <pc:sldMk cId="1450446987" sldId="264"/>
            <ac:spMk id="169" creationId="{2DAEC2EF-AC8F-ACAA-5024-A395D2B107DC}"/>
          </ac:spMkLst>
        </pc:spChg>
        <pc:spChg chg="add del mod modVis">
          <ac:chgData name="Joelle Brehm" userId="a518f54c-6985-42c0-8041-2bb16a414839" providerId="ADAL" clId="{E58FA468-8508-4D9D-B61C-DD2554E44EF7}" dt="2024-03-06T20:17:03.653" v="10223"/>
          <ac:spMkLst>
            <pc:docMk/>
            <pc:sldMk cId="1450446987" sldId="264"/>
            <ac:spMk id="171" creationId="{48BE0676-4B47-F4EA-A5A8-7C15D3D4D534}"/>
          </ac:spMkLst>
        </pc:spChg>
        <pc:spChg chg="add del mod modVis">
          <ac:chgData name="Joelle Brehm" userId="a518f54c-6985-42c0-8041-2bb16a414839" providerId="ADAL" clId="{E58FA468-8508-4D9D-B61C-DD2554E44EF7}" dt="2024-03-06T20:17:15.615" v="10611"/>
          <ac:spMkLst>
            <pc:docMk/>
            <pc:sldMk cId="1450446987" sldId="264"/>
            <ac:spMk id="174" creationId="{0BBA4284-6659-259D-87F7-54F14C122DEF}"/>
          </ac:spMkLst>
        </pc:spChg>
        <pc:spChg chg="add del mod modVis">
          <ac:chgData name="Joelle Brehm" userId="a518f54c-6985-42c0-8041-2bb16a414839" providerId="ADAL" clId="{E58FA468-8508-4D9D-B61C-DD2554E44EF7}" dt="2024-03-06T20:17:19.169" v="10802"/>
          <ac:spMkLst>
            <pc:docMk/>
            <pc:sldMk cId="1450446987" sldId="264"/>
            <ac:spMk id="176" creationId="{6417127A-841C-71B1-83F3-6D71BF30FC19}"/>
          </ac:spMkLst>
        </pc:spChg>
        <pc:spChg chg="mod ord">
          <ac:chgData name="Joelle Brehm" userId="a518f54c-6985-42c0-8041-2bb16a414839" providerId="ADAL" clId="{E58FA468-8508-4D9D-B61C-DD2554E44EF7}" dt="2024-03-06T20:17:25.219" v="10946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E58FA468-8508-4D9D-B61C-DD2554E44EF7}" dt="2024-03-06T20:17:25.227" v="10974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E58FA468-8508-4D9D-B61C-DD2554E44EF7}" dt="2024-03-06T20:17:28.151" v="11013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03.051" v="6201"/>
          <ac:graphicFrameMkLst>
            <pc:docMk/>
            <pc:sldMk cId="1450446987" sldId="264"/>
            <ac:graphicFrameMk id="26" creationId="{41068285-9928-8940-1D3E-944900589892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12.739" v="6425"/>
          <ac:graphicFrameMkLst>
            <pc:docMk/>
            <pc:sldMk cId="1450446987" sldId="264"/>
            <ac:graphicFrameMk id="28" creationId="{79B6E398-1E5E-F7F5-2E16-4B628EDD2B5D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6T20:07:00.703" v="5967"/>
          <ac:graphicFrameMkLst>
            <pc:docMk/>
            <pc:sldMk cId="1450446987" sldId="264"/>
            <ac:graphicFrameMk id="32" creationId="{85103986-E876-3E12-CF10-39E4303DF468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17:25.207" v="10895"/>
          <ac:graphicFrameMkLst>
            <pc:docMk/>
            <pc:sldMk cId="1450446987" sldId="264"/>
            <ac:graphicFrameMk id="39" creationId="{8952CBF7-9F1D-8D16-5975-FB0F44A28A5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20.781" v="6939"/>
          <ac:graphicFrameMkLst>
            <pc:docMk/>
            <pc:sldMk cId="1450446987" sldId="264"/>
            <ac:graphicFrameMk id="46" creationId="{F4154464-20E2-9873-B591-66F1BBD3F01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24.293" v="7163"/>
          <ac:graphicFrameMkLst>
            <pc:docMk/>
            <pc:sldMk cId="1450446987" sldId="264"/>
            <ac:graphicFrameMk id="52" creationId="{436B1E50-0CD9-799B-F387-C4F1681F48DA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6T20:07:18.713" v="6705"/>
          <ac:graphicFrameMkLst>
            <pc:docMk/>
            <pc:sldMk cId="1450446987" sldId="264"/>
            <ac:graphicFrameMk id="66" creationId="{AF47BF3E-C242-C87A-6D72-AAD9C619D1D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17:25.194" v="10843"/>
          <ac:graphicFrameMkLst>
            <pc:docMk/>
            <pc:sldMk cId="1450446987" sldId="264"/>
            <ac:graphicFrameMk id="74" creationId="{3A67557D-8B53-D19C-89DF-8F5FCC848F6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33.020" v="7677"/>
          <ac:graphicFrameMkLst>
            <pc:docMk/>
            <pc:sldMk cId="1450446987" sldId="264"/>
            <ac:graphicFrameMk id="93" creationId="{9846D3E3-1FEB-63C4-5C6D-E22F0B318A57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6T20:07:31.194" v="7443"/>
          <ac:graphicFrameMkLst>
            <pc:docMk/>
            <pc:sldMk cId="1450446987" sldId="264"/>
            <ac:graphicFrameMk id="100" creationId="{DCE03E81-D9A6-1C68-DCF3-8DE3D22551E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41.624" v="7901"/>
          <ac:graphicFrameMkLst>
            <pc:docMk/>
            <pc:sldMk cId="1450446987" sldId="264"/>
            <ac:graphicFrameMk id="103" creationId="{BA6B8E9B-884D-C926-A5FC-3C360788D2B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17:25.220" v="10948"/>
          <ac:graphicFrameMkLst>
            <pc:docMk/>
            <pc:sldMk cId="1450446987" sldId="264"/>
            <ac:graphicFrameMk id="121" creationId="{C222CB9E-A724-D2A4-86D2-FF3CE78FD5E0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6T20:07:49.094" v="8181"/>
          <ac:graphicFrameMkLst>
            <pc:docMk/>
            <pc:sldMk cId="1450446987" sldId="264"/>
            <ac:graphicFrameMk id="123" creationId="{1BA3F4F5-219D-2D45-9229-7CC5071D7646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51.296" v="8415"/>
          <ac:graphicFrameMkLst>
            <pc:docMk/>
            <pc:sldMk cId="1450446987" sldId="264"/>
            <ac:graphicFrameMk id="133" creationId="{E50992A4-95B7-B739-2A85-A58F441B0DC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07:54.557" v="8639"/>
          <ac:graphicFrameMkLst>
            <pc:docMk/>
            <pc:sldMk cId="1450446987" sldId="264"/>
            <ac:graphicFrameMk id="137" creationId="{1195C37B-9374-437E-D4DC-4F0B7F081172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17:25.200" v="10869"/>
          <ac:graphicFrameMkLst>
            <pc:docMk/>
            <pc:sldMk cId="1450446987" sldId="264"/>
            <ac:graphicFrameMk id="145" creationId="{67E38FC5-D602-448D-E9E6-5FA9C5A6DA21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6T20:16:47.907" v="9001"/>
          <ac:graphicFrameMkLst>
            <pc:docMk/>
            <pc:sldMk cId="1450446987" sldId="264"/>
            <ac:graphicFrameMk id="151" creationId="{B6EC2FB4-80EB-982C-6DAC-13DA4C1007B2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6:48.467" v="9211"/>
          <ac:graphicFrameMkLst>
            <pc:docMk/>
            <pc:sldMk cId="1450446987" sldId="264"/>
            <ac:graphicFrameMk id="153" creationId="{034205F6-EC56-C7DE-4BD3-E21444A11EF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6:52.680" v="9420"/>
          <ac:graphicFrameMkLst>
            <pc:docMk/>
            <pc:sldMk cId="1450446987" sldId="264"/>
            <ac:graphicFrameMk id="156" creationId="{874C3BA5-32A2-B58C-F095-4EAF4008C7C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6:56.668" v="9648"/>
          <ac:graphicFrameMkLst>
            <pc:docMk/>
            <pc:sldMk cId="1450446987" sldId="264"/>
            <ac:graphicFrameMk id="164" creationId="{BED6A3BD-90F2-AC37-8AB7-E3F690BAD8F8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6:57.599" v="9858"/>
          <ac:graphicFrameMkLst>
            <pc:docMk/>
            <pc:sldMk cId="1450446987" sldId="264"/>
            <ac:graphicFrameMk id="168" creationId="{6682E316-CC5F-6A58-B140-C343C2B4938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7:03.570" v="10070"/>
          <ac:graphicFrameMkLst>
            <pc:docMk/>
            <pc:sldMk cId="1450446987" sldId="264"/>
            <ac:graphicFrameMk id="170" creationId="{C6040A12-0263-54BA-8BB1-AC6D63830611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7:13.254" v="10254"/>
          <ac:graphicFrameMkLst>
            <pc:docMk/>
            <pc:sldMk cId="1450446987" sldId="264"/>
            <ac:graphicFrameMk id="172" creationId="{53BB6074-728D-479C-2474-E3DA29F0E31C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7:15.534" v="10460"/>
          <ac:graphicFrameMkLst>
            <pc:docMk/>
            <pc:sldMk cId="1450446987" sldId="264"/>
            <ac:graphicFrameMk id="173" creationId="{10B5206F-E45A-8483-B4A4-1D596EE69E2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7:19.096" v="10651"/>
          <ac:graphicFrameMkLst>
            <pc:docMk/>
            <pc:sldMk cId="1450446987" sldId="264"/>
            <ac:graphicFrameMk id="175" creationId="{DDB7C989-6CEC-7EE1-FBDD-F7D3D433B5E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20:17:25.171" v="10827"/>
          <ac:graphicFrameMkLst>
            <pc:docMk/>
            <pc:sldMk cId="1450446987" sldId="264"/>
            <ac:graphicFrameMk id="177" creationId="{7B43EBAF-9B65-D597-F89A-A323C49DEFB5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17:25.216" v="10931"/>
          <ac:graphicFrameMkLst>
            <pc:docMk/>
            <pc:sldMk cId="1450446987" sldId="264"/>
            <ac:graphicFrameMk id="178" creationId="{DD2000F6-3E1A-ED7D-EB20-B86745D351F6}"/>
          </ac:graphicFrameMkLst>
        </pc:graphicFrameChg>
        <pc:picChg chg="mod ord">
          <ac:chgData name="Joelle Brehm" userId="a518f54c-6985-42c0-8041-2bb16a414839" providerId="ADAL" clId="{E58FA468-8508-4D9D-B61C-DD2554E44EF7}" dt="2024-03-06T20:17:25.194" v="10841"/>
          <ac:picMkLst>
            <pc:docMk/>
            <pc:sldMk cId="1450446987" sldId="264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E58FA468-8508-4D9D-B61C-DD2554E44EF7}" dt="2024-03-06T20:06:50.482" v="5803" actId="478"/>
          <ac:picMkLst>
            <pc:docMk/>
            <pc:sldMk cId="1450446987" sldId="264"/>
            <ac:picMk id="9" creationId="{7844F310-DAA6-0B64-48F4-27433596CAA2}"/>
          </ac:picMkLst>
        </pc:picChg>
        <pc:picChg chg="add mod ord">
          <ac:chgData name="Joelle Brehm" userId="a518f54c-6985-42c0-8041-2bb16a414839" providerId="ADAL" clId="{E58FA468-8508-4D9D-B61C-DD2554E44EF7}" dt="2024-03-06T20:17:25.192" v="10835"/>
          <ac:picMkLst>
            <pc:docMk/>
            <pc:sldMk cId="1450446987" sldId="264"/>
            <ac:picMk id="10" creationId="{AB4F185B-0194-3273-C129-6C12F05ACD22}"/>
          </ac:picMkLst>
        </pc:picChg>
      </pc:sldChg>
      <pc:sldChg chg="addSp delSp modSp mod">
        <pc:chgData name="Joelle Brehm" userId="a518f54c-6985-42c0-8041-2bb16a414839" providerId="ADAL" clId="{E58FA468-8508-4D9D-B61C-DD2554E44EF7}" dt="2024-03-07T16:45:20.355" v="31666" actId="478"/>
        <pc:sldMkLst>
          <pc:docMk/>
          <pc:sldMk cId="3436037945" sldId="265"/>
        </pc:sldMkLst>
        <pc:spChg chg="mod ord">
          <ac:chgData name="Joelle Brehm" userId="a518f54c-6985-42c0-8041-2bb16a414839" providerId="ADAL" clId="{E58FA468-8508-4D9D-B61C-DD2554E44EF7}" dt="2024-03-07T16:45:19.037" v="31659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E58FA468-8508-4D9D-B61C-DD2554E44EF7}" dt="2024-03-07T16:28:46.247" v="14185" actId="478"/>
          <ac:spMkLst>
            <pc:docMk/>
            <pc:sldMk cId="3436037945" sldId="265"/>
            <ac:spMk id="3" creationId="{287C878B-DCED-21B8-7394-BAF71F4EA3C4}"/>
          </ac:spMkLst>
        </pc:spChg>
        <pc:spChg chg="add del mod modVis">
          <ac:chgData name="Joelle Brehm" userId="a518f54c-6985-42c0-8041-2bb16a414839" providerId="ADAL" clId="{E58FA468-8508-4D9D-B61C-DD2554E44EF7}" dt="2024-03-07T16:45:19.037" v="31663"/>
          <ac:spMkLst>
            <pc:docMk/>
            <pc:sldMk cId="3436037945" sldId="265"/>
            <ac:spMk id="5" creationId="{0E644818-20D7-2697-4068-DE23EF19883C}"/>
          </ac:spMkLst>
        </pc:spChg>
        <pc:spChg chg="add del mod modVis">
          <ac:chgData name="Joelle Brehm" userId="a518f54c-6985-42c0-8041-2bb16a414839" providerId="ADAL" clId="{E58FA468-8508-4D9D-B61C-DD2554E44EF7}" dt="2024-03-07T16:28:55.859" v="14398"/>
          <ac:spMkLst>
            <pc:docMk/>
            <pc:sldMk cId="3436037945" sldId="265"/>
            <ac:spMk id="5" creationId="{6215F43E-1A3F-9FCA-B7AB-E47BAF403955}"/>
          </ac:spMkLst>
        </pc:spChg>
        <pc:spChg chg="mod ord">
          <ac:chgData name="Joelle Brehm" userId="a518f54c-6985-42c0-8041-2bb16a414839" providerId="ADAL" clId="{E58FA468-8508-4D9D-B61C-DD2554E44EF7}" dt="2024-03-07T16:45:19.005" v="31594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45:19.005" v="31605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5:19.005" v="31601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5:19.005" v="31602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5:19.005" v="31599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5:19.005" v="31600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5:19.005" v="31603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5:19.005" v="31604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5:19.005" v="31606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5:19.005" v="31607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5:19.005" v="31608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5:19.005" v="31609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5:19.005" v="31610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5:19.005" v="31612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5:19.005" v="31613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5:19.005" v="31615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5:19.005" v="31614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5:19.005" v="31617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5:19.005" v="31618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5:19.005" v="31616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5:19.005" v="31620"/>
          <ac:spMkLst>
            <pc:docMk/>
            <pc:sldMk cId="3436037945" sldId="26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58FA468-8508-4D9D-B61C-DD2554E44EF7}" dt="2024-03-07T16:29:20.904" v="14680"/>
          <ac:spMkLst>
            <pc:docMk/>
            <pc:sldMk cId="3436037945" sldId="265"/>
            <ac:spMk id="31" creationId="{C5D3FAD0-48AA-3095-6DB8-6240A8A8AE3E}"/>
          </ac:spMkLst>
        </pc:spChg>
        <pc:spChg chg="del mod">
          <ac:chgData name="Joelle Brehm" userId="a518f54c-6985-42c0-8041-2bb16a414839" providerId="ADAL" clId="{E58FA468-8508-4D9D-B61C-DD2554E44EF7}" dt="2024-03-07T16:29:38.412" v="17031"/>
          <ac:spMkLst>
            <pc:docMk/>
            <pc:sldMk cId="3436037945" sldId="265"/>
            <ac:spMk id="33" creationId="{88A51C86-CC1A-E0E0-4190-57AF874D78E8}"/>
          </ac:spMkLst>
        </pc:spChg>
        <pc:spChg chg="del mod">
          <ac:chgData name="Joelle Brehm" userId="a518f54c-6985-42c0-8041-2bb16a414839" providerId="ADAL" clId="{E58FA468-8508-4D9D-B61C-DD2554E44EF7}" dt="2024-03-07T16:29:38.413" v="17032"/>
          <ac:spMkLst>
            <pc:docMk/>
            <pc:sldMk cId="3436037945" sldId="265"/>
            <ac:spMk id="34" creationId="{553B3276-AAC9-7700-1361-C4731F1BB052}"/>
          </ac:spMkLst>
        </pc:spChg>
        <pc:spChg chg="add del mod modVis">
          <ac:chgData name="Joelle Brehm" userId="a518f54c-6985-42c0-8041-2bb16a414839" providerId="ADAL" clId="{E58FA468-8508-4D9D-B61C-DD2554E44EF7}" dt="2024-03-07T16:29:25.527" v="14804"/>
          <ac:spMkLst>
            <pc:docMk/>
            <pc:sldMk cId="3436037945" sldId="265"/>
            <ac:spMk id="37" creationId="{BC3A6D83-3429-C0A1-2F24-8CB4B1F3E0CE}"/>
          </ac:spMkLst>
        </pc:spChg>
        <pc:spChg chg="del mod">
          <ac:chgData name="Joelle Brehm" userId="a518f54c-6985-42c0-8041-2bb16a414839" providerId="ADAL" clId="{E58FA468-8508-4D9D-B61C-DD2554E44EF7}" dt="2024-03-07T16:29:35.252" v="15453"/>
          <ac:spMkLst>
            <pc:docMk/>
            <pc:sldMk cId="3436037945" sldId="265"/>
            <ac:spMk id="38" creationId="{62DC6416-88A9-62BF-9039-C25769EB1825}"/>
          </ac:spMkLst>
        </pc:spChg>
        <pc:spChg chg="del mod">
          <ac:chgData name="Joelle Brehm" userId="a518f54c-6985-42c0-8041-2bb16a414839" providerId="ADAL" clId="{E58FA468-8508-4D9D-B61C-DD2554E44EF7}" dt="2024-03-07T16:29:38.409" v="17024"/>
          <ac:spMkLst>
            <pc:docMk/>
            <pc:sldMk cId="3436037945" sldId="265"/>
            <ac:spMk id="39" creationId="{D3B6923F-EF2F-5CB1-1EC9-23DAFECD1AD3}"/>
          </ac:spMkLst>
        </pc:spChg>
        <pc:spChg chg="del mod">
          <ac:chgData name="Joelle Brehm" userId="a518f54c-6985-42c0-8041-2bb16a414839" providerId="ADAL" clId="{E58FA468-8508-4D9D-B61C-DD2554E44EF7}" dt="2024-03-07T16:29:38.414" v="17033"/>
          <ac:spMkLst>
            <pc:docMk/>
            <pc:sldMk cId="3436037945" sldId="265"/>
            <ac:spMk id="40" creationId="{2A43095D-ADFF-616D-2F9C-314A2CAEAAAB}"/>
          </ac:spMkLst>
        </pc:spChg>
        <pc:spChg chg="del mod">
          <ac:chgData name="Joelle Brehm" userId="a518f54c-6985-42c0-8041-2bb16a414839" providerId="ADAL" clId="{E58FA468-8508-4D9D-B61C-DD2554E44EF7}" dt="2024-03-07T16:29:38.411" v="17028"/>
          <ac:spMkLst>
            <pc:docMk/>
            <pc:sldMk cId="3436037945" sldId="265"/>
            <ac:spMk id="41" creationId="{16B778E2-8712-DA55-C5AD-4A641096111C}"/>
          </ac:spMkLst>
        </pc:spChg>
        <pc:spChg chg="del mod">
          <ac:chgData name="Joelle Brehm" userId="a518f54c-6985-42c0-8041-2bb16a414839" providerId="ADAL" clId="{E58FA468-8508-4D9D-B61C-DD2554E44EF7}" dt="2024-03-07T16:29:38.410" v="17025"/>
          <ac:spMkLst>
            <pc:docMk/>
            <pc:sldMk cId="3436037945" sldId="265"/>
            <ac:spMk id="42" creationId="{C3432236-FD50-8E13-A648-6A2FCA3BBBAE}"/>
          </ac:spMkLst>
        </pc:spChg>
        <pc:spChg chg="del mod">
          <ac:chgData name="Joelle Brehm" userId="a518f54c-6985-42c0-8041-2bb16a414839" providerId="ADAL" clId="{E58FA468-8508-4D9D-B61C-DD2554E44EF7}" dt="2024-03-07T16:29:38.412" v="17029"/>
          <ac:spMkLst>
            <pc:docMk/>
            <pc:sldMk cId="3436037945" sldId="265"/>
            <ac:spMk id="43" creationId="{75C463B6-6FC6-0A00-1C57-A6F7C4BD145A}"/>
          </ac:spMkLst>
        </pc:spChg>
        <pc:spChg chg="del mod">
          <ac:chgData name="Joelle Brehm" userId="a518f54c-6985-42c0-8041-2bb16a414839" providerId="ADAL" clId="{E58FA468-8508-4D9D-B61C-DD2554E44EF7}" dt="2024-03-07T16:29:38.410" v="17026"/>
          <ac:spMkLst>
            <pc:docMk/>
            <pc:sldMk cId="3436037945" sldId="265"/>
            <ac:spMk id="44" creationId="{16F84182-CECA-3CD8-7D89-52B39ECEBFE4}"/>
          </ac:spMkLst>
        </pc:spChg>
        <pc:spChg chg="del mod">
          <ac:chgData name="Joelle Brehm" userId="a518f54c-6985-42c0-8041-2bb16a414839" providerId="ADAL" clId="{E58FA468-8508-4D9D-B61C-DD2554E44EF7}" dt="2024-03-07T16:29:38.412" v="17030"/>
          <ac:spMkLst>
            <pc:docMk/>
            <pc:sldMk cId="3436037945" sldId="265"/>
            <ac:spMk id="45" creationId="{790AE0EA-D2B0-6BC1-21FA-449B7C18A555}"/>
          </ac:spMkLst>
        </pc:spChg>
        <pc:spChg chg="del mod">
          <ac:chgData name="Joelle Brehm" userId="a518f54c-6985-42c0-8041-2bb16a414839" providerId="ADAL" clId="{E58FA468-8508-4D9D-B61C-DD2554E44EF7}" dt="2024-03-07T16:29:38.414" v="17034"/>
          <ac:spMkLst>
            <pc:docMk/>
            <pc:sldMk cId="3436037945" sldId="265"/>
            <ac:spMk id="46" creationId="{CC579B3F-E788-D65D-788A-B21F9610D5BD}"/>
          </ac:spMkLst>
        </pc:spChg>
        <pc:spChg chg="del mod">
          <ac:chgData name="Joelle Brehm" userId="a518f54c-6985-42c0-8041-2bb16a414839" providerId="ADAL" clId="{E58FA468-8508-4D9D-B61C-DD2554E44EF7}" dt="2024-03-07T16:29:38.411" v="17027"/>
          <ac:spMkLst>
            <pc:docMk/>
            <pc:sldMk cId="3436037945" sldId="265"/>
            <ac:spMk id="47" creationId="{DA382430-2E3A-48A8-BD50-8227787BBF7B}"/>
          </ac:spMkLst>
        </pc:spChg>
        <pc:spChg chg="add del mod replST">
          <ac:chgData name="Joelle Brehm" userId="a518f54c-6985-42c0-8041-2bb16a414839" providerId="ADAL" clId="{E58FA468-8508-4D9D-B61C-DD2554E44EF7}" dt="2024-03-07T16:29:38.417" v="17039"/>
          <ac:spMkLst>
            <pc:docMk/>
            <pc:sldMk cId="3436037945" sldId="265"/>
            <ac:spMk id="49" creationId="{CB9D44C4-64FF-AC93-F8B2-618B554014AB}"/>
          </ac:spMkLst>
        </pc:spChg>
        <pc:spChg chg="add del mod modVis">
          <ac:chgData name="Joelle Brehm" userId="a518f54c-6985-42c0-8041-2bb16a414839" providerId="ADAL" clId="{E58FA468-8508-4D9D-B61C-DD2554E44EF7}" dt="2024-03-07T16:29:31.399" v="15273"/>
          <ac:spMkLst>
            <pc:docMk/>
            <pc:sldMk cId="3436037945" sldId="265"/>
            <ac:spMk id="50" creationId="{1BAD0E11-E315-48D3-58AF-1505F8CB81CB}"/>
          </ac:spMkLst>
        </pc:spChg>
        <pc:spChg chg="add del mod ord replST">
          <ac:chgData name="Joelle Brehm" userId="a518f54c-6985-42c0-8041-2bb16a414839" providerId="ADAL" clId="{E58FA468-8508-4D9D-B61C-DD2554E44EF7}" dt="2024-03-07T16:29:54.257" v="19765"/>
          <ac:spMkLst>
            <pc:docMk/>
            <pc:sldMk cId="3436037945" sldId="265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29:32.521" v="15450"/>
          <ac:spMkLst>
            <pc:docMk/>
            <pc:sldMk cId="3436037945" sldId="265"/>
            <ac:spMk id="54" creationId="{698E8228-EB80-90C8-0B04-28B358A9F410}"/>
          </ac:spMkLst>
        </pc:spChg>
        <pc:spChg chg="add del mod modVis">
          <ac:chgData name="Joelle Brehm" userId="a518f54c-6985-42c0-8041-2bb16a414839" providerId="ADAL" clId="{E58FA468-8508-4D9D-B61C-DD2554E44EF7}" dt="2024-03-07T16:29:38.510" v="17147"/>
          <ac:spMkLst>
            <pc:docMk/>
            <pc:sldMk cId="3436037945" sldId="265"/>
            <ac:spMk id="56" creationId="{812314B4-8167-CEE1-775D-511647634A94}"/>
          </ac:spMkLst>
        </pc:spChg>
        <pc:spChg chg="add del mod replST">
          <ac:chgData name="Joelle Brehm" userId="a518f54c-6985-42c0-8041-2bb16a414839" providerId="ADAL" clId="{E58FA468-8508-4D9D-B61C-DD2554E44EF7}" dt="2024-03-07T16:29:49.255" v="18857"/>
          <ac:spMkLst>
            <pc:docMk/>
            <pc:sldMk cId="3436037945" sldId="265"/>
            <ac:spMk id="57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5" v="18856"/>
          <ac:spMkLst>
            <pc:docMk/>
            <pc:sldMk cId="3436037945" sldId="265"/>
            <ac:spMk id="58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3" v="18855"/>
          <ac:spMkLst>
            <pc:docMk/>
            <pc:sldMk cId="3436037945" sldId="265"/>
            <ac:spMk id="59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3" v="18854"/>
          <ac:spMkLst>
            <pc:docMk/>
            <pc:sldMk cId="3436037945" sldId="265"/>
            <ac:spMk id="60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2" v="18853"/>
          <ac:spMkLst>
            <pc:docMk/>
            <pc:sldMk cId="3436037945" sldId="265"/>
            <ac:spMk id="61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2" v="18852"/>
          <ac:spMkLst>
            <pc:docMk/>
            <pc:sldMk cId="3436037945" sldId="265"/>
            <ac:spMk id="62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1" v="18851"/>
          <ac:spMkLst>
            <pc:docMk/>
            <pc:sldMk cId="3436037945" sldId="265"/>
            <ac:spMk id="63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1" v="18850"/>
          <ac:spMkLst>
            <pc:docMk/>
            <pc:sldMk cId="3436037945" sldId="265"/>
            <ac:spMk id="64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1" v="18849"/>
          <ac:spMkLst>
            <pc:docMk/>
            <pc:sldMk cId="3436037945" sldId="265"/>
            <ac:spMk id="65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0" v="18848"/>
          <ac:spMkLst>
            <pc:docMk/>
            <pc:sldMk cId="3436037945" sldId="265"/>
            <ac:spMk id="66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0" v="18847"/>
          <ac:spMkLst>
            <pc:docMk/>
            <pc:sldMk cId="3436037945" sldId="265"/>
            <ac:spMk id="67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50" v="18846"/>
          <ac:spMkLst>
            <pc:docMk/>
            <pc:sldMk cId="3436037945" sldId="265"/>
            <ac:spMk id="68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9" v="18845"/>
          <ac:spMkLst>
            <pc:docMk/>
            <pc:sldMk cId="3436037945" sldId="265"/>
            <ac:spMk id="69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9" v="18844"/>
          <ac:spMkLst>
            <pc:docMk/>
            <pc:sldMk cId="3436037945" sldId="265"/>
            <ac:spMk id="70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8" v="18843"/>
          <ac:spMkLst>
            <pc:docMk/>
            <pc:sldMk cId="3436037945" sldId="265"/>
            <ac:spMk id="71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8" v="18842"/>
          <ac:spMkLst>
            <pc:docMk/>
            <pc:sldMk cId="3436037945" sldId="265"/>
            <ac:spMk id="72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8" v="18841"/>
          <ac:spMkLst>
            <pc:docMk/>
            <pc:sldMk cId="3436037945" sldId="265"/>
            <ac:spMk id="73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7" v="18840"/>
          <ac:spMkLst>
            <pc:docMk/>
            <pc:sldMk cId="3436037945" sldId="265"/>
            <ac:spMk id="74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7" v="18839"/>
          <ac:spMkLst>
            <pc:docMk/>
            <pc:sldMk cId="3436037945" sldId="265"/>
            <ac:spMk id="75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6" v="18838"/>
          <ac:spMkLst>
            <pc:docMk/>
            <pc:sldMk cId="3436037945" sldId="265"/>
            <ac:spMk id="76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6" v="18837"/>
          <ac:spMkLst>
            <pc:docMk/>
            <pc:sldMk cId="3436037945" sldId="265"/>
            <ac:spMk id="7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45:19.037" v="31636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5:19.037" v="31638"/>
          <ac:spMkLst>
            <pc:docMk/>
            <pc:sldMk cId="3436037945" sldId="265"/>
            <ac:spMk id="79" creationId="{F1476AC4-694B-4D83-BFD8-8DCAA4BB1923}"/>
          </ac:spMkLst>
        </pc:spChg>
        <pc:spChg chg="add del mod replST">
          <ac:chgData name="Joelle Brehm" userId="a518f54c-6985-42c0-8041-2bb16a414839" providerId="ADAL" clId="{E58FA468-8508-4D9D-B61C-DD2554E44EF7}" dt="2024-03-07T16:29:49.245" v="18836"/>
          <ac:spMkLst>
            <pc:docMk/>
            <pc:sldMk cId="3436037945" sldId="265"/>
            <ac:spMk id="80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5" v="18835"/>
          <ac:spMkLst>
            <pc:docMk/>
            <pc:sldMk cId="3436037945" sldId="265"/>
            <ac:spMk id="81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6:29:49.243" v="18834"/>
          <ac:spMkLst>
            <pc:docMk/>
            <pc:sldMk cId="3436037945" sldId="265"/>
            <ac:spMk id="82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29:39.817" v="17989"/>
          <ac:spMkLst>
            <pc:docMk/>
            <pc:sldMk cId="3436037945" sldId="265"/>
            <ac:spMk id="84" creationId="{560F2874-75A0-2EA9-0F9B-9B8B7522E50F}"/>
          </ac:spMkLst>
        </pc:spChg>
        <pc:spChg chg="add del mod modVis">
          <ac:chgData name="Joelle Brehm" userId="a518f54c-6985-42c0-8041-2bb16a414839" providerId="ADAL" clId="{E58FA468-8508-4D9D-B61C-DD2554E44EF7}" dt="2024-03-07T16:29:41.652" v="18831"/>
          <ac:spMkLst>
            <pc:docMk/>
            <pc:sldMk cId="3436037945" sldId="265"/>
            <ac:spMk id="86" creationId="{258A8E8B-5001-FEBC-1943-ABC65504CE65}"/>
          </ac:spMkLst>
        </pc:spChg>
        <pc:spChg chg="add del mod modVis">
          <ac:chgData name="Joelle Brehm" userId="a518f54c-6985-42c0-8041-2bb16a414839" providerId="ADAL" clId="{E58FA468-8508-4D9D-B61C-DD2554E44EF7}" dt="2024-03-07T16:29:50.630" v="19709"/>
          <ac:spMkLst>
            <pc:docMk/>
            <pc:sldMk cId="3436037945" sldId="265"/>
            <ac:spMk id="88" creationId="{CAF20D82-0CD8-177E-4612-95044E81694D}"/>
          </ac:spMkLst>
        </pc:spChg>
        <pc:spChg chg="add mod replST">
          <ac:chgData name="Joelle Brehm" userId="a518f54c-6985-42c0-8041-2bb16a414839" providerId="ADAL" clId="{E58FA468-8508-4D9D-B61C-DD2554E44EF7}" dt="2024-03-07T16:45:19.005" v="31623"/>
          <ac:spMkLst>
            <pc:docMk/>
            <pc:sldMk cId="3436037945" sldId="265"/>
            <ac:spMk id="89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05" v="31624"/>
          <ac:spMkLst>
            <pc:docMk/>
            <pc:sldMk cId="3436037945" sldId="265"/>
            <ac:spMk id="90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05" v="31625"/>
          <ac:spMkLst>
            <pc:docMk/>
            <pc:sldMk cId="3436037945" sldId="265"/>
            <ac:spMk id="91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05" v="31626"/>
          <ac:spMkLst>
            <pc:docMk/>
            <pc:sldMk cId="3436037945" sldId="265"/>
            <ac:spMk id="92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21" v="31627"/>
          <ac:spMkLst>
            <pc:docMk/>
            <pc:sldMk cId="3436037945" sldId="265"/>
            <ac:spMk id="93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21" v="31628"/>
          <ac:spMkLst>
            <pc:docMk/>
            <pc:sldMk cId="3436037945" sldId="265"/>
            <ac:spMk id="94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21" v="31629"/>
          <ac:spMkLst>
            <pc:docMk/>
            <pc:sldMk cId="3436037945" sldId="265"/>
            <ac:spMk id="95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37" v="31630"/>
          <ac:spMkLst>
            <pc:docMk/>
            <pc:sldMk cId="3436037945" sldId="265"/>
            <ac:spMk id="96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37" v="31631"/>
          <ac:spMkLst>
            <pc:docMk/>
            <pc:sldMk cId="3436037945" sldId="265"/>
            <ac:spMk id="97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37" v="31632"/>
          <ac:spMkLst>
            <pc:docMk/>
            <pc:sldMk cId="3436037945" sldId="265"/>
            <ac:spMk id="98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6:45:19.037" v="31633"/>
          <ac:spMkLst>
            <pc:docMk/>
            <pc:sldMk cId="3436037945" sldId="265"/>
            <ac:spMk id="99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45:19.037" v="31640"/>
          <ac:spMkLst>
            <pc:docMk/>
            <pc:sldMk cId="3436037945" sldId="265"/>
            <ac:spMk id="100" creationId="{8B5667AB-609C-4AEA-83B3-24E395C8F420}"/>
          </ac:spMkLst>
        </pc:spChg>
        <pc:spChg chg="add mod replST">
          <ac:chgData name="Joelle Brehm" userId="a518f54c-6985-42c0-8041-2bb16a414839" providerId="ADAL" clId="{E58FA468-8508-4D9D-B61C-DD2554E44EF7}" dt="2024-03-07T16:45:19.037" v="31634"/>
          <ac:spMkLst>
            <pc:docMk/>
            <pc:sldMk cId="3436037945" sldId="265"/>
            <ac:spMk id="101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29:54.309" v="19846"/>
          <ac:spMkLst>
            <pc:docMk/>
            <pc:sldMk cId="3436037945" sldId="265"/>
            <ac:spMk id="103" creationId="{DC948A77-377F-9E37-A845-BC90D76D721B}"/>
          </ac:spMkLst>
        </pc:spChg>
        <pc:spChg chg="mod ord">
          <ac:chgData name="Joelle Brehm" userId="a518f54c-6985-42c0-8041-2bb16a414839" providerId="ADAL" clId="{E58FA468-8508-4D9D-B61C-DD2554E44EF7}" dt="2024-03-07T16:45:19.037" v="31642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5:19.037" v="31644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5:19.037" v="31646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E58FA468-8508-4D9D-B61C-DD2554E44EF7}" dt="2024-03-07T16:45:19.037" v="31657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E58FA468-8508-4D9D-B61C-DD2554E44EF7}" dt="2024-03-07T16:45:19.037" v="31649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5:19.037" v="31650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5:19.037" v="31651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5:19.037" v="31652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45:19.037" v="31653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5:19.071" v="31665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6:28:55.807" v="14315"/>
          <ac:graphicFrameMkLst>
            <pc:docMk/>
            <pc:sldMk cId="3436037945" sldId="265"/>
            <ac:graphicFrameMk id="8" creationId="{DC03BD94-C1D8-DAAA-F108-F5E84354048C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5:19.005" v="31598"/>
          <ac:graphicFrameMkLst>
            <pc:docMk/>
            <pc:sldMk cId="3436037945" sldId="265"/>
            <ac:graphicFrameMk id="9" creationId="{CEFB1D27-951B-DD63-FCB7-E75D4818211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9:25.454" v="14725"/>
          <ac:graphicFrameMkLst>
            <pc:docMk/>
            <pc:sldMk cId="3436037945" sldId="265"/>
            <ac:graphicFrameMk id="32" creationId="{6BD9CE21-1F25-BF2B-ECE3-3A1C278C8BD7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29:20.829" v="14601"/>
          <ac:graphicFrameMkLst>
            <pc:docMk/>
            <pc:sldMk cId="3436037945" sldId="265"/>
            <ac:graphicFrameMk id="35" creationId="{8C367658-326B-D9DC-3076-C7E95D1882CC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5:19.037" v="31648"/>
          <ac:graphicFrameMkLst>
            <pc:docMk/>
            <pc:sldMk cId="3436037945" sldId="265"/>
            <ac:graphicFrameMk id="48" creationId="{F23678B7-A450-8C30-03AA-8DFDE6C3A378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9:32.432" v="15355"/>
          <ac:graphicFrameMkLst>
            <pc:docMk/>
            <pc:sldMk cId="3436037945" sldId="265"/>
            <ac:graphicFrameMk id="52" creationId="{5D27E0E1-CCC1-51E6-1DE7-C9A9FDEA10A4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29:31.332" v="15178"/>
          <ac:graphicFrameMkLst>
            <pc:docMk/>
            <pc:sldMk cId="3436037945" sldId="265"/>
            <ac:graphicFrameMk id="53" creationId="{C805F7B9-6AE6-A6D0-68C0-3CF97B9F84A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9:38.418" v="17041"/>
          <ac:graphicFrameMkLst>
            <pc:docMk/>
            <pc:sldMk cId="3436037945" sldId="265"/>
            <ac:graphicFrameMk id="55" creationId="{9F5286C7-8ABC-84DE-4618-D46D5E2D4C8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9:39.731" v="17883"/>
          <ac:graphicFrameMkLst>
            <pc:docMk/>
            <pc:sldMk cId="3436037945" sldId="265"/>
            <ac:graphicFrameMk id="83" creationId="{D452F20B-8E71-0CC9-CBEF-B04B113E871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9:41.555" v="18725"/>
          <ac:graphicFrameMkLst>
            <pc:docMk/>
            <pc:sldMk cId="3436037945" sldId="265"/>
            <ac:graphicFrameMk id="85" creationId="{2F6B47C5-9855-CAC1-01E6-1293AB1CB5D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9:50.545" v="19615"/>
          <ac:graphicFrameMkLst>
            <pc:docMk/>
            <pc:sldMk cId="3436037945" sldId="265"/>
            <ac:graphicFrameMk id="87" creationId="{DC4B11AE-CF4D-94E6-A017-93B9719A60D5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9:54.257" v="19767"/>
          <ac:graphicFrameMkLst>
            <pc:docMk/>
            <pc:sldMk cId="3436037945" sldId="265"/>
            <ac:graphicFrameMk id="102" creationId="{10372DD1-C8FF-0D9A-82C6-EF673F2CE63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5:19.005" v="31622"/>
          <ac:graphicFrameMkLst>
            <pc:docMk/>
            <pc:sldMk cId="3436037945" sldId="265"/>
            <ac:graphicFrameMk id="104" creationId="{2469C7DE-BE23-6EBB-CFA6-1E087DC0CC33}"/>
          </ac:graphicFrameMkLst>
        </pc:graphicFrameChg>
        <pc:picChg chg="add mod ord">
          <ac:chgData name="Joelle Brehm" userId="a518f54c-6985-42c0-8041-2bb16a414839" providerId="ADAL" clId="{E58FA468-8508-4D9D-B61C-DD2554E44EF7}" dt="2024-03-07T16:45:19.005" v="31590"/>
          <ac:picMkLst>
            <pc:docMk/>
            <pc:sldMk cId="3436037945" sldId="265"/>
            <ac:picMk id="3" creationId="{968D692F-B5D5-63CB-A24B-4172D2DF0C60}"/>
          </ac:picMkLst>
        </pc:picChg>
        <pc:picChg chg="add del mod ord">
          <ac:chgData name="Joelle Brehm" userId="a518f54c-6985-42c0-8041-2bb16a414839" providerId="ADAL" clId="{E58FA468-8508-4D9D-B61C-DD2554E44EF7}" dt="2024-03-07T16:45:20.355" v="31666" actId="478"/>
          <ac:picMkLst>
            <pc:docMk/>
            <pc:sldMk cId="3436037945" sldId="265"/>
            <ac:picMk id="10" creationId="{C6D816F1-CC14-427A-1122-7A44A857D2DB}"/>
          </ac:picMkLst>
        </pc:picChg>
        <pc:picChg chg="del mod ord">
          <ac:chgData name="Joelle Brehm" userId="a518f54c-6985-42c0-8041-2bb16a414839" providerId="ADAL" clId="{E58FA468-8508-4D9D-B61C-DD2554E44EF7}" dt="2024-03-07T16:29:12.368" v="14484" actId="478"/>
          <ac:picMkLst>
            <pc:docMk/>
            <pc:sldMk cId="3436037945" sldId="265"/>
            <ac:picMk id="36" creationId="{57BAD5F2-AC3A-F7AC-00DB-71E5786D8C98}"/>
          </ac:picMkLst>
        </pc:picChg>
        <pc:picChg chg="mod ord">
          <ac:chgData name="Joelle Brehm" userId="a518f54c-6985-42c0-8041-2bb16a414839" providerId="ADAL" clId="{E58FA468-8508-4D9D-B61C-DD2554E44EF7}" dt="2024-03-07T16:45:19.037" v="31655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5:19.005" v="31596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4:55.429" v="31558" actId="478"/>
        <pc:sldMkLst>
          <pc:docMk/>
          <pc:sldMk cId="2057745716" sldId="266"/>
        </pc:sldMkLst>
        <pc:spChg chg="mod ord">
          <ac:chgData name="Joelle Brehm" userId="a518f54c-6985-42c0-8041-2bb16a414839" providerId="ADAL" clId="{E58FA468-8508-4D9D-B61C-DD2554E44EF7}" dt="2024-03-07T16:44:54.427" v="31551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E58FA468-8508-4D9D-B61C-DD2554E44EF7}" dt="2024-03-07T16:18:45.526" v="12666" actId="478"/>
          <ac:spMkLst>
            <pc:docMk/>
            <pc:sldMk cId="2057745716" sldId="266"/>
            <ac:spMk id="3" creationId="{274FDEE1-1ED9-E109-E36C-11E833645E5F}"/>
          </ac:spMkLst>
        </pc:spChg>
        <pc:spChg chg="add del mod modVis">
          <ac:chgData name="Joelle Brehm" userId="a518f54c-6985-42c0-8041-2bb16a414839" providerId="ADAL" clId="{E58FA468-8508-4D9D-B61C-DD2554E44EF7}" dt="2024-03-07T16:27:30.333" v="12913"/>
          <ac:spMkLst>
            <pc:docMk/>
            <pc:sldMk cId="2057745716" sldId="266"/>
            <ac:spMk id="5" creationId="{CB74D298-FD10-8657-4356-8B62E6C93ADA}"/>
          </ac:spMkLst>
        </pc:spChg>
        <pc:spChg chg="add del mod modVis">
          <ac:chgData name="Joelle Brehm" userId="a518f54c-6985-42c0-8041-2bb16a414839" providerId="ADAL" clId="{E58FA468-8508-4D9D-B61C-DD2554E44EF7}" dt="2024-03-07T16:44:54.427" v="31555"/>
          <ac:spMkLst>
            <pc:docMk/>
            <pc:sldMk cId="2057745716" sldId="266"/>
            <ac:spMk id="5" creationId="{D1ADF3CA-E9DB-006C-6896-13BC8A9A17D8}"/>
          </ac:spMkLst>
        </pc:spChg>
        <pc:spChg chg="mod ord">
          <ac:chgData name="Joelle Brehm" userId="a518f54c-6985-42c0-8041-2bb16a414839" providerId="ADAL" clId="{E58FA468-8508-4D9D-B61C-DD2554E44EF7}" dt="2024-03-07T16:44:54.407" v="31469"/>
          <ac:spMkLst>
            <pc:docMk/>
            <pc:sldMk cId="2057745716" sldId="266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44:54.407" v="31480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4:54.407" v="31476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4:54.407" v="31477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4:54.407" v="31474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4:54.407" v="31475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4:54.407" v="31478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4:54.407" v="31479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4:54.407" v="31481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4:54.407" v="31482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4:54.407" v="31483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4:54.407" v="31484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4:54.407" v="31485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4:54.407" v="31487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4:54.407" v="31488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4:54.407" v="31490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4:54.407" v="31489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4:54.407" v="31492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4:54.407" v="31493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4:54.407" v="31491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4:54.407" v="31495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44:54.407" v="31506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E58FA468-8508-4D9D-B61C-DD2554E44EF7}" dt="2024-03-07T16:44:54.423" v="31518"/>
          <ac:spMkLst>
            <pc:docMk/>
            <pc:sldMk cId="2057745716" sldId="266"/>
            <ac:spMk id="33" creationId="{4776A783-F061-E03D-5F78-B2DE3144370E}"/>
          </ac:spMkLst>
        </pc:spChg>
        <pc:spChg chg="add del mod modVis">
          <ac:chgData name="Joelle Brehm" userId="a518f54c-6985-42c0-8041-2bb16a414839" providerId="ADAL" clId="{E58FA468-8508-4D9D-B61C-DD2554E44EF7}" dt="2024-03-07T16:28:20.797" v="13205"/>
          <ac:spMkLst>
            <pc:docMk/>
            <pc:sldMk cId="2057745716" sldId="266"/>
            <ac:spMk id="34" creationId="{FC5DB4A9-3A7F-68ED-8B65-832EAC54ED0E}"/>
          </ac:spMkLst>
        </pc:spChg>
        <pc:spChg chg="mod">
          <ac:chgData name="Joelle Brehm" userId="a518f54c-6985-42c0-8041-2bb16a414839" providerId="ADAL" clId="{E58FA468-8508-4D9D-B61C-DD2554E44EF7}" dt="2024-03-07T16:44:54.423" v="31520"/>
          <ac:spMkLst>
            <pc:docMk/>
            <pc:sldMk cId="2057745716" sldId="266"/>
            <ac:spMk id="35" creationId="{07FC4FF1-C9FC-C6C2-5A5D-6EECA837BD15}"/>
          </ac:spMkLst>
        </pc:spChg>
        <pc:spChg chg="mod">
          <ac:chgData name="Joelle Brehm" userId="a518f54c-6985-42c0-8041-2bb16a414839" providerId="ADAL" clId="{E58FA468-8508-4D9D-B61C-DD2554E44EF7}" dt="2024-03-07T16:44:54.427" v="31522"/>
          <ac:spMkLst>
            <pc:docMk/>
            <pc:sldMk cId="2057745716" sldId="266"/>
            <ac:spMk id="36" creationId="{3764C828-0438-D875-2C45-33FA7010F8CA}"/>
          </ac:spMkLst>
        </pc:spChg>
        <pc:spChg chg="mod">
          <ac:chgData name="Joelle Brehm" userId="a518f54c-6985-42c0-8041-2bb16a414839" providerId="ADAL" clId="{E58FA468-8508-4D9D-B61C-DD2554E44EF7}" dt="2024-03-07T16:44:54.427" v="31521"/>
          <ac:spMkLst>
            <pc:docMk/>
            <pc:sldMk cId="2057745716" sldId="266"/>
            <ac:spMk id="37" creationId="{33181A84-3557-D464-C31E-C60C3CBB82A3}"/>
          </ac:spMkLst>
        </pc:spChg>
        <pc:spChg chg="mod">
          <ac:chgData name="Joelle Brehm" userId="a518f54c-6985-42c0-8041-2bb16a414839" providerId="ADAL" clId="{E58FA468-8508-4D9D-B61C-DD2554E44EF7}" dt="2024-03-07T16:44:54.427" v="31524"/>
          <ac:spMkLst>
            <pc:docMk/>
            <pc:sldMk cId="2057745716" sldId="266"/>
            <ac:spMk id="39" creationId="{D8831937-ECCE-17CE-638D-71442AEB8CE1}"/>
          </ac:spMkLst>
        </pc:spChg>
        <pc:spChg chg="mod">
          <ac:chgData name="Joelle Brehm" userId="a518f54c-6985-42c0-8041-2bb16a414839" providerId="ADAL" clId="{E58FA468-8508-4D9D-B61C-DD2554E44EF7}" dt="2024-03-07T16:44:54.407" v="31504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E58FA468-8508-4D9D-B61C-DD2554E44EF7}" dt="2024-03-07T16:44:54.427" v="31523"/>
          <ac:spMkLst>
            <pc:docMk/>
            <pc:sldMk cId="2057745716" sldId="266"/>
            <ac:spMk id="41" creationId="{29AEB0C0-1606-DAD4-E036-1191325B42B8}"/>
          </ac:spMkLst>
        </pc:spChg>
        <pc:spChg chg="del mod">
          <ac:chgData name="Joelle Brehm" userId="a518f54c-6985-42c0-8041-2bb16a414839" providerId="ADAL" clId="{E58FA468-8508-4D9D-B61C-DD2554E44EF7}" dt="2024-03-07T16:28:30.689" v="13779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E58FA468-8508-4D9D-B61C-DD2554E44EF7}" dt="2024-03-07T16:44:54.407" v="31503"/>
          <ac:spMkLst>
            <pc:docMk/>
            <pc:sldMk cId="2057745716" sldId="266"/>
            <ac:spMk id="44" creationId="{3B42FA95-5355-D814-0F19-1287A982B05E}"/>
          </ac:spMkLst>
        </pc:spChg>
        <pc:spChg chg="add mod replST">
          <ac:chgData name="Joelle Brehm" userId="a518f54c-6985-42c0-8041-2bb16a414839" providerId="ADAL" clId="{E58FA468-8508-4D9D-B61C-DD2554E44EF7}" dt="2024-03-07T16:44:54.427" v="31526"/>
          <ac:spMkLst>
            <pc:docMk/>
            <pc:sldMk cId="2057745716" sldId="266"/>
            <ac:spMk id="45" creationId="{B82AA6F2-A080-E1BB-74E5-DD473360855A}"/>
          </ac:spMkLst>
        </pc:spChg>
        <pc:spChg chg="mod">
          <ac:chgData name="Joelle Brehm" userId="a518f54c-6985-42c0-8041-2bb16a414839" providerId="ADAL" clId="{E58FA468-8508-4D9D-B61C-DD2554E44EF7}" dt="2024-03-07T16:44:54.423" v="31519"/>
          <ac:spMkLst>
            <pc:docMk/>
            <pc:sldMk cId="2057745716" sldId="266"/>
            <ac:spMk id="46" creationId="{F71F0A63-DF39-49D4-2B0A-063A8976E855}"/>
          </ac:spMkLst>
        </pc:spChg>
        <pc:spChg chg="del mod">
          <ac:chgData name="Joelle Brehm" userId="a518f54c-6985-42c0-8041-2bb16a414839" providerId="ADAL" clId="{E58FA468-8508-4D9D-B61C-DD2554E44EF7}" dt="2024-03-07T16:28:30.689" v="13778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E58FA468-8508-4D9D-B61C-DD2554E44EF7}" dt="2024-03-07T16:44:54.423" v="31517"/>
          <ac:spMkLst>
            <pc:docMk/>
            <pc:sldMk cId="2057745716" sldId="266"/>
            <ac:spMk id="48" creationId="{83D70FB8-70C1-9516-ECF9-CBF5EA76AE37}"/>
          </ac:spMkLst>
        </pc:spChg>
        <pc:spChg chg="mod">
          <ac:chgData name="Joelle Brehm" userId="a518f54c-6985-42c0-8041-2bb16a414839" providerId="ADAL" clId="{E58FA468-8508-4D9D-B61C-DD2554E44EF7}" dt="2024-03-07T16:44:54.407" v="31505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E58FA468-8508-4D9D-B61C-DD2554E44EF7}" dt="2024-03-07T16:44:54.423" v="31508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E58FA468-8508-4D9D-B61C-DD2554E44EF7}" dt="2024-03-07T16:44:54.423" v="31507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E58FA468-8508-4D9D-B61C-DD2554E44EF7}" dt="2024-03-07T16:44:54.423" v="31514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E58FA468-8508-4D9D-B61C-DD2554E44EF7}" dt="2024-03-07T16:44:54.423" v="31513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E58FA468-8508-4D9D-B61C-DD2554E44EF7}" dt="2024-03-07T16:44:54.423" v="31510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E58FA468-8508-4D9D-B61C-DD2554E44EF7}" dt="2024-03-07T16:44:54.423" v="31509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E58FA468-8508-4D9D-B61C-DD2554E44EF7}" dt="2024-03-07T16:44:54.423" v="31512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E58FA468-8508-4D9D-B61C-DD2554E44EF7}" dt="2024-03-07T16:44:54.423" v="31511"/>
          <ac:spMkLst>
            <pc:docMk/>
            <pc:sldMk cId="2057745716" sldId="266"/>
            <ac:spMk id="57" creationId="{5B53372F-C271-7F94-7100-D104F06C3037}"/>
          </ac:spMkLst>
        </pc:spChg>
        <pc:spChg chg="mod">
          <ac:chgData name="Joelle Brehm" userId="a518f54c-6985-42c0-8041-2bb16a414839" providerId="ADAL" clId="{E58FA468-8508-4D9D-B61C-DD2554E44EF7}" dt="2024-03-07T16:44:54.423" v="31516"/>
          <ac:spMkLst>
            <pc:docMk/>
            <pc:sldMk cId="2057745716" sldId="266"/>
            <ac:spMk id="58" creationId="{DAA22F52-9C0E-72DF-927C-E34B49E164A2}"/>
          </ac:spMkLst>
        </pc:spChg>
        <pc:spChg chg="add mod ord replST">
          <ac:chgData name="Joelle Brehm" userId="a518f54c-6985-42c0-8041-2bb16a414839" providerId="ADAL" clId="{E58FA468-8508-4D9D-B61C-DD2554E44EF7}" dt="2024-03-07T16:44:54.427" v="31525"/>
          <ac:spMkLst>
            <pc:docMk/>
            <pc:sldMk cId="2057745716" sldId="266"/>
            <ac:spMk id="59" creationId="{37F90B60-CDE7-7CB7-7193-5A82F5ACF164}"/>
          </ac:spMkLst>
        </pc:spChg>
        <pc:spChg chg="add del mod modVis">
          <ac:chgData name="Joelle Brehm" userId="a518f54c-6985-42c0-8041-2bb16a414839" providerId="ADAL" clId="{E58FA468-8508-4D9D-B61C-DD2554E44EF7}" dt="2024-03-07T16:28:27.322" v="13581"/>
          <ac:spMkLst>
            <pc:docMk/>
            <pc:sldMk cId="2057745716" sldId="266"/>
            <ac:spMk id="60" creationId="{63B6F53D-026F-8E20-F866-57BC3EBB54E6}"/>
          </ac:spMkLst>
        </pc:spChg>
        <pc:spChg chg="mod">
          <ac:chgData name="Joelle Brehm" userId="a518f54c-6985-42c0-8041-2bb16a414839" providerId="ADAL" clId="{E58FA468-8508-4D9D-B61C-DD2554E44EF7}" dt="2024-03-07T16:44:54.423" v="31515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E58FA468-8508-4D9D-B61C-DD2554E44EF7}" dt="2024-03-07T16:28:28.472" v="13775"/>
          <ac:spMkLst>
            <pc:docMk/>
            <pc:sldMk cId="2057745716" sldId="266"/>
            <ac:spMk id="63" creationId="{D56029BD-0D7D-36BF-54BF-D6ADE1302F4B}"/>
          </ac:spMkLst>
        </pc:spChg>
        <pc:spChg chg="add del mod modVis">
          <ac:chgData name="Joelle Brehm" userId="a518f54c-6985-42c0-8041-2bb16a414839" providerId="ADAL" clId="{E58FA468-8508-4D9D-B61C-DD2554E44EF7}" dt="2024-03-07T16:28:30.855" v="14009"/>
          <ac:spMkLst>
            <pc:docMk/>
            <pc:sldMk cId="2057745716" sldId="266"/>
            <ac:spMk id="66" creationId="{E8E06E75-0DFA-23E2-1E71-5316780DBF94}"/>
          </ac:spMkLst>
        </pc:spChg>
        <pc:spChg chg="add del mod modVis">
          <ac:chgData name="Joelle Brehm" userId="a518f54c-6985-42c0-8041-2bb16a414839" providerId="ADAL" clId="{E58FA468-8508-4D9D-B61C-DD2554E44EF7}" dt="2024-03-07T16:28:34.259" v="14181"/>
          <ac:spMkLst>
            <pc:docMk/>
            <pc:sldMk cId="2057745716" sldId="266"/>
            <ac:spMk id="68" creationId="{8805D6B6-EFFF-EDD5-8E36-697F7CE97CE2}"/>
          </ac:spMkLst>
        </pc:spChg>
        <pc:spChg chg="mod ord">
          <ac:chgData name="Joelle Brehm" userId="a518f54c-6985-42c0-8041-2bb16a414839" providerId="ADAL" clId="{E58FA468-8508-4D9D-B61C-DD2554E44EF7}" dt="2024-03-07T16:44:54.427" v="31528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4:54.427" v="31530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E58FA468-8508-4D9D-B61C-DD2554E44EF7}" dt="2024-03-07T16:44:54.407" v="31502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44:54.427" v="31532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4:54.427" v="31534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4:54.427" v="31536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4:54.427" v="31538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4:54.407" v="31499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4:54.407" v="31500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4:54.407" v="31501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4:54.407" v="31498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4:54.427" v="31541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4:54.427" v="31542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4:54.427" v="31543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4:54.427" v="31544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44:54.427" v="31545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4:54.466" v="31557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4:54.407" v="31473"/>
          <ac:graphicFrameMkLst>
            <pc:docMk/>
            <pc:sldMk cId="2057745716" sldId="266"/>
            <ac:graphicFrameMk id="8" creationId="{D863BDB1-DEE2-FF16-71A3-2F23F06BC527}"/>
          </ac:graphicFrameMkLst>
        </pc:graphicFrameChg>
        <pc:graphicFrameChg chg="del">
          <ac:chgData name="Joelle Brehm" userId="a518f54c-6985-42c0-8041-2bb16a414839" providerId="ADAL" clId="{E58FA468-8508-4D9D-B61C-DD2554E44EF7}" dt="2024-03-07T16:27:30.271" v="12811"/>
          <ac:graphicFrameMkLst>
            <pc:docMk/>
            <pc:sldMk cId="2057745716" sldId="266"/>
            <ac:graphicFrameMk id="10" creationId="{8159890F-0F3A-8731-5A73-1AE8F387A9AB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28:20.745" v="13109"/>
          <ac:graphicFrameMkLst>
            <pc:docMk/>
            <pc:sldMk cId="2057745716" sldId="266"/>
            <ac:graphicFrameMk id="38" creationId="{1402D7BD-1122-6D86-790E-D694F07A98B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4:54.427" v="31540"/>
          <ac:graphicFrameMkLst>
            <pc:docMk/>
            <pc:sldMk cId="2057745716" sldId="266"/>
            <ac:graphicFrameMk id="42" creationId="{1C874F43-2628-8886-DA08-EB62F804494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8:28.391" v="13676"/>
          <ac:graphicFrameMkLst>
            <pc:docMk/>
            <pc:sldMk cId="2057745716" sldId="266"/>
            <ac:graphicFrameMk id="62" creationId="{FCEED6EB-111B-7345-D8FA-E4F20AA08538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8:30.793" v="13912"/>
          <ac:graphicFrameMkLst>
            <pc:docMk/>
            <pc:sldMk cId="2057745716" sldId="266"/>
            <ac:graphicFrameMk id="64" creationId="{4674BC11-FD8F-1924-A105-A589B95A0045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28:27.251" v="13482"/>
          <ac:graphicFrameMkLst>
            <pc:docMk/>
            <pc:sldMk cId="2057745716" sldId="266"/>
            <ac:graphicFrameMk id="65" creationId="{4DBAC749-7142-58E4-3B64-C78B1CDC1B1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28:34.200" v="14085"/>
          <ac:graphicFrameMkLst>
            <pc:docMk/>
            <pc:sldMk cId="2057745716" sldId="266"/>
            <ac:graphicFrameMk id="67" creationId="{BDE4750A-9947-CF14-8734-372078B00CA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4:54.407" v="31497"/>
          <ac:graphicFrameMkLst>
            <pc:docMk/>
            <pc:sldMk cId="2057745716" sldId="266"/>
            <ac:graphicFrameMk id="69" creationId="{88AF386C-62F4-2470-CF0A-FCB3199255DF}"/>
          </ac:graphicFrameMkLst>
        </pc:graphicFrameChg>
        <pc:picChg chg="add mod ord">
          <ac:chgData name="Joelle Brehm" userId="a518f54c-6985-42c0-8041-2bb16a414839" providerId="ADAL" clId="{E58FA468-8508-4D9D-B61C-DD2554E44EF7}" dt="2024-03-07T16:44:54.407" v="31465"/>
          <ac:picMkLst>
            <pc:docMk/>
            <pc:sldMk cId="2057745716" sldId="266"/>
            <ac:picMk id="3" creationId="{C9D35F0C-87E9-C3D7-0D72-B4BA9F8FF724}"/>
          </ac:picMkLst>
        </pc:picChg>
        <pc:picChg chg="add del mod ord">
          <ac:chgData name="Joelle Brehm" userId="a518f54c-6985-42c0-8041-2bb16a414839" providerId="ADAL" clId="{E58FA468-8508-4D9D-B61C-DD2554E44EF7}" dt="2024-03-07T16:44:55.429" v="31558" actId="478"/>
          <ac:picMkLst>
            <pc:docMk/>
            <pc:sldMk cId="2057745716" sldId="266"/>
            <ac:picMk id="9" creationId="{908B64B3-456F-7DB5-4A59-3C980CA7AA84}"/>
          </ac:picMkLst>
        </pc:picChg>
        <pc:picChg chg="del mod ord">
          <ac:chgData name="Joelle Brehm" userId="a518f54c-6985-42c0-8041-2bb16a414839" providerId="ADAL" clId="{E58FA468-8508-4D9D-B61C-DD2554E44EF7}" dt="2024-03-07T16:28:11.200" v="13020" actId="478"/>
          <ac:picMkLst>
            <pc:docMk/>
            <pc:sldMk cId="2057745716" sldId="266"/>
            <ac:picMk id="31" creationId="{A51D309B-B23A-1515-B6A7-BFA0571D1DA0}"/>
          </ac:picMkLst>
        </pc:picChg>
        <pc:picChg chg="mod ord">
          <ac:chgData name="Joelle Brehm" userId="a518f54c-6985-42c0-8041-2bb16a414839" providerId="ADAL" clId="{E58FA468-8508-4D9D-B61C-DD2554E44EF7}" dt="2024-03-07T16:44:54.427" v="31549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E58FA468-8508-4D9D-B61C-DD2554E44EF7}" dt="2024-03-07T16:44:54.427" v="31547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4:54.407" v="31471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5:40.084" v="31774" actId="478"/>
        <pc:sldMkLst>
          <pc:docMk/>
          <pc:sldMk cId="3795966898" sldId="267"/>
        </pc:sldMkLst>
        <pc:spChg chg="mod ord">
          <ac:chgData name="Joelle Brehm" userId="a518f54c-6985-42c0-8041-2bb16a414839" providerId="ADAL" clId="{E58FA468-8508-4D9D-B61C-DD2554E44EF7}" dt="2024-03-07T16:45:38.702" v="31767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E58FA468-8508-4D9D-B61C-DD2554E44EF7}" dt="2024-03-07T16:30:02.764" v="19849" actId="478"/>
          <ac:spMkLst>
            <pc:docMk/>
            <pc:sldMk cId="3795966898" sldId="267"/>
            <ac:spMk id="3" creationId="{798015CD-A4A6-2DDB-1818-40BC1E5A4534}"/>
          </ac:spMkLst>
        </pc:spChg>
        <pc:spChg chg="add del mod modVis">
          <ac:chgData name="Joelle Brehm" userId="a518f54c-6985-42c0-8041-2bb16a414839" providerId="ADAL" clId="{E58FA468-8508-4D9D-B61C-DD2554E44EF7}" dt="2024-03-07T16:45:38.702" v="31771"/>
          <ac:spMkLst>
            <pc:docMk/>
            <pc:sldMk cId="3795966898" sldId="267"/>
            <ac:spMk id="5" creationId="{4F27C417-515F-E0F5-9AB2-BAE9283F4CB6}"/>
          </ac:spMkLst>
        </pc:spChg>
        <pc:spChg chg="add del mod modVis">
          <ac:chgData name="Joelle Brehm" userId="a518f54c-6985-42c0-8041-2bb16a414839" providerId="ADAL" clId="{E58FA468-8508-4D9D-B61C-DD2554E44EF7}" dt="2024-03-07T16:30:16.968" v="20072"/>
          <ac:spMkLst>
            <pc:docMk/>
            <pc:sldMk cId="3795966898" sldId="267"/>
            <ac:spMk id="5" creationId="{949DE86B-2FAA-084B-9A2C-5572C21275C3}"/>
          </ac:spMkLst>
        </pc:spChg>
        <pc:spChg chg="mod ord">
          <ac:chgData name="Joelle Brehm" userId="a518f54c-6985-42c0-8041-2bb16a414839" providerId="ADAL" clId="{E58FA468-8508-4D9D-B61C-DD2554E44EF7}" dt="2024-03-07T16:45:38.692" v="31702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45:38.692" v="31713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5:38.692" v="31709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5:38.692" v="31710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5:38.692" v="31707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5:38.692" v="31708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5:38.692" v="31711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5:38.692" v="31712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5:38.692" v="31714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5:38.692" v="31715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5:38.692" v="31716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5:38.692" v="31717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5:38.692" v="31718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5:38.692" v="31720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5:38.692" v="31721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5:38.692" v="31723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5:38.692" v="31722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5:38.692" v="31725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5:38.692" v="31726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5:38.692" v="31724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5:38.692" v="31728"/>
          <ac:spMkLst>
            <pc:docMk/>
            <pc:sldMk cId="3795966898" sldId="267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58FA468-8508-4D9D-B61C-DD2554E44EF7}" dt="2024-03-07T16:30:27.491" v="20265"/>
          <ac:spMkLst>
            <pc:docMk/>
            <pc:sldMk cId="3795966898" sldId="267"/>
            <ac:spMk id="31" creationId="{705569CE-7EF1-A667-4C6B-84749BFF26FD}"/>
          </ac:spMkLst>
        </pc:spChg>
        <pc:spChg chg="mod">
          <ac:chgData name="Joelle Brehm" userId="a518f54c-6985-42c0-8041-2bb16a414839" providerId="ADAL" clId="{E58FA468-8508-4D9D-B61C-DD2554E44EF7}" dt="2024-03-07T16:45:38.702" v="31735"/>
          <ac:spMkLst>
            <pc:docMk/>
            <pc:sldMk cId="3795966898" sldId="267"/>
            <ac:spMk id="32" creationId="{D88A5B48-AEEB-61CD-49C8-685CA2FA5FCC}"/>
          </ac:spMkLst>
        </pc:spChg>
        <pc:spChg chg="add mod replST">
          <ac:chgData name="Joelle Brehm" userId="a518f54c-6985-42c0-8041-2bb16a414839" providerId="ADAL" clId="{E58FA468-8508-4D9D-B61C-DD2554E44EF7}" dt="2024-03-07T16:45:38.702" v="31742"/>
          <ac:spMkLst>
            <pc:docMk/>
            <pc:sldMk cId="3795966898" sldId="267"/>
            <ac:spMk id="35" creationId="{DD4816DC-5869-08C3-CF58-585CD7C59822}"/>
          </ac:spMkLst>
        </pc:spChg>
        <pc:spChg chg="del mod">
          <ac:chgData name="Joelle Brehm" userId="a518f54c-6985-42c0-8041-2bb16a414839" providerId="ADAL" clId="{E58FA468-8508-4D9D-B61C-DD2554E44EF7}" dt="2024-03-07T16:30:37.283" v="20821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E58FA468-8508-4D9D-B61C-DD2554E44EF7}" dt="2024-03-07T16:45:38.702" v="31738"/>
          <ac:spMkLst>
            <pc:docMk/>
            <pc:sldMk cId="3795966898" sldId="267"/>
            <ac:spMk id="37" creationId="{0A296482-73A5-3697-F8D4-5A660F4A5947}"/>
          </ac:spMkLst>
        </pc:spChg>
        <pc:spChg chg="mod">
          <ac:chgData name="Joelle Brehm" userId="a518f54c-6985-42c0-8041-2bb16a414839" providerId="ADAL" clId="{E58FA468-8508-4D9D-B61C-DD2554E44EF7}" dt="2024-03-07T16:45:38.692" v="31731"/>
          <ac:spMkLst>
            <pc:docMk/>
            <pc:sldMk cId="3795966898" sldId="267"/>
            <ac:spMk id="38" creationId="{7C95A005-5EF0-2DC0-E7B2-E097E65FBD41}"/>
          </ac:spMkLst>
        </pc:spChg>
        <pc:spChg chg="add del mod modVis">
          <ac:chgData name="Joelle Brehm" userId="a518f54c-6985-42c0-8041-2bb16a414839" providerId="ADAL" clId="{E58FA468-8508-4D9D-B61C-DD2554E44EF7}" dt="2024-03-07T16:30:33.698" v="20644"/>
          <ac:spMkLst>
            <pc:docMk/>
            <pc:sldMk cId="3795966898" sldId="267"/>
            <ac:spMk id="39" creationId="{F9F42975-62EF-C2FC-2D8F-FA25EBFCC65D}"/>
          </ac:spMkLst>
        </pc:spChg>
        <pc:spChg chg="mod">
          <ac:chgData name="Joelle Brehm" userId="a518f54c-6985-42c0-8041-2bb16a414839" providerId="ADAL" clId="{E58FA468-8508-4D9D-B61C-DD2554E44EF7}" dt="2024-03-07T16:45:38.692" v="31733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E58FA468-8508-4D9D-B61C-DD2554E44EF7}" dt="2024-03-07T16:45:38.702" v="31741"/>
          <ac:spMkLst>
            <pc:docMk/>
            <pc:sldMk cId="3795966898" sldId="267"/>
            <ac:spMk id="41" creationId="{1544008B-7BC7-360D-B647-986A196ADF59}"/>
          </ac:spMkLst>
        </pc:spChg>
        <pc:spChg chg="mod">
          <ac:chgData name="Joelle Brehm" userId="a518f54c-6985-42c0-8041-2bb16a414839" providerId="ADAL" clId="{E58FA468-8508-4D9D-B61C-DD2554E44EF7}" dt="2024-03-07T16:45:38.692" v="31732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E58FA468-8508-4D9D-B61C-DD2554E44EF7}" dt="2024-03-07T16:45:38.702" v="31736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E58FA468-8508-4D9D-B61C-DD2554E44EF7}" dt="2024-03-07T16:45:38.702" v="31734"/>
          <ac:spMkLst>
            <pc:docMk/>
            <pc:sldMk cId="3795966898" sldId="267"/>
            <ac:spMk id="44" creationId="{40B65240-400F-5791-7F3E-FCB0C3838579}"/>
          </ac:spMkLst>
        </pc:spChg>
        <pc:spChg chg="mod">
          <ac:chgData name="Joelle Brehm" userId="a518f54c-6985-42c0-8041-2bb16a414839" providerId="ADAL" clId="{E58FA468-8508-4D9D-B61C-DD2554E44EF7}" dt="2024-03-07T16:45:38.702" v="31739"/>
          <ac:spMkLst>
            <pc:docMk/>
            <pc:sldMk cId="3795966898" sldId="267"/>
            <ac:spMk id="45" creationId="{5ACDDB66-5F72-9CF8-8B82-2B020F8894AD}"/>
          </ac:spMkLst>
        </pc:spChg>
        <pc:spChg chg="mod">
          <ac:chgData name="Joelle Brehm" userId="a518f54c-6985-42c0-8041-2bb16a414839" providerId="ADAL" clId="{E58FA468-8508-4D9D-B61C-DD2554E44EF7}" dt="2024-03-07T16:45:38.702" v="31737"/>
          <ac:spMkLst>
            <pc:docMk/>
            <pc:sldMk cId="3795966898" sldId="267"/>
            <ac:spMk id="46" creationId="{2B2E11F0-202F-7C08-CDCD-D9021CA2670F}"/>
          </ac:spMkLst>
        </pc:spChg>
        <pc:spChg chg="mod">
          <ac:chgData name="Joelle Brehm" userId="a518f54c-6985-42c0-8041-2bb16a414839" providerId="ADAL" clId="{E58FA468-8508-4D9D-B61C-DD2554E44EF7}" dt="2024-03-07T16:45:38.702" v="31740"/>
          <ac:spMkLst>
            <pc:docMk/>
            <pc:sldMk cId="3795966898" sldId="267"/>
            <ac:spMk id="47" creationId="{3DBF8D64-4F6D-0CD0-9A0D-73552A46C028}"/>
          </ac:spMkLst>
        </pc:spChg>
        <pc:spChg chg="mod">
          <ac:chgData name="Joelle Brehm" userId="a518f54c-6985-42c0-8041-2bb16a414839" providerId="ADAL" clId="{E58FA468-8508-4D9D-B61C-DD2554E44EF7}" dt="2024-03-07T16:45:38.702" v="31759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E58FA468-8508-4D9D-B61C-DD2554E44EF7}" dt="2024-03-07T16:30:35.424" v="20818"/>
          <ac:spMkLst>
            <pc:docMk/>
            <pc:sldMk cId="3795966898" sldId="267"/>
            <ac:spMk id="50" creationId="{0FC3D06E-4478-81BF-F871-E0A5CE1B71D3}"/>
          </ac:spMkLst>
        </pc:spChg>
        <pc:spChg chg="add del mod modVis">
          <ac:chgData name="Joelle Brehm" userId="a518f54c-6985-42c0-8041-2bb16a414839" providerId="ADAL" clId="{E58FA468-8508-4D9D-B61C-DD2554E44EF7}" dt="2024-03-07T16:30:37.640" v="21000"/>
          <ac:spMkLst>
            <pc:docMk/>
            <pc:sldMk cId="3795966898" sldId="267"/>
            <ac:spMk id="52" creationId="{FDAA89DB-0587-7464-97E6-8390BA601AF4}"/>
          </ac:spMkLst>
        </pc:spChg>
        <pc:spChg chg="mod ord">
          <ac:chgData name="Joelle Brehm" userId="a518f54c-6985-42c0-8041-2bb16a414839" providerId="ADAL" clId="{E58FA468-8508-4D9D-B61C-DD2554E44EF7}" dt="2024-03-07T16:45:38.702" v="31744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5:38.702" v="31746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6:45:38.702" v="31748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5:38.702" v="31765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E58FA468-8508-4D9D-B61C-DD2554E44EF7}" dt="2024-03-07T16:45:38.702" v="31750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5:38.702" v="31752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5:38.702" v="31754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5:38.702" v="31757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5:38.702" v="31758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5:38.702" v="31760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45:38.702" v="31761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5:38.736" v="31773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6:30:16.912" v="19991"/>
          <ac:graphicFrameMkLst>
            <pc:docMk/>
            <pc:sldMk cId="3795966898" sldId="267"/>
            <ac:graphicFrameMk id="8" creationId="{63E421C7-E722-B9BD-1D36-95EFD8055755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5:38.692" v="31706"/>
          <ac:graphicFrameMkLst>
            <pc:docMk/>
            <pc:sldMk cId="3795966898" sldId="267"/>
            <ac:graphicFrameMk id="9" creationId="{F8345189-DC0B-BDA2-9B0D-DCB7A6752E54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5:38.702" v="31756"/>
          <ac:graphicFrameMkLst>
            <pc:docMk/>
            <pc:sldMk cId="3795966898" sldId="267"/>
            <ac:graphicFrameMk id="33" creationId="{3355EF6E-E8FF-780C-5D84-6A9AD5091CE7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0:27.329" v="20186"/>
          <ac:graphicFrameMkLst>
            <pc:docMk/>
            <pc:sldMk cId="3795966898" sldId="267"/>
            <ac:graphicFrameMk id="34" creationId="{6630D7C4-A086-D284-9BD9-D1D35B04B24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0:35.308" v="20727"/>
          <ac:graphicFrameMkLst>
            <pc:docMk/>
            <pc:sldMk cId="3795966898" sldId="267"/>
            <ac:graphicFrameMk id="49" creationId="{861FB5F4-0884-A5EC-029A-5D9B2EB4C3D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0:37.518" v="20921"/>
          <ac:graphicFrameMkLst>
            <pc:docMk/>
            <pc:sldMk cId="3795966898" sldId="267"/>
            <ac:graphicFrameMk id="51" creationId="{3FBC78E1-AA61-7BFA-2438-C851209818B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5:38.692" v="31730"/>
          <ac:graphicFrameMkLst>
            <pc:docMk/>
            <pc:sldMk cId="3795966898" sldId="267"/>
            <ac:graphicFrameMk id="53" creationId="{605C09F3-15D1-D4C3-83EA-B70D88AEB76F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0:33.589" v="20558"/>
          <ac:graphicFrameMkLst>
            <pc:docMk/>
            <pc:sldMk cId="3795966898" sldId="267"/>
            <ac:graphicFrameMk id="55" creationId="{86D0F64B-E94C-5567-F902-56E4F0F87260}"/>
          </ac:graphicFrameMkLst>
        </pc:graphicFrameChg>
        <pc:picChg chg="add mod ord">
          <ac:chgData name="Joelle Brehm" userId="a518f54c-6985-42c0-8041-2bb16a414839" providerId="ADAL" clId="{E58FA468-8508-4D9D-B61C-DD2554E44EF7}" dt="2024-03-07T16:45:38.676" v="31698"/>
          <ac:picMkLst>
            <pc:docMk/>
            <pc:sldMk cId="3795966898" sldId="267"/>
            <ac:picMk id="3" creationId="{5D130419-4B36-8646-4908-4EE57A0FCFAE}"/>
          </ac:picMkLst>
        </pc:picChg>
        <pc:picChg chg="del mod ord">
          <ac:chgData name="Joelle Brehm" userId="a518f54c-6985-42c0-8041-2bb16a414839" providerId="ADAL" clId="{E58FA468-8508-4D9D-B61C-DD2554E44EF7}" dt="2024-03-07T16:30:58.983" v="21092" actId="478"/>
          <ac:picMkLst>
            <pc:docMk/>
            <pc:sldMk cId="3795966898" sldId="267"/>
            <ac:picMk id="10" creationId="{A7312F16-8AB0-A92D-0D72-ADF2A72C063A}"/>
          </ac:picMkLst>
        </pc:picChg>
        <pc:picChg chg="add del mod ord">
          <ac:chgData name="Joelle Brehm" userId="a518f54c-6985-42c0-8041-2bb16a414839" providerId="ADAL" clId="{E58FA468-8508-4D9D-B61C-DD2554E44EF7}" dt="2024-03-07T16:45:40.084" v="31774" actId="478"/>
          <ac:picMkLst>
            <pc:docMk/>
            <pc:sldMk cId="3795966898" sldId="267"/>
            <ac:picMk id="54" creationId="{C4C48296-A490-F740-DE41-5656A204F7BF}"/>
          </ac:picMkLst>
        </pc:picChg>
        <pc:picChg chg="mod ord">
          <ac:chgData name="Joelle Brehm" userId="a518f54c-6985-42c0-8041-2bb16a414839" providerId="ADAL" clId="{E58FA468-8508-4D9D-B61C-DD2554E44EF7}" dt="2024-03-07T16:45:38.702" v="31763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5:38.692" v="31704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6:01.597" v="31881" actId="478"/>
        <pc:sldMkLst>
          <pc:docMk/>
          <pc:sldMk cId="622078465" sldId="269"/>
        </pc:sldMkLst>
        <pc:spChg chg="add del mod">
          <ac:chgData name="Joelle Brehm" userId="a518f54c-6985-42c0-8041-2bb16a414839" providerId="ADAL" clId="{E58FA468-8508-4D9D-B61C-DD2554E44EF7}" dt="2024-03-07T16:31:14.433" v="21093" actId="478"/>
          <ac:spMkLst>
            <pc:docMk/>
            <pc:sldMk cId="622078465" sldId="269"/>
            <ac:spMk id="2" creationId="{6F09D6C4-D13D-D3F3-F155-C7305E918BFB}"/>
          </ac:spMkLst>
        </pc:spChg>
        <pc:spChg chg="mod ord">
          <ac:chgData name="Joelle Brehm" userId="a518f54c-6985-42c0-8041-2bb16a414839" providerId="ADAL" clId="{E58FA468-8508-4D9D-B61C-DD2554E44EF7}" dt="2024-03-07T16:46:00.180" v="31874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E58FA468-8508-4D9D-B61C-DD2554E44EF7}" dt="2024-03-07T16:46:00.180" v="31878"/>
          <ac:spMkLst>
            <pc:docMk/>
            <pc:sldMk cId="622078465" sldId="269"/>
            <ac:spMk id="5" creationId="{54581557-0B95-BFB0-B8C2-E4E8322D113B}"/>
          </ac:spMkLst>
        </pc:spChg>
        <pc:spChg chg="add del mod modVis">
          <ac:chgData name="Joelle Brehm" userId="a518f54c-6985-42c0-8041-2bb16a414839" providerId="ADAL" clId="{E58FA468-8508-4D9D-B61C-DD2554E44EF7}" dt="2024-03-07T16:31:20.133" v="21310"/>
          <ac:spMkLst>
            <pc:docMk/>
            <pc:sldMk cId="622078465" sldId="269"/>
            <ac:spMk id="5" creationId="{B0C93B14-B60A-719B-9839-5BDD95A53D1B}"/>
          </ac:spMkLst>
        </pc:spChg>
        <pc:spChg chg="mod ord">
          <ac:chgData name="Joelle Brehm" userId="a518f54c-6985-42c0-8041-2bb16a414839" providerId="ADAL" clId="{E58FA468-8508-4D9D-B61C-DD2554E44EF7}" dt="2024-03-07T16:46:00.149" v="31809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46:00.164" v="31841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E58FA468-8508-4D9D-B61C-DD2554E44EF7}" dt="2024-03-07T16:46:00.164" v="31820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6:00.164" v="31816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6:00.164" v="31817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6:00.164" v="31814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6:00.164" v="31815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6:00.164" v="31818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6:00.164" v="31819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6:00.164" v="31821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6:00.164" v="31822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6:00.164" v="31823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6:00.164" v="31824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6:00.164" v="31825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6:00.164" v="31827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6:00.164" v="31828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6:00.164" v="31830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6:00.164" v="31829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6:00.164" v="31832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6:00.164" v="31833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6:00.164" v="31831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6:00.164" v="31835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46:00.164" v="31839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E58FA468-8508-4D9D-B61C-DD2554E44EF7}" dt="2024-03-07T16:46:00.164" v="31840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E58FA468-8508-4D9D-B61C-DD2554E44EF7}" dt="2024-03-07T16:46:00.164" v="31838"/>
          <ac:spMkLst>
            <pc:docMk/>
            <pc:sldMk cId="622078465" sldId="269"/>
            <ac:spMk id="34" creationId="{361A309D-582A-9EF2-AAA6-D0365E1E80AF}"/>
          </ac:spMkLst>
        </pc:spChg>
        <pc:spChg chg="add mod replST">
          <ac:chgData name="Joelle Brehm" userId="a518f54c-6985-42c0-8041-2bb16a414839" providerId="ADAL" clId="{E58FA468-8508-4D9D-B61C-DD2554E44EF7}" dt="2024-03-07T16:46:00.164" v="31849"/>
          <ac:spMkLst>
            <pc:docMk/>
            <pc:sldMk cId="622078465" sldId="269"/>
            <ac:spMk id="35" creationId="{54F7F950-39C9-051A-4566-D6003E30B6F3}"/>
          </ac:spMkLst>
        </pc:spChg>
        <pc:spChg chg="mod">
          <ac:chgData name="Joelle Brehm" userId="a518f54c-6985-42c0-8041-2bb16a414839" providerId="ADAL" clId="{E58FA468-8508-4D9D-B61C-DD2554E44EF7}" dt="2024-03-07T16:46:00.164" v="31845"/>
          <ac:spMkLst>
            <pc:docMk/>
            <pc:sldMk cId="622078465" sldId="269"/>
            <ac:spMk id="36" creationId="{68733CF5-8A2C-4045-0CB9-423CA4B0F6E1}"/>
          </ac:spMkLst>
        </pc:spChg>
        <pc:spChg chg="mod">
          <ac:chgData name="Joelle Brehm" userId="a518f54c-6985-42c0-8041-2bb16a414839" providerId="ADAL" clId="{E58FA468-8508-4D9D-B61C-DD2554E44EF7}" dt="2024-03-07T16:46:00.164" v="31842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E58FA468-8508-4D9D-B61C-DD2554E44EF7}" dt="2024-03-07T16:46:00.164" v="31843"/>
          <ac:spMkLst>
            <pc:docMk/>
            <pc:sldMk cId="622078465" sldId="269"/>
            <ac:spMk id="38" creationId="{81A34C8B-3AB7-1E3C-EABE-00492913B3D2}"/>
          </ac:spMkLst>
        </pc:spChg>
        <pc:spChg chg="add del mod modVis">
          <ac:chgData name="Joelle Brehm" userId="a518f54c-6985-42c0-8041-2bb16a414839" providerId="ADAL" clId="{E58FA468-8508-4D9D-B61C-DD2554E44EF7}" dt="2024-03-07T16:31:30.405" v="21674"/>
          <ac:spMkLst>
            <pc:docMk/>
            <pc:sldMk cId="622078465" sldId="269"/>
            <ac:spMk id="39" creationId="{482E70A2-9014-DA83-F979-ED1D69B3B315}"/>
          </ac:spMkLst>
        </pc:spChg>
        <pc:spChg chg="mod">
          <ac:chgData name="Joelle Brehm" userId="a518f54c-6985-42c0-8041-2bb16a414839" providerId="ADAL" clId="{E58FA468-8508-4D9D-B61C-DD2554E44EF7}" dt="2024-03-07T16:46:00.164" v="31844"/>
          <ac:spMkLst>
            <pc:docMk/>
            <pc:sldMk cId="622078465" sldId="269"/>
            <ac:spMk id="40" creationId="{88D90EFE-E362-B516-8CB5-42E8A0F19B96}"/>
          </ac:spMkLst>
        </pc:spChg>
        <pc:spChg chg="mod">
          <ac:chgData name="Joelle Brehm" userId="a518f54c-6985-42c0-8041-2bb16a414839" providerId="ADAL" clId="{E58FA468-8508-4D9D-B61C-DD2554E44EF7}" dt="2024-03-07T16:46:00.164" v="31846"/>
          <ac:spMkLst>
            <pc:docMk/>
            <pc:sldMk cId="622078465" sldId="269"/>
            <ac:spMk id="42" creationId="{D1BED0AC-AAFB-7B18-5C9F-F7242C07E3F7}"/>
          </ac:spMkLst>
        </pc:spChg>
        <pc:spChg chg="mod">
          <ac:chgData name="Joelle Brehm" userId="a518f54c-6985-42c0-8041-2bb16a414839" providerId="ADAL" clId="{E58FA468-8508-4D9D-B61C-DD2554E44EF7}" dt="2024-03-07T16:46:00.164" v="31847"/>
          <ac:spMkLst>
            <pc:docMk/>
            <pc:sldMk cId="622078465" sldId="269"/>
            <ac:spMk id="44" creationId="{7CF7601D-52B5-FA09-CF16-65EB783A2223}"/>
          </ac:spMkLst>
        </pc:spChg>
        <pc:spChg chg="mod">
          <ac:chgData name="Joelle Brehm" userId="a518f54c-6985-42c0-8041-2bb16a414839" providerId="ADAL" clId="{E58FA468-8508-4D9D-B61C-DD2554E44EF7}" dt="2024-03-07T16:46:00.164" v="31848"/>
          <ac:spMkLst>
            <pc:docMk/>
            <pc:sldMk cId="622078465" sldId="269"/>
            <ac:spMk id="45" creationId="{EB662A17-D4B7-1A35-9E98-701F790A1C6F}"/>
          </ac:spMkLst>
        </pc:spChg>
        <pc:spChg chg="add del mod modVis">
          <ac:chgData name="Joelle Brehm" userId="a518f54c-6985-42c0-8041-2bb16a414839" providerId="ADAL" clId="{E58FA468-8508-4D9D-B61C-DD2554E44EF7}" dt="2024-03-07T16:31:32.288" v="21936"/>
          <ac:spMkLst>
            <pc:docMk/>
            <pc:sldMk cId="622078465" sldId="269"/>
            <ac:spMk id="46" creationId="{EC9264BB-D778-9946-5D95-C32EA7328310}"/>
          </ac:spMkLst>
        </pc:spChg>
        <pc:spChg chg="add del mod ord replST">
          <ac:chgData name="Joelle Brehm" userId="a518f54c-6985-42c0-8041-2bb16a414839" providerId="ADAL" clId="{E58FA468-8508-4D9D-B61C-DD2554E44EF7}" dt="2024-03-07T16:33:49.420" v="22353"/>
          <ac:spMkLst>
            <pc:docMk/>
            <pc:sldMk cId="622078465" sldId="269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31:36.429" v="22157"/>
          <ac:spMkLst>
            <pc:docMk/>
            <pc:sldMk cId="622078465" sldId="269"/>
            <ac:spMk id="49" creationId="{A866FDA6-D8EB-3EF6-1C6F-5667B7D82D65}"/>
          </ac:spMkLst>
        </pc:spChg>
        <pc:spChg chg="mod">
          <ac:chgData name="Joelle Brehm" userId="a518f54c-6985-42c0-8041-2bb16a414839" providerId="ADAL" clId="{E58FA468-8508-4D9D-B61C-DD2554E44EF7}" dt="2024-03-07T16:46:00.180" v="31868"/>
          <ac:spMkLst>
            <pc:docMk/>
            <pc:sldMk cId="622078465" sldId="269"/>
            <ac:spMk id="50" creationId="{69BAD6A3-FF64-4C04-1D02-164463F908A1}"/>
          </ac:spMkLst>
        </pc:spChg>
        <pc:spChg chg="add del mod ord replST">
          <ac:chgData name="Joelle Brehm" userId="a518f54c-6985-42c0-8041-2bb16a414839" providerId="ADAL" clId="{E58FA468-8508-4D9D-B61C-DD2554E44EF7}" dt="2024-03-07T16:33:47.002" v="22214"/>
          <ac:spMkLst>
            <pc:docMk/>
            <pc:sldMk cId="622078465" sldId="269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33:47.054" v="22297"/>
          <ac:spMkLst>
            <pc:docMk/>
            <pc:sldMk cId="622078465" sldId="269"/>
            <ac:spMk id="54" creationId="{364552B2-252D-61E6-B231-DCD816D552C6}"/>
          </ac:spMkLst>
        </pc:spChg>
        <pc:spChg chg="add del mod modVis">
          <ac:chgData name="Joelle Brehm" userId="a518f54c-6985-42c0-8041-2bb16a414839" providerId="ADAL" clId="{E58FA468-8508-4D9D-B61C-DD2554E44EF7}" dt="2024-03-07T16:33:49.456" v="22434"/>
          <ac:spMkLst>
            <pc:docMk/>
            <pc:sldMk cId="622078465" sldId="269"/>
            <ac:spMk id="56" creationId="{B1607835-013D-6B30-1DCA-1045D7AD53E8}"/>
          </ac:spMkLst>
        </pc:spChg>
        <pc:spChg chg="mod ord">
          <ac:chgData name="Joelle Brehm" userId="a518f54c-6985-42c0-8041-2bb16a414839" providerId="ADAL" clId="{E58FA468-8508-4D9D-B61C-DD2554E44EF7}" dt="2024-03-07T16:46:00.180" v="31872"/>
          <ac:spMkLst>
            <pc:docMk/>
            <pc:sldMk cId="622078465" sldId="269"/>
            <ac:spMk id="58" creationId="{DE30E202-4F7F-4F3B-9EFE-7D4BC4CEE791}"/>
          </ac:spMkLst>
        </pc:spChg>
        <pc:spChg chg="add del mod modVis">
          <ac:chgData name="Joelle Brehm" userId="a518f54c-6985-42c0-8041-2bb16a414839" providerId="ADAL" clId="{E58FA468-8508-4D9D-B61C-DD2554E44EF7}" dt="2024-03-07T16:34:03.715" v="22641"/>
          <ac:spMkLst>
            <pc:docMk/>
            <pc:sldMk cId="622078465" sldId="269"/>
            <ac:spMk id="59" creationId="{BE0ED667-6D40-B345-7722-849806AE5BFF}"/>
          </ac:spMkLst>
        </pc:spChg>
        <pc:spChg chg="mod ord">
          <ac:chgData name="Joelle Brehm" userId="a518f54c-6985-42c0-8041-2bb16a414839" providerId="ADAL" clId="{E58FA468-8508-4D9D-B61C-DD2554E44EF7}" dt="2024-03-07T16:46:00.164" v="31851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6:00.164" v="31853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E58FA468-8508-4D9D-B61C-DD2554E44EF7}" dt="2024-03-07T16:31:31.911" v="21677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46:00.164" v="31855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6:00.164" v="31857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6:00.164" v="31859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6:00.180" v="31861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6:00.180" v="31864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6:00.180" v="31865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6:00.180" v="31866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46:00.180" v="31867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6:00.197" v="31880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4:03.652" v="22558"/>
          <ac:graphicFrameMkLst>
            <pc:docMk/>
            <pc:sldMk cId="622078465" sldId="269"/>
            <ac:graphicFrameMk id="8" creationId="{5B152BFA-598E-904A-5182-BD067DC98D9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00.180" v="31863"/>
          <ac:graphicFrameMkLst>
            <pc:docMk/>
            <pc:sldMk cId="622078465" sldId="269"/>
            <ac:graphicFrameMk id="9" creationId="{5B4755A9-E1F3-5A89-E6EC-5DC1BE4C2ABF}"/>
          </ac:graphicFrameMkLst>
        </pc:graphicFrameChg>
        <pc:graphicFrameChg chg="del">
          <ac:chgData name="Joelle Brehm" userId="a518f54c-6985-42c0-8041-2bb16a414839" providerId="ADAL" clId="{E58FA468-8508-4D9D-B61C-DD2554E44EF7}" dt="2024-03-07T16:31:20.024" v="21231"/>
          <ac:graphicFrameMkLst>
            <pc:docMk/>
            <pc:sldMk cId="622078465" sldId="269"/>
            <ac:graphicFrameMk id="41" creationId="{33C0C26B-D21C-DDB6-8DE1-F6680179AA2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1:32.170" v="21842"/>
          <ac:graphicFrameMkLst>
            <pc:docMk/>
            <pc:sldMk cId="622078465" sldId="269"/>
            <ac:graphicFrameMk id="43" creationId="{A4FBACAA-0DE5-CB97-BC76-E88B9710D31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1:36.311" v="22061"/>
          <ac:graphicFrameMkLst>
            <pc:docMk/>
            <pc:sldMk cId="622078465" sldId="269"/>
            <ac:graphicFrameMk id="48" creationId="{D477CF94-8EA2-2FA8-D1A9-E57B0BF70E5B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1:30.315" v="21586"/>
          <ac:graphicFrameMkLst>
            <pc:docMk/>
            <pc:sldMk cId="622078465" sldId="269"/>
            <ac:graphicFrameMk id="52" creationId="{81BA2663-D1B9-4419-DBB9-C35D1E3B1BA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3:47.002" v="22216"/>
          <ac:graphicFrameMkLst>
            <pc:docMk/>
            <pc:sldMk cId="622078465" sldId="269"/>
            <ac:graphicFrameMk id="53" creationId="{C57FA451-95D2-58E9-631C-0CF9578AE98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3:49.420" v="22355"/>
          <ac:graphicFrameMkLst>
            <pc:docMk/>
            <pc:sldMk cId="622078465" sldId="269"/>
            <ac:graphicFrameMk id="55" creationId="{77213386-8899-A592-4FD0-DBFEDA44A4BA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00.164" v="31837"/>
          <ac:graphicFrameMkLst>
            <pc:docMk/>
            <pc:sldMk cId="622078465" sldId="269"/>
            <ac:graphicFrameMk id="57" creationId="{CD6AB8CE-0E82-AB1D-0E41-20A2FB098E35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00.164" v="31813"/>
          <ac:graphicFrameMkLst>
            <pc:docMk/>
            <pc:sldMk cId="622078465" sldId="269"/>
            <ac:graphicFrameMk id="60" creationId="{F60AFDB3-446D-3C0A-079D-5B8D9C866054}"/>
          </ac:graphicFrameMkLst>
        </pc:graphicFrameChg>
        <pc:picChg chg="add mod ord">
          <ac:chgData name="Joelle Brehm" userId="a518f54c-6985-42c0-8041-2bb16a414839" providerId="ADAL" clId="{E58FA468-8508-4D9D-B61C-DD2554E44EF7}" dt="2024-03-07T16:46:00.149" v="31805"/>
          <ac:picMkLst>
            <pc:docMk/>
            <pc:sldMk cId="622078465" sldId="269"/>
            <ac:picMk id="2" creationId="{D15BC4B8-D2CD-9C4E-29F5-888E3D3580A2}"/>
          </ac:picMkLst>
        </pc:picChg>
        <pc:picChg chg="del mod ord">
          <ac:chgData name="Joelle Brehm" userId="a518f54c-6985-42c0-8041-2bb16a414839" providerId="ADAL" clId="{E58FA468-8508-4D9D-B61C-DD2554E44EF7}" dt="2024-03-07T16:35:11.609" v="22730" actId="478"/>
          <ac:picMkLst>
            <pc:docMk/>
            <pc:sldMk cId="622078465" sldId="269"/>
            <ac:picMk id="31" creationId="{C03F784F-E748-32F2-0326-FBFAAF53604C}"/>
          </ac:picMkLst>
        </pc:picChg>
        <pc:picChg chg="add del mod ord">
          <ac:chgData name="Joelle Brehm" userId="a518f54c-6985-42c0-8041-2bb16a414839" providerId="ADAL" clId="{E58FA468-8508-4D9D-B61C-DD2554E44EF7}" dt="2024-03-07T16:46:01.597" v="31881" actId="478"/>
          <ac:picMkLst>
            <pc:docMk/>
            <pc:sldMk cId="622078465" sldId="269"/>
            <ac:picMk id="61" creationId="{61C2D360-9FA9-2923-6D4F-8240ADAE3E42}"/>
          </ac:picMkLst>
        </pc:picChg>
        <pc:picChg chg="mod ord">
          <ac:chgData name="Joelle Brehm" userId="a518f54c-6985-42c0-8041-2bb16a414839" providerId="ADAL" clId="{E58FA468-8508-4D9D-B61C-DD2554E44EF7}" dt="2024-03-07T16:46:00.180" v="31870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6:00.164" v="31811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58:45.637" v="44233"/>
        <pc:sldMkLst>
          <pc:docMk/>
          <pc:sldMk cId="1002023985" sldId="270"/>
        </pc:sldMkLst>
        <pc:spChg chg="mod ord">
          <ac:chgData name="Joelle Brehm" userId="a518f54c-6985-42c0-8041-2bb16a414839" providerId="ADAL" clId="{E58FA468-8508-4D9D-B61C-DD2554E44EF7}" dt="2024-03-07T16:58:45.599" v="44227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E58FA468-8508-4D9D-B61C-DD2554E44EF7}" dt="2024-03-07T16:57:42.929" v="42867" actId="478"/>
          <ac:spMkLst>
            <pc:docMk/>
            <pc:sldMk cId="1002023985" sldId="270"/>
            <ac:spMk id="3" creationId="{FE916725-3974-31BD-F7EF-1A06F904F7A4}"/>
          </ac:spMkLst>
        </pc:spChg>
        <pc:spChg chg="add del mod modVis">
          <ac:chgData name="Joelle Brehm" userId="a518f54c-6985-42c0-8041-2bb16a414839" providerId="ADAL" clId="{E58FA468-8508-4D9D-B61C-DD2554E44EF7}" dt="2024-03-07T16:57:49.872" v="43098"/>
          <ac:spMkLst>
            <pc:docMk/>
            <pc:sldMk cId="1002023985" sldId="270"/>
            <ac:spMk id="5" creationId="{7AA619B2-DF07-138F-718F-01CC79780862}"/>
          </ac:spMkLst>
        </pc:spChg>
        <pc:spChg chg="mod ord">
          <ac:chgData name="Joelle Brehm" userId="a518f54c-6985-42c0-8041-2bb16a414839" providerId="ADAL" clId="{E58FA468-8508-4D9D-B61C-DD2554E44EF7}" dt="2024-03-07T16:58:45.548" v="44138"/>
          <ac:spMkLst>
            <pc:docMk/>
            <pc:sldMk cId="1002023985" sldId="270"/>
            <ac:spMk id="6" creationId="{B47CE71D-7819-4857-B121-737A3BD39B4D}"/>
          </ac:spMkLst>
        </pc:spChg>
        <pc:spChg chg="del mod">
          <ac:chgData name="Joelle Brehm" userId="a518f54c-6985-42c0-8041-2bb16a414839" providerId="ADAL" clId="{E58FA468-8508-4D9D-B61C-DD2554E44EF7}" dt="2024-03-07T16:58:35.874" v="43816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E58FA468-8508-4D9D-B61C-DD2554E44EF7}" dt="2024-03-07T16:58:45.554" v="44149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58:45.552" v="44145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58:45.552" v="44146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58:45.549" v="44143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58:45.549" v="44144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58:45.553" v="44147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58:45.554" v="44148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58:45.554" v="44150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58:45.554" v="44151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58:45.554" v="44152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58:45.554" v="44153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58:45.554" v="44154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58:45.554" v="44156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58:45.554" v="44159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58:45.563" v="44161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58:45.563" v="44160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58:45.564" v="44164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58:45.564" v="44165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58:45.564" v="44163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58:45.564" v="44167"/>
          <ac:spMkLst>
            <pc:docMk/>
            <pc:sldMk cId="1002023985" sldId="270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E58FA468-8508-4D9D-B61C-DD2554E44EF7}" dt="2024-03-07T16:58:45.584" v="44200"/>
          <ac:spMkLst>
            <pc:docMk/>
            <pc:sldMk cId="1002023985" sldId="270"/>
            <ac:spMk id="31" creationId="{6BA9EDD4-290C-F877-1100-52D636DA2E72}"/>
          </ac:spMkLst>
        </pc:spChg>
        <pc:spChg chg="mod">
          <ac:chgData name="Joelle Brehm" userId="a518f54c-6985-42c0-8041-2bb16a414839" providerId="ADAL" clId="{E58FA468-8508-4D9D-B61C-DD2554E44EF7}" dt="2024-03-07T16:58:45.580" v="44193"/>
          <ac:spMkLst>
            <pc:docMk/>
            <pc:sldMk cId="1002023985" sldId="270"/>
            <ac:spMk id="32" creationId="{08AA1604-C221-6E9B-740F-41449B8DB0E9}"/>
          </ac:spMkLst>
        </pc:spChg>
        <pc:spChg chg="del mod">
          <ac:chgData name="Joelle Brehm" userId="a518f54c-6985-42c0-8041-2bb16a414839" providerId="ADAL" clId="{E58FA468-8508-4D9D-B61C-DD2554E44EF7}" dt="2024-03-07T16:58:35.874" v="43815"/>
          <ac:spMkLst>
            <pc:docMk/>
            <pc:sldMk cId="1002023985" sldId="270"/>
            <ac:spMk id="33" creationId="{F76D64DC-4154-E4CF-EF48-9A68CB6317E4}"/>
          </ac:spMkLst>
        </pc:spChg>
        <pc:spChg chg="add mod replST">
          <ac:chgData name="Joelle Brehm" userId="a518f54c-6985-42c0-8041-2bb16a414839" providerId="ADAL" clId="{E58FA468-8508-4D9D-B61C-DD2554E44EF7}" dt="2024-03-07T16:58:45.585" v="44201"/>
          <ac:spMkLst>
            <pc:docMk/>
            <pc:sldMk cId="1002023985" sldId="270"/>
            <ac:spMk id="35" creationId="{07B07046-5F63-C964-71CA-C1091F9220BF}"/>
          </ac:spMkLst>
        </pc:spChg>
        <pc:spChg chg="mod ord">
          <ac:chgData name="Joelle Brehm" userId="a518f54c-6985-42c0-8041-2bb16a414839" providerId="ADAL" clId="{E58FA468-8508-4D9D-B61C-DD2554E44EF7}" dt="2024-03-07T16:58:45.554" v="44158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E58FA468-8508-4D9D-B61C-DD2554E44EF7}" dt="2024-03-07T16:58:45.584" v="44199"/>
          <ac:spMkLst>
            <pc:docMk/>
            <pc:sldMk cId="1002023985" sldId="270"/>
            <ac:spMk id="38" creationId="{BB0D67DD-2C63-A046-707C-1F332B15DC1E}"/>
          </ac:spMkLst>
        </pc:spChg>
        <pc:spChg chg="mod">
          <ac:chgData name="Joelle Brehm" userId="a518f54c-6985-42c0-8041-2bb16a414839" providerId="ADAL" clId="{E58FA468-8508-4D9D-B61C-DD2554E44EF7}" dt="2024-03-07T16:58:45.583" v="44198"/>
          <ac:spMkLst>
            <pc:docMk/>
            <pc:sldMk cId="1002023985" sldId="270"/>
            <ac:spMk id="39" creationId="{8E63D2DC-8A78-99F3-5681-8D0584E6C5DD}"/>
          </ac:spMkLst>
        </pc:spChg>
        <pc:spChg chg="add del mod modVis">
          <ac:chgData name="Joelle Brehm" userId="a518f54c-6985-42c0-8041-2bb16a414839" providerId="ADAL" clId="{E58FA468-8508-4D9D-B61C-DD2554E44EF7}" dt="2024-03-07T16:58:32.688" v="43603"/>
          <ac:spMkLst>
            <pc:docMk/>
            <pc:sldMk cId="1002023985" sldId="270"/>
            <ac:spMk id="40" creationId="{4C45AA8F-72D8-32BA-296F-9F323A31CE0C}"/>
          </ac:spMkLst>
        </pc:spChg>
        <pc:spChg chg="add del mod modVis">
          <ac:chgData name="Joelle Brehm" userId="a518f54c-6985-42c0-8041-2bb16a414839" providerId="ADAL" clId="{E58FA468-8508-4D9D-B61C-DD2554E44EF7}" dt="2024-03-07T16:58:33.801" v="43812"/>
          <ac:spMkLst>
            <pc:docMk/>
            <pc:sldMk cId="1002023985" sldId="270"/>
            <ac:spMk id="42" creationId="{4855CE6E-57AA-2341-8397-CC58B41849B8}"/>
          </ac:spMkLst>
        </pc:spChg>
        <pc:spChg chg="add del mod modVis">
          <ac:chgData name="Joelle Brehm" userId="a518f54c-6985-42c0-8041-2bb16a414839" providerId="ADAL" clId="{E58FA468-8508-4D9D-B61C-DD2554E44EF7}" dt="2024-03-07T16:58:36.004" v="44064"/>
          <ac:spMkLst>
            <pc:docMk/>
            <pc:sldMk cId="1002023985" sldId="270"/>
            <ac:spMk id="44" creationId="{2C2FA58B-6E8F-4ED9-5576-40E163055EB1}"/>
          </ac:spMkLst>
        </pc:spChg>
        <pc:spChg chg="mod">
          <ac:chgData name="Joelle Brehm" userId="a518f54c-6985-42c0-8041-2bb16a414839" providerId="ADAL" clId="{E58FA468-8508-4D9D-B61C-DD2554E44EF7}" dt="2024-03-07T16:58:45.564" v="44186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E58FA468-8508-4D9D-B61C-DD2554E44EF7}" dt="2024-03-07T16:58:45.564" v="44187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E58FA468-8508-4D9D-B61C-DD2554E44EF7}" dt="2024-03-07T16:58:45.564" v="44185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E58FA468-8508-4D9D-B61C-DD2554E44EF7}" dt="2024-03-07T16:58:45.586" v="44202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E58FA468-8508-4D9D-B61C-DD2554E44EF7}" dt="2024-03-07T16:58:45.564" v="44182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E58FA468-8508-4D9D-B61C-DD2554E44EF7}" dt="2024-03-07T16:58:45.564" v="44180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E58FA468-8508-4D9D-B61C-DD2554E44EF7}" dt="2024-03-07T16:58:45.564" v="44181"/>
          <ac:spMkLst>
            <pc:docMk/>
            <pc:sldMk cId="1002023985" sldId="270"/>
            <ac:spMk id="52" creationId="{CDAA8CD8-B796-5FFD-8D34-2773F7AB7F1D}"/>
          </ac:spMkLst>
        </pc:spChg>
        <pc:spChg chg="add del mod modVis">
          <ac:chgData name="Joelle Brehm" userId="a518f54c-6985-42c0-8041-2bb16a414839" providerId="ADAL" clId="{E58FA468-8508-4D9D-B61C-DD2554E44EF7}" dt="2024-03-07T16:58:45.599" v="44231"/>
          <ac:spMkLst>
            <pc:docMk/>
            <pc:sldMk cId="1002023985" sldId="270"/>
            <ac:spMk id="53" creationId="{70D4C697-05B2-B6C4-7873-5F0D665E298E}"/>
          </ac:spMkLst>
        </pc:spChg>
        <pc:spChg chg="mod">
          <ac:chgData name="Joelle Brehm" userId="a518f54c-6985-42c0-8041-2bb16a414839" providerId="ADAL" clId="{E58FA468-8508-4D9D-B61C-DD2554E44EF7}" dt="2024-03-07T16:58:45.564" v="44191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E58FA468-8508-4D9D-B61C-DD2554E44EF7}" dt="2024-03-07T16:58:45.564" v="44189"/>
          <ac:spMkLst>
            <pc:docMk/>
            <pc:sldMk cId="1002023985" sldId="270"/>
            <ac:spMk id="55" creationId="{E5519A9A-9BE6-DCEA-87DD-CC3F6748DE83}"/>
          </ac:spMkLst>
        </pc:spChg>
        <pc:spChg chg="mod ord">
          <ac:chgData name="Joelle Brehm" userId="a518f54c-6985-42c0-8041-2bb16a414839" providerId="ADAL" clId="{E58FA468-8508-4D9D-B61C-DD2554E44EF7}" dt="2024-03-07T16:58:45.564" v="44179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E58FA468-8508-4D9D-B61C-DD2554E44EF7}" dt="2024-03-07T16:58:45.564" v="44184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E58FA468-8508-4D9D-B61C-DD2554E44EF7}" dt="2024-03-07T16:58:45.564" v="44183"/>
          <ac:spMkLst>
            <pc:docMk/>
            <pc:sldMk cId="1002023985" sldId="270"/>
            <ac:spMk id="59" creationId="{15DED5C0-8834-6FCE-242E-76495D4381EE}"/>
          </ac:spMkLst>
        </pc:spChg>
        <pc:spChg chg="mod">
          <ac:chgData name="Joelle Brehm" userId="a518f54c-6985-42c0-8041-2bb16a414839" providerId="ADAL" clId="{E58FA468-8508-4D9D-B61C-DD2554E44EF7}" dt="2024-03-07T16:58:45.564" v="44188"/>
          <ac:spMkLst>
            <pc:docMk/>
            <pc:sldMk cId="1002023985" sldId="270"/>
            <ac:spMk id="60" creationId="{0C74CE89-8513-C13D-30DC-F81C311B717E}"/>
          </ac:spMkLst>
        </pc:spChg>
        <pc:spChg chg="mod">
          <ac:chgData name="Joelle Brehm" userId="a518f54c-6985-42c0-8041-2bb16a414839" providerId="ADAL" clId="{E58FA468-8508-4D9D-B61C-DD2554E44EF7}" dt="2024-03-07T16:58:45.564" v="44177"/>
          <ac:spMkLst>
            <pc:docMk/>
            <pc:sldMk cId="1002023985" sldId="270"/>
            <ac:spMk id="6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64" v="44190"/>
          <ac:spMkLst>
            <pc:docMk/>
            <pc:sldMk cId="1002023985" sldId="270"/>
            <ac:spMk id="64" creationId="{41EAF63A-0EB0-1655-3104-FBA53C392892}"/>
          </ac:spMkLst>
        </pc:spChg>
        <pc:spChg chg="mod">
          <ac:chgData name="Joelle Brehm" userId="a518f54c-6985-42c0-8041-2bb16a414839" providerId="ADAL" clId="{E58FA468-8508-4D9D-B61C-DD2554E44EF7}" dt="2024-03-07T16:58:45.564" v="44170"/>
          <ac:spMkLst>
            <pc:docMk/>
            <pc:sldMk cId="1002023985" sldId="270"/>
            <ac:spMk id="68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64" v="44171"/>
          <ac:spMkLst>
            <pc:docMk/>
            <pc:sldMk cId="1002023985" sldId="270"/>
            <ac:spMk id="69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64" v="44172"/>
          <ac:spMkLst>
            <pc:docMk/>
            <pc:sldMk cId="1002023985" sldId="270"/>
            <ac:spMk id="70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64" v="44173"/>
          <ac:spMkLst>
            <pc:docMk/>
            <pc:sldMk cId="1002023985" sldId="270"/>
            <ac:spMk id="71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64" v="44175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64" v="44176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63" v="44162"/>
          <ac:spMkLst>
            <pc:docMk/>
            <pc:sldMk cId="1002023985" sldId="270"/>
            <ac:spMk id="74" creationId="{1E5392BC-349C-45B4-8F81-52F83DA74F43}"/>
          </ac:spMkLst>
        </pc:spChg>
        <pc:spChg chg="mod ord">
          <ac:chgData name="Joelle Brehm" userId="a518f54c-6985-42c0-8041-2bb16a414839" providerId="ADAL" clId="{E58FA468-8508-4D9D-B61C-DD2554E44EF7}" dt="2024-03-07T16:58:45.587" v="44204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58:45.589" v="44206"/>
          <ac:spMkLst>
            <pc:docMk/>
            <pc:sldMk cId="1002023985" sldId="270"/>
            <ac:spMk id="79" creationId="{F1476AC4-694B-4D83-BFD8-8DCAA4BB1923}"/>
          </ac:spMkLst>
        </pc:spChg>
        <pc:spChg chg="mod">
          <ac:chgData name="Joelle Brehm" userId="a518f54c-6985-42c0-8041-2bb16a414839" providerId="ADAL" clId="{E58FA468-8508-4D9D-B61C-DD2554E44EF7}" dt="2024-03-07T16:58:45.582" v="44195"/>
          <ac:spMkLst>
            <pc:docMk/>
            <pc:sldMk cId="1002023985" sldId="270"/>
            <ac:spMk id="93" creationId="{B1BBD422-A0F8-8CC0-B23C-8A9CB3A1C6D6}"/>
          </ac:spMkLst>
        </pc:spChg>
        <pc:spChg chg="mod">
          <ac:chgData name="Joelle Brehm" userId="a518f54c-6985-42c0-8041-2bb16a414839" providerId="ADAL" clId="{E58FA468-8508-4D9D-B61C-DD2554E44EF7}" dt="2024-03-07T16:58:45.583" v="44197"/>
          <ac:spMkLst>
            <pc:docMk/>
            <pc:sldMk cId="1002023985" sldId="270"/>
            <ac:spMk id="94" creationId="{51EBDFDB-5209-9250-277A-278A1E76D5CD}"/>
          </ac:spMkLst>
        </pc:spChg>
        <pc:spChg chg="mod">
          <ac:chgData name="Joelle Brehm" userId="a518f54c-6985-42c0-8041-2bb16a414839" providerId="ADAL" clId="{E58FA468-8508-4D9D-B61C-DD2554E44EF7}" dt="2024-03-07T16:58:45.582" v="44196"/>
          <ac:spMkLst>
            <pc:docMk/>
            <pc:sldMk cId="1002023985" sldId="270"/>
            <ac:spMk id="97" creationId="{C2B1B1FC-2665-491D-9D8C-8903880B36C8}"/>
          </ac:spMkLst>
        </pc:spChg>
        <pc:spChg chg="mod ord">
          <ac:chgData name="Joelle Brehm" userId="a518f54c-6985-42c0-8041-2bb16a414839" providerId="ADAL" clId="{E58FA468-8508-4D9D-B61C-DD2554E44EF7}" dt="2024-03-07T16:58:45.590" v="44208"/>
          <ac:spMkLst>
            <pc:docMk/>
            <pc:sldMk cId="1002023985" sldId="270"/>
            <ac:spMk id="100" creationId="{8B5667AB-609C-4AEA-83B3-24E395C8F420}"/>
          </ac:spMkLst>
        </pc:spChg>
        <pc:spChg chg="mod">
          <ac:chgData name="Joelle Brehm" userId="a518f54c-6985-42c0-8041-2bb16a414839" providerId="ADAL" clId="{E58FA468-8508-4D9D-B61C-DD2554E44EF7}" dt="2024-03-07T16:58:45.581" v="44194"/>
          <ac:spMkLst>
            <pc:docMk/>
            <pc:sldMk cId="1002023985" sldId="270"/>
            <ac:spMk id="103" creationId="{7690AA4A-71C2-2257-266C-E805FC265889}"/>
          </ac:spMkLst>
        </pc:spChg>
        <pc:spChg chg="mod ord">
          <ac:chgData name="Joelle Brehm" userId="a518f54c-6985-42c0-8041-2bb16a414839" providerId="ADAL" clId="{E58FA468-8508-4D9D-B61C-DD2554E44EF7}" dt="2024-03-07T16:58:45.591" v="44210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58:45.592" v="44212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58:45.594" v="44214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58:45.580" v="44192"/>
          <ac:spMkLst>
            <pc:docMk/>
            <pc:sldMk cId="1002023985" sldId="270"/>
            <ac:spMk id="111" creationId="{DD839E76-A267-BB7D-5F18-E1B3B8823A3B}"/>
          </ac:spMkLst>
        </pc:spChg>
        <pc:spChg chg="mod">
          <ac:chgData name="Joelle Brehm" userId="a518f54c-6985-42c0-8041-2bb16a414839" providerId="ADAL" clId="{E58FA468-8508-4D9D-B61C-DD2554E44EF7}" dt="2024-03-07T16:58:45.595" v="44217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96" v="44218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97" v="44219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8:45.598" v="44220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58:45.599" v="44221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E58FA468-8508-4D9D-B61C-DD2554E44EF7}" dt="2024-03-07T16:58:45.564" v="44174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E58FA468-8508-4D9D-B61C-DD2554E44EF7}" dt="2024-03-07T16:58:45.637" v="44233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8:45.549" v="44142"/>
          <ac:graphicFrameMkLst>
            <pc:docMk/>
            <pc:sldMk cId="1002023985" sldId="270"/>
            <ac:graphicFrameMk id="8" creationId="{667EDBE8-0B00-1A6B-406E-787F678828E6}"/>
          </ac:graphicFrameMkLst>
        </pc:graphicFrameChg>
        <pc:graphicFrameChg chg="del">
          <ac:chgData name="Joelle Brehm" userId="a518f54c-6985-42c0-8041-2bb16a414839" providerId="ADAL" clId="{E58FA468-8508-4D9D-B61C-DD2554E44EF7}" dt="2024-03-07T16:57:49.752" v="42992"/>
          <ac:graphicFrameMkLst>
            <pc:docMk/>
            <pc:sldMk cId="1002023985" sldId="270"/>
            <ac:graphicFrameMk id="34" creationId="{2780A749-EF3A-238F-5380-B49A60A66C2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8:33.733" v="43708"/>
          <ac:graphicFrameMkLst>
            <pc:docMk/>
            <pc:sldMk cId="1002023985" sldId="270"/>
            <ac:graphicFrameMk id="41" creationId="{D954D8DA-3EDE-63DD-D6D9-60CA9F2E319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8:35.960" v="43961"/>
          <ac:graphicFrameMkLst>
            <pc:docMk/>
            <pc:sldMk cId="1002023985" sldId="270"/>
            <ac:graphicFrameMk id="43" creationId="{026AA3F9-5416-E238-3268-6241D3D81D64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8:45.564" v="44169"/>
          <ac:graphicFrameMkLst>
            <pc:docMk/>
            <pc:sldMk cId="1002023985" sldId="270"/>
            <ac:graphicFrameMk id="45" creationId="{4AE975D7-92AC-5475-967C-FE61B47526C4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8:45.595" v="44216"/>
          <ac:graphicFrameMkLst>
            <pc:docMk/>
            <pc:sldMk cId="1002023985" sldId="270"/>
            <ac:graphicFrameMk id="61" creationId="{7C7C7AA1-7913-5B85-EBE1-1CA081CAA7AD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8:32.615" v="43499"/>
          <ac:graphicFrameMkLst>
            <pc:docMk/>
            <pc:sldMk cId="1002023985" sldId="270"/>
            <ac:graphicFrameMk id="84" creationId="{0F955FAA-CBA2-6D7C-A34A-E1C8827C46A1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8:45.498" v="44128"/>
          <ac:graphicFrameMkLst>
            <pc:docMk/>
            <pc:sldMk cId="1002023985" sldId="270"/>
            <ac:graphicFrameMk id="86" creationId="{1BB7DC75-2234-2232-8A94-53F44E555191}"/>
          </ac:graphicFrameMkLst>
        </pc:graphicFrameChg>
        <pc:picChg chg="add mod ord">
          <ac:chgData name="Joelle Brehm" userId="a518f54c-6985-42c0-8041-2bb16a414839" providerId="ADAL" clId="{E58FA468-8508-4D9D-B61C-DD2554E44EF7}" dt="2024-03-07T16:58:45.547" v="44136"/>
          <ac:picMkLst>
            <pc:docMk/>
            <pc:sldMk cId="1002023985" sldId="270"/>
            <ac:picMk id="9" creationId="{D430B71A-A1BA-60BE-974C-8DB4B91B45D3}"/>
          </ac:picMkLst>
        </pc:picChg>
        <pc:picChg chg="del mod ord">
          <ac:chgData name="Joelle Brehm" userId="a518f54c-6985-42c0-8041-2bb16a414839" providerId="ADAL" clId="{E58FA468-8508-4D9D-B61C-DD2554E44EF7}" dt="2024-03-07T16:58:16.709" v="43207" actId="478"/>
          <ac:picMkLst>
            <pc:docMk/>
            <pc:sldMk cId="1002023985" sldId="270"/>
            <ac:picMk id="36" creationId="{23A4C1E1-F183-A6C6-C841-A91E494A53A3}"/>
          </ac:picMkLst>
        </pc:picChg>
        <pc:picChg chg="mod ord">
          <ac:chgData name="Joelle Brehm" userId="a518f54c-6985-42c0-8041-2bb16a414839" providerId="ADAL" clId="{E58FA468-8508-4D9D-B61C-DD2554E44EF7}" dt="2024-03-07T16:58:45.599" v="44225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E58FA468-8508-4D9D-B61C-DD2554E44EF7}" dt="2024-03-07T16:58:45.599" v="44223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58:45.549" v="44140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6:31.596" v="31986" actId="478"/>
        <pc:sldMkLst>
          <pc:docMk/>
          <pc:sldMk cId="2815334483" sldId="271"/>
        </pc:sldMkLst>
        <pc:spChg chg="add del mod">
          <ac:chgData name="Joelle Brehm" userId="a518f54c-6985-42c0-8041-2bb16a414839" providerId="ADAL" clId="{E58FA468-8508-4D9D-B61C-DD2554E44EF7}" dt="2024-03-07T16:35:24.638" v="22731" actId="478"/>
          <ac:spMkLst>
            <pc:docMk/>
            <pc:sldMk cId="2815334483" sldId="271"/>
            <ac:spMk id="2" creationId="{2F395A43-61BD-36C7-00E8-86D04863BF5B}"/>
          </ac:spMkLst>
        </pc:spChg>
        <pc:spChg chg="mod ord">
          <ac:chgData name="Joelle Brehm" userId="a518f54c-6985-42c0-8041-2bb16a414839" providerId="ADAL" clId="{E58FA468-8508-4D9D-B61C-DD2554E44EF7}" dt="2024-03-07T16:46:30.183" v="31979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E58FA468-8508-4D9D-B61C-DD2554E44EF7}" dt="2024-03-07T16:35:35.046" v="22948"/>
          <ac:spMkLst>
            <pc:docMk/>
            <pc:sldMk cId="2815334483" sldId="271"/>
            <ac:spMk id="5" creationId="{4A450011-6DAB-066A-E3AC-47CE1E9DE5A5}"/>
          </ac:spMkLst>
        </pc:spChg>
        <pc:spChg chg="add del mod modVis">
          <ac:chgData name="Joelle Brehm" userId="a518f54c-6985-42c0-8041-2bb16a414839" providerId="ADAL" clId="{E58FA468-8508-4D9D-B61C-DD2554E44EF7}" dt="2024-03-07T16:46:30.183" v="31983"/>
          <ac:spMkLst>
            <pc:docMk/>
            <pc:sldMk cId="2815334483" sldId="271"/>
            <ac:spMk id="5" creationId="{824A5667-1109-EFB0-849B-C22C6CB98762}"/>
          </ac:spMkLst>
        </pc:spChg>
        <pc:spChg chg="mod ord">
          <ac:chgData name="Joelle Brehm" userId="a518f54c-6985-42c0-8041-2bb16a414839" providerId="ADAL" clId="{E58FA468-8508-4D9D-B61C-DD2554E44EF7}" dt="2024-03-07T16:46:30.168" v="31916"/>
          <ac:spMkLst>
            <pc:docMk/>
            <pc:sldMk cId="2815334483" sldId="271"/>
            <ac:spMk id="6" creationId="{B47CE71D-7819-4857-B121-737A3BD39B4D}"/>
          </ac:spMkLst>
        </pc:spChg>
        <pc:spChg chg="del mod">
          <ac:chgData name="Joelle Brehm" userId="a518f54c-6985-42c0-8041-2bb16a414839" providerId="ADAL" clId="{E58FA468-8508-4D9D-B61C-DD2554E44EF7}" dt="2024-03-07T16:36:28.342" v="23990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E58FA468-8508-4D9D-B61C-DD2554E44EF7}" dt="2024-03-07T16:46:30.168" v="31927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6:30.168" v="31923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6:30.168" v="31924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6:30.168" v="31921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6:30.168" v="31922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6:30.168" v="31925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6:30.168" v="31926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6:30.168" v="31928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6:30.168" v="31929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6:30.168" v="31930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6:30.168" v="31931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6:30.168" v="31932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6:30.168" v="31934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6:30.168" v="31935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6:30.168" v="31937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6:30.168" v="31936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6:30.168" v="31939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6:30.168" v="31940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6:30.168" v="31938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6:30.168" v="31942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46:30.168" v="31947"/>
          <ac:spMkLst>
            <pc:docMk/>
            <pc:sldMk cId="2815334483" sldId="271"/>
            <ac:spMk id="32" creationId="{8777249A-D943-16C1-E900-269856ADE995}"/>
          </ac:spMkLst>
        </pc:spChg>
        <pc:spChg chg="add del mod modVis">
          <ac:chgData name="Joelle Brehm" userId="a518f54c-6985-42c0-8041-2bb16a414839" providerId="ADAL" clId="{E58FA468-8508-4D9D-B61C-DD2554E44EF7}" dt="2024-03-07T16:36:12.559" v="23246"/>
          <ac:spMkLst>
            <pc:docMk/>
            <pc:sldMk cId="2815334483" sldId="271"/>
            <ac:spMk id="33" creationId="{CA616C4B-8681-FF7D-4945-1B100241A191}"/>
          </ac:spMkLst>
        </pc:spChg>
        <pc:spChg chg="mod">
          <ac:chgData name="Joelle Brehm" userId="a518f54c-6985-42c0-8041-2bb16a414839" providerId="ADAL" clId="{E58FA468-8508-4D9D-B61C-DD2554E44EF7}" dt="2024-03-07T16:46:30.183" v="31953"/>
          <ac:spMkLst>
            <pc:docMk/>
            <pc:sldMk cId="2815334483" sldId="271"/>
            <ac:spMk id="34" creationId="{A8CE6006-892B-02A7-FD6F-1A7CFF52A860}"/>
          </ac:spMkLst>
        </pc:spChg>
        <pc:spChg chg="mod">
          <ac:chgData name="Joelle Brehm" userId="a518f54c-6985-42c0-8041-2bb16a414839" providerId="ADAL" clId="{E58FA468-8508-4D9D-B61C-DD2554E44EF7}" dt="2024-03-07T16:46:30.183" v="31972"/>
          <ac:spMkLst>
            <pc:docMk/>
            <pc:sldMk cId="2815334483" sldId="271"/>
            <ac:spMk id="35" creationId="{45572655-755F-8D0B-3A48-D4124A0ED0D7}"/>
          </ac:spMkLst>
        </pc:spChg>
        <pc:spChg chg="mod">
          <ac:chgData name="Joelle Brehm" userId="a518f54c-6985-42c0-8041-2bb16a414839" providerId="ADAL" clId="{E58FA468-8508-4D9D-B61C-DD2554E44EF7}" dt="2024-03-07T16:46:30.183" v="31973"/>
          <ac:spMkLst>
            <pc:docMk/>
            <pc:sldMk cId="2815334483" sldId="271"/>
            <ac:spMk id="38" creationId="{93F58660-4061-9E2B-E06A-098BB1CF0FFF}"/>
          </ac:spMkLst>
        </pc:spChg>
        <pc:spChg chg="mod">
          <ac:chgData name="Joelle Brehm" userId="a518f54c-6985-42c0-8041-2bb16a414839" providerId="ADAL" clId="{E58FA468-8508-4D9D-B61C-DD2554E44EF7}" dt="2024-03-07T16:46:30.183" v="31952"/>
          <ac:spMkLst>
            <pc:docMk/>
            <pc:sldMk cId="2815334483" sldId="271"/>
            <ac:spMk id="39" creationId="{3FE8D96F-1EA9-E112-7607-E4758CD02F39}"/>
          </ac:spMkLst>
        </pc:spChg>
        <pc:spChg chg="del mod">
          <ac:chgData name="Joelle Brehm" userId="a518f54c-6985-42c0-8041-2bb16a414839" providerId="ADAL" clId="{E58FA468-8508-4D9D-B61C-DD2554E44EF7}" dt="2024-03-07T16:36:14.625" v="23249"/>
          <ac:spMkLst>
            <pc:docMk/>
            <pc:sldMk cId="2815334483" sldId="271"/>
            <ac:spMk id="40" creationId="{33780D94-8B0A-E364-5A19-A4B2AB6B6976}"/>
          </ac:spMkLst>
        </pc:spChg>
        <pc:spChg chg="mod">
          <ac:chgData name="Joelle Brehm" userId="a518f54c-6985-42c0-8041-2bb16a414839" providerId="ADAL" clId="{E58FA468-8508-4D9D-B61C-DD2554E44EF7}" dt="2024-03-07T16:46:30.168" v="31948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E58FA468-8508-4D9D-B61C-DD2554E44EF7}" dt="2024-03-07T16:46:30.168" v="31945"/>
          <ac:spMkLst>
            <pc:docMk/>
            <pc:sldMk cId="2815334483" sldId="271"/>
            <ac:spMk id="42" creationId="{6259DA9A-2854-0028-25DD-8E34BDEB2937}"/>
          </ac:spMkLst>
        </pc:spChg>
        <pc:spChg chg="del mod">
          <ac:chgData name="Joelle Brehm" userId="a518f54c-6985-42c0-8041-2bb16a414839" providerId="ADAL" clId="{E58FA468-8508-4D9D-B61C-DD2554E44EF7}" dt="2024-03-07T16:36:14.625" v="23250"/>
          <ac:spMkLst>
            <pc:docMk/>
            <pc:sldMk cId="2815334483" sldId="271"/>
            <ac:spMk id="43" creationId="{5D904BC7-CC0E-1989-F3A8-B1ADF5AF819F}"/>
          </ac:spMkLst>
        </pc:spChg>
        <pc:spChg chg="mod">
          <ac:chgData name="Joelle Brehm" userId="a518f54c-6985-42c0-8041-2bb16a414839" providerId="ADAL" clId="{E58FA468-8508-4D9D-B61C-DD2554E44EF7}" dt="2024-03-07T16:46:30.168" v="31949"/>
          <ac:spMkLst>
            <pc:docMk/>
            <pc:sldMk cId="2815334483" sldId="271"/>
            <ac:spMk id="44" creationId="{2A226A46-FF6E-9786-3934-AE547CB60305}"/>
          </ac:spMkLst>
        </pc:spChg>
        <pc:spChg chg="mod">
          <ac:chgData name="Joelle Brehm" userId="a518f54c-6985-42c0-8041-2bb16a414839" providerId="ADAL" clId="{E58FA468-8508-4D9D-B61C-DD2554E44EF7}" dt="2024-03-07T16:46:30.168" v="31950"/>
          <ac:spMkLst>
            <pc:docMk/>
            <pc:sldMk cId="2815334483" sldId="271"/>
            <ac:spMk id="46" creationId="{930ECC5A-4534-E4CB-B946-9975134BC620}"/>
          </ac:spMkLst>
        </pc:spChg>
        <pc:spChg chg="mod">
          <ac:chgData name="Joelle Brehm" userId="a518f54c-6985-42c0-8041-2bb16a414839" providerId="ADAL" clId="{E58FA468-8508-4D9D-B61C-DD2554E44EF7}" dt="2024-03-07T16:46:30.168" v="31946"/>
          <ac:spMkLst>
            <pc:docMk/>
            <pc:sldMk cId="2815334483" sldId="271"/>
            <ac:spMk id="48" creationId="{E51CFCE3-4E32-6059-9327-A1EFC827F040}"/>
          </ac:spMkLst>
        </pc:spChg>
        <pc:spChg chg="add mod replST">
          <ac:chgData name="Joelle Brehm" userId="a518f54c-6985-42c0-8041-2bb16a414839" providerId="ADAL" clId="{E58FA468-8508-4D9D-B61C-DD2554E44EF7}" dt="2024-03-07T16:46:30.183" v="31956"/>
          <ac:spMkLst>
            <pc:docMk/>
            <pc:sldMk cId="2815334483" sldId="271"/>
            <ac:spMk id="50" creationId="{E10416A4-9A93-21B9-0943-EFAE6FB90E68}"/>
          </ac:spMkLst>
        </pc:spChg>
        <pc:spChg chg="mod">
          <ac:chgData name="Joelle Brehm" userId="a518f54c-6985-42c0-8041-2bb16a414839" providerId="ADAL" clId="{E58FA468-8508-4D9D-B61C-DD2554E44EF7}" dt="2024-03-07T16:46:30.183" v="31954"/>
          <ac:spMkLst>
            <pc:docMk/>
            <pc:sldMk cId="2815334483" sldId="271"/>
            <ac:spMk id="51" creationId="{D8AE21DE-2650-D35B-B0CE-FC60DFB87981}"/>
          </ac:spMkLst>
        </pc:spChg>
        <pc:spChg chg="mod">
          <ac:chgData name="Joelle Brehm" userId="a518f54c-6985-42c0-8041-2bb16a414839" providerId="ADAL" clId="{E58FA468-8508-4D9D-B61C-DD2554E44EF7}" dt="2024-03-07T16:46:30.183" v="31955"/>
          <ac:spMkLst>
            <pc:docMk/>
            <pc:sldMk cId="2815334483" sldId="271"/>
            <ac:spMk id="52" creationId="{53628FE2-0A0B-9EF5-96A1-DA716D6AD9E6}"/>
          </ac:spMkLst>
        </pc:spChg>
        <pc:spChg chg="add del mod modVis">
          <ac:chgData name="Joelle Brehm" userId="a518f54c-6985-42c0-8041-2bb16a414839" providerId="ADAL" clId="{E58FA468-8508-4D9D-B61C-DD2554E44EF7}" dt="2024-03-07T16:36:24.536" v="23819"/>
          <ac:spMkLst>
            <pc:docMk/>
            <pc:sldMk cId="2815334483" sldId="271"/>
            <ac:spMk id="53" creationId="{2318E098-4511-9971-2523-8EEC6FFE7B7E}"/>
          </ac:spMkLst>
        </pc:spChg>
        <pc:spChg chg="mod">
          <ac:chgData name="Joelle Brehm" userId="a518f54c-6985-42c0-8041-2bb16a414839" providerId="ADAL" clId="{E58FA468-8508-4D9D-B61C-DD2554E44EF7}" dt="2024-03-07T16:46:30.168" v="31951"/>
          <ac:spMkLst>
            <pc:docMk/>
            <pc:sldMk cId="2815334483" sldId="271"/>
            <ac:spMk id="54" creationId="{040A7AC0-BA49-481C-2E93-53505ECC740A}"/>
          </ac:spMkLst>
        </pc:spChg>
        <pc:spChg chg="add del mod modVis">
          <ac:chgData name="Joelle Brehm" userId="a518f54c-6985-42c0-8041-2bb16a414839" providerId="ADAL" clId="{E58FA468-8508-4D9D-B61C-DD2554E44EF7}" dt="2024-03-07T16:36:26.293" v="23987"/>
          <ac:spMkLst>
            <pc:docMk/>
            <pc:sldMk cId="2815334483" sldId="271"/>
            <ac:spMk id="56" creationId="{A9D2A58E-866C-B3A0-2450-AE5E81811785}"/>
          </ac:spMkLst>
        </pc:spChg>
        <pc:spChg chg="mod ord">
          <ac:chgData name="Joelle Brehm" userId="a518f54c-6985-42c0-8041-2bb16a414839" providerId="ADAL" clId="{E58FA468-8508-4D9D-B61C-DD2554E44EF7}" dt="2024-03-07T16:46:30.183" v="31977"/>
          <ac:spMkLst>
            <pc:docMk/>
            <pc:sldMk cId="2815334483" sldId="271"/>
            <ac:spMk id="58" creationId="{13D3C19C-081E-48C7-8BE2-5EF3E8A1DEEB}"/>
          </ac:spMkLst>
        </pc:spChg>
        <pc:spChg chg="add del mod modVis">
          <ac:chgData name="Joelle Brehm" userId="a518f54c-6985-42c0-8041-2bb16a414839" providerId="ADAL" clId="{E58FA468-8508-4D9D-B61C-DD2554E44EF7}" dt="2024-03-07T16:36:28.467" v="24163"/>
          <ac:spMkLst>
            <pc:docMk/>
            <pc:sldMk cId="2815334483" sldId="271"/>
            <ac:spMk id="59" creationId="{6ACD666A-A199-B119-33F3-D4642B4F354B}"/>
          </ac:spMkLst>
        </pc:spChg>
        <pc:spChg chg="mod ord">
          <ac:chgData name="Joelle Brehm" userId="a518f54c-6985-42c0-8041-2bb16a414839" providerId="ADAL" clId="{E58FA468-8508-4D9D-B61C-DD2554E44EF7}" dt="2024-03-07T16:46:30.183" v="31958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6:30.183" v="31960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6:46:30.183" v="31962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6:30.183" v="31964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6:30.183" v="31966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6:30.183" v="31968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6:30.183" v="31971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6:30.201" v="31985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6:35:34.988" v="22863"/>
          <ac:graphicFrameMkLst>
            <pc:docMk/>
            <pc:sldMk cId="2815334483" sldId="271"/>
            <ac:graphicFrameMk id="8" creationId="{DDE6B3D5-F5EC-FBB4-7467-6A13C23EED18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30.168" v="31920"/>
          <ac:graphicFrameMkLst>
            <pc:docMk/>
            <pc:sldMk cId="2815334483" sldId="271"/>
            <ac:graphicFrameMk id="9" creationId="{BE0B1A87-C632-67CC-4720-9D38A39BC66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6:14.642" v="23258"/>
          <ac:graphicFrameMkLst>
            <pc:docMk/>
            <pc:sldMk cId="2815334483" sldId="271"/>
            <ac:graphicFrameMk id="36" creationId="{ACE15492-570C-BF95-F267-70F6B774A7B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6:17.897" v="23349"/>
          <ac:graphicFrameMkLst>
            <pc:docMk/>
            <pc:sldMk cId="2815334483" sldId="271"/>
            <ac:graphicFrameMk id="37" creationId="{E99BD805-E877-B4D9-7884-A3DB9D894232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30.183" v="31970"/>
          <ac:graphicFrameMkLst>
            <pc:docMk/>
            <pc:sldMk cId="2815334483" sldId="271"/>
            <ac:graphicFrameMk id="45" creationId="{6654F1B7-EE4F-5762-0A1D-D73203816D77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6:12.490" v="23167"/>
          <ac:graphicFrameMkLst>
            <pc:docMk/>
            <pc:sldMk cId="2815334483" sldId="271"/>
            <ac:graphicFrameMk id="47" creationId="{DE39813E-317B-67F6-2073-6D4E290EAAD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6:26.207" v="23898"/>
          <ac:graphicFrameMkLst>
            <pc:docMk/>
            <pc:sldMk cId="2815334483" sldId="271"/>
            <ac:graphicFrameMk id="55" creationId="{9803BA60-20E1-6C77-60A7-7A4EBEF337C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6:28.419" v="24086"/>
          <ac:graphicFrameMkLst>
            <pc:docMk/>
            <pc:sldMk cId="2815334483" sldId="271"/>
            <ac:graphicFrameMk id="57" creationId="{B0FF09F2-C8CC-EBED-5A8B-5E6CB812D41C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6:24.468" v="23735"/>
          <ac:graphicFrameMkLst>
            <pc:docMk/>
            <pc:sldMk cId="2815334483" sldId="271"/>
            <ac:graphicFrameMk id="60" creationId="{A8ED65AD-C3F4-E5DA-4FED-1B3CCB96A4F5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30.168" v="31944"/>
          <ac:graphicFrameMkLst>
            <pc:docMk/>
            <pc:sldMk cId="2815334483" sldId="271"/>
            <ac:graphicFrameMk id="61" creationId="{2F3062F6-D0DD-40AA-6BE0-9E445521D312}"/>
          </ac:graphicFrameMkLst>
        </pc:graphicFrameChg>
        <pc:picChg chg="add mod ord">
          <ac:chgData name="Joelle Brehm" userId="a518f54c-6985-42c0-8041-2bb16a414839" providerId="ADAL" clId="{E58FA468-8508-4D9D-B61C-DD2554E44EF7}" dt="2024-03-07T16:46:30.168" v="31912"/>
          <ac:picMkLst>
            <pc:docMk/>
            <pc:sldMk cId="2815334483" sldId="271"/>
            <ac:picMk id="2" creationId="{A3048CBB-BFB1-EF58-6220-6DAE95A4C197}"/>
          </ac:picMkLst>
        </pc:picChg>
        <pc:picChg chg="add del mod ord">
          <ac:chgData name="Joelle Brehm" userId="a518f54c-6985-42c0-8041-2bb16a414839" providerId="ADAL" clId="{E58FA468-8508-4D9D-B61C-DD2554E44EF7}" dt="2024-03-07T16:46:31.596" v="31986" actId="478"/>
          <ac:picMkLst>
            <pc:docMk/>
            <pc:sldMk cId="2815334483" sldId="271"/>
            <ac:picMk id="31" creationId="{C5E02DC4-76AD-45DD-5253-5357A72A9D64}"/>
          </ac:picMkLst>
        </pc:picChg>
        <pc:picChg chg="del mod ord">
          <ac:chgData name="Joelle Brehm" userId="a518f54c-6985-42c0-8041-2bb16a414839" providerId="ADAL" clId="{E58FA468-8508-4D9D-B61C-DD2554E44EF7}" dt="2024-03-07T16:35:58.105" v="23037" actId="478"/>
          <ac:picMkLst>
            <pc:docMk/>
            <pc:sldMk cId="2815334483" sldId="271"/>
            <ac:picMk id="49" creationId="{B1409334-55A9-A793-A5C2-5716A662894A}"/>
          </ac:picMkLst>
        </pc:picChg>
        <pc:picChg chg="mod ord">
          <ac:chgData name="Joelle Brehm" userId="a518f54c-6985-42c0-8041-2bb16a414839" providerId="ADAL" clId="{E58FA468-8508-4D9D-B61C-DD2554E44EF7}" dt="2024-03-07T16:46:30.183" v="31975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6:30.168" v="31918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6:58.992" v="32095" actId="478"/>
        <pc:sldMkLst>
          <pc:docMk/>
          <pc:sldMk cId="1407012127" sldId="272"/>
        </pc:sldMkLst>
        <pc:spChg chg="mod ord">
          <ac:chgData name="Joelle Brehm" userId="a518f54c-6985-42c0-8041-2bb16a414839" providerId="ADAL" clId="{E58FA468-8508-4D9D-B61C-DD2554E44EF7}" dt="2024-03-07T16:46:57.857" v="32088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E58FA468-8508-4D9D-B61C-DD2554E44EF7}" dt="2024-03-07T16:36:39.728" v="24167" actId="478"/>
          <ac:spMkLst>
            <pc:docMk/>
            <pc:sldMk cId="1407012127" sldId="272"/>
            <ac:spMk id="3" creationId="{33D7C47D-CA7C-1A3A-FD97-0C8481845D42}"/>
          </ac:spMkLst>
        </pc:spChg>
        <pc:spChg chg="add del mod">
          <ac:chgData name="Joelle Brehm" userId="a518f54c-6985-42c0-8041-2bb16a414839" providerId="ADAL" clId="{E58FA468-8508-4D9D-B61C-DD2554E44EF7}" dt="2024-03-07T16:36:39.074" v="24166" actId="478"/>
          <ac:spMkLst>
            <pc:docMk/>
            <pc:sldMk cId="1407012127" sldId="272"/>
            <ac:spMk id="5" creationId="{09D683AD-8471-6FE5-1C37-4FA147975EF6}"/>
          </ac:spMkLst>
        </pc:spChg>
        <pc:spChg chg="add del mod modVis">
          <ac:chgData name="Joelle Brehm" userId="a518f54c-6985-42c0-8041-2bb16a414839" providerId="ADAL" clId="{E58FA468-8508-4D9D-B61C-DD2554E44EF7}" dt="2024-03-07T16:46:57.866" v="32092"/>
          <ac:spMkLst>
            <pc:docMk/>
            <pc:sldMk cId="1407012127" sldId="272"/>
            <ac:spMk id="5" creationId="{509D2E26-348F-D34A-ED42-E286FFEF1B6D}"/>
          </ac:spMkLst>
        </pc:spChg>
        <pc:spChg chg="mod ord">
          <ac:chgData name="Joelle Brehm" userId="a518f54c-6985-42c0-8041-2bb16a414839" providerId="ADAL" clId="{E58FA468-8508-4D9D-B61C-DD2554E44EF7}" dt="2024-03-07T16:46:57.842" v="32023"/>
          <ac:spMkLst>
            <pc:docMk/>
            <pc:sldMk cId="1407012127" sldId="272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58FA468-8508-4D9D-B61C-DD2554E44EF7}" dt="2024-03-07T16:37:28.095" v="24378"/>
          <ac:spMkLst>
            <pc:docMk/>
            <pc:sldMk cId="1407012127" sldId="272"/>
            <ac:spMk id="9" creationId="{1EF65A1E-335D-0094-9DB7-BE550D6E6AAD}"/>
          </ac:spMkLst>
        </pc:spChg>
        <pc:spChg chg="mod">
          <ac:chgData name="Joelle Brehm" userId="a518f54c-6985-42c0-8041-2bb16a414839" providerId="ADAL" clId="{E58FA468-8508-4D9D-B61C-DD2554E44EF7}" dt="2024-03-07T16:46:57.842" v="32034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6:57.842" v="32030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6:57.842" v="32031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6:57.842" v="32028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6:57.842" v="32029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6:57.842" v="32032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6:57.842" v="32033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6:57.842" v="32035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6:57.842" v="32036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6:57.842" v="32037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6:57.842" v="32038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6:57.842" v="32039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6:57.842" v="32041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6:57.842" v="32042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6:57.842" v="32044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6:57.842" v="32043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6:57.842" v="32046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6:57.842" v="32047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6:57.842" v="32045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6:57.842" v="32049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46:57.842" v="32056"/>
          <ac:spMkLst>
            <pc:docMk/>
            <pc:sldMk cId="1407012127" sldId="272"/>
            <ac:spMk id="31" creationId="{12D405BD-09A7-5DE2-D31C-098B6254BA48}"/>
          </ac:spMkLst>
        </pc:spChg>
        <pc:spChg chg="mod">
          <ac:chgData name="Joelle Brehm" userId="a518f54c-6985-42c0-8041-2bb16a414839" providerId="ADAL" clId="{E58FA468-8508-4D9D-B61C-DD2554E44EF7}" dt="2024-03-07T16:46:57.842" v="32060"/>
          <ac:spMkLst>
            <pc:docMk/>
            <pc:sldMk cId="1407012127" sldId="272"/>
            <ac:spMk id="33" creationId="{DEE0E245-78E9-7A67-664E-EC2B0754BE35}"/>
          </ac:spMkLst>
        </pc:spChg>
        <pc:spChg chg="mod">
          <ac:chgData name="Joelle Brehm" userId="a518f54c-6985-42c0-8041-2bb16a414839" providerId="ADAL" clId="{E58FA468-8508-4D9D-B61C-DD2554E44EF7}" dt="2024-03-07T16:46:57.857" v="32062"/>
          <ac:spMkLst>
            <pc:docMk/>
            <pc:sldMk cId="1407012127" sldId="272"/>
            <ac:spMk id="35" creationId="{9A61C4AC-2BC0-7427-87BB-C00DF9E032F6}"/>
          </ac:spMkLst>
        </pc:spChg>
        <pc:spChg chg="mod">
          <ac:chgData name="Joelle Brehm" userId="a518f54c-6985-42c0-8041-2bb16a414839" providerId="ADAL" clId="{E58FA468-8508-4D9D-B61C-DD2554E44EF7}" dt="2024-03-07T16:46:57.842" v="32058"/>
          <ac:spMkLst>
            <pc:docMk/>
            <pc:sldMk cId="1407012127" sldId="272"/>
            <ac:spMk id="36" creationId="{C8D3E2C2-3C12-3A42-5737-E5E3D3EAF8EA}"/>
          </ac:spMkLst>
        </pc:spChg>
        <pc:spChg chg="del mod">
          <ac:chgData name="Joelle Brehm" userId="a518f54c-6985-42c0-8041-2bb16a414839" providerId="ADAL" clId="{E58FA468-8508-4D9D-B61C-DD2554E44EF7}" dt="2024-03-07T16:38:03.921" v="25326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E58FA468-8508-4D9D-B61C-DD2554E44EF7}" dt="2024-03-07T16:46:57.842" v="32053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E58FA468-8508-4D9D-B61C-DD2554E44EF7}" dt="2024-03-07T16:46:57.842" v="32055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E58FA468-8508-4D9D-B61C-DD2554E44EF7}" dt="2024-03-07T16:46:57.842" v="32052"/>
          <ac:spMkLst>
            <pc:docMk/>
            <pc:sldMk cId="1407012127" sldId="272"/>
            <ac:spMk id="41" creationId="{3B0A3A52-5D18-7245-58AE-791EE368F68D}"/>
          </ac:spMkLst>
        </pc:spChg>
        <pc:spChg chg="mod">
          <ac:chgData name="Joelle Brehm" userId="a518f54c-6985-42c0-8041-2bb16a414839" providerId="ADAL" clId="{E58FA468-8508-4D9D-B61C-DD2554E44EF7}" dt="2024-03-07T16:46:57.842" v="32059"/>
          <ac:spMkLst>
            <pc:docMk/>
            <pc:sldMk cId="1407012127" sldId="272"/>
            <ac:spMk id="42" creationId="{1CCE2CD3-9785-B79A-EAFB-8C7C97C912CB}"/>
          </ac:spMkLst>
        </pc:spChg>
        <pc:spChg chg="mod">
          <ac:chgData name="Joelle Brehm" userId="a518f54c-6985-42c0-8041-2bb16a414839" providerId="ADAL" clId="{E58FA468-8508-4D9D-B61C-DD2554E44EF7}" dt="2024-03-07T16:46:57.842" v="32054"/>
          <ac:spMkLst>
            <pc:docMk/>
            <pc:sldMk cId="1407012127" sldId="272"/>
            <ac:spMk id="43" creationId="{FB4FB43F-D084-EE9C-5BF8-B064116032D0}"/>
          </ac:spMkLst>
        </pc:spChg>
        <pc:spChg chg="mod">
          <ac:chgData name="Joelle Brehm" userId="a518f54c-6985-42c0-8041-2bb16a414839" providerId="ADAL" clId="{E58FA468-8508-4D9D-B61C-DD2554E44EF7}" dt="2024-03-07T16:46:57.842" v="32057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E58FA468-8508-4D9D-B61C-DD2554E44EF7}" dt="2024-03-07T16:37:52.896" v="24631"/>
          <ac:spMkLst>
            <pc:docMk/>
            <pc:sldMk cId="1407012127" sldId="272"/>
            <ac:spMk id="45" creationId="{268D79DE-DCEA-22FA-0E0B-B3587680B187}"/>
          </ac:spMkLst>
        </pc:spChg>
        <pc:spChg chg="add mod replST">
          <ac:chgData name="Joelle Brehm" userId="a518f54c-6985-42c0-8041-2bb16a414839" providerId="ADAL" clId="{E58FA468-8508-4D9D-B61C-DD2554E44EF7}" dt="2024-03-07T16:46:57.857" v="32063"/>
          <ac:spMkLst>
            <pc:docMk/>
            <pc:sldMk cId="1407012127" sldId="272"/>
            <ac:spMk id="47" creationId="{8115A837-4CA6-7E31-4D61-CBE46C2C39A7}"/>
          </ac:spMkLst>
        </pc:spChg>
        <pc:spChg chg="add del mod modVis">
          <ac:chgData name="Joelle Brehm" userId="a518f54c-6985-42c0-8041-2bb16a414839" providerId="ADAL" clId="{E58FA468-8508-4D9D-B61C-DD2554E44EF7}" dt="2024-03-07T16:38:00.983" v="25145"/>
          <ac:spMkLst>
            <pc:docMk/>
            <pc:sldMk cId="1407012127" sldId="272"/>
            <ac:spMk id="48" creationId="{8FB6BB1B-0C15-D4A6-7A04-1D3ECD3ACEE2}"/>
          </ac:spMkLst>
        </pc:spChg>
        <pc:spChg chg="mod">
          <ac:chgData name="Joelle Brehm" userId="a518f54c-6985-42c0-8041-2bb16a414839" providerId="ADAL" clId="{E58FA468-8508-4D9D-B61C-DD2554E44EF7}" dt="2024-03-07T16:46:57.842" v="32061"/>
          <ac:spMkLst>
            <pc:docMk/>
            <pc:sldMk cId="1407012127" sldId="272"/>
            <ac:spMk id="49" creationId="{BFBE4DAB-6CE3-A4D4-76EB-EE4B23B402B6}"/>
          </ac:spMkLst>
        </pc:spChg>
        <pc:spChg chg="add del mod ord replST">
          <ac:chgData name="Joelle Brehm" userId="a518f54c-6985-42c0-8041-2bb16a414839" providerId="ADAL" clId="{E58FA468-8508-4D9D-B61C-DD2554E44EF7}" dt="2024-03-07T16:38:03.997" v="25395"/>
          <ac:spMkLst>
            <pc:docMk/>
            <pc:sldMk cId="1407012127" sldId="272"/>
            <ac:spMk id="50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38:07.309" v="25561"/>
          <ac:spMkLst>
            <pc:docMk/>
            <pc:sldMk cId="1407012127" sldId="272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38:01.893" v="25323"/>
          <ac:spMkLst>
            <pc:docMk/>
            <pc:sldMk cId="1407012127" sldId="272"/>
            <ac:spMk id="53" creationId="{F55C1CDA-53FB-BD4B-AD78-4B26F8832CDE}"/>
          </ac:spMkLst>
        </pc:spChg>
        <pc:spChg chg="add del mod modVis">
          <ac:chgData name="Joelle Brehm" userId="a518f54c-6985-42c0-8041-2bb16a414839" providerId="ADAL" clId="{E58FA468-8508-4D9D-B61C-DD2554E44EF7}" dt="2024-03-07T16:38:04.070" v="25507"/>
          <ac:spMkLst>
            <pc:docMk/>
            <pc:sldMk cId="1407012127" sldId="272"/>
            <ac:spMk id="55" creationId="{1AD0192E-7E9D-E890-A7E7-036F7559BE2F}"/>
          </ac:spMkLst>
        </pc:spChg>
        <pc:spChg chg="add del mod modVis">
          <ac:chgData name="Joelle Brehm" userId="a518f54c-6985-42c0-8041-2bb16a414839" providerId="ADAL" clId="{E58FA468-8508-4D9D-B61C-DD2554E44EF7}" dt="2024-03-07T16:38:07.341" v="25642"/>
          <ac:spMkLst>
            <pc:docMk/>
            <pc:sldMk cId="1407012127" sldId="272"/>
            <ac:spMk id="57" creationId="{572774EF-D5B0-2311-6011-02DC8C527A8F}"/>
          </ac:spMkLst>
        </pc:spChg>
        <pc:spChg chg="mod ord">
          <ac:chgData name="Joelle Brehm" userId="a518f54c-6985-42c0-8041-2bb16a414839" providerId="ADAL" clId="{E58FA468-8508-4D9D-B61C-DD2554E44EF7}" dt="2024-03-07T16:46:57.857" v="32086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E58FA468-8508-4D9D-B61C-DD2554E44EF7}" dt="2024-03-07T16:46:57.857" v="32065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6:57.857" v="32067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6:46:57.857" v="32069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6:57.857" v="32071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6:57.857" v="32073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6:57.857" v="32075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6:57.857" v="32078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6:57.857" v="32079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6:57.857" v="32080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6:57.857" v="32081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46:57.857" v="32082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6:57.866" v="32094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6:37:28.032" v="24295"/>
          <ac:graphicFrameMkLst>
            <pc:docMk/>
            <pc:sldMk cId="1407012127" sldId="272"/>
            <ac:graphicFrameMk id="8" creationId="{B2C05545-E43F-572C-C882-F794D9F8D6B5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57.842" v="32027"/>
          <ac:graphicFrameMkLst>
            <pc:docMk/>
            <pc:sldMk cId="1407012127" sldId="272"/>
            <ac:graphicFrameMk id="10" creationId="{1AA272A9-96BB-9822-E72B-8EDA261EBCA6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7:52.840" v="24552"/>
          <ac:graphicFrameMkLst>
            <pc:docMk/>
            <pc:sldMk cId="1407012127" sldId="272"/>
            <ac:graphicFrameMk id="32" creationId="{4EB330BE-AACC-E6D3-2217-3F4D5C5A9554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57.857" v="32077"/>
          <ac:graphicFrameMkLst>
            <pc:docMk/>
            <pc:sldMk cId="1407012127" sldId="272"/>
            <ac:graphicFrameMk id="46" creationId="{4AC1C6C1-1456-0B43-F592-54BB4010C40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8:01.814" v="25226"/>
          <ac:graphicFrameMkLst>
            <pc:docMk/>
            <pc:sldMk cId="1407012127" sldId="272"/>
            <ac:graphicFrameMk id="52" creationId="{2D178C4E-D97D-38BD-73D5-1D6B68602DB5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8:04.012" v="25426"/>
          <ac:graphicFrameMkLst>
            <pc:docMk/>
            <pc:sldMk cId="1407012127" sldId="272"/>
            <ac:graphicFrameMk id="54" creationId="{0246E44B-6DF1-E9D7-B022-123EAA78127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8:07.309" v="25563"/>
          <ac:graphicFrameMkLst>
            <pc:docMk/>
            <pc:sldMk cId="1407012127" sldId="272"/>
            <ac:graphicFrameMk id="56" creationId="{519121D4-1334-7093-3A78-F35AB6EDBFAF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6:57.842" v="32051"/>
          <ac:graphicFrameMkLst>
            <pc:docMk/>
            <pc:sldMk cId="1407012127" sldId="272"/>
            <ac:graphicFrameMk id="58" creationId="{A1AE2A94-0C7F-2FCD-29C0-5CE085FC24AC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8:00.923" v="25053"/>
          <ac:graphicFrameMkLst>
            <pc:docMk/>
            <pc:sldMk cId="1407012127" sldId="272"/>
            <ac:graphicFrameMk id="62" creationId="{25908942-42BE-E17A-3AAA-8A84EC7BDD53}"/>
          </ac:graphicFrameMkLst>
        </pc:graphicFrameChg>
        <pc:picChg chg="add mod ord">
          <ac:chgData name="Joelle Brehm" userId="a518f54c-6985-42c0-8041-2bb16a414839" providerId="ADAL" clId="{E58FA468-8508-4D9D-B61C-DD2554E44EF7}" dt="2024-03-07T16:46:57.842" v="32019"/>
          <ac:picMkLst>
            <pc:docMk/>
            <pc:sldMk cId="1407012127" sldId="272"/>
            <ac:picMk id="3" creationId="{FD60745E-312D-B969-E9F0-F674907CD7A6}"/>
          </ac:picMkLst>
        </pc:picChg>
        <pc:picChg chg="del mod ord">
          <ac:chgData name="Joelle Brehm" userId="a518f54c-6985-42c0-8041-2bb16a414839" providerId="ADAL" clId="{E58FA468-8508-4D9D-B61C-DD2554E44EF7}" dt="2024-03-07T16:37:42.897" v="24463" actId="478"/>
          <ac:picMkLst>
            <pc:docMk/>
            <pc:sldMk cId="1407012127" sldId="272"/>
            <ac:picMk id="34" creationId="{0C29357C-724C-3BCA-6305-BC2F33790156}"/>
          </ac:picMkLst>
        </pc:picChg>
        <pc:picChg chg="add del mod ord">
          <ac:chgData name="Joelle Brehm" userId="a518f54c-6985-42c0-8041-2bb16a414839" providerId="ADAL" clId="{E58FA468-8508-4D9D-B61C-DD2554E44EF7}" dt="2024-03-07T16:46:58.992" v="32095" actId="478"/>
          <ac:picMkLst>
            <pc:docMk/>
            <pc:sldMk cId="1407012127" sldId="272"/>
            <ac:picMk id="37" creationId="{F972F687-DBE0-7708-A4D2-E519CD659F0D}"/>
          </ac:picMkLst>
        </pc:picChg>
        <pc:picChg chg="mod ord">
          <ac:chgData name="Joelle Brehm" userId="a518f54c-6985-42c0-8041-2bb16a414839" providerId="ADAL" clId="{E58FA468-8508-4D9D-B61C-DD2554E44EF7}" dt="2024-03-07T16:46:57.857" v="32084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6:57.842" v="32025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7:19.678" v="32208" actId="478"/>
        <pc:sldMkLst>
          <pc:docMk/>
          <pc:sldMk cId="4005475890" sldId="273"/>
        </pc:sldMkLst>
        <pc:spChg chg="mod ord">
          <ac:chgData name="Joelle Brehm" userId="a518f54c-6985-42c0-8041-2bb16a414839" providerId="ADAL" clId="{E58FA468-8508-4D9D-B61C-DD2554E44EF7}" dt="2024-03-07T16:47:18.176" v="32201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E58FA468-8508-4D9D-B61C-DD2554E44EF7}" dt="2024-03-07T16:38:21.767" v="25645" actId="478"/>
          <ac:spMkLst>
            <pc:docMk/>
            <pc:sldMk cId="4005475890" sldId="273"/>
            <ac:spMk id="3" creationId="{0512D7F2-6222-D3E3-ED2D-8A6CCC7138BC}"/>
          </ac:spMkLst>
        </pc:spChg>
        <pc:spChg chg="add del mod modVis">
          <ac:chgData name="Joelle Brehm" userId="a518f54c-6985-42c0-8041-2bb16a414839" providerId="ADAL" clId="{E58FA468-8508-4D9D-B61C-DD2554E44EF7}" dt="2024-03-07T16:38:46.733" v="25860"/>
          <ac:spMkLst>
            <pc:docMk/>
            <pc:sldMk cId="4005475890" sldId="273"/>
            <ac:spMk id="5" creationId="{6A676486-E8D7-8192-30B7-195B237E4DB0}"/>
          </ac:spMkLst>
        </pc:spChg>
        <pc:spChg chg="add del mod modVis">
          <ac:chgData name="Joelle Brehm" userId="a518f54c-6985-42c0-8041-2bb16a414839" providerId="ADAL" clId="{E58FA468-8508-4D9D-B61C-DD2554E44EF7}" dt="2024-03-07T16:47:18.176" v="32205"/>
          <ac:spMkLst>
            <pc:docMk/>
            <pc:sldMk cId="4005475890" sldId="273"/>
            <ac:spMk id="5" creationId="{B6A39673-8F49-0770-7708-13F8F711D8EB}"/>
          </ac:spMkLst>
        </pc:spChg>
        <pc:spChg chg="mod ord">
          <ac:chgData name="Joelle Brehm" userId="a518f54c-6985-42c0-8041-2bb16a414839" providerId="ADAL" clId="{E58FA468-8508-4D9D-B61C-DD2554E44EF7}" dt="2024-03-07T16:47:18.159" v="32136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47:18.176" v="32172"/>
          <ac:spMkLst>
            <pc:docMk/>
            <pc:sldMk cId="4005475890" sldId="273"/>
            <ac:spMk id="10" creationId="{F4526B17-4D9D-5E61-CE0E-B2D48C5D6FAD}"/>
          </ac:spMkLst>
        </pc:spChg>
        <pc:spChg chg="mod">
          <ac:chgData name="Joelle Brehm" userId="a518f54c-6985-42c0-8041-2bb16a414839" providerId="ADAL" clId="{E58FA468-8508-4D9D-B61C-DD2554E44EF7}" dt="2024-03-07T16:47:18.159" v="32147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7:18.159" v="32143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7:18.159" v="32144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7:18.159" v="32141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7:18.159" v="32142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7:18.159" v="32145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7:18.159" v="32146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7:18.159" v="32148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7:18.159" v="32149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7:18.159" v="32150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7:18.159" v="32151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7:18.159" v="32152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7:18.159" v="32154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7:18.159" v="32155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7:18.175" v="32157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7:18.159" v="32156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7:18.175" v="32159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7:18.175" v="32160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7:18.175" v="32158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7:18.176" v="32162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47:18.176" v="32167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E58FA468-8508-4D9D-B61C-DD2554E44EF7}" dt="2024-03-07T16:47:18.176" v="32168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E58FA468-8508-4D9D-B61C-DD2554E44EF7}" dt="2024-03-07T16:47:18.176" v="32165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E58FA468-8508-4D9D-B61C-DD2554E44EF7}" dt="2024-03-07T16:47:18.176" v="32166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E58FA468-8508-4D9D-B61C-DD2554E44EF7}" dt="2024-03-07T16:47:18.176" v="32169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E58FA468-8508-4D9D-B61C-DD2554E44EF7}" dt="2024-03-07T16:47:18.176" v="32170"/>
          <ac:spMkLst>
            <pc:docMk/>
            <pc:sldMk cId="4005475890" sldId="273"/>
            <ac:spMk id="38" creationId="{8B5BCAB4-60F8-4FD5-A40F-97245FABCE9A}"/>
          </ac:spMkLst>
        </pc:spChg>
        <pc:spChg chg="mod">
          <ac:chgData name="Joelle Brehm" userId="a518f54c-6985-42c0-8041-2bb16a414839" providerId="ADAL" clId="{E58FA468-8508-4D9D-B61C-DD2554E44EF7}" dt="2024-03-07T16:47:18.176" v="32175"/>
          <ac:spMkLst>
            <pc:docMk/>
            <pc:sldMk cId="4005475890" sldId="273"/>
            <ac:spMk id="39" creationId="{6EB370A9-5BCE-98AF-C8A7-2C1083EB4B47}"/>
          </ac:spMkLst>
        </pc:spChg>
        <pc:spChg chg="mod">
          <ac:chgData name="Joelle Brehm" userId="a518f54c-6985-42c0-8041-2bb16a414839" providerId="ADAL" clId="{E58FA468-8508-4D9D-B61C-DD2554E44EF7}" dt="2024-03-07T16:47:18.176" v="32171"/>
          <ac:spMkLst>
            <pc:docMk/>
            <pc:sldMk cId="4005475890" sldId="273"/>
            <ac:spMk id="40" creationId="{6DF186F3-D7BB-E35B-BC5F-B5541CDFEBC5}"/>
          </ac:spMkLst>
        </pc:spChg>
        <pc:spChg chg="add del mod modVis">
          <ac:chgData name="Joelle Brehm" userId="a518f54c-6985-42c0-8041-2bb16a414839" providerId="ADAL" clId="{E58FA468-8508-4D9D-B61C-DD2554E44EF7}" dt="2024-03-07T16:39:15.725" v="26148"/>
          <ac:spMkLst>
            <pc:docMk/>
            <pc:sldMk cId="4005475890" sldId="273"/>
            <ac:spMk id="41" creationId="{B00448B9-F946-A7AD-2DDD-CE54C327C542}"/>
          </ac:spMkLst>
        </pc:spChg>
        <pc:spChg chg="mod">
          <ac:chgData name="Joelle Brehm" userId="a518f54c-6985-42c0-8041-2bb16a414839" providerId="ADAL" clId="{E58FA468-8508-4D9D-B61C-DD2554E44EF7}" dt="2024-03-07T16:47:18.176" v="32173"/>
          <ac:spMkLst>
            <pc:docMk/>
            <pc:sldMk cId="4005475890" sldId="273"/>
            <ac:spMk id="42" creationId="{7FC47C4A-8CF4-7E0B-5C11-19422C1D0358}"/>
          </ac:spMkLst>
        </pc:spChg>
        <pc:spChg chg="mod">
          <ac:chgData name="Joelle Brehm" userId="a518f54c-6985-42c0-8041-2bb16a414839" providerId="ADAL" clId="{E58FA468-8508-4D9D-B61C-DD2554E44EF7}" dt="2024-03-07T16:47:18.176" v="32174"/>
          <ac:spMkLst>
            <pc:docMk/>
            <pc:sldMk cId="4005475890" sldId="273"/>
            <ac:spMk id="44" creationId="{F5DD50D0-308B-02DF-A219-2C10A5776DF3}"/>
          </ac:spMkLst>
        </pc:spChg>
        <pc:spChg chg="add mod replST">
          <ac:chgData name="Joelle Brehm" userId="a518f54c-6985-42c0-8041-2bb16a414839" providerId="ADAL" clId="{E58FA468-8508-4D9D-B61C-DD2554E44EF7}" dt="2024-03-07T16:47:18.176" v="32176"/>
          <ac:spMkLst>
            <pc:docMk/>
            <pc:sldMk cId="4005475890" sldId="273"/>
            <ac:spMk id="45" creationId="{6D111BDF-CA0B-7DF2-86F8-105CCD7F741C}"/>
          </ac:spMkLst>
        </pc:spChg>
        <pc:spChg chg="add del mod modVis">
          <ac:chgData name="Joelle Brehm" userId="a518f54c-6985-42c0-8041-2bb16a414839" providerId="ADAL" clId="{E58FA468-8508-4D9D-B61C-DD2554E44EF7}" dt="2024-03-07T16:39:23.419" v="26525"/>
          <ac:spMkLst>
            <pc:docMk/>
            <pc:sldMk cId="4005475890" sldId="273"/>
            <ac:spMk id="46" creationId="{F9EE9AA7-3A9F-DB37-624F-26843422E2A3}"/>
          </ac:spMkLst>
        </pc:spChg>
        <pc:spChg chg="add del mod modVis">
          <ac:chgData name="Joelle Brehm" userId="a518f54c-6985-42c0-8041-2bb16a414839" providerId="ADAL" clId="{E58FA468-8508-4D9D-B61C-DD2554E44EF7}" dt="2024-03-07T16:39:24.131" v="26699"/>
          <ac:spMkLst>
            <pc:docMk/>
            <pc:sldMk cId="4005475890" sldId="273"/>
            <ac:spMk id="48" creationId="{40D9B94D-F8D3-66E8-5D38-7FADA50FF93B}"/>
          </ac:spMkLst>
        </pc:spChg>
        <pc:spChg chg="add del mod modVis">
          <ac:chgData name="Joelle Brehm" userId="a518f54c-6985-42c0-8041-2bb16a414839" providerId="ADAL" clId="{E58FA468-8508-4D9D-B61C-DD2554E44EF7}" dt="2024-03-07T16:39:26.286" v="26961"/>
          <ac:spMkLst>
            <pc:docMk/>
            <pc:sldMk cId="4005475890" sldId="273"/>
            <ac:spMk id="52" creationId="{0C72DA67-F4C9-4C20-7B13-999AE455153C}"/>
          </ac:spMkLst>
        </pc:spChg>
        <pc:spChg chg="add del mod ord replST">
          <ac:chgData name="Joelle Brehm" userId="a518f54c-6985-42c0-8041-2bb16a414839" providerId="ADAL" clId="{E58FA468-8508-4D9D-B61C-DD2554E44EF7}" dt="2024-03-07T16:39:31.601" v="27017"/>
          <ac:spMkLst>
            <pc:docMk/>
            <pc:sldMk cId="4005475890" sldId="273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39:31.648" v="27098"/>
          <ac:spMkLst>
            <pc:docMk/>
            <pc:sldMk cId="4005475890" sldId="273"/>
            <ac:spMk id="55" creationId="{DF2DE83E-D36B-3359-F2EC-37ABEB5796A3}"/>
          </ac:spMkLst>
        </pc:spChg>
        <pc:spChg chg="mod ord">
          <ac:chgData name="Joelle Brehm" userId="a518f54c-6985-42c0-8041-2bb16a414839" providerId="ADAL" clId="{E58FA468-8508-4D9D-B61C-DD2554E44EF7}" dt="2024-03-07T16:47:18.176" v="32199"/>
          <ac:spMkLst>
            <pc:docMk/>
            <pc:sldMk cId="4005475890" sldId="273"/>
            <ac:spMk id="58" creationId="{FEC487CB-3123-46A1-8350-8669839FA870}"/>
          </ac:spMkLst>
        </pc:spChg>
        <pc:spChg chg="mod ord">
          <ac:chgData name="Joelle Brehm" userId="a518f54c-6985-42c0-8041-2bb16a414839" providerId="ADAL" clId="{E58FA468-8508-4D9D-B61C-DD2554E44EF7}" dt="2024-03-07T16:47:18.176" v="32178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7:18.176" v="32180"/>
          <ac:spMkLst>
            <pc:docMk/>
            <pc:sldMk cId="4005475890" sldId="273"/>
            <ac:spMk id="79" creationId="{F1476AC4-694B-4D83-BFD8-8DCAA4BB1923}"/>
          </ac:spMkLst>
        </pc:spChg>
        <pc:spChg chg="del mod">
          <ac:chgData name="Joelle Brehm" userId="a518f54c-6985-42c0-8041-2bb16a414839" providerId="ADAL" clId="{E58FA468-8508-4D9D-B61C-DD2554E44EF7}" dt="2024-03-07T16:39:25.912" v="26702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47:18.176" v="32182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7:18.176" v="32184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7:18.176" v="32186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7:18.176" v="32188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7:18.176" v="32191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7:18.176" v="32192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7:18.176" v="32193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7:18.176" v="32194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47:18.176" v="32195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7:18.192" v="32207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7:18.159" v="32140"/>
          <ac:graphicFrameMkLst>
            <pc:docMk/>
            <pc:sldMk cId="4005475890" sldId="273"/>
            <ac:graphicFrameMk id="8" creationId="{9E72D3E2-126A-915D-C7C2-0AAAD1604526}"/>
          </ac:graphicFrameMkLst>
        </pc:graphicFrameChg>
        <pc:graphicFrameChg chg="del">
          <ac:chgData name="Joelle Brehm" userId="a518f54c-6985-42c0-8041-2bb16a414839" providerId="ADAL" clId="{E58FA468-8508-4D9D-B61C-DD2554E44EF7}" dt="2024-03-07T16:38:46.684" v="25779"/>
          <ac:graphicFrameMkLst>
            <pc:docMk/>
            <pc:sldMk cId="4005475890" sldId="273"/>
            <ac:graphicFrameMk id="31" creationId="{63962770-C8FF-53AA-DD45-744B717AB15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7:18.176" v="32190"/>
          <ac:graphicFrameMkLst>
            <pc:docMk/>
            <pc:sldMk cId="4005475890" sldId="273"/>
            <ac:graphicFrameMk id="43" creationId="{DFFF4FCA-9B23-9147-9EC8-8740DC6DCB2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9:24" v="26606"/>
          <ac:graphicFrameMkLst>
            <pc:docMk/>
            <pc:sldMk cId="4005475890" sldId="273"/>
            <ac:graphicFrameMk id="47" creationId="{BF2B8BDF-BD1C-EF1F-EEF5-6C79BF2F7A80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9:23.308" v="26437"/>
          <ac:graphicFrameMkLst>
            <pc:docMk/>
            <pc:sldMk cId="4005475890" sldId="273"/>
            <ac:graphicFrameMk id="49" creationId="{B0BAEF1D-0F51-88BF-1AFF-5A31E790893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9:26.188" v="26867"/>
          <ac:graphicFrameMkLst>
            <pc:docMk/>
            <pc:sldMk cId="4005475890" sldId="273"/>
            <ac:graphicFrameMk id="50" creationId="{C8A04C8D-F27E-C489-A676-B81C7E0E5533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39:15.659" v="26069"/>
          <ac:graphicFrameMkLst>
            <pc:docMk/>
            <pc:sldMk cId="4005475890" sldId="273"/>
            <ac:graphicFrameMk id="51" creationId="{483B1145-14A1-187C-1C04-2335AB6469C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39:31.601" v="27019"/>
          <ac:graphicFrameMkLst>
            <pc:docMk/>
            <pc:sldMk cId="4005475890" sldId="273"/>
            <ac:graphicFrameMk id="54" creationId="{463EC782-5CBA-E26C-82ED-020AEC0582C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7:18.176" v="32164"/>
          <ac:graphicFrameMkLst>
            <pc:docMk/>
            <pc:sldMk cId="4005475890" sldId="273"/>
            <ac:graphicFrameMk id="56" creationId="{593C7D43-D4F4-4124-426C-F6D4AFFCF3C6}"/>
          </ac:graphicFrameMkLst>
        </pc:graphicFrameChg>
        <pc:picChg chg="add mod ord">
          <ac:chgData name="Joelle Brehm" userId="a518f54c-6985-42c0-8041-2bb16a414839" providerId="ADAL" clId="{E58FA468-8508-4D9D-B61C-DD2554E44EF7}" dt="2024-03-07T16:47:18.159" v="32132"/>
          <ac:picMkLst>
            <pc:docMk/>
            <pc:sldMk cId="4005475890" sldId="273"/>
            <ac:picMk id="3" creationId="{49516B59-58F9-9884-087C-9A2399409680}"/>
          </ac:picMkLst>
        </pc:picChg>
        <pc:picChg chg="add del mod ord">
          <ac:chgData name="Joelle Brehm" userId="a518f54c-6985-42c0-8041-2bb16a414839" providerId="ADAL" clId="{E58FA468-8508-4D9D-B61C-DD2554E44EF7}" dt="2024-03-07T16:47:19.678" v="32208" actId="478"/>
          <ac:picMkLst>
            <pc:docMk/>
            <pc:sldMk cId="4005475890" sldId="273"/>
            <ac:picMk id="9" creationId="{92504AB7-AD48-D7EF-83AD-8306612B0E1A}"/>
          </ac:picMkLst>
        </pc:picChg>
        <pc:picChg chg="del mod ord">
          <ac:chgData name="Joelle Brehm" userId="a518f54c-6985-42c0-8041-2bb16a414839" providerId="ADAL" clId="{E58FA468-8508-4D9D-B61C-DD2554E44EF7}" dt="2024-03-07T16:39:04.961" v="25949" actId="478"/>
          <ac:picMkLst>
            <pc:docMk/>
            <pc:sldMk cId="4005475890" sldId="273"/>
            <ac:picMk id="35" creationId="{28E7A0D6-7650-91ED-738D-6259ECD3A3A7}"/>
          </ac:picMkLst>
        </pc:picChg>
        <pc:picChg chg="mod ord">
          <ac:chgData name="Joelle Brehm" userId="a518f54c-6985-42c0-8041-2bb16a414839" providerId="ADAL" clId="{E58FA468-8508-4D9D-B61C-DD2554E44EF7}" dt="2024-03-07T16:47:18.176" v="32197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7:18.159" v="32138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7:44.271" v="32319" actId="478"/>
        <pc:sldMkLst>
          <pc:docMk/>
          <pc:sldMk cId="3374649050" sldId="274"/>
        </pc:sldMkLst>
        <pc:spChg chg="mod ord">
          <ac:chgData name="Joelle Brehm" userId="a518f54c-6985-42c0-8041-2bb16a414839" providerId="ADAL" clId="{E58FA468-8508-4D9D-B61C-DD2554E44EF7}" dt="2024-03-07T16:47:42.737" v="32311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E58FA468-8508-4D9D-B61C-DD2554E44EF7}" dt="2024-03-07T16:39:37.378" v="27101" actId="478"/>
          <ac:spMkLst>
            <pc:docMk/>
            <pc:sldMk cId="3374649050" sldId="274"/>
            <ac:spMk id="3" creationId="{E8779130-A425-C65E-5845-551A23C29669}"/>
          </ac:spMkLst>
        </pc:spChg>
        <pc:spChg chg="add del mod modVis">
          <ac:chgData name="Joelle Brehm" userId="a518f54c-6985-42c0-8041-2bb16a414839" providerId="ADAL" clId="{E58FA468-8508-4D9D-B61C-DD2554E44EF7}" dt="2024-03-07T16:47:42.753" v="32315"/>
          <ac:spMkLst>
            <pc:docMk/>
            <pc:sldMk cId="3374649050" sldId="274"/>
            <ac:spMk id="5" creationId="{26ADC88D-5D79-7687-00AD-B565E4C8E46F}"/>
          </ac:spMkLst>
        </pc:spChg>
        <pc:spChg chg="add del mod modVis">
          <ac:chgData name="Joelle Brehm" userId="a518f54c-6985-42c0-8041-2bb16a414839" providerId="ADAL" clId="{E58FA468-8508-4D9D-B61C-DD2554E44EF7}" dt="2024-03-07T16:39:51.476" v="27316"/>
          <ac:spMkLst>
            <pc:docMk/>
            <pc:sldMk cId="3374649050" sldId="274"/>
            <ac:spMk id="5" creationId="{9BF17A29-D9B5-F49E-B42E-6C5FF629AC80}"/>
          </ac:spMkLst>
        </pc:spChg>
        <pc:spChg chg="mod ord">
          <ac:chgData name="Joelle Brehm" userId="a518f54c-6985-42c0-8041-2bb16a414839" providerId="ADAL" clId="{E58FA468-8508-4D9D-B61C-DD2554E44EF7}" dt="2024-03-07T16:47:42.722" v="32246"/>
          <ac:spMkLst>
            <pc:docMk/>
            <pc:sldMk cId="3374649050" sldId="274"/>
            <ac:spMk id="6" creationId="{B47CE71D-7819-4857-B121-737A3BD39B4D}"/>
          </ac:spMkLst>
        </pc:spChg>
        <pc:spChg chg="add mod replST">
          <ac:chgData name="Joelle Brehm" userId="a518f54c-6985-42c0-8041-2bb16a414839" providerId="ADAL" clId="{E58FA468-8508-4D9D-B61C-DD2554E44EF7}" dt="2024-03-07T16:47:42.737" v="32304"/>
          <ac:spMkLst>
            <pc:docMk/>
            <pc:sldMk cId="3374649050" sldId="274"/>
            <ac:spMk id="10" creationId="{F8CD0E45-E5DD-C5F8-57FC-2BF4B99AC187}"/>
          </ac:spMkLst>
        </pc:spChg>
        <pc:spChg chg="mod">
          <ac:chgData name="Joelle Brehm" userId="a518f54c-6985-42c0-8041-2bb16a414839" providerId="ADAL" clId="{E58FA468-8508-4D9D-B61C-DD2554E44EF7}" dt="2024-03-07T16:47:42.737" v="32257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7:42.722" v="32253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7:42.722" v="32254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7:42.722" v="32251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7:42.722" v="32252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7:42.722" v="32255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7:42.722" v="32256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7:42.737" v="32258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7:42.737" v="32259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7:42.737" v="32260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7:42.737" v="32261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7:42.737" v="32262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7:42.737" v="32264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7:42.737" v="32265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7:42.737" v="32267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7:42.737" v="32266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7:42.737" v="32269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7:42.737" v="32270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7:42.737" v="32268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7:42.737" v="32272"/>
          <ac:spMkLst>
            <pc:docMk/>
            <pc:sldMk cId="3374649050" sldId="274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E58FA468-8508-4D9D-B61C-DD2554E44EF7}" dt="2024-03-07T16:47:42.737" v="32305"/>
          <ac:spMkLst>
            <pc:docMk/>
            <pc:sldMk cId="3374649050" sldId="274"/>
            <ac:spMk id="31" creationId="{82DC7CFE-E7CF-73AE-1B49-1886C3F2126F}"/>
          </ac:spMkLst>
        </pc:spChg>
        <pc:spChg chg="mod">
          <ac:chgData name="Joelle Brehm" userId="a518f54c-6985-42c0-8041-2bb16a414839" providerId="ADAL" clId="{E58FA468-8508-4D9D-B61C-DD2554E44EF7}" dt="2024-03-07T16:47:42.737" v="32278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E58FA468-8508-4D9D-B61C-DD2554E44EF7}" dt="2024-03-07T16:47:42.737" v="32275"/>
          <ac:spMkLst>
            <pc:docMk/>
            <pc:sldMk cId="3374649050" sldId="274"/>
            <ac:spMk id="33" creationId="{8A5C4479-0363-6F13-F887-8871FD03F34C}"/>
          </ac:spMkLst>
        </pc:spChg>
        <pc:spChg chg="mod">
          <ac:chgData name="Joelle Brehm" userId="a518f54c-6985-42c0-8041-2bb16a414839" providerId="ADAL" clId="{E58FA468-8508-4D9D-B61C-DD2554E44EF7}" dt="2024-03-07T16:47:42.737" v="32277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E58FA468-8508-4D9D-B61C-DD2554E44EF7}" dt="2024-03-07T16:47:42.737" v="32279"/>
          <ac:spMkLst>
            <pc:docMk/>
            <pc:sldMk cId="3374649050" sldId="274"/>
            <ac:spMk id="36" creationId="{88575725-6998-54DE-FE5F-DCCF247F6A3F}"/>
          </ac:spMkLst>
        </pc:spChg>
        <pc:spChg chg="mod">
          <ac:chgData name="Joelle Brehm" userId="a518f54c-6985-42c0-8041-2bb16a414839" providerId="ADAL" clId="{E58FA468-8508-4D9D-B61C-DD2554E44EF7}" dt="2024-03-07T16:47:42.737" v="32276"/>
          <ac:spMkLst>
            <pc:docMk/>
            <pc:sldMk cId="3374649050" sldId="274"/>
            <ac:spMk id="38" creationId="{1995B1DD-126C-92BA-1668-3B87C2F5B1E5}"/>
          </ac:spMkLst>
        </pc:spChg>
        <pc:spChg chg="mod">
          <ac:chgData name="Joelle Brehm" userId="a518f54c-6985-42c0-8041-2bb16a414839" providerId="ADAL" clId="{E58FA468-8508-4D9D-B61C-DD2554E44EF7}" dt="2024-03-07T16:47:42.737" v="32283"/>
          <ac:spMkLst>
            <pc:docMk/>
            <pc:sldMk cId="3374649050" sldId="274"/>
            <ac:spMk id="39" creationId="{89E6B1B8-FAF0-A6A0-1BC8-497F71E112CB}"/>
          </ac:spMkLst>
        </pc:spChg>
        <pc:spChg chg="mod">
          <ac:chgData name="Joelle Brehm" userId="a518f54c-6985-42c0-8041-2bb16a414839" providerId="ADAL" clId="{E58FA468-8508-4D9D-B61C-DD2554E44EF7}" dt="2024-03-07T16:47:42.737" v="32280"/>
          <ac:spMkLst>
            <pc:docMk/>
            <pc:sldMk cId="3374649050" sldId="274"/>
            <ac:spMk id="40" creationId="{8BA31CDF-8D43-74CD-D3E4-26F103CC0D3B}"/>
          </ac:spMkLst>
        </pc:spChg>
        <pc:spChg chg="mod">
          <ac:chgData name="Joelle Brehm" userId="a518f54c-6985-42c0-8041-2bb16a414839" providerId="ADAL" clId="{E58FA468-8508-4D9D-B61C-DD2554E44EF7}" dt="2024-03-07T16:47:42.737" v="32281"/>
          <ac:spMkLst>
            <pc:docMk/>
            <pc:sldMk cId="3374649050" sldId="274"/>
            <ac:spMk id="41" creationId="{B7AB9DCF-AEC0-1EB4-2709-C783258EE0AF}"/>
          </ac:spMkLst>
        </pc:spChg>
        <pc:spChg chg="mod">
          <ac:chgData name="Joelle Brehm" userId="a518f54c-6985-42c0-8041-2bb16a414839" providerId="ADAL" clId="{E58FA468-8508-4D9D-B61C-DD2554E44EF7}" dt="2024-03-07T16:47:42.737" v="32282"/>
          <ac:spMkLst>
            <pc:docMk/>
            <pc:sldMk cId="3374649050" sldId="274"/>
            <ac:spMk id="42" creationId="{41583D19-C077-7FD0-6F5A-DBE565BC62CF}"/>
          </ac:spMkLst>
        </pc:spChg>
        <pc:spChg chg="mod">
          <ac:chgData name="Joelle Brehm" userId="a518f54c-6985-42c0-8041-2bb16a414839" providerId="ADAL" clId="{E58FA468-8508-4D9D-B61C-DD2554E44EF7}" dt="2024-03-07T16:47:42.737" v="32301"/>
          <ac:spMkLst>
            <pc:docMk/>
            <pc:sldMk cId="3374649050" sldId="274"/>
            <ac:spMk id="43" creationId="{71A50278-0560-C951-1F18-CA11BF2F6494}"/>
          </ac:spMkLst>
        </pc:spChg>
        <pc:spChg chg="add del mod modVis">
          <ac:chgData name="Joelle Brehm" userId="a518f54c-6985-42c0-8041-2bb16a414839" providerId="ADAL" clId="{E58FA468-8508-4D9D-B61C-DD2554E44EF7}" dt="2024-03-07T16:40:19.879" v="27599"/>
          <ac:spMkLst>
            <pc:docMk/>
            <pc:sldMk cId="3374649050" sldId="274"/>
            <ac:spMk id="44" creationId="{403484F3-CAEE-29E8-8A22-60499F4761A6}"/>
          </ac:spMkLst>
        </pc:spChg>
        <pc:spChg chg="mod">
          <ac:chgData name="Joelle Brehm" userId="a518f54c-6985-42c0-8041-2bb16a414839" providerId="ADAL" clId="{E58FA468-8508-4D9D-B61C-DD2554E44EF7}" dt="2024-03-07T16:47:42.737" v="32284"/>
          <ac:spMkLst>
            <pc:docMk/>
            <pc:sldMk cId="3374649050" sldId="274"/>
            <ac:spMk id="45" creationId="{020AC365-4654-40E5-2FE6-86C3FC6C4C65}"/>
          </ac:spMkLst>
        </pc:spChg>
        <pc:spChg chg="add del mod modVis">
          <ac:chgData name="Joelle Brehm" userId="a518f54c-6985-42c0-8041-2bb16a414839" providerId="ADAL" clId="{E58FA468-8508-4D9D-B61C-DD2554E44EF7}" dt="2024-03-07T16:40:28.736" v="27822"/>
          <ac:spMkLst>
            <pc:docMk/>
            <pc:sldMk cId="3374649050" sldId="274"/>
            <ac:spMk id="48" creationId="{24423563-C543-E23D-29D1-883355727754}"/>
          </ac:spMkLst>
        </pc:spChg>
        <pc:spChg chg="mod">
          <ac:chgData name="Joelle Brehm" userId="a518f54c-6985-42c0-8041-2bb16a414839" providerId="ADAL" clId="{E58FA468-8508-4D9D-B61C-DD2554E44EF7}" dt="2024-03-07T16:47:42.737" v="32285"/>
          <ac:spMkLst>
            <pc:docMk/>
            <pc:sldMk cId="3374649050" sldId="274"/>
            <ac:spMk id="50" creationId="{2926314F-BD6E-0404-97CF-8949EB65A226}"/>
          </ac:spMkLst>
        </pc:spChg>
        <pc:spChg chg="add mod replST">
          <ac:chgData name="Joelle Brehm" userId="a518f54c-6985-42c0-8041-2bb16a414839" providerId="ADAL" clId="{E58FA468-8508-4D9D-B61C-DD2554E44EF7}" dt="2024-03-07T16:47:42.737" v="32286"/>
          <ac:spMkLst>
            <pc:docMk/>
            <pc:sldMk cId="3374649050" sldId="274"/>
            <ac:spMk id="52" creationId="{0964E864-42A7-5B2E-517E-B29526537FEF}"/>
          </ac:spMkLst>
        </pc:spChg>
        <pc:spChg chg="add del mod modVis">
          <ac:chgData name="Joelle Brehm" userId="a518f54c-6985-42c0-8041-2bb16a414839" providerId="ADAL" clId="{E58FA468-8508-4D9D-B61C-DD2554E44EF7}" dt="2024-03-07T16:40:34.791" v="28235"/>
          <ac:spMkLst>
            <pc:docMk/>
            <pc:sldMk cId="3374649050" sldId="274"/>
            <ac:spMk id="53" creationId="{FEBD2470-911B-FDC4-6AB6-2FF38A4BCDDD}"/>
          </ac:spMkLst>
        </pc:spChg>
        <pc:spChg chg="add del mod ord replST">
          <ac:chgData name="Joelle Brehm" userId="a518f54c-6985-42c0-8041-2bb16a414839" providerId="ADAL" clId="{E58FA468-8508-4D9D-B61C-DD2554E44EF7}" dt="2024-03-07T16:40:38.473" v="28493"/>
          <ac:spMkLst>
            <pc:docMk/>
            <pc:sldMk cId="3374649050" sldId="274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40:36.514" v="28405"/>
          <ac:spMkLst>
            <pc:docMk/>
            <pc:sldMk cId="3374649050" sldId="274"/>
            <ac:spMk id="56" creationId="{987E80BF-A96F-A105-9F32-512BEE2697C1}"/>
          </ac:spMkLst>
        </pc:spChg>
        <pc:spChg chg="mod ord">
          <ac:chgData name="Joelle Brehm" userId="a518f54c-6985-42c0-8041-2bb16a414839" providerId="ADAL" clId="{E58FA468-8508-4D9D-B61C-DD2554E44EF7}" dt="2024-03-07T16:47:42.737" v="32309"/>
          <ac:spMkLst>
            <pc:docMk/>
            <pc:sldMk cId="3374649050" sldId="274"/>
            <ac:spMk id="58" creationId="{5BBF118A-F952-4AA1-8B74-92A00B5F6171}"/>
          </ac:spMkLst>
        </pc:spChg>
        <pc:spChg chg="add del mod modVis">
          <ac:chgData name="Joelle Brehm" userId="a518f54c-6985-42c0-8041-2bb16a414839" providerId="ADAL" clId="{E58FA468-8508-4D9D-B61C-DD2554E44EF7}" dt="2024-03-07T16:40:38.611" v="28581"/>
          <ac:spMkLst>
            <pc:docMk/>
            <pc:sldMk cId="3374649050" sldId="274"/>
            <ac:spMk id="59" creationId="{6958D45E-2F23-77A1-2D7E-31EA66D49B8C}"/>
          </ac:spMkLst>
        </pc:spChg>
        <pc:spChg chg="mod ord">
          <ac:chgData name="Joelle Brehm" userId="a518f54c-6985-42c0-8041-2bb16a414839" providerId="ADAL" clId="{E58FA468-8508-4D9D-B61C-DD2554E44EF7}" dt="2024-03-07T16:47:42.737" v="32288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7:42.737" v="32290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E58FA468-8508-4D9D-B61C-DD2554E44EF7}" dt="2024-03-07T16:40:38.321" v="28408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47:42.737" v="32292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7:42.737" v="32294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7:42.737" v="32296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7:42.737" v="32298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7:42.737" v="32302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7:42.737" v="32303"/>
          <ac:spMkLst>
            <pc:docMk/>
            <pc:sldMk cId="3374649050" sldId="274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E58FA468-8508-4D9D-B61C-DD2554E44EF7}" dt="2024-03-07T16:47:42.755" v="32317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7:42.722" v="32250"/>
          <ac:graphicFrameMkLst>
            <pc:docMk/>
            <pc:sldMk cId="3374649050" sldId="274"/>
            <ac:graphicFrameMk id="8" creationId="{58AF3ED3-7A48-09C4-DE49-27871C32E1CA}"/>
          </ac:graphicFrameMkLst>
        </pc:graphicFrameChg>
        <pc:graphicFrameChg chg="del">
          <ac:chgData name="Joelle Brehm" userId="a518f54c-6985-42c0-8041-2bb16a414839" providerId="ADAL" clId="{E58FA468-8508-4D9D-B61C-DD2554E44EF7}" dt="2024-03-07T16:39:51.376" v="27233"/>
          <ac:graphicFrameMkLst>
            <pc:docMk/>
            <pc:sldMk cId="3374649050" sldId="274"/>
            <ac:graphicFrameMk id="34" creationId="{4FE54DB1-F032-C63F-3540-201040D0C08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0:23.448" v="27621"/>
          <ac:graphicFrameMkLst>
            <pc:docMk/>
            <pc:sldMk cId="3374649050" sldId="274"/>
            <ac:graphicFrameMk id="46" creationId="{CB213ABC-BC89-053F-C7A9-18692AA3D27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0:28.669" v="27743"/>
          <ac:graphicFrameMkLst>
            <pc:docMk/>
            <pc:sldMk cId="3374649050" sldId="274"/>
            <ac:graphicFrameMk id="47" creationId="{FF44141B-5C9A-F9B2-E6F5-6BE694CAE6C7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40:19.818" v="27520"/>
          <ac:graphicFrameMkLst>
            <pc:docMk/>
            <pc:sldMk cId="3374649050" sldId="274"/>
            <ac:graphicFrameMk id="49" creationId="{85DBDC84-0ADA-A36E-BA8A-C0EAE4AFBF4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7:42.737" v="32300"/>
          <ac:graphicFrameMkLst>
            <pc:docMk/>
            <pc:sldMk cId="3374649050" sldId="274"/>
            <ac:graphicFrameMk id="51" creationId="{3B06DC89-203B-69D3-A4EF-2557050690E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0:36.414" v="28312"/>
          <ac:graphicFrameMkLst>
            <pc:docMk/>
            <pc:sldMk cId="3374649050" sldId="274"/>
            <ac:graphicFrameMk id="55" creationId="{1B76AFD3-B400-C131-F028-D86D0E04D86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0:38.482" v="28502"/>
          <ac:graphicFrameMkLst>
            <pc:docMk/>
            <pc:sldMk cId="3374649050" sldId="274"/>
            <ac:graphicFrameMk id="57" creationId="{422B9436-D2D3-0ABA-E5D0-2D1A2CF660E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7:42.737" v="32274"/>
          <ac:graphicFrameMkLst>
            <pc:docMk/>
            <pc:sldMk cId="3374649050" sldId="274"/>
            <ac:graphicFrameMk id="60" creationId="{43D9160E-E82B-334A-2BBA-056061C47A5F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40:34.728" v="28149"/>
          <ac:graphicFrameMkLst>
            <pc:docMk/>
            <pc:sldMk cId="3374649050" sldId="274"/>
            <ac:graphicFrameMk id="69" creationId="{C0075D3F-06EE-3AA3-2044-B27238829C27}"/>
          </ac:graphicFrameMkLst>
        </pc:graphicFrameChg>
        <pc:picChg chg="add mod ord">
          <ac:chgData name="Joelle Brehm" userId="a518f54c-6985-42c0-8041-2bb16a414839" providerId="ADAL" clId="{E58FA468-8508-4D9D-B61C-DD2554E44EF7}" dt="2024-03-07T16:47:42.722" v="32242"/>
          <ac:picMkLst>
            <pc:docMk/>
            <pc:sldMk cId="3374649050" sldId="274"/>
            <ac:picMk id="3" creationId="{933AE3C5-416C-12BA-A9DF-F9BB6F1AE52D}"/>
          </ac:picMkLst>
        </pc:picChg>
        <pc:picChg chg="add del mod ord">
          <ac:chgData name="Joelle Brehm" userId="a518f54c-6985-42c0-8041-2bb16a414839" providerId="ADAL" clId="{E58FA468-8508-4D9D-B61C-DD2554E44EF7}" dt="2024-03-07T16:47:44.271" v="32319" actId="478"/>
          <ac:picMkLst>
            <pc:docMk/>
            <pc:sldMk cId="3374649050" sldId="274"/>
            <ac:picMk id="9" creationId="{C375F016-C4AF-BC85-34CA-B995DFE8AA88}"/>
          </ac:picMkLst>
        </pc:picChg>
        <pc:picChg chg="del mod ord">
          <ac:chgData name="Joelle Brehm" userId="a518f54c-6985-42c0-8041-2bb16a414839" providerId="ADAL" clId="{E58FA468-8508-4D9D-B61C-DD2554E44EF7}" dt="2024-03-07T16:40:08.820" v="27403" actId="478"/>
          <ac:picMkLst>
            <pc:docMk/>
            <pc:sldMk cId="3374649050" sldId="274"/>
            <ac:picMk id="37" creationId="{E5D92030-F6F0-173E-B8B8-DF1694EB1787}"/>
          </ac:picMkLst>
        </pc:picChg>
        <pc:picChg chg="mod ord">
          <ac:chgData name="Joelle Brehm" userId="a518f54c-6985-42c0-8041-2bb16a414839" providerId="ADAL" clId="{E58FA468-8508-4D9D-B61C-DD2554E44EF7}" dt="2024-03-07T16:47:42.737" v="32307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7:42.722" v="32248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8:09.681" v="32428" actId="478"/>
        <pc:sldMkLst>
          <pc:docMk/>
          <pc:sldMk cId="592117244" sldId="275"/>
        </pc:sldMkLst>
        <pc:spChg chg="add del mod">
          <ac:chgData name="Joelle Brehm" userId="a518f54c-6985-42c0-8041-2bb16a414839" providerId="ADAL" clId="{E58FA468-8508-4D9D-B61C-DD2554E44EF7}" dt="2024-03-07T16:40:55.892" v="28584" actId="478"/>
          <ac:spMkLst>
            <pc:docMk/>
            <pc:sldMk cId="592117244" sldId="275"/>
            <ac:spMk id="2" creationId="{BD3F71AA-7C67-82DA-AB56-DEAD6BE9D26A}"/>
          </ac:spMkLst>
        </pc:spChg>
        <pc:spChg chg="mod ord">
          <ac:chgData name="Joelle Brehm" userId="a518f54c-6985-42c0-8041-2bb16a414839" providerId="ADAL" clId="{E58FA468-8508-4D9D-B61C-DD2554E44EF7}" dt="2024-03-07T16:48:08.310" v="32421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E58FA468-8508-4D9D-B61C-DD2554E44EF7}" dt="2024-03-07T16:48:08.310" v="32425"/>
          <ac:spMkLst>
            <pc:docMk/>
            <pc:sldMk cId="592117244" sldId="275"/>
            <ac:spMk id="5" creationId="{B4447FD1-F142-CCC7-1FF0-CBA2A90A1D6A}"/>
          </ac:spMkLst>
        </pc:spChg>
        <pc:spChg chg="add del mod modVis">
          <ac:chgData name="Joelle Brehm" userId="a518f54c-6985-42c0-8041-2bb16a414839" providerId="ADAL" clId="{E58FA468-8508-4D9D-B61C-DD2554E44EF7}" dt="2024-03-07T16:41:11.248" v="28807"/>
          <ac:spMkLst>
            <pc:docMk/>
            <pc:sldMk cId="592117244" sldId="275"/>
            <ac:spMk id="5" creationId="{C6E0941C-09CC-2DC6-1A8C-186E2845824B}"/>
          </ac:spMkLst>
        </pc:spChg>
        <pc:spChg chg="mod ord">
          <ac:chgData name="Joelle Brehm" userId="a518f54c-6985-42c0-8041-2bb16a414839" providerId="ADAL" clId="{E58FA468-8508-4D9D-B61C-DD2554E44EF7}" dt="2024-03-07T16:48:08.292" v="32356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48:08.292" v="32367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8:08.292" v="32363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8:08.292" v="32364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8:08.292" v="32361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8:08.292" v="32362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8:08.292" v="32365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8:08.292" v="32366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8:08.292" v="32368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8:08.292" v="32369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8:08.292" v="32370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8:08.292" v="32371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8:08.292" v="32372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8:08.292" v="32374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8:08.292" v="32375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8:08.292" v="32377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8:08.292" v="32376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8:08.292" v="32379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8:08.292" v="32380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8:08.292" v="32378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8:08.292" v="32382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48:08.292" v="32387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E58FA468-8508-4D9D-B61C-DD2554E44EF7}" dt="2024-03-07T16:48:08.292" v="32388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E58FA468-8508-4D9D-B61C-DD2554E44EF7}" dt="2024-03-07T16:48:08.292" v="32390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E58FA468-8508-4D9D-B61C-DD2554E44EF7}" dt="2024-03-07T16:48:08.292" v="32389"/>
          <ac:spMkLst>
            <pc:docMk/>
            <pc:sldMk cId="592117244" sldId="275"/>
            <ac:spMk id="35" creationId="{8A659545-7F46-0F9C-1180-4340FFF52971}"/>
          </ac:spMkLst>
        </pc:spChg>
        <pc:spChg chg="mod">
          <ac:chgData name="Joelle Brehm" userId="a518f54c-6985-42c0-8041-2bb16a414839" providerId="ADAL" clId="{E58FA468-8508-4D9D-B61C-DD2554E44EF7}" dt="2024-03-07T16:48:08.292" v="32392"/>
          <ac:spMkLst>
            <pc:docMk/>
            <pc:sldMk cId="592117244" sldId="275"/>
            <ac:spMk id="36" creationId="{C43BE2CA-3914-FB60-BCFB-2D4A26000593}"/>
          </ac:spMkLst>
        </pc:spChg>
        <pc:spChg chg="mod">
          <ac:chgData name="Joelle Brehm" userId="a518f54c-6985-42c0-8041-2bb16a414839" providerId="ADAL" clId="{E58FA468-8508-4D9D-B61C-DD2554E44EF7}" dt="2024-03-07T16:48:08.292" v="32386"/>
          <ac:spMkLst>
            <pc:docMk/>
            <pc:sldMk cId="592117244" sldId="275"/>
            <ac:spMk id="37" creationId="{90FA8FF8-BF43-F8ED-7D69-4D34F348E5E1}"/>
          </ac:spMkLst>
        </pc:spChg>
        <pc:spChg chg="add del mod modVis">
          <ac:chgData name="Joelle Brehm" userId="a518f54c-6985-42c0-8041-2bb16a414839" providerId="ADAL" clId="{E58FA468-8508-4D9D-B61C-DD2554E44EF7}" dt="2024-03-07T16:41:32.084" v="29091"/>
          <ac:spMkLst>
            <pc:docMk/>
            <pc:sldMk cId="592117244" sldId="275"/>
            <ac:spMk id="38" creationId="{E6A2584F-FAC9-F586-09E2-BDE7FE287303}"/>
          </ac:spMkLst>
        </pc:spChg>
        <pc:spChg chg="mod">
          <ac:chgData name="Joelle Brehm" userId="a518f54c-6985-42c0-8041-2bb16a414839" providerId="ADAL" clId="{E58FA468-8508-4D9D-B61C-DD2554E44EF7}" dt="2024-03-07T16:48:08.292" v="32385"/>
          <ac:spMkLst>
            <pc:docMk/>
            <pc:sldMk cId="592117244" sldId="275"/>
            <ac:spMk id="39" creationId="{1EFCB791-16E1-BC87-1C92-0DDD24DA7D5F}"/>
          </ac:spMkLst>
        </pc:spChg>
        <pc:spChg chg="mod">
          <ac:chgData name="Joelle Brehm" userId="a518f54c-6985-42c0-8041-2bb16a414839" providerId="ADAL" clId="{E58FA468-8508-4D9D-B61C-DD2554E44EF7}" dt="2024-03-07T16:48:08.292" v="32391"/>
          <ac:spMkLst>
            <pc:docMk/>
            <pc:sldMk cId="592117244" sldId="275"/>
            <ac:spMk id="40" creationId="{EA684AFB-C218-2E57-6C22-6AF81611FBE3}"/>
          </ac:spMkLst>
        </pc:spChg>
        <pc:spChg chg="mod">
          <ac:chgData name="Joelle Brehm" userId="a518f54c-6985-42c0-8041-2bb16a414839" providerId="ADAL" clId="{E58FA468-8508-4D9D-B61C-DD2554E44EF7}" dt="2024-03-07T16:48:08.292" v="32393"/>
          <ac:spMkLst>
            <pc:docMk/>
            <pc:sldMk cId="592117244" sldId="275"/>
            <ac:spMk id="42" creationId="{7AECD966-6D66-1191-E056-C35E4AC93D68}"/>
          </ac:spMkLst>
        </pc:spChg>
        <pc:spChg chg="mod">
          <ac:chgData name="Joelle Brehm" userId="a518f54c-6985-42c0-8041-2bb16a414839" providerId="ADAL" clId="{E58FA468-8508-4D9D-B61C-DD2554E44EF7}" dt="2024-03-07T16:48:08.292" v="32394"/>
          <ac:spMkLst>
            <pc:docMk/>
            <pc:sldMk cId="592117244" sldId="275"/>
            <ac:spMk id="44" creationId="{221444E3-A480-FC28-9EFB-C89326EEDBF7}"/>
          </ac:spMkLst>
        </pc:spChg>
        <pc:spChg chg="mod">
          <ac:chgData name="Joelle Brehm" userId="a518f54c-6985-42c0-8041-2bb16a414839" providerId="ADAL" clId="{E58FA468-8508-4D9D-B61C-DD2554E44EF7}" dt="2024-03-07T16:48:08.292" v="32395"/>
          <ac:spMkLst>
            <pc:docMk/>
            <pc:sldMk cId="592117244" sldId="275"/>
            <ac:spMk id="45" creationId="{53113F2F-9D53-0198-9768-061422461E94}"/>
          </ac:spMkLst>
        </pc:spChg>
        <pc:spChg chg="add mod replST">
          <ac:chgData name="Joelle Brehm" userId="a518f54c-6985-42c0-8041-2bb16a414839" providerId="ADAL" clId="{E58FA468-8508-4D9D-B61C-DD2554E44EF7}" dt="2024-03-07T16:48:08.292" v="32396"/>
          <ac:spMkLst>
            <pc:docMk/>
            <pc:sldMk cId="592117244" sldId="275"/>
            <ac:spMk id="46" creationId="{500D504E-CB81-2A27-BBB9-BC905D388C32}"/>
          </ac:spMkLst>
        </pc:spChg>
        <pc:spChg chg="add del mod modVis">
          <ac:chgData name="Joelle Brehm" userId="a518f54c-6985-42c0-8041-2bb16a414839" providerId="ADAL" clId="{E58FA468-8508-4D9D-B61C-DD2554E44EF7}" dt="2024-03-07T16:41:38.469" v="29526"/>
          <ac:spMkLst>
            <pc:docMk/>
            <pc:sldMk cId="592117244" sldId="275"/>
            <ac:spMk id="47" creationId="{4FEA5057-781F-5B05-CD50-184D75EF28C8}"/>
          </ac:spMkLst>
        </pc:spChg>
        <pc:spChg chg="add del mod ord replST">
          <ac:chgData name="Joelle Brehm" userId="a518f54c-6985-42c0-8041-2bb16a414839" providerId="ADAL" clId="{E58FA468-8508-4D9D-B61C-DD2554E44EF7}" dt="2024-03-07T16:41:47.534" v="29934"/>
          <ac:spMkLst>
            <pc:docMk/>
            <pc:sldMk cId="592117244" sldId="275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41:39.868" v="29699"/>
          <ac:spMkLst>
            <pc:docMk/>
            <pc:sldMk cId="592117244" sldId="275"/>
            <ac:spMk id="50" creationId="{2A982790-B59C-6B18-C5D0-BAAC2BB6F3ED}"/>
          </ac:spMkLst>
        </pc:spChg>
        <pc:spChg chg="add del mod modVis">
          <ac:chgData name="Joelle Brehm" userId="a518f54c-6985-42c0-8041-2bb16a414839" providerId="ADAL" clId="{E58FA468-8508-4D9D-B61C-DD2554E44EF7}" dt="2024-03-07T16:41:42.041" v="29880"/>
          <ac:spMkLst>
            <pc:docMk/>
            <pc:sldMk cId="592117244" sldId="275"/>
            <ac:spMk id="52" creationId="{D9578AB3-C134-735B-9933-3DE9CE34670B}"/>
          </ac:spMkLst>
        </pc:spChg>
        <pc:spChg chg="add del mod modVis">
          <ac:chgData name="Joelle Brehm" userId="a518f54c-6985-42c0-8041-2bb16a414839" providerId="ADAL" clId="{E58FA468-8508-4D9D-B61C-DD2554E44EF7}" dt="2024-03-07T16:41:47.568" v="30015"/>
          <ac:spMkLst>
            <pc:docMk/>
            <pc:sldMk cId="592117244" sldId="275"/>
            <ac:spMk id="54" creationId="{50971B67-4B55-3975-E853-483DC4905306}"/>
          </ac:spMkLst>
        </pc:spChg>
        <pc:spChg chg="mod ord">
          <ac:chgData name="Joelle Brehm" userId="a518f54c-6985-42c0-8041-2bb16a414839" providerId="ADAL" clId="{E58FA468-8508-4D9D-B61C-DD2554E44EF7}" dt="2024-03-07T16:48:08.310" v="32419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E58FA468-8508-4D9D-B61C-DD2554E44EF7}" dt="2024-03-07T16:48:08.292" v="32398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8:08.292" v="32400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E58FA468-8508-4D9D-B61C-DD2554E44EF7}" dt="2024-03-07T16:41:41.806" v="29702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48:08.292" v="32402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8:08.309" v="32404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8:08.309" v="32406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8:08.310" v="32408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8:08.310" v="32411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8:08.310" v="32412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8:08.310" v="32413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8:08.310" v="32414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48:08.310" v="32415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48:08.321" v="32427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8:08.292" v="32360"/>
          <ac:graphicFrameMkLst>
            <pc:docMk/>
            <pc:sldMk cId="592117244" sldId="275"/>
            <ac:graphicFrameMk id="8" creationId="{CCA03FAB-0A88-8FC9-7AA8-CF6850723B12}"/>
          </ac:graphicFrameMkLst>
        </pc:graphicFrameChg>
        <pc:graphicFrameChg chg="del">
          <ac:chgData name="Joelle Brehm" userId="a518f54c-6985-42c0-8041-2bb16a414839" providerId="ADAL" clId="{E58FA468-8508-4D9D-B61C-DD2554E44EF7}" dt="2024-03-07T16:41:11.184" v="28724"/>
          <ac:graphicFrameMkLst>
            <pc:docMk/>
            <pc:sldMk cId="592117244" sldId="275"/>
            <ac:graphicFrameMk id="9" creationId="{A8BCE557-494D-03E8-AE98-F696B470C63A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41:32.031" v="29012"/>
          <ac:graphicFrameMkLst>
            <pc:docMk/>
            <pc:sldMk cId="592117244" sldId="275"/>
            <ac:graphicFrameMk id="41" creationId="{5F9013B5-EC43-3FBC-6E52-241A379187E3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8:08.310" v="32410"/>
          <ac:graphicFrameMkLst>
            <pc:docMk/>
            <pc:sldMk cId="592117244" sldId="275"/>
            <ac:graphicFrameMk id="43" creationId="{006723D0-4CDC-B471-D200-71FD214BAE0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1:39.700" v="29606"/>
          <ac:graphicFrameMkLst>
            <pc:docMk/>
            <pc:sldMk cId="592117244" sldId="275"/>
            <ac:graphicFrameMk id="49" creationId="{68374065-552E-EE5B-F3AA-52A2AA30F2E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1:41.958" v="29799"/>
          <ac:graphicFrameMkLst>
            <pc:docMk/>
            <pc:sldMk cId="592117244" sldId="275"/>
            <ac:graphicFrameMk id="51" creationId="{96911E9A-AD69-FB2A-100E-8DF4F5C489B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1:47.536" v="29936"/>
          <ac:graphicFrameMkLst>
            <pc:docMk/>
            <pc:sldMk cId="592117244" sldId="275"/>
            <ac:graphicFrameMk id="53" creationId="{6A048F74-74E0-2985-9081-FC086407EC2A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8:08.292" v="32384"/>
          <ac:graphicFrameMkLst>
            <pc:docMk/>
            <pc:sldMk cId="592117244" sldId="275"/>
            <ac:graphicFrameMk id="55" creationId="{759BEDB0-AC79-7FC0-764A-002822D75E8F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41:38.377" v="29438"/>
          <ac:graphicFrameMkLst>
            <pc:docMk/>
            <pc:sldMk cId="592117244" sldId="275"/>
            <ac:graphicFrameMk id="56" creationId="{89574176-B69D-08C9-622C-8988DA74A6D3}"/>
          </ac:graphicFrameMkLst>
        </pc:graphicFrameChg>
        <pc:picChg chg="add mod ord">
          <ac:chgData name="Joelle Brehm" userId="a518f54c-6985-42c0-8041-2bb16a414839" providerId="ADAL" clId="{E58FA468-8508-4D9D-B61C-DD2554E44EF7}" dt="2024-03-07T16:48:08.292" v="32352"/>
          <ac:picMkLst>
            <pc:docMk/>
            <pc:sldMk cId="592117244" sldId="275"/>
            <ac:picMk id="2" creationId="{EF9B8CC9-573D-1FCB-81A4-58CD80AABEF5}"/>
          </ac:picMkLst>
        </pc:picChg>
        <pc:picChg chg="del mod ord">
          <ac:chgData name="Joelle Brehm" userId="a518f54c-6985-42c0-8041-2bb16a414839" providerId="ADAL" clId="{E58FA468-8508-4D9D-B61C-DD2554E44EF7}" dt="2024-03-07T16:41:24.567" v="28895" actId="478"/>
          <ac:picMkLst>
            <pc:docMk/>
            <pc:sldMk cId="592117244" sldId="275"/>
            <ac:picMk id="10" creationId="{F4744F1E-E03D-3246-50BA-1ED9DCC7A7CE}"/>
          </ac:picMkLst>
        </pc:picChg>
        <pc:picChg chg="add del mod ord">
          <ac:chgData name="Joelle Brehm" userId="a518f54c-6985-42c0-8041-2bb16a414839" providerId="ADAL" clId="{E58FA468-8508-4D9D-B61C-DD2554E44EF7}" dt="2024-03-07T16:48:09.681" v="32428" actId="478"/>
          <ac:picMkLst>
            <pc:docMk/>
            <pc:sldMk cId="592117244" sldId="275"/>
            <ac:picMk id="31" creationId="{99CED13E-2024-E71F-A77C-6B56C7E1FF70}"/>
          </ac:picMkLst>
        </pc:picChg>
        <pc:picChg chg="mod ord">
          <ac:chgData name="Joelle Brehm" userId="a518f54c-6985-42c0-8041-2bb16a414839" providerId="ADAL" clId="{E58FA468-8508-4D9D-B61C-DD2554E44EF7}" dt="2024-03-07T16:48:08.310" v="32417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8:08.292" v="32358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49:52.083" v="32829"/>
        <pc:sldMkLst>
          <pc:docMk/>
          <pc:sldMk cId="3358644479" sldId="276"/>
        </pc:sldMkLst>
        <pc:spChg chg="mod ord">
          <ac:chgData name="Joelle Brehm" userId="a518f54c-6985-42c0-8041-2bb16a414839" providerId="ADAL" clId="{E58FA468-8508-4D9D-B61C-DD2554E44EF7}" dt="2024-03-07T16:49:52.083" v="32823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E58FA468-8508-4D9D-B61C-DD2554E44EF7}" dt="2024-03-07T16:41:50.856" v="30018" actId="478"/>
          <ac:spMkLst>
            <pc:docMk/>
            <pc:sldMk cId="3358644479" sldId="276"/>
            <ac:spMk id="3" creationId="{FD36757B-0073-9078-3A5F-AC86EC46EF0F}"/>
          </ac:spMkLst>
        </pc:spChg>
        <pc:spChg chg="add del mod modVis">
          <ac:chgData name="Joelle Brehm" userId="a518f54c-6985-42c0-8041-2bb16a414839" providerId="ADAL" clId="{E58FA468-8508-4D9D-B61C-DD2554E44EF7}" dt="2024-03-07T16:48:36.525" v="32536"/>
          <ac:spMkLst>
            <pc:docMk/>
            <pc:sldMk cId="3358644479" sldId="276"/>
            <ac:spMk id="5" creationId="{01A0D1CF-5960-D563-B056-EC44F987E432}"/>
          </ac:spMkLst>
        </pc:spChg>
        <pc:spChg chg="add del mod modVis">
          <ac:chgData name="Joelle Brehm" userId="a518f54c-6985-42c0-8041-2bb16a414839" providerId="ADAL" clId="{E58FA468-8508-4D9D-B61C-DD2554E44EF7}" dt="2024-03-07T16:42:05.603" v="30221"/>
          <ac:spMkLst>
            <pc:docMk/>
            <pc:sldMk cId="3358644479" sldId="276"/>
            <ac:spMk id="5" creationId="{9FD0344A-73D5-1894-6526-1B01640C076A}"/>
          </ac:spMkLst>
        </pc:spChg>
        <pc:spChg chg="mod ord">
          <ac:chgData name="Joelle Brehm" userId="a518f54c-6985-42c0-8041-2bb16a414839" providerId="ADAL" clId="{E58FA468-8508-4D9D-B61C-DD2554E44EF7}" dt="2024-03-07T16:49:52.058" v="32760"/>
          <ac:spMkLst>
            <pc:docMk/>
            <pc:sldMk cId="3358644479" sldId="27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58FA468-8508-4D9D-B61C-DD2554E44EF7}" dt="2024-03-07T16:49:52.083" v="32827"/>
          <ac:spMkLst>
            <pc:docMk/>
            <pc:sldMk cId="3358644479" sldId="276"/>
            <ac:spMk id="9" creationId="{689C71DC-12FA-5BAB-61B4-FE257C81B4EB}"/>
          </ac:spMkLst>
        </pc:spChg>
        <pc:spChg chg="mod">
          <ac:chgData name="Joelle Brehm" userId="a518f54c-6985-42c0-8041-2bb16a414839" providerId="ADAL" clId="{E58FA468-8508-4D9D-B61C-DD2554E44EF7}" dt="2024-03-07T16:49:52.074" v="32790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E58FA468-8508-4D9D-B61C-DD2554E44EF7}" dt="2024-03-07T16:49:52.058" v="32771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49:52.058" v="32767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49:52.058" v="32768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49:52.058" v="32765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49:52.058" v="32766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49:52.058" v="32769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49:52.058" v="32770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49:52.058" v="32772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49:52.058" v="32773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49:52.058" v="32774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49:52.058" v="32775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49:52.058" v="32776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49:52.058" v="32778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49:52.058" v="32779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49:52.058" v="32781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49:52.058" v="32780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49:52.073" v="32783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49:52.073" v="32784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49:52.058" v="32782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49:52.074" v="32786"/>
          <ac:spMkLst>
            <pc:docMk/>
            <pc:sldMk cId="3358644479" sldId="276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E58FA468-8508-4D9D-B61C-DD2554E44EF7}" dt="2024-03-07T16:49:52.074" v="32800"/>
          <ac:spMkLst>
            <pc:docMk/>
            <pc:sldMk cId="3358644479" sldId="276"/>
            <ac:spMk id="33" creationId="{1735947B-D840-E65A-104B-866876956309}"/>
          </ac:spMkLst>
        </pc:spChg>
        <pc:spChg chg="add del mod modVis">
          <ac:chgData name="Joelle Brehm" userId="a518f54c-6985-42c0-8041-2bb16a414839" providerId="ADAL" clId="{E58FA468-8508-4D9D-B61C-DD2554E44EF7}" dt="2024-03-07T16:42:27.519" v="30742"/>
          <ac:spMkLst>
            <pc:docMk/>
            <pc:sldMk cId="3358644479" sldId="276"/>
            <ac:spMk id="34" creationId="{3515C5C1-42BE-D63A-0C3A-CF444081379A}"/>
          </ac:spMkLst>
        </pc:spChg>
        <pc:spChg chg="add del mod ord replST">
          <ac:chgData name="Joelle Brehm" userId="a518f54c-6985-42c0-8041-2bb16a414839" providerId="ADAL" clId="{E58FA468-8508-4D9D-B61C-DD2554E44EF7}" dt="2024-03-07T16:42:31.047" v="31047"/>
          <ac:spMkLst>
            <pc:docMk/>
            <pc:sldMk cId="3358644479" sldId="276"/>
            <ac:spMk id="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9:52.074" v="32796"/>
          <ac:spMkLst>
            <pc:docMk/>
            <pc:sldMk cId="3358644479" sldId="276"/>
            <ac:spMk id="36" creationId="{4467CB91-DB37-223E-6BCD-75143BB1B4BC}"/>
          </ac:spMkLst>
        </pc:spChg>
        <pc:spChg chg="del mod">
          <ac:chgData name="Joelle Brehm" userId="a518f54c-6985-42c0-8041-2bb16a414839" providerId="ADAL" clId="{E58FA468-8508-4D9D-B61C-DD2554E44EF7}" dt="2024-03-07T16:42:30.886" v="30916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E58FA468-8508-4D9D-B61C-DD2554E44EF7}" dt="2024-03-07T16:49:52.074" v="32817"/>
          <ac:spMkLst>
            <pc:docMk/>
            <pc:sldMk cId="3358644479" sldId="276"/>
            <ac:spMk id="39" creationId="{4FEE52F1-F036-DD7D-A4F7-332F7492BB1A}"/>
          </ac:spMkLst>
        </pc:spChg>
        <pc:spChg chg="add del mod modVis">
          <ac:chgData name="Joelle Brehm" userId="a518f54c-6985-42c0-8041-2bb16a414839" providerId="ADAL" clId="{E58FA468-8508-4D9D-B61C-DD2554E44EF7}" dt="2024-03-07T16:42:28.594" v="30913"/>
          <ac:spMkLst>
            <pc:docMk/>
            <pc:sldMk cId="3358644479" sldId="276"/>
            <ac:spMk id="40" creationId="{EBFC250B-77E6-0DF4-B7F8-516836878473}"/>
          </ac:spMkLst>
        </pc:spChg>
        <pc:spChg chg="mod">
          <ac:chgData name="Joelle Brehm" userId="a518f54c-6985-42c0-8041-2bb16a414839" providerId="ADAL" clId="{E58FA468-8508-4D9D-B61C-DD2554E44EF7}" dt="2024-03-07T16:49:52.074" v="32793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E58FA468-8508-4D9D-B61C-DD2554E44EF7}" dt="2024-03-07T16:49:52.074" v="32791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E58FA468-8508-4D9D-B61C-DD2554E44EF7}" dt="2024-03-07T16:49:52.074" v="32789"/>
          <ac:spMkLst>
            <pc:docMk/>
            <pc:sldMk cId="3358644479" sldId="276"/>
            <ac:spMk id="44" creationId="{5C64EA04-B56C-CC91-D9A7-8AB0C80D5C79}"/>
          </ac:spMkLst>
        </pc:spChg>
        <pc:spChg chg="mod">
          <ac:chgData name="Joelle Brehm" userId="a518f54c-6985-42c0-8041-2bb16a414839" providerId="ADAL" clId="{E58FA468-8508-4D9D-B61C-DD2554E44EF7}" dt="2024-03-07T16:49:52.074" v="32794"/>
          <ac:spMkLst>
            <pc:docMk/>
            <pc:sldMk cId="3358644479" sldId="276"/>
            <ac:spMk id="45" creationId="{E2BF77D0-7FDB-BE38-6486-446042D2E6CA}"/>
          </ac:spMkLst>
        </pc:spChg>
        <pc:spChg chg="mod">
          <ac:chgData name="Joelle Brehm" userId="a518f54c-6985-42c0-8041-2bb16a414839" providerId="ADAL" clId="{E58FA468-8508-4D9D-B61C-DD2554E44EF7}" dt="2024-03-07T16:49:52.074" v="32799"/>
          <ac:spMkLst>
            <pc:docMk/>
            <pc:sldMk cId="3358644479" sldId="276"/>
            <ac:spMk id="46" creationId="{60941C7A-4FE6-6D9F-9D91-5722837A43E7}"/>
          </ac:spMkLst>
        </pc:spChg>
        <pc:spChg chg="mod">
          <ac:chgData name="Joelle Brehm" userId="a518f54c-6985-42c0-8041-2bb16a414839" providerId="ADAL" clId="{E58FA468-8508-4D9D-B61C-DD2554E44EF7}" dt="2024-03-07T16:49:52.074" v="32798"/>
          <ac:spMkLst>
            <pc:docMk/>
            <pc:sldMk cId="3358644479" sldId="276"/>
            <ac:spMk id="48" creationId="{C2906F56-C60C-2BB1-3607-9FB82AD9A981}"/>
          </ac:spMkLst>
        </pc:spChg>
        <pc:spChg chg="mod">
          <ac:chgData name="Joelle Brehm" userId="a518f54c-6985-42c0-8041-2bb16a414839" providerId="ADAL" clId="{E58FA468-8508-4D9D-B61C-DD2554E44EF7}" dt="2024-03-07T16:49:52.074" v="32792"/>
          <ac:spMkLst>
            <pc:docMk/>
            <pc:sldMk cId="3358644479" sldId="276"/>
            <ac:spMk id="49" creationId="{D4F90E1C-EAB9-BF7D-5820-940E92571336}"/>
          </ac:spMkLst>
        </pc:spChg>
        <pc:spChg chg="mod">
          <ac:chgData name="Joelle Brehm" userId="a518f54c-6985-42c0-8041-2bb16a414839" providerId="ADAL" clId="{E58FA468-8508-4D9D-B61C-DD2554E44EF7}" dt="2024-03-07T16:49:52.074" v="32795"/>
          <ac:spMkLst>
            <pc:docMk/>
            <pc:sldMk cId="3358644479" sldId="276"/>
            <ac:spMk id="50" creationId="{EBF57C44-6BCA-2A9E-015B-FE2A2654B397}"/>
          </ac:spMkLst>
        </pc:spChg>
        <pc:spChg chg="add del mod modVis">
          <ac:chgData name="Joelle Brehm" userId="a518f54c-6985-42c0-8041-2bb16a414839" providerId="ADAL" clId="{E58FA468-8508-4D9D-B61C-DD2554E44EF7}" dt="2024-03-07T16:42:31.121" v="31172"/>
          <ac:spMkLst>
            <pc:docMk/>
            <pc:sldMk cId="3358644479" sldId="276"/>
            <ac:spMk id="51" creationId="{202D9367-D36D-9EC0-986C-7FB5F05692AD}"/>
          </ac:spMkLst>
        </pc:spChg>
        <pc:spChg chg="add del mod ord replST">
          <ac:chgData name="Joelle Brehm" userId="a518f54c-6985-42c0-8041-2bb16a414839" providerId="ADAL" clId="{E58FA468-8508-4D9D-B61C-DD2554E44EF7}" dt="2024-03-07T16:49:52.026" v="32746"/>
          <ac:spMkLst>
            <pc:docMk/>
            <pc:sldMk cId="3358644479" sldId="276"/>
            <ac:spMk id="5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9:52.074" v="32797"/>
          <ac:spMkLst>
            <pc:docMk/>
            <pc:sldMk cId="3358644479" sldId="276"/>
            <ac:spMk id="53" creationId="{319F4068-5046-76B4-073D-72CEC16CD1EA}"/>
          </ac:spMkLst>
        </pc:spChg>
        <pc:spChg chg="add del mod modVis">
          <ac:chgData name="Joelle Brehm" userId="a518f54c-6985-42c0-8041-2bb16a414839" providerId="ADAL" clId="{E58FA468-8508-4D9D-B61C-DD2554E44EF7}" dt="2024-03-07T16:42:38.422" v="31335"/>
          <ac:spMkLst>
            <pc:docMk/>
            <pc:sldMk cId="3358644479" sldId="276"/>
            <ac:spMk id="55" creationId="{1A53CCB5-8DC2-9949-8907-95B8047BE2E5}"/>
          </ac:spMkLst>
        </pc:spChg>
        <pc:spChg chg="mod ord">
          <ac:chgData name="Joelle Brehm" userId="a518f54c-6985-42c0-8041-2bb16a414839" providerId="ADAL" clId="{E58FA468-8508-4D9D-B61C-DD2554E44EF7}" dt="2024-03-07T16:49:52.083" v="32821"/>
          <ac:spMkLst>
            <pc:docMk/>
            <pc:sldMk cId="3358644479" sldId="276"/>
            <ac:spMk id="58" creationId="{0CB06D1E-8664-4C1B-9ACF-854D6C46B776}"/>
          </ac:spMkLst>
        </pc:spChg>
        <pc:spChg chg="mod ord">
          <ac:chgData name="Joelle Brehm" userId="a518f54c-6985-42c0-8041-2bb16a414839" providerId="ADAL" clId="{E58FA468-8508-4D9D-B61C-DD2554E44EF7}" dt="2024-03-07T16:49:52.074" v="32802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49:52.074" v="32804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6:49:52.074" v="32806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49:52.074" v="32808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49:52.074" v="32810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49:52.074" v="32812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49:52.074" v="32815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49:52.074" v="32816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E58FA468-8508-4D9D-B61C-DD2554E44EF7}" dt="2024-03-07T16:49:52.083" v="32829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9:52.058" v="32764"/>
          <ac:graphicFrameMkLst>
            <pc:docMk/>
            <pc:sldMk cId="3358644479" sldId="276"/>
            <ac:graphicFrameMk id="8" creationId="{D41DBE00-C539-4A74-F1A7-9F57BDCAA75C}"/>
          </ac:graphicFrameMkLst>
        </pc:graphicFrameChg>
        <pc:graphicFrameChg chg="del">
          <ac:chgData name="Joelle Brehm" userId="a518f54c-6985-42c0-8041-2bb16a414839" providerId="ADAL" clId="{E58FA468-8508-4D9D-B61C-DD2554E44EF7}" dt="2024-03-07T16:42:05.483" v="30142"/>
          <ac:graphicFrameMkLst>
            <pc:docMk/>
            <pc:sldMk cId="3358644479" sldId="276"/>
            <ac:graphicFrameMk id="9" creationId="{2DE819D2-95C8-453A-290C-F65E2D907E6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9:52.074" v="32788"/>
          <ac:graphicFrameMkLst>
            <pc:docMk/>
            <pc:sldMk cId="3358644479" sldId="276"/>
            <ac:graphicFrameMk id="31" creationId="{E1F132BE-8CFC-9A2A-9BBD-B461B3E1FE4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2:28.519" v="30822"/>
          <ac:graphicFrameMkLst>
            <pc:docMk/>
            <pc:sldMk cId="3358644479" sldId="276"/>
            <ac:graphicFrameMk id="37" creationId="{1AEF25A4-A708-AB3F-318A-D16945FAFB52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42:38.347" v="31256"/>
          <ac:graphicFrameMkLst>
            <pc:docMk/>
            <pc:sldMk cId="3358644479" sldId="276"/>
            <ac:graphicFrameMk id="43" creationId="{5AD3A442-AEEF-4DAD-3623-63075562377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2:31.063" v="31082"/>
          <ac:graphicFrameMkLst>
            <pc:docMk/>
            <pc:sldMk cId="3358644479" sldId="276"/>
            <ac:graphicFrameMk id="47" creationId="{FB1E504B-8DBE-06F0-7C36-830FA70AB3E2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9:52.042" v="32748"/>
          <ac:graphicFrameMkLst>
            <pc:docMk/>
            <pc:sldMk cId="3358644479" sldId="276"/>
            <ac:graphicFrameMk id="54" creationId="{D50953FF-E5D6-3FC3-F86C-0767BEC55B08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42:42.437" v="31351"/>
          <ac:graphicFrameMkLst>
            <pc:docMk/>
            <pc:sldMk cId="3358644479" sldId="276"/>
            <ac:graphicFrameMk id="56" creationId="{176A9525-BCE5-3D6B-1348-D019035D873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49:52.074" v="32814"/>
          <ac:graphicFrameMkLst>
            <pc:docMk/>
            <pc:sldMk cId="3358644479" sldId="276"/>
            <ac:graphicFrameMk id="57" creationId="{B384D894-0C3B-2100-F845-06AC1C9D1046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42:27.460" v="30660"/>
          <ac:graphicFrameMkLst>
            <pc:docMk/>
            <pc:sldMk cId="3358644479" sldId="276"/>
            <ac:graphicFrameMk id="67" creationId="{FF55AD27-5D5B-CF51-75A3-84C0828C0F58}"/>
          </ac:graphicFrameMkLst>
        </pc:graphicFrameChg>
        <pc:picChg chg="add mod ord">
          <ac:chgData name="Joelle Brehm" userId="a518f54c-6985-42c0-8041-2bb16a414839" providerId="ADAL" clId="{E58FA468-8508-4D9D-B61C-DD2554E44EF7}" dt="2024-03-07T16:49:52.058" v="32758"/>
          <ac:picMkLst>
            <pc:docMk/>
            <pc:sldMk cId="3358644479" sldId="276"/>
            <ac:picMk id="3" creationId="{9F76B280-A75D-811B-C658-B36E05306571}"/>
          </ac:picMkLst>
        </pc:picChg>
        <pc:picChg chg="del mod ord">
          <ac:chgData name="Joelle Brehm" userId="a518f54c-6985-42c0-8041-2bb16a414839" providerId="ADAL" clId="{E58FA468-8508-4D9D-B61C-DD2554E44EF7}" dt="2024-03-07T16:42:22.418" v="30305" actId="478"/>
          <ac:picMkLst>
            <pc:docMk/>
            <pc:sldMk cId="3358644479" sldId="276"/>
            <ac:picMk id="31" creationId="{7407DB8F-3723-40B1-07CB-307414594902}"/>
          </ac:picMkLst>
        </pc:picChg>
        <pc:picChg chg="add del mod ord">
          <ac:chgData name="Joelle Brehm" userId="a518f54c-6985-42c0-8041-2bb16a414839" providerId="ADAL" clId="{E58FA468-8508-4D9D-B61C-DD2554E44EF7}" dt="2024-03-07T16:48:37.837" v="32539" actId="478"/>
          <ac:picMkLst>
            <pc:docMk/>
            <pc:sldMk cId="3358644479" sldId="276"/>
            <ac:picMk id="32" creationId="{F2A864A8-8B2C-E128-395E-CE65001824CC}"/>
          </ac:picMkLst>
        </pc:picChg>
        <pc:picChg chg="mod ord">
          <ac:chgData name="Joelle Brehm" userId="a518f54c-6985-42c0-8041-2bb16a414839" providerId="ADAL" clId="{E58FA468-8508-4D9D-B61C-DD2554E44EF7}" dt="2024-03-07T16:49:52.083" v="32819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49:52.058" v="32762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50:50.296" v="34351"/>
        <pc:sldMkLst>
          <pc:docMk/>
          <pc:sldMk cId="1336352168" sldId="277"/>
        </pc:sldMkLst>
        <pc:spChg chg="mod ord">
          <ac:chgData name="Joelle Brehm" userId="a518f54c-6985-42c0-8041-2bb16a414839" providerId="ADAL" clId="{E58FA468-8508-4D9D-B61C-DD2554E44EF7}" dt="2024-03-07T16:50:50.279" v="34345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E58FA468-8508-4D9D-B61C-DD2554E44EF7}" dt="2024-03-07T16:50:07.225" v="32830" actId="478"/>
          <ac:spMkLst>
            <pc:docMk/>
            <pc:sldMk cId="1336352168" sldId="277"/>
            <ac:spMk id="3" creationId="{D6C4465B-D025-A656-8153-B31F7F26A103}"/>
          </ac:spMkLst>
        </pc:spChg>
        <pc:spChg chg="add del mod modVis">
          <ac:chgData name="Joelle Brehm" userId="a518f54c-6985-42c0-8041-2bb16a414839" providerId="ADAL" clId="{E58FA468-8508-4D9D-B61C-DD2554E44EF7}" dt="2024-03-07T16:50:12.011" v="33057"/>
          <ac:spMkLst>
            <pc:docMk/>
            <pc:sldMk cId="1336352168" sldId="277"/>
            <ac:spMk id="5" creationId="{B5A1C1EF-D27C-1BF6-AA03-7BB2396B9158}"/>
          </ac:spMkLst>
        </pc:spChg>
        <pc:spChg chg="mod ord">
          <ac:chgData name="Joelle Brehm" userId="a518f54c-6985-42c0-8041-2bb16a414839" providerId="ADAL" clId="{E58FA468-8508-4D9D-B61C-DD2554E44EF7}" dt="2024-03-07T16:50:50.246" v="34280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50:50.261" v="34291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50:50.246" v="34287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50:50.261" v="34288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50:50.246" v="34285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50:50.246" v="34286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50:50.261" v="34289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50:50.261" v="34290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50:50.261" v="34292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50:50.261" v="34293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50:50.261" v="34294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50:50.261" v="34295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50:50.261" v="34296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50:50.261" v="34298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50:50.261" v="34299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50:50.261" v="34301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50:50.261" v="34300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50:50.261" v="34303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50:50.261" v="34304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50:50.261" v="34302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50:50.261" v="34306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50:50.269" v="34316"/>
          <ac:spMkLst>
            <pc:docMk/>
            <pc:sldMk cId="1336352168" sldId="277"/>
            <ac:spMk id="32" creationId="{74CF8B3F-36F6-9332-CFE2-CF317BED3193}"/>
          </ac:spMkLst>
        </pc:spChg>
        <pc:spChg chg="add del mod modVis">
          <ac:chgData name="Joelle Brehm" userId="a518f54c-6985-42c0-8041-2bb16a414839" providerId="ADAL" clId="{E58FA468-8508-4D9D-B61C-DD2554E44EF7}" dt="2024-03-07T16:50:37.583" v="33354"/>
          <ac:spMkLst>
            <pc:docMk/>
            <pc:sldMk cId="1336352168" sldId="277"/>
            <ac:spMk id="33" creationId="{FE85710E-EDAF-3648-1F0A-F1F012BD113C}"/>
          </ac:spMkLst>
        </pc:spChg>
        <pc:spChg chg="mod">
          <ac:chgData name="Joelle Brehm" userId="a518f54c-6985-42c0-8041-2bb16a414839" providerId="ADAL" clId="{E58FA468-8508-4D9D-B61C-DD2554E44EF7}" dt="2024-03-07T16:50:50.269" v="34319"/>
          <ac:spMkLst>
            <pc:docMk/>
            <pc:sldMk cId="1336352168" sldId="277"/>
            <ac:spMk id="36" creationId="{868EF4EC-6C6C-5D6C-CE37-AA48A78690B5}"/>
          </ac:spMkLst>
        </pc:spChg>
        <pc:spChg chg="add mod replST">
          <ac:chgData name="Joelle Brehm" userId="a518f54c-6985-42c0-8041-2bb16a414839" providerId="ADAL" clId="{E58FA468-8508-4D9D-B61C-DD2554E44EF7}" dt="2024-03-07T16:50:50.269" v="34320"/>
          <ac:spMkLst>
            <pc:docMk/>
            <pc:sldMk cId="1336352168" sldId="277"/>
            <ac:spMk id="37" creationId="{486C8B9B-03DE-4315-FFE4-733A525C403C}"/>
          </ac:spMkLst>
        </pc:spChg>
        <pc:spChg chg="del mod">
          <ac:chgData name="Joelle Brehm" userId="a518f54c-6985-42c0-8041-2bb16a414839" providerId="ADAL" clId="{E58FA468-8508-4D9D-B61C-DD2554E44EF7}" dt="2024-03-07T16:50:47.259" v="34029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E58FA468-8508-4D9D-B61C-DD2554E44EF7}" dt="2024-03-07T16:50:50.261" v="34310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E58FA468-8508-4D9D-B61C-DD2554E44EF7}" dt="2024-03-07T16:50:50.261" v="34311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E58FA468-8508-4D9D-B61C-DD2554E44EF7}" dt="2024-03-07T16:50:50.261" v="34313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E58FA468-8508-4D9D-B61C-DD2554E44EF7}" dt="2024-03-07T16:50:50.261" v="34314"/>
          <ac:spMkLst>
            <pc:docMk/>
            <pc:sldMk cId="1336352168" sldId="277"/>
            <ac:spMk id="42" creationId="{04656030-ED65-550D-E841-3EC7F85E35CF}"/>
          </ac:spMkLst>
        </pc:spChg>
        <pc:spChg chg="mod">
          <ac:chgData name="Joelle Brehm" userId="a518f54c-6985-42c0-8041-2bb16a414839" providerId="ADAL" clId="{E58FA468-8508-4D9D-B61C-DD2554E44EF7}" dt="2024-03-07T16:50:50.261" v="34309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E58FA468-8508-4D9D-B61C-DD2554E44EF7}" dt="2024-03-07T16:50:50.261" v="34312"/>
          <ac:spMkLst>
            <pc:docMk/>
            <pc:sldMk cId="1336352168" sldId="277"/>
            <ac:spMk id="44" creationId="{948C7430-EE17-A200-FEA6-849EEC95829A}"/>
          </ac:spMkLst>
        </pc:spChg>
        <pc:spChg chg="mod">
          <ac:chgData name="Joelle Brehm" userId="a518f54c-6985-42c0-8041-2bb16a414839" providerId="ADAL" clId="{E58FA468-8508-4D9D-B61C-DD2554E44EF7}" dt="2024-03-07T16:50:50.269" v="34317"/>
          <ac:spMkLst>
            <pc:docMk/>
            <pc:sldMk cId="1336352168" sldId="277"/>
            <ac:spMk id="45" creationId="{D04E5C9A-B84D-E68D-0174-8A803F9459C0}"/>
          </ac:spMkLst>
        </pc:spChg>
        <pc:spChg chg="mod">
          <ac:chgData name="Joelle Brehm" userId="a518f54c-6985-42c0-8041-2bb16a414839" providerId="ADAL" clId="{E58FA468-8508-4D9D-B61C-DD2554E44EF7}" dt="2024-03-07T16:50:50.269" v="34315"/>
          <ac:spMkLst>
            <pc:docMk/>
            <pc:sldMk cId="1336352168" sldId="277"/>
            <ac:spMk id="46" creationId="{F7A7DC41-8925-BEE0-D237-2FE7B5C8A67F}"/>
          </ac:spMkLst>
        </pc:spChg>
        <pc:spChg chg="mod">
          <ac:chgData name="Joelle Brehm" userId="a518f54c-6985-42c0-8041-2bb16a414839" providerId="ADAL" clId="{E58FA468-8508-4D9D-B61C-DD2554E44EF7}" dt="2024-03-07T16:50:50.269" v="34318"/>
          <ac:spMkLst>
            <pc:docMk/>
            <pc:sldMk cId="1336352168" sldId="277"/>
            <ac:spMk id="47" creationId="{AE18A661-20DA-E8A0-77A0-CA2C637605AF}"/>
          </ac:spMkLst>
        </pc:spChg>
        <pc:spChg chg="add del mod modVis">
          <ac:chgData name="Joelle Brehm" userId="a518f54c-6985-42c0-8041-2bb16a414839" providerId="ADAL" clId="{E58FA468-8508-4D9D-B61C-DD2554E44EF7}" dt="2024-03-07T16:50:44.108" v="33848"/>
          <ac:spMkLst>
            <pc:docMk/>
            <pc:sldMk cId="1336352168" sldId="277"/>
            <ac:spMk id="48" creationId="{7E9FFEC2-928F-FB92-2F5A-F3656F9E22EE}"/>
          </ac:spMkLst>
        </pc:spChg>
        <pc:spChg chg="add del mod ord replST">
          <ac:chgData name="Joelle Brehm" userId="a518f54c-6985-42c0-8041-2bb16a414839" providerId="ADAL" clId="{E58FA468-8508-4D9D-B61C-DD2554E44EF7}" dt="2024-03-07T16:50:47.318" v="34100"/>
          <ac:spMkLst>
            <pc:docMk/>
            <pc:sldMk cId="1336352168" sldId="277"/>
            <ac:spMk id="49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0:50.230" v="34268"/>
          <ac:spMkLst>
            <pc:docMk/>
            <pc:sldMk cId="1336352168" sldId="277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50:45.301" v="34026"/>
          <ac:spMkLst>
            <pc:docMk/>
            <pc:sldMk cId="1336352168" sldId="277"/>
            <ac:spMk id="52" creationId="{687E1BE5-7B64-8051-D1CB-8E18DE25DF4E}"/>
          </ac:spMkLst>
        </pc:spChg>
        <pc:spChg chg="add del mod modVis">
          <ac:chgData name="Joelle Brehm" userId="a518f54c-6985-42c0-8041-2bb16a414839" providerId="ADAL" clId="{E58FA468-8508-4D9D-B61C-DD2554E44EF7}" dt="2024-03-07T16:50:47.386" v="34212"/>
          <ac:spMkLst>
            <pc:docMk/>
            <pc:sldMk cId="1336352168" sldId="277"/>
            <ac:spMk id="54" creationId="{BC928A7E-6556-DFAC-11C2-327D873EC891}"/>
          </ac:spMkLst>
        </pc:spChg>
        <pc:spChg chg="add del mod modVis">
          <ac:chgData name="Joelle Brehm" userId="a518f54c-6985-42c0-8041-2bb16a414839" providerId="ADAL" clId="{E58FA468-8508-4D9D-B61C-DD2554E44EF7}" dt="2024-03-07T16:50:50.282" v="34349"/>
          <ac:spMkLst>
            <pc:docMk/>
            <pc:sldMk cId="1336352168" sldId="277"/>
            <ac:spMk id="56" creationId="{377C7AB6-7FE3-D420-8D5C-89CE4B9C236F}"/>
          </ac:spMkLst>
        </pc:spChg>
        <pc:spChg chg="mod ord">
          <ac:chgData name="Joelle Brehm" userId="a518f54c-6985-42c0-8041-2bb16a414839" providerId="ADAL" clId="{E58FA468-8508-4D9D-B61C-DD2554E44EF7}" dt="2024-03-07T16:50:50.278" v="34343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E58FA468-8508-4D9D-B61C-DD2554E44EF7}" dt="2024-03-07T16:50:50.269" v="34322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50:50.269" v="34324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6:50:50.269" v="34326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50:50.269" v="34328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50:50.269" v="34330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50:50.269" v="34332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50:50.269" v="34335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0:50.269" v="34336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0:50.269" v="34337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0:50.269" v="34338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50:50.269" v="34339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50:50.296" v="34351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6:50:11.955" v="32976"/>
          <ac:graphicFrameMkLst>
            <pc:docMk/>
            <pc:sldMk cId="1336352168" sldId="277"/>
            <ac:graphicFrameMk id="8" creationId="{CCABC33A-6B83-4A00-30B2-A5FC5B8D9FA9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0:50.246" v="34284"/>
          <ac:graphicFrameMkLst>
            <pc:docMk/>
            <pc:sldMk cId="1336352168" sldId="277"/>
            <ac:graphicFrameMk id="9" creationId="{D7D2B156-7515-973C-0CB4-361018BFB1C8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0:37.526" v="33275"/>
          <ac:graphicFrameMkLst>
            <pc:docMk/>
            <pc:sldMk cId="1336352168" sldId="277"/>
            <ac:graphicFrameMk id="34" creationId="{E8F9D903-A8AD-C384-BC10-CE0273F388B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0:50.269" v="34334"/>
          <ac:graphicFrameMkLst>
            <pc:docMk/>
            <pc:sldMk cId="1336352168" sldId="277"/>
            <ac:graphicFrameMk id="35" creationId="{5575BB88-54AB-DA26-5017-0B6B173D2371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0:45.248" v="33931"/>
          <ac:graphicFrameMkLst>
            <pc:docMk/>
            <pc:sldMk cId="1336352168" sldId="277"/>
            <ac:graphicFrameMk id="51" creationId="{427857FD-B9EA-B2A2-2036-387F738A4D86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0:47.333" v="34131"/>
          <ac:graphicFrameMkLst>
            <pc:docMk/>
            <pc:sldMk cId="1336352168" sldId="277"/>
            <ac:graphicFrameMk id="53" creationId="{11FD670A-F0B9-1C0D-A2CE-35D1A63D49A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0:50.230" v="34270"/>
          <ac:graphicFrameMkLst>
            <pc:docMk/>
            <pc:sldMk cId="1336352168" sldId="277"/>
            <ac:graphicFrameMk id="55" creationId="{622B5F4D-A04E-BC38-1FC7-11CBBFE394AB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0:50.261" v="34308"/>
          <ac:graphicFrameMkLst>
            <pc:docMk/>
            <pc:sldMk cId="1336352168" sldId="277"/>
            <ac:graphicFrameMk id="57" creationId="{1E446440-AF74-AAC1-9225-50E5E4705146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0:44.049" v="33758"/>
          <ac:graphicFrameMkLst>
            <pc:docMk/>
            <pc:sldMk cId="1336352168" sldId="277"/>
            <ac:graphicFrameMk id="59" creationId="{01E09049-64D6-C729-50CA-CF4CA7DEEFCF}"/>
          </ac:graphicFrameMkLst>
        </pc:graphicFrameChg>
        <pc:picChg chg="add mod ord">
          <ac:chgData name="Joelle Brehm" userId="a518f54c-6985-42c0-8041-2bb16a414839" providerId="ADAL" clId="{E58FA468-8508-4D9D-B61C-DD2554E44EF7}" dt="2024-03-07T16:50:50.246" v="34278"/>
          <ac:picMkLst>
            <pc:docMk/>
            <pc:sldMk cId="1336352168" sldId="277"/>
            <ac:picMk id="10" creationId="{0903DD1C-60C2-1CDD-C42E-CE5964511C5B}"/>
          </ac:picMkLst>
        </pc:picChg>
        <pc:picChg chg="del mod ord">
          <ac:chgData name="Joelle Brehm" userId="a518f54c-6985-42c0-8041-2bb16a414839" providerId="ADAL" clId="{E58FA468-8508-4D9D-B61C-DD2554E44EF7}" dt="2024-03-07T16:50:28.552" v="33144" actId="478"/>
          <ac:picMkLst>
            <pc:docMk/>
            <pc:sldMk cId="1336352168" sldId="277"/>
            <ac:picMk id="31" creationId="{9D1F2F7B-85F0-3CE9-DC96-6AD01395A8DB}"/>
          </ac:picMkLst>
        </pc:picChg>
        <pc:picChg chg="mod ord">
          <ac:chgData name="Joelle Brehm" userId="a518f54c-6985-42c0-8041-2bb16a414839" providerId="ADAL" clId="{E58FA468-8508-4D9D-B61C-DD2554E44EF7}" dt="2024-03-07T16:50:50.269" v="34341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50:50.246" v="34282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51:55.139" v="35988"/>
        <pc:sldMkLst>
          <pc:docMk/>
          <pc:sldMk cId="1379386497" sldId="278"/>
        </pc:sldMkLst>
        <pc:spChg chg="mod ord">
          <ac:chgData name="Joelle Brehm" userId="a518f54c-6985-42c0-8041-2bb16a414839" providerId="ADAL" clId="{E58FA468-8508-4D9D-B61C-DD2554E44EF7}" dt="2024-03-07T16:51:55.123" v="35982"/>
          <ac:spMkLst>
            <pc:docMk/>
            <pc:sldMk cId="1379386497" sldId="278"/>
            <ac:spMk id="2" creationId="{F45C2660-F634-4943-BD78-279946171050}"/>
          </ac:spMkLst>
        </pc:spChg>
        <pc:spChg chg="add del mod">
          <ac:chgData name="Joelle Brehm" userId="a518f54c-6985-42c0-8041-2bb16a414839" providerId="ADAL" clId="{E58FA468-8508-4D9D-B61C-DD2554E44EF7}" dt="2024-03-07T16:50:59.270" v="34352" actId="478"/>
          <ac:spMkLst>
            <pc:docMk/>
            <pc:sldMk cId="1379386497" sldId="278"/>
            <ac:spMk id="3" creationId="{3A162E98-6540-15F7-CA9A-6B46B0BB60DA}"/>
          </ac:spMkLst>
        </pc:spChg>
        <pc:spChg chg="add del mod modVis">
          <ac:chgData name="Joelle Brehm" userId="a518f54c-6985-42c0-8041-2bb16a414839" providerId="ADAL" clId="{E58FA468-8508-4D9D-B61C-DD2554E44EF7}" dt="2024-03-07T16:51:06.215" v="34561"/>
          <ac:spMkLst>
            <pc:docMk/>
            <pc:sldMk cId="1379386497" sldId="278"/>
            <ac:spMk id="5" creationId="{33325A9D-E7AE-1E07-6D07-8A0B5B94B6A6}"/>
          </ac:spMkLst>
        </pc:spChg>
        <pc:spChg chg="mod ord">
          <ac:chgData name="Joelle Brehm" userId="a518f54c-6985-42c0-8041-2bb16a414839" providerId="ADAL" clId="{E58FA468-8508-4D9D-B61C-DD2554E44EF7}" dt="2024-03-07T16:51:55.090" v="35917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6:51:55.090" v="35928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51:55.090" v="35924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51:55.090" v="35925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51:55.090" v="35922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51:55.090" v="35923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51:55.090" v="35926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51:55.090" v="35927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51:55.106" v="35929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51:55.106" v="35930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51:55.106" v="35931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51:55.107" v="35932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51:55.107" v="35933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51:55.107" v="35935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51:55.107" v="35936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51:55.107" v="35938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51:55.107" v="35937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51:55.107" v="35940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51:55.107" v="35941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51:55.107" v="35939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51:55.107" v="35943"/>
          <ac:spMkLst>
            <pc:docMk/>
            <pc:sldMk cId="1379386497" sldId="278"/>
            <ac:spMk id="30" creationId="{121A2A89-FB4E-4B9A-840D-28523B0B457F}"/>
          </ac:spMkLst>
        </pc:spChg>
        <pc:spChg chg="del mod">
          <ac:chgData name="Joelle Brehm" userId="a518f54c-6985-42c0-8041-2bb16a414839" providerId="ADAL" clId="{E58FA468-8508-4D9D-B61C-DD2554E44EF7}" dt="2024-03-07T16:51:51.413" v="35673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E58FA468-8508-4D9D-B61C-DD2554E44EF7}" dt="2024-03-07T16:51:55.107" v="35953"/>
          <ac:spMkLst>
            <pc:docMk/>
            <pc:sldMk cId="1379386497" sldId="278"/>
            <ac:spMk id="33" creationId="{D9441170-0215-A7D1-2B94-1AA18159DA2E}"/>
          </ac:spMkLst>
        </pc:spChg>
        <pc:spChg chg="mod">
          <ac:chgData name="Joelle Brehm" userId="a518f54c-6985-42c0-8041-2bb16a414839" providerId="ADAL" clId="{E58FA468-8508-4D9D-B61C-DD2554E44EF7}" dt="2024-03-07T16:51:55.107" v="35956"/>
          <ac:spMkLst>
            <pc:docMk/>
            <pc:sldMk cId="1379386497" sldId="278"/>
            <ac:spMk id="34" creationId="{EA2B09D6-B9E2-E57B-C9D8-F46E7FE20D58}"/>
          </ac:spMkLst>
        </pc:spChg>
        <pc:spChg chg="add del mod modVis">
          <ac:chgData name="Joelle Brehm" userId="a518f54c-6985-42c0-8041-2bb16a414839" providerId="ADAL" clId="{E58FA468-8508-4D9D-B61C-DD2554E44EF7}" dt="2024-03-07T16:51:31.430" v="34855"/>
          <ac:spMkLst>
            <pc:docMk/>
            <pc:sldMk cId="1379386497" sldId="278"/>
            <ac:spMk id="36" creationId="{CFFBB7F1-F62A-46D9-69C7-56BC36F52949}"/>
          </ac:spMkLst>
        </pc:spChg>
        <pc:spChg chg="mod">
          <ac:chgData name="Joelle Brehm" userId="a518f54c-6985-42c0-8041-2bb16a414839" providerId="ADAL" clId="{E58FA468-8508-4D9D-B61C-DD2554E44EF7}" dt="2024-03-07T16:51:55.123" v="35974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E58FA468-8508-4D9D-B61C-DD2554E44EF7}" dt="2024-03-07T16:51:55.123" v="35976"/>
          <ac:spMkLst>
            <pc:docMk/>
            <pc:sldMk cId="1379386497" sldId="278"/>
            <ac:spMk id="39" creationId="{BC5B7AD7-98AB-AC45-8C89-733A6DC5051A}"/>
          </ac:spMkLst>
        </pc:spChg>
        <pc:spChg chg="add del mod modVis">
          <ac:chgData name="Joelle Brehm" userId="a518f54c-6985-42c0-8041-2bb16a414839" providerId="ADAL" clId="{E58FA468-8508-4D9D-B61C-DD2554E44EF7}" dt="2024-03-07T16:51:37.309" v="34979"/>
          <ac:spMkLst>
            <pc:docMk/>
            <pc:sldMk cId="1379386497" sldId="278"/>
            <ac:spMk id="40" creationId="{66C04D86-6A6B-AA8B-2428-A2B48BDE1B6E}"/>
          </ac:spMkLst>
        </pc:spChg>
        <pc:spChg chg="mod">
          <ac:chgData name="Joelle Brehm" userId="a518f54c-6985-42c0-8041-2bb16a414839" providerId="ADAL" clId="{E58FA468-8508-4D9D-B61C-DD2554E44EF7}" dt="2024-03-07T16:51:55.107" v="35951"/>
          <ac:spMkLst>
            <pc:docMk/>
            <pc:sldMk cId="1379386497" sldId="278"/>
            <ac:spMk id="41" creationId="{2CE2D9E3-933C-589B-9FDF-AD85A36D3F72}"/>
          </ac:spMkLst>
        </pc:spChg>
        <pc:spChg chg="mod">
          <ac:chgData name="Joelle Brehm" userId="a518f54c-6985-42c0-8041-2bb16a414839" providerId="ADAL" clId="{E58FA468-8508-4D9D-B61C-DD2554E44EF7}" dt="2024-03-07T16:51:55.107" v="35954"/>
          <ac:spMkLst>
            <pc:docMk/>
            <pc:sldMk cId="1379386497" sldId="278"/>
            <ac:spMk id="42" creationId="{0660EA24-A2FF-39AF-6D53-5A6B463F1F4A}"/>
          </ac:spMkLst>
        </pc:spChg>
        <pc:spChg chg="mod">
          <ac:chgData name="Joelle Brehm" userId="a518f54c-6985-42c0-8041-2bb16a414839" providerId="ADAL" clId="{E58FA468-8508-4D9D-B61C-DD2554E44EF7}" dt="2024-03-07T16:51:55.107" v="35949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E58FA468-8508-4D9D-B61C-DD2554E44EF7}" dt="2024-03-07T16:51:55.107" v="35947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E58FA468-8508-4D9D-B61C-DD2554E44EF7}" dt="2024-03-07T16:51:55.107" v="35952"/>
          <ac:spMkLst>
            <pc:docMk/>
            <pc:sldMk cId="1379386497" sldId="278"/>
            <ac:spMk id="45" creationId="{905B75A0-9675-8F59-A2F9-EC525ACC9D40}"/>
          </ac:spMkLst>
        </pc:spChg>
        <pc:spChg chg="mod">
          <ac:chgData name="Joelle Brehm" userId="a518f54c-6985-42c0-8041-2bb16a414839" providerId="ADAL" clId="{E58FA468-8508-4D9D-B61C-DD2554E44EF7}" dt="2024-03-07T16:51:55.107" v="35946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E58FA468-8508-4D9D-B61C-DD2554E44EF7}" dt="2024-03-07T16:51:55.107" v="35950"/>
          <ac:spMkLst>
            <pc:docMk/>
            <pc:sldMk cId="1379386497" sldId="278"/>
            <ac:spMk id="47" creationId="{6057FFE7-9F54-EBDD-8215-FE17C631267E}"/>
          </ac:spMkLst>
        </pc:spChg>
        <pc:spChg chg="add mod replST">
          <ac:chgData name="Joelle Brehm" userId="a518f54c-6985-42c0-8041-2bb16a414839" providerId="ADAL" clId="{E58FA468-8508-4D9D-B61C-DD2554E44EF7}" dt="2024-03-07T16:51:55.107" v="35957"/>
          <ac:spMkLst>
            <pc:docMk/>
            <pc:sldMk cId="1379386497" sldId="278"/>
            <ac:spMk id="50" creationId="{2F9838F6-DFD8-CCFE-5224-76EEBBD31C18}"/>
          </ac:spMkLst>
        </pc:spChg>
        <pc:spChg chg="add del mod modVis">
          <ac:chgData name="Joelle Brehm" userId="a518f54c-6985-42c0-8041-2bb16a414839" providerId="ADAL" clId="{E58FA468-8508-4D9D-B61C-DD2554E44EF7}" dt="2024-03-07T16:51:47.869" v="35503"/>
          <ac:spMkLst>
            <pc:docMk/>
            <pc:sldMk cId="1379386497" sldId="278"/>
            <ac:spMk id="51" creationId="{B24EF3DB-E9C7-6070-CE54-E7A100C1A511}"/>
          </ac:spMkLst>
        </pc:spChg>
        <pc:spChg chg="mod">
          <ac:chgData name="Joelle Brehm" userId="a518f54c-6985-42c0-8041-2bb16a414839" providerId="ADAL" clId="{E58FA468-8508-4D9D-B61C-DD2554E44EF7}" dt="2024-03-07T16:51:55.107" v="35955"/>
          <ac:spMkLst>
            <pc:docMk/>
            <pc:sldMk cId="1379386497" sldId="278"/>
            <ac:spMk id="52" creationId="{5F99AA82-A56C-0B31-0714-9B89A2D90005}"/>
          </ac:spMkLst>
        </pc:spChg>
        <pc:spChg chg="add del mod ord replST">
          <ac:chgData name="Joelle Brehm" userId="a518f54c-6985-42c0-8041-2bb16a414839" providerId="ADAL" clId="{E58FA468-8508-4D9D-B61C-DD2554E44EF7}" dt="2024-03-07T16:51:55.069" v="35905"/>
          <ac:spMkLst>
            <pc:docMk/>
            <pc:sldMk cId="1379386497" sldId="278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51:49.081" v="35670"/>
          <ac:spMkLst>
            <pc:docMk/>
            <pc:sldMk cId="1379386497" sldId="278"/>
            <ac:spMk id="55" creationId="{F936133A-E8F4-956A-794D-A6777A36436F}"/>
          </ac:spMkLst>
        </pc:spChg>
        <pc:spChg chg="mod ord">
          <ac:chgData name="Joelle Brehm" userId="a518f54c-6985-42c0-8041-2bb16a414839" providerId="ADAL" clId="{E58FA468-8508-4D9D-B61C-DD2554E44EF7}" dt="2024-03-07T16:51:55.123" v="35980"/>
          <ac:spMkLst>
            <pc:docMk/>
            <pc:sldMk cId="1379386497" sldId="278"/>
            <ac:spMk id="58" creationId="{78B81F80-FD88-43AD-B1EA-9D49D321CFA2}"/>
          </ac:spMkLst>
        </pc:spChg>
        <pc:spChg chg="add del mod modVis">
          <ac:chgData name="Joelle Brehm" userId="a518f54c-6985-42c0-8041-2bb16a414839" providerId="ADAL" clId="{E58FA468-8508-4D9D-B61C-DD2554E44EF7}" dt="2024-03-07T16:51:51.575" v="35853"/>
          <ac:spMkLst>
            <pc:docMk/>
            <pc:sldMk cId="1379386497" sldId="278"/>
            <ac:spMk id="59" creationId="{38595D5B-9B23-2594-B7B4-78A28BD1B132}"/>
          </ac:spMkLst>
        </pc:spChg>
        <pc:spChg chg="mod">
          <ac:chgData name="Joelle Brehm" userId="a518f54c-6985-42c0-8041-2bb16a414839" providerId="ADAL" clId="{E58FA468-8508-4D9D-B61C-DD2554E44EF7}" dt="2024-03-07T16:51:55.107" v="35948"/>
          <ac:spMkLst>
            <pc:docMk/>
            <pc:sldMk cId="1379386497" sldId="278"/>
            <ac:spMk id="60" creationId="{2B15A064-F539-2DBC-4751-EC9AD27E414F}"/>
          </ac:spMkLst>
        </pc:spChg>
        <pc:spChg chg="add del mod modVis">
          <ac:chgData name="Joelle Brehm" userId="a518f54c-6985-42c0-8041-2bb16a414839" providerId="ADAL" clId="{E58FA468-8508-4D9D-B61C-DD2554E44EF7}" dt="2024-03-07T16:51:55.123" v="35986"/>
          <ac:spMkLst>
            <pc:docMk/>
            <pc:sldMk cId="1379386497" sldId="278"/>
            <ac:spMk id="62" creationId="{0155E0AC-067C-2191-031B-88DB1E080C84}"/>
          </ac:spMkLst>
        </pc:spChg>
        <pc:spChg chg="mod ord">
          <ac:chgData name="Joelle Brehm" userId="a518f54c-6985-42c0-8041-2bb16a414839" providerId="ADAL" clId="{E58FA468-8508-4D9D-B61C-DD2554E44EF7}" dt="2024-03-07T16:51:55.107" v="35959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51:55.107" v="35961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6:51:55.107" v="35963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51:55.107" v="35965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51:55.107" v="35967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51:55.107" v="35969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51:55.107" v="35972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1:55.123" v="35973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1:55.123" v="35975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E58FA468-8508-4D9D-B61C-DD2554E44EF7}" dt="2024-03-07T16:51:55.139" v="35988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6:51:06.145" v="34476"/>
          <ac:graphicFrameMkLst>
            <pc:docMk/>
            <pc:sldMk cId="1379386497" sldId="278"/>
            <ac:graphicFrameMk id="8" creationId="{53948825-A540-C8F3-F95E-8F657CEB328A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1:55.090" v="35921"/>
          <ac:graphicFrameMkLst>
            <pc:docMk/>
            <pc:sldMk cId="1379386497" sldId="278"/>
            <ac:graphicFrameMk id="10" creationId="{3E0E91C4-A37D-A3E4-C8DB-7B5A233B20C4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1:31.363" v="34776"/>
          <ac:graphicFrameMkLst>
            <pc:docMk/>
            <pc:sldMk cId="1379386497" sldId="278"/>
            <ac:graphicFrameMk id="31" creationId="{BD7E31A6-CF8C-02C9-DA86-E5334BB9342C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1:37.248" v="34900"/>
          <ac:graphicFrameMkLst>
            <pc:docMk/>
            <pc:sldMk cId="1379386497" sldId="278"/>
            <ac:graphicFrameMk id="37" creationId="{CCACC912-5BE4-9EC6-672B-109B718199A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1:42.482" v="35001"/>
          <ac:graphicFrameMkLst>
            <pc:docMk/>
            <pc:sldMk cId="1379386497" sldId="278"/>
            <ac:graphicFrameMk id="48" creationId="{2C135DE8-A016-DE14-4E35-452710A2FA3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1:55.107" v="35971"/>
          <ac:graphicFrameMkLst>
            <pc:docMk/>
            <pc:sldMk cId="1379386497" sldId="278"/>
            <ac:graphicFrameMk id="49" creationId="{C5E1FD64-C9D7-1FA2-DA99-3CF6A05917B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1:48.987" v="35579"/>
          <ac:graphicFrameMkLst>
            <pc:docMk/>
            <pc:sldMk cId="1379386497" sldId="278"/>
            <ac:graphicFrameMk id="54" creationId="{AB87F0DC-1C2A-E143-6E95-AAB5C46ABD9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1:51.504" v="35772"/>
          <ac:graphicFrameMkLst>
            <pc:docMk/>
            <pc:sldMk cId="1379386497" sldId="278"/>
            <ac:graphicFrameMk id="56" creationId="{E2BB8C98-F57A-6D1B-0365-5CC71D9E42DD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1:47.817" v="35417"/>
          <ac:graphicFrameMkLst>
            <pc:docMk/>
            <pc:sldMk cId="1379386497" sldId="278"/>
            <ac:graphicFrameMk id="57" creationId="{CF40A79B-91B8-28E9-CB15-41BB6EE601F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1:55.069" v="35907"/>
          <ac:graphicFrameMkLst>
            <pc:docMk/>
            <pc:sldMk cId="1379386497" sldId="278"/>
            <ac:graphicFrameMk id="61" creationId="{166B5BFF-6B89-8D92-A1B5-A25CFD1897B8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1:55.107" v="35945"/>
          <ac:graphicFrameMkLst>
            <pc:docMk/>
            <pc:sldMk cId="1379386497" sldId="278"/>
            <ac:graphicFrameMk id="63" creationId="{E529F938-C49B-E583-74C2-B37890123768}"/>
          </ac:graphicFrameMkLst>
        </pc:graphicFrameChg>
        <pc:picChg chg="del mod ord">
          <ac:chgData name="Joelle Brehm" userId="a518f54c-6985-42c0-8041-2bb16a414839" providerId="ADAL" clId="{E58FA468-8508-4D9D-B61C-DD2554E44EF7}" dt="2024-03-07T16:51:22.488" v="34647" actId="478"/>
          <ac:picMkLst>
            <pc:docMk/>
            <pc:sldMk cId="1379386497" sldId="278"/>
            <ac:picMk id="9" creationId="{0E27C40A-850A-9A59-F15E-C97A6AA75F7E}"/>
          </ac:picMkLst>
        </pc:picChg>
        <pc:picChg chg="add mod ord">
          <ac:chgData name="Joelle Brehm" userId="a518f54c-6985-42c0-8041-2bb16a414839" providerId="ADAL" clId="{E58FA468-8508-4D9D-B61C-DD2554E44EF7}" dt="2024-03-07T16:51:55.090" v="35915"/>
          <ac:picMkLst>
            <pc:docMk/>
            <pc:sldMk cId="1379386497" sldId="278"/>
            <ac:picMk id="35" creationId="{0C032298-55E2-3784-5CC0-2A44BAE3A966}"/>
          </ac:picMkLst>
        </pc:picChg>
        <pc:picChg chg="mod ord">
          <ac:chgData name="Joelle Brehm" userId="a518f54c-6985-42c0-8041-2bb16a414839" providerId="ADAL" clId="{E58FA468-8508-4D9D-B61C-DD2554E44EF7}" dt="2024-03-07T16:51:55.123" v="35978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51:55.090" v="35919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6:52:56.924" v="37465"/>
        <pc:sldMkLst>
          <pc:docMk/>
          <pc:sldMk cId="1917659360" sldId="279"/>
        </pc:sldMkLst>
        <pc:spChg chg="add del mod">
          <ac:chgData name="Joelle Brehm" userId="a518f54c-6985-42c0-8041-2bb16a414839" providerId="ADAL" clId="{E58FA468-8508-4D9D-B61C-DD2554E44EF7}" dt="2024-03-07T16:52:02.664" v="35989" actId="478"/>
          <ac:spMkLst>
            <pc:docMk/>
            <pc:sldMk cId="1917659360" sldId="279"/>
            <ac:spMk id="2" creationId="{71FDA75B-4E35-5759-7B8E-B45345A99C47}"/>
          </ac:spMkLst>
        </pc:spChg>
        <pc:spChg chg="mod ord">
          <ac:chgData name="Joelle Brehm" userId="a518f54c-6985-42c0-8041-2bb16a414839" providerId="ADAL" clId="{E58FA468-8508-4D9D-B61C-DD2554E44EF7}" dt="2024-03-07T16:52:56.896" v="37459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E58FA468-8508-4D9D-B61C-DD2554E44EF7}" dt="2024-03-07T16:52:19.125" v="36204"/>
          <ac:spMkLst>
            <pc:docMk/>
            <pc:sldMk cId="1917659360" sldId="279"/>
            <ac:spMk id="5" creationId="{780A2B5E-5C97-9862-B5FC-059431A8A258}"/>
          </ac:spMkLst>
        </pc:spChg>
        <pc:spChg chg="mod ord">
          <ac:chgData name="Joelle Brehm" userId="a518f54c-6985-42c0-8041-2bb16a414839" providerId="ADAL" clId="{E58FA468-8508-4D9D-B61C-DD2554E44EF7}" dt="2024-03-07T16:52:56.875" v="37394"/>
          <ac:spMkLst>
            <pc:docMk/>
            <pc:sldMk cId="1917659360" sldId="279"/>
            <ac:spMk id="6" creationId="{B47CE71D-7819-4857-B121-737A3BD39B4D}"/>
          </ac:spMkLst>
        </pc:spChg>
        <pc:spChg chg="del mod">
          <ac:chgData name="Joelle Brehm" userId="a518f54c-6985-42c0-8041-2bb16a414839" providerId="ADAL" clId="{E58FA468-8508-4D9D-B61C-DD2554E44EF7}" dt="2024-03-07T16:52:52.365" v="37068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E58FA468-8508-4D9D-B61C-DD2554E44EF7}" dt="2024-03-07T16:52:56.878" v="37405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6:52:56.878" v="37401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6:52:56.878" v="37402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6:52:56.877" v="37399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6:52:56.877" v="37400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6:52:56.878" v="37403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6:52:56.878" v="37404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6:52:56.878" v="37406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6:52:56.878" v="37407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6:52:56.878" v="37408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6:52:56.878" v="37409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6:52:56.878" v="37410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6:52:56.878" v="37412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6:52:56.883" v="37413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6:52:56.884" v="37415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6:52:56.883" v="37414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6:52:56.884" v="37417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6:52:56.885" v="37418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6:52:56.884" v="37416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6:52:56.885" v="37420"/>
          <ac:spMkLst>
            <pc:docMk/>
            <pc:sldMk cId="1917659360" sldId="279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6:52:56.891" v="37430"/>
          <ac:spMkLst>
            <pc:docMk/>
            <pc:sldMk cId="1917659360" sldId="279"/>
            <ac:spMk id="33" creationId="{5E0420EB-DE56-49B0-A849-5880286E1551}"/>
          </ac:spMkLst>
        </pc:spChg>
        <pc:spChg chg="add del mod modVis">
          <ac:chgData name="Joelle Brehm" userId="a518f54c-6985-42c0-8041-2bb16a414839" providerId="ADAL" clId="{E58FA468-8508-4D9D-B61C-DD2554E44EF7}" dt="2024-03-07T16:52:43.014" v="36498"/>
          <ac:spMkLst>
            <pc:docMk/>
            <pc:sldMk cId="1917659360" sldId="279"/>
            <ac:spMk id="34" creationId="{0867A9A0-E00D-638B-F339-A877B7D6CCE6}"/>
          </ac:spMkLst>
        </pc:spChg>
        <pc:spChg chg="mod">
          <ac:chgData name="Joelle Brehm" userId="a518f54c-6985-42c0-8041-2bb16a414839" providerId="ADAL" clId="{E58FA468-8508-4D9D-B61C-DD2554E44EF7}" dt="2024-03-07T16:52:56.893" v="37433"/>
          <ac:spMkLst>
            <pc:docMk/>
            <pc:sldMk cId="1917659360" sldId="279"/>
            <ac:spMk id="37" creationId="{96F8B877-95CC-EC95-D7ED-C1509F06C966}"/>
          </ac:spMkLst>
        </pc:spChg>
        <pc:spChg chg="mod">
          <ac:chgData name="Joelle Brehm" userId="a518f54c-6985-42c0-8041-2bb16a414839" providerId="ADAL" clId="{E58FA468-8508-4D9D-B61C-DD2554E44EF7}" dt="2024-03-07T16:52:56.888" v="37424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E58FA468-8508-4D9D-B61C-DD2554E44EF7}" dt="2024-03-07T16:52:56.892" v="37431"/>
          <ac:spMkLst>
            <pc:docMk/>
            <pc:sldMk cId="1917659360" sldId="279"/>
            <ac:spMk id="39" creationId="{D6233669-6C61-F88A-CA74-14C4A4F6BEAC}"/>
          </ac:spMkLst>
        </pc:spChg>
        <pc:spChg chg="mod">
          <ac:chgData name="Joelle Brehm" userId="a518f54c-6985-42c0-8041-2bb16a414839" providerId="ADAL" clId="{E58FA468-8508-4D9D-B61C-DD2554E44EF7}" dt="2024-03-07T16:52:56.888" v="37423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E58FA468-8508-4D9D-B61C-DD2554E44EF7}" dt="2024-03-07T16:52:56.891" v="37429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E58FA468-8508-4D9D-B61C-DD2554E44EF7}" dt="2024-03-07T16:52:56.890" v="37427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E58FA468-8508-4D9D-B61C-DD2554E44EF7}" dt="2024-03-07T16:52:56.890" v="37428"/>
          <ac:spMkLst>
            <pc:docMk/>
            <pc:sldMk cId="1917659360" sldId="279"/>
            <ac:spMk id="43" creationId="{BBDFBA71-A567-2AC1-EC82-8D2F9B910F5F}"/>
          </ac:spMkLst>
        </pc:spChg>
        <pc:spChg chg="add mod replST">
          <ac:chgData name="Joelle Brehm" userId="a518f54c-6985-42c0-8041-2bb16a414839" providerId="ADAL" clId="{E58FA468-8508-4D9D-B61C-DD2554E44EF7}" dt="2024-03-07T16:52:56.893" v="37434"/>
          <ac:spMkLst>
            <pc:docMk/>
            <pc:sldMk cId="1917659360" sldId="279"/>
            <ac:spMk id="44" creationId="{D9982BA9-8ABD-F151-A1B4-F84D132FC1D8}"/>
          </ac:spMkLst>
        </pc:spChg>
        <pc:spChg chg="add del mod modVis">
          <ac:chgData name="Joelle Brehm" userId="a518f54c-6985-42c0-8041-2bb16a414839" providerId="ADAL" clId="{E58FA468-8508-4D9D-B61C-DD2554E44EF7}" dt="2024-03-07T16:52:49.367" v="36893"/>
          <ac:spMkLst>
            <pc:docMk/>
            <pc:sldMk cId="1917659360" sldId="279"/>
            <ac:spMk id="45" creationId="{2ED3C985-EECA-9C65-83A9-41513D09EA08}"/>
          </ac:spMkLst>
        </pc:spChg>
        <pc:spChg chg="mod">
          <ac:chgData name="Joelle Brehm" userId="a518f54c-6985-42c0-8041-2bb16a414839" providerId="ADAL" clId="{E58FA468-8508-4D9D-B61C-DD2554E44EF7}" dt="2024-03-07T16:52:56.889" v="37425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E58FA468-8508-4D9D-B61C-DD2554E44EF7}" dt="2024-03-07T16:52:56.889" v="37426"/>
          <ac:spMkLst>
            <pc:docMk/>
            <pc:sldMk cId="1917659360" sldId="279"/>
            <ac:spMk id="47" creationId="{698A62C7-0861-3196-719C-E48F5560BE43}"/>
          </ac:spMkLst>
        </pc:spChg>
        <pc:spChg chg="add del mod modVis">
          <ac:chgData name="Joelle Brehm" userId="a518f54c-6985-42c0-8041-2bb16a414839" providerId="ADAL" clId="{E58FA468-8508-4D9D-B61C-DD2554E44EF7}" dt="2024-03-07T16:52:50.402" v="37065"/>
          <ac:spMkLst>
            <pc:docMk/>
            <pc:sldMk cId="1917659360" sldId="279"/>
            <ac:spMk id="49" creationId="{F73F4356-DD71-8BC1-7B2D-78DB87CC053C}"/>
          </ac:spMkLst>
        </pc:spChg>
        <pc:spChg chg="mod">
          <ac:chgData name="Joelle Brehm" userId="a518f54c-6985-42c0-8041-2bb16a414839" providerId="ADAL" clId="{E58FA468-8508-4D9D-B61C-DD2554E44EF7}" dt="2024-03-07T16:52:56.892" v="37432"/>
          <ac:spMkLst>
            <pc:docMk/>
            <pc:sldMk cId="1917659360" sldId="279"/>
            <ac:spMk id="51" creationId="{11756A47-3371-3050-1674-DA5C63D5DA78}"/>
          </ac:spMkLst>
        </pc:spChg>
        <pc:spChg chg="add del mod modVis">
          <ac:chgData name="Joelle Brehm" userId="a518f54c-6985-42c0-8041-2bb16a414839" providerId="ADAL" clId="{E58FA468-8508-4D9D-B61C-DD2554E44EF7}" dt="2024-03-07T16:52:52.782" v="37326"/>
          <ac:spMkLst>
            <pc:docMk/>
            <pc:sldMk cId="1917659360" sldId="279"/>
            <ac:spMk id="52" creationId="{9640BA26-479E-369F-933C-EE3DCD84B82A}"/>
          </ac:spMkLst>
        </pc:spChg>
        <pc:spChg chg="add del mod ord replST">
          <ac:chgData name="Joelle Brehm" userId="a518f54c-6985-42c0-8041-2bb16a414839" providerId="ADAL" clId="{E58FA468-8508-4D9D-B61C-DD2554E44EF7}" dt="2024-03-07T16:52:56.826" v="37382"/>
          <ac:spMkLst>
            <pc:docMk/>
            <pc:sldMk cId="1917659360" sldId="279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52:56.896" v="37463"/>
          <ac:spMkLst>
            <pc:docMk/>
            <pc:sldMk cId="1917659360" sldId="279"/>
            <ac:spMk id="56" creationId="{20559C7D-F209-BEC9-F756-99B5D932639D}"/>
          </ac:spMkLst>
        </pc:spChg>
        <pc:spChg chg="mod ord">
          <ac:chgData name="Joelle Brehm" userId="a518f54c-6985-42c0-8041-2bb16a414839" providerId="ADAL" clId="{E58FA468-8508-4D9D-B61C-DD2554E44EF7}" dt="2024-03-07T16:52:56.896" v="37457"/>
          <ac:spMkLst>
            <pc:docMk/>
            <pc:sldMk cId="1917659360" sldId="279"/>
            <ac:spMk id="58" creationId="{C2B29D16-5A5D-43B3-B972-0B57287E081A}"/>
          </ac:spMkLst>
        </pc:spChg>
        <pc:spChg chg="mod ord">
          <ac:chgData name="Joelle Brehm" userId="a518f54c-6985-42c0-8041-2bb16a414839" providerId="ADAL" clId="{E58FA468-8508-4D9D-B61C-DD2554E44EF7}" dt="2024-03-07T16:52:56.893" v="37436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6:52:56.893" v="37438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6:52:56.896" v="37440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6:52:56.896" v="37442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6:52:56.896" v="37444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6:52:56.896" v="37446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6:52:56.896" v="37449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2:56.896" v="37450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2:56.896" v="37451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6:52:56.896" v="37452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6:52:56.896" v="37453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6:52:56.924" v="37465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6:52:19.060" v="36123"/>
          <ac:graphicFrameMkLst>
            <pc:docMk/>
            <pc:sldMk cId="1917659360" sldId="279"/>
            <ac:graphicFrameMk id="8" creationId="{F914EA3C-6324-85D8-60F6-9FF51101586B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2:56.876" v="37398"/>
          <ac:graphicFrameMkLst>
            <pc:docMk/>
            <pc:sldMk cId="1917659360" sldId="279"/>
            <ac:graphicFrameMk id="31" creationId="{05533D3F-1D12-8C01-6228-DA50508CE762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2:56.896" v="37448"/>
          <ac:graphicFrameMkLst>
            <pc:docMk/>
            <pc:sldMk cId="1917659360" sldId="279"/>
            <ac:graphicFrameMk id="35" creationId="{B1A3FB5F-6082-CF28-DD3A-1AFD3358DF96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2:42.880" v="36419"/>
          <ac:graphicFrameMkLst>
            <pc:docMk/>
            <pc:sldMk cId="1917659360" sldId="279"/>
            <ac:graphicFrameMk id="36" creationId="{5516A54D-4551-99C6-E566-88D48B0B30F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2:50.287" v="36974"/>
          <ac:graphicFrameMkLst>
            <pc:docMk/>
            <pc:sldMk cId="1917659360" sldId="279"/>
            <ac:graphicFrameMk id="48" creationId="{901015E8-C8FD-0195-1D4B-7BAD2B366378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2:52.670" v="37234"/>
          <ac:graphicFrameMkLst>
            <pc:docMk/>
            <pc:sldMk cId="1917659360" sldId="279"/>
            <ac:graphicFrameMk id="50" creationId="{E649B3EA-62B3-F48B-84E1-70C7ABFEDA3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2:56.842" v="37384"/>
          <ac:graphicFrameMkLst>
            <pc:docMk/>
            <pc:sldMk cId="1917659360" sldId="279"/>
            <ac:graphicFrameMk id="54" creationId="{2F4DEC7C-50EA-2D32-2360-DA32B0A47D49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2:49.253" v="36807"/>
          <ac:graphicFrameMkLst>
            <pc:docMk/>
            <pc:sldMk cId="1917659360" sldId="279"/>
            <ac:graphicFrameMk id="55" creationId="{1BF9EA72-8552-E13E-1414-4A031E33467B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2:56.887" v="37422"/>
          <ac:graphicFrameMkLst>
            <pc:docMk/>
            <pc:sldMk cId="1917659360" sldId="279"/>
            <ac:graphicFrameMk id="57" creationId="{E9AD924F-B65F-8F39-483D-0A4D5DE82419}"/>
          </ac:graphicFrameMkLst>
        </pc:graphicFrameChg>
        <pc:picChg chg="del mod ord">
          <ac:chgData name="Joelle Brehm" userId="a518f54c-6985-42c0-8041-2bb16a414839" providerId="ADAL" clId="{E58FA468-8508-4D9D-B61C-DD2554E44EF7}" dt="2024-03-07T16:52:33.200" v="36288" actId="478"/>
          <ac:picMkLst>
            <pc:docMk/>
            <pc:sldMk cId="1917659360" sldId="279"/>
            <ac:picMk id="9" creationId="{59DABA29-E7EC-B91D-9B7B-1B9D64F9E72A}"/>
          </ac:picMkLst>
        </pc:picChg>
        <pc:picChg chg="add mod ord">
          <ac:chgData name="Joelle Brehm" userId="a518f54c-6985-42c0-8041-2bb16a414839" providerId="ADAL" clId="{E58FA468-8508-4D9D-B61C-DD2554E44EF7}" dt="2024-03-07T16:52:56.871" v="37392"/>
          <ac:picMkLst>
            <pc:docMk/>
            <pc:sldMk cId="1917659360" sldId="279"/>
            <ac:picMk id="32" creationId="{E7847343-92F8-3A4B-6D56-FE80345B6A65}"/>
          </ac:picMkLst>
        </pc:picChg>
        <pc:picChg chg="mod ord">
          <ac:chgData name="Joelle Brehm" userId="a518f54c-6985-42c0-8041-2bb16a414839" providerId="ADAL" clId="{E58FA468-8508-4D9D-B61C-DD2554E44EF7}" dt="2024-03-07T16:52:56.896" v="37455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6:52:56.875" v="37396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03:36.791" v="46173"/>
        <pc:sldMkLst>
          <pc:docMk/>
          <pc:sldMk cId="168389892" sldId="281"/>
        </pc:sldMkLst>
        <pc:spChg chg="mod ord">
          <ac:chgData name="Joelle Brehm" userId="a518f54c-6985-42c0-8041-2bb16a414839" providerId="ADAL" clId="{E58FA468-8508-4D9D-B61C-DD2554E44EF7}" dt="2024-03-07T17:03:36.779" v="46167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E58FA468-8508-4D9D-B61C-DD2554E44EF7}" dt="2024-03-07T17:02:16.641" v="44234" actId="478"/>
          <ac:spMkLst>
            <pc:docMk/>
            <pc:sldMk cId="168389892" sldId="281"/>
            <ac:spMk id="3" creationId="{9B6AC3EC-7C3E-9773-757D-4DA8366045E8}"/>
          </ac:spMkLst>
        </pc:spChg>
        <pc:spChg chg="add del mod modVis">
          <ac:chgData name="Joelle Brehm" userId="a518f54c-6985-42c0-8041-2bb16a414839" providerId="ADAL" clId="{E58FA468-8508-4D9D-B61C-DD2554E44EF7}" dt="2024-03-07T17:02:32.504" v="44483"/>
          <ac:spMkLst>
            <pc:docMk/>
            <pc:sldMk cId="168389892" sldId="281"/>
            <ac:spMk id="5" creationId="{749C1961-F0F8-4AF2-1709-94223425F0DD}"/>
          </ac:spMkLst>
        </pc:spChg>
        <pc:spChg chg="mod ord">
          <ac:chgData name="Joelle Brehm" userId="a518f54c-6985-42c0-8041-2bb16a414839" providerId="ADAL" clId="{E58FA468-8508-4D9D-B61C-DD2554E44EF7}" dt="2024-03-07T17:03:36.759" v="46079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7:03:36.778" v="46128"/>
          <ac:spMkLst>
            <pc:docMk/>
            <pc:sldMk cId="168389892" sldId="281"/>
            <ac:spMk id="9" creationId="{3B8DB0B0-E1C2-FCF1-CE4E-5AC50FBA3FD7}"/>
          </ac:spMkLst>
        </pc:spChg>
        <pc:spChg chg="del mod">
          <ac:chgData name="Joelle Brehm" userId="a518f54c-6985-42c0-8041-2bb16a414839" providerId="ADAL" clId="{E58FA468-8508-4D9D-B61C-DD2554E44EF7}" dt="2024-03-07T17:03:26.131" v="45386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E58FA468-8508-4D9D-B61C-DD2554E44EF7}" dt="2024-03-07T17:03:36.759" v="46090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03:36.759" v="46086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03:36.759" v="46087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03:36.759" v="46084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03:36.759" v="46085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03:36.759" v="46088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03:36.759" v="46089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03:36.759" v="46091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03:36.759" v="46092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03:36.759" v="46093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03:36.759" v="46094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03:36.759" v="46095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03:36.759" v="46097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03:36.759" v="46100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03:36.759" v="46102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03:36.759" v="46101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03:36.759" v="46105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03:36.759" v="46106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03:36.759" v="46104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03:36.759" v="46108"/>
          <ac:spMkLst>
            <pc:docMk/>
            <pc:sldMk cId="168389892" sldId="281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7:03:36.779" v="46132"/>
          <ac:spMkLst>
            <pc:docMk/>
            <pc:sldMk cId="168389892" sldId="281"/>
            <ac:spMk id="34" creationId="{0E8E46D7-D2A7-7EA2-D456-4F5AC1475AED}"/>
          </ac:spMkLst>
        </pc:spChg>
        <pc:spChg chg="add del mod modVis">
          <ac:chgData name="Joelle Brehm" userId="a518f54c-6985-42c0-8041-2bb16a414839" providerId="ADAL" clId="{E58FA468-8508-4D9D-B61C-DD2554E44EF7}" dt="2024-03-07T17:03:13.012" v="44798"/>
          <ac:spMkLst>
            <pc:docMk/>
            <pc:sldMk cId="168389892" sldId="281"/>
            <ac:spMk id="35" creationId="{CB2848F9-04C0-48E4-6CB9-6183F225C307}"/>
          </ac:spMkLst>
        </pc:spChg>
        <pc:spChg chg="mod ord">
          <ac:chgData name="Joelle Brehm" userId="a518f54c-6985-42c0-8041-2bb16a414839" providerId="ADAL" clId="{E58FA468-8508-4D9D-B61C-DD2554E44EF7}" dt="2024-03-07T17:03:36.759" v="46099"/>
          <ac:spMkLst>
            <pc:docMk/>
            <pc:sldMk cId="168389892" sldId="281"/>
            <ac:spMk id="37" creationId="{6E6D97FF-E2E0-42EA-A83A-C3DF9F3514AE}"/>
          </ac:spMkLst>
        </pc:spChg>
        <pc:spChg chg="del mod">
          <ac:chgData name="Joelle Brehm" userId="a518f54c-6985-42c0-8041-2bb16a414839" providerId="ADAL" clId="{E58FA468-8508-4D9D-B61C-DD2554E44EF7}" dt="2024-03-07T17:03:26.125" v="45385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E58FA468-8508-4D9D-B61C-DD2554E44EF7}" dt="2024-03-07T17:03:36.779" v="46138"/>
          <ac:spMkLst>
            <pc:docMk/>
            <pc:sldMk cId="168389892" sldId="281"/>
            <ac:spMk id="40" creationId="{7541989C-2D24-7D6C-C2DA-7AF85BAB9B44}"/>
          </ac:spMkLst>
        </pc:spChg>
        <pc:spChg chg="add mod replST">
          <ac:chgData name="Joelle Brehm" userId="a518f54c-6985-42c0-8041-2bb16a414839" providerId="ADAL" clId="{E58FA468-8508-4D9D-B61C-DD2554E44EF7}" dt="2024-03-07T17:03:36.779" v="46139"/>
          <ac:spMkLst>
            <pc:docMk/>
            <pc:sldMk cId="168389892" sldId="281"/>
            <ac:spMk id="41" creationId="{1DFF5D5D-181E-ABF3-623A-26EAF3684297}"/>
          </ac:spMkLst>
        </pc:spChg>
        <pc:spChg chg="mod">
          <ac:chgData name="Joelle Brehm" userId="a518f54c-6985-42c0-8041-2bb16a414839" providerId="ADAL" clId="{E58FA468-8508-4D9D-B61C-DD2554E44EF7}" dt="2024-03-07T17:03:36.779" v="46136"/>
          <ac:spMkLst>
            <pc:docMk/>
            <pc:sldMk cId="168389892" sldId="281"/>
            <ac:spMk id="42" creationId="{B52EB065-62EB-A990-E2D9-9703B327E3FC}"/>
          </ac:spMkLst>
        </pc:spChg>
        <pc:spChg chg="add del mod modVis">
          <ac:chgData name="Joelle Brehm" userId="a518f54c-6985-42c0-8041-2bb16a414839" providerId="ADAL" clId="{E58FA468-8508-4D9D-B61C-DD2554E44EF7}" dt="2024-03-07T17:03:19.761" v="45164"/>
          <ac:spMkLst>
            <pc:docMk/>
            <pc:sldMk cId="168389892" sldId="281"/>
            <ac:spMk id="43" creationId="{95A1C4B1-EEB6-F227-1D51-D2F0E2D03282}"/>
          </ac:spMkLst>
        </pc:spChg>
        <pc:spChg chg="mod">
          <ac:chgData name="Joelle Brehm" userId="a518f54c-6985-42c0-8041-2bb16a414839" providerId="ADAL" clId="{E58FA468-8508-4D9D-B61C-DD2554E44EF7}" dt="2024-03-07T17:03:36.759" v="46111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9" v="46134"/>
          <ac:spMkLst>
            <pc:docMk/>
            <pc:sldMk cId="168389892" sldId="281"/>
            <ac:spMk id="45" creationId="{B489755F-21EB-39D7-16FB-197494E2C1A4}"/>
          </ac:spMkLst>
        </pc:spChg>
        <pc:spChg chg="mod">
          <ac:chgData name="Joelle Brehm" userId="a518f54c-6985-42c0-8041-2bb16a414839" providerId="ADAL" clId="{E58FA468-8508-4D9D-B61C-DD2554E44EF7}" dt="2024-03-07T17:03:36.779" v="46131"/>
          <ac:spMkLst>
            <pc:docMk/>
            <pc:sldMk cId="168389892" sldId="281"/>
            <ac:spMk id="46" creationId="{D7E2D47E-9249-E731-F2B0-9D4421FC27B7}"/>
          </ac:spMkLst>
        </pc:spChg>
        <pc:spChg chg="mod">
          <ac:chgData name="Joelle Brehm" userId="a518f54c-6985-42c0-8041-2bb16a414839" providerId="ADAL" clId="{E58FA468-8508-4D9D-B61C-DD2554E44EF7}" dt="2024-03-07T17:03:36.779" v="46133"/>
          <ac:spMkLst>
            <pc:docMk/>
            <pc:sldMk cId="168389892" sldId="281"/>
            <ac:spMk id="47" creationId="{C9F7A368-91BD-AFB9-D004-F672E6C15DDD}"/>
          </ac:spMkLst>
        </pc:spChg>
        <pc:spChg chg="mod ord">
          <ac:chgData name="Joelle Brehm" userId="a518f54c-6985-42c0-8041-2bb16a414839" providerId="ADAL" clId="{E58FA468-8508-4D9D-B61C-DD2554E44EF7}" dt="2024-03-07T17:03:36.779" v="46141"/>
          <ac:spMkLst>
            <pc:docMk/>
            <pc:sldMk cId="168389892" sldId="281"/>
            <ac:spMk id="49" creationId="{C06AD811-F54D-296F-21A9-ACC2CBDA832A}"/>
          </ac:spMkLst>
        </pc:spChg>
        <pc:spChg chg="mod">
          <ac:chgData name="Joelle Brehm" userId="a518f54c-6985-42c0-8041-2bb16a414839" providerId="ADAL" clId="{E58FA468-8508-4D9D-B61C-DD2554E44EF7}" dt="2024-03-07T17:03:36.779" v="46135"/>
          <ac:spMkLst>
            <pc:docMk/>
            <pc:sldMk cId="168389892" sldId="281"/>
            <ac:spMk id="50" creationId="{05A0C844-F372-941D-CC72-DA0AD120D666}"/>
          </ac:spMkLst>
        </pc:spChg>
        <pc:spChg chg="mod">
          <ac:chgData name="Joelle Brehm" userId="a518f54c-6985-42c0-8041-2bb16a414839" providerId="ADAL" clId="{E58FA468-8508-4D9D-B61C-DD2554E44EF7}" dt="2024-03-07T17:03:36.778" v="46126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E58FA468-8508-4D9D-B61C-DD2554E44EF7}" dt="2024-03-07T17:03:36.777" v="46124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E58FA468-8508-4D9D-B61C-DD2554E44EF7}" dt="2024-03-07T17:03:36.777" v="46123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E58FA468-8508-4D9D-B61C-DD2554E44EF7}" dt="2024-03-07T17:03:36.776" v="46120"/>
          <ac:spMkLst>
            <pc:docMk/>
            <pc:sldMk cId="168389892" sldId="281"/>
            <ac:spMk id="54" creationId="{622603CE-58AD-807F-F76A-AA9426112C20}"/>
          </ac:spMkLst>
        </pc:spChg>
        <pc:spChg chg="add mod replST">
          <ac:chgData name="Joelle Brehm" userId="a518f54c-6985-42c0-8041-2bb16a414839" providerId="ADAL" clId="{E58FA468-8508-4D9D-B61C-DD2554E44EF7}" dt="2024-03-07T17:03:36.779" v="46140"/>
          <ac:spMkLst>
            <pc:docMk/>
            <pc:sldMk cId="168389892" sldId="281"/>
            <ac:spMk id="55" creationId="{69B837B8-0C6A-4C0B-DC88-D4DF05732D64}"/>
          </ac:spMkLst>
        </pc:spChg>
        <pc:spChg chg="mod">
          <ac:chgData name="Joelle Brehm" userId="a518f54c-6985-42c0-8041-2bb16a414839" providerId="ADAL" clId="{E58FA468-8508-4D9D-B61C-DD2554E44EF7}" dt="2024-03-07T17:03:36.776" v="46119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E58FA468-8508-4D9D-B61C-DD2554E44EF7}" dt="2024-03-07T17:03:36.777" v="46122"/>
          <ac:spMkLst>
            <pc:docMk/>
            <pc:sldMk cId="168389892" sldId="281"/>
            <ac:spMk id="57" creationId="{C5C40907-46F2-01D7-4DFC-21E722FD6F82}"/>
          </ac:spMkLst>
        </pc:spChg>
        <pc:spChg chg="mod">
          <ac:chgData name="Joelle Brehm" userId="a518f54c-6985-42c0-8041-2bb16a414839" providerId="ADAL" clId="{E58FA468-8508-4D9D-B61C-DD2554E44EF7}" dt="2024-03-07T17:03:36.779" v="46137"/>
          <ac:spMkLst>
            <pc:docMk/>
            <pc:sldMk cId="168389892" sldId="281"/>
            <ac:spMk id="58" creationId="{0FB3C4FB-481D-A94A-711B-D751B148E790}"/>
          </ac:spMkLst>
        </pc:spChg>
        <pc:spChg chg="mod">
          <ac:chgData name="Joelle Brehm" userId="a518f54c-6985-42c0-8041-2bb16a414839" providerId="ADAL" clId="{E58FA468-8508-4D9D-B61C-DD2554E44EF7}" dt="2024-03-07T17:03:36.777" v="46125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E58FA468-8508-4D9D-B61C-DD2554E44EF7}" dt="2024-03-07T17:03:36.776" v="46121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E58FA468-8508-4D9D-B61C-DD2554E44EF7}" dt="2024-03-07T17:03:36.779" v="46130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E58FA468-8508-4D9D-B61C-DD2554E44EF7}" dt="2024-03-07T17:03:36.779" v="46142"/>
          <ac:spMkLst>
            <pc:docMk/>
            <pc:sldMk cId="168389892" sldId="281"/>
            <ac:spMk id="62" creationId="{DE7D5BF8-193E-8278-7BAE-2D4FE573EB09}"/>
          </ac:spMkLst>
        </pc:spChg>
        <pc:spChg chg="mod">
          <ac:chgData name="Joelle Brehm" userId="a518f54c-6985-42c0-8041-2bb16a414839" providerId="ADAL" clId="{E58FA468-8508-4D9D-B61C-DD2554E44EF7}" dt="2024-03-07T17:03:36.779" v="46129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E58FA468-8508-4D9D-B61C-DD2554E44EF7}" dt="2024-03-07T17:03:23.514" v="45382"/>
          <ac:spMkLst>
            <pc:docMk/>
            <pc:sldMk cId="168389892" sldId="281"/>
            <ac:spMk id="64" creationId="{69CBA898-AEDA-788E-D634-E7C5623168A5}"/>
          </ac:spMkLst>
        </pc:spChg>
        <pc:spChg chg="add del mod modVis">
          <ac:chgData name="Joelle Brehm" userId="a518f54c-6985-42c0-8041-2bb16a414839" providerId="ADAL" clId="{E58FA468-8508-4D9D-B61C-DD2554E44EF7}" dt="2024-03-07T17:03:26.337" v="45679"/>
          <ac:spMkLst>
            <pc:docMk/>
            <pc:sldMk cId="168389892" sldId="281"/>
            <ac:spMk id="66" creationId="{9F2637A3-A56A-D895-B25E-0848FF5C055C}"/>
          </ac:spMkLst>
        </pc:spChg>
        <pc:spChg chg="mod">
          <ac:chgData name="Joelle Brehm" userId="a518f54c-6985-42c0-8041-2bb16a414839" providerId="ADAL" clId="{E58FA468-8508-4D9D-B61C-DD2554E44EF7}" dt="2024-03-07T17:03:36.778" v="46127"/>
          <ac:spMkLst>
            <pc:docMk/>
            <pc:sldMk cId="168389892" sldId="281"/>
            <ac:spMk id="67" creationId="{7E34EA90-F698-215B-99E3-B598F96FF491}"/>
          </ac:spMkLst>
        </pc:spChg>
        <pc:spChg chg="add del mod modVis">
          <ac:chgData name="Joelle Brehm" userId="a518f54c-6985-42c0-8041-2bb16a414839" providerId="ADAL" clId="{E58FA468-8508-4D9D-B61C-DD2554E44EF7}" dt="2024-03-07T17:03:31.085" v="45868"/>
          <ac:spMkLst>
            <pc:docMk/>
            <pc:sldMk cId="168389892" sldId="281"/>
            <ac:spMk id="70" creationId="{CD8E56C6-02DB-AC29-4019-A8E70C252D96}"/>
          </ac:spMkLst>
        </pc:spChg>
        <pc:spChg chg="del mod">
          <ac:chgData name="Joelle Brehm" userId="a518f54c-6985-42c0-8041-2bb16a414839" providerId="ADAL" clId="{E58FA468-8508-4D9D-B61C-DD2554E44EF7}" dt="2024-03-07T17:03:26.187" v="45427"/>
          <ac:spMkLst>
            <pc:docMk/>
            <pc:sldMk cId="168389892" sldId="281"/>
            <ac:spMk id="7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6" v="46118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59" v="46103"/>
          <ac:spMkLst>
            <pc:docMk/>
            <pc:sldMk cId="168389892" sldId="281"/>
            <ac:spMk id="74" creationId="{1E5392BC-349C-45B4-8F81-52F83DA74F43}"/>
          </ac:spMkLst>
        </pc:spChg>
        <pc:spChg chg="mod">
          <ac:chgData name="Joelle Brehm" userId="a518f54c-6985-42c0-8041-2bb16a414839" providerId="ADAL" clId="{E58FA468-8508-4D9D-B61C-DD2554E44EF7}" dt="2024-03-07T17:03:36.759" v="46112"/>
          <ac:spMkLst>
            <pc:docMk/>
            <pc:sldMk cId="168389892" sldId="281"/>
            <ac:spMk id="7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4" v="46113"/>
          <ac:spMkLst>
            <pc:docMk/>
            <pc:sldMk cId="168389892" sldId="281"/>
            <ac:spMk id="7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5" v="46114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3:36.779" v="46144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03:36.779" v="46146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E58FA468-8508-4D9D-B61C-DD2554E44EF7}" dt="2024-03-07T17:03:36.775" v="46115"/>
          <ac:spMkLst>
            <pc:docMk/>
            <pc:sldMk cId="168389892" sldId="281"/>
            <ac:spMk id="80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7:03:36.791" v="46171"/>
          <ac:spMkLst>
            <pc:docMk/>
            <pc:sldMk cId="168389892" sldId="281"/>
            <ac:spMk id="81" creationId="{6A227638-4091-0059-3A64-25F126B54072}"/>
          </ac:spMkLst>
        </pc:spChg>
        <pc:spChg chg="add mod replST">
          <ac:chgData name="Joelle Brehm" userId="a518f54c-6985-42c0-8041-2bb16a414839" providerId="ADAL" clId="{E58FA468-8508-4D9D-B61C-DD2554E44EF7}" dt="2024-03-07T17:03:36.776" v="46117"/>
          <ac:spMkLst>
            <pc:docMk/>
            <pc:sldMk cId="168389892" sldId="281"/>
            <ac:spMk id="82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5" v="46116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3:36.779" v="46148"/>
          <ac:spMkLst>
            <pc:docMk/>
            <pc:sldMk cId="168389892" sldId="28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7:03:36.779" v="46150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03:36.779" v="46152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03:36.779" v="46154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03:36.779" v="46157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9" v="46158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9" v="46159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3:36.779" v="46160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03:36.779" v="46161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7:03:36.791" v="46173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3:36.759" v="46083"/>
          <ac:graphicFrameMkLst>
            <pc:docMk/>
            <pc:sldMk cId="168389892" sldId="281"/>
            <ac:graphicFrameMk id="8" creationId="{82D724AC-38F1-BAB6-9903-66AA6D95CC4B}"/>
          </ac:graphicFrameMkLst>
        </pc:graphicFrameChg>
        <pc:graphicFrameChg chg="del">
          <ac:chgData name="Joelle Brehm" userId="a518f54c-6985-42c0-8041-2bb16a414839" providerId="ADAL" clId="{E58FA468-8508-4D9D-B61C-DD2554E44EF7}" dt="2024-03-07T17:02:32.445" v="44375"/>
          <ac:graphicFrameMkLst>
            <pc:docMk/>
            <pc:sldMk cId="168389892" sldId="281"/>
            <ac:graphicFrameMk id="32" creationId="{28D11547-2DAB-E4F4-C0FC-D2FCE3E1AF68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3:36.779" v="46156"/>
          <ac:graphicFrameMkLst>
            <pc:docMk/>
            <pc:sldMk cId="168389892" sldId="281"/>
            <ac:graphicFrameMk id="36" creationId="{005081CA-8433-A687-EB1A-2D29F58687DC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3:12.954" v="44696"/>
          <ac:graphicFrameMkLst>
            <pc:docMk/>
            <pc:sldMk cId="168389892" sldId="281"/>
            <ac:graphicFrameMk id="38" creationId="{74F8675A-6F6D-9B34-0E9D-99BC9930BC4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3:23.454" v="45277"/>
          <ac:graphicFrameMkLst>
            <pc:docMk/>
            <pc:sldMk cId="168389892" sldId="281"/>
            <ac:graphicFrameMk id="48" creationId="{D3B03E8E-2309-A9C6-0F11-D858BB5DF71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3:26.268" v="45577"/>
          <ac:graphicFrameMkLst>
            <pc:docMk/>
            <pc:sldMk cId="168389892" sldId="281"/>
            <ac:graphicFrameMk id="65" creationId="{506EC1B9-186F-E795-A375-4030933EEB3A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3:19.682" v="45060"/>
          <ac:graphicFrameMkLst>
            <pc:docMk/>
            <pc:sldMk cId="168389892" sldId="281"/>
            <ac:graphicFrameMk id="68" creationId="{8720B5B4-D931-FA98-3503-7DB700403CF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3:31.034" v="45767"/>
          <ac:graphicFrameMkLst>
            <pc:docMk/>
            <pc:sldMk cId="168389892" sldId="281"/>
            <ac:graphicFrameMk id="69" creationId="{7A15985B-AF12-57F0-C5F4-8B2F514E35E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3:36.742" v="46069"/>
          <ac:graphicFrameMkLst>
            <pc:docMk/>
            <pc:sldMk cId="168389892" sldId="281"/>
            <ac:graphicFrameMk id="71" creationId="{2A9CA1D0-699C-3DE8-A39B-0DBED462CF9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3:36.759" v="46110"/>
          <ac:graphicFrameMkLst>
            <pc:docMk/>
            <pc:sldMk cId="168389892" sldId="281"/>
            <ac:graphicFrameMk id="83" creationId="{43CE3669-152E-70BE-8895-725D4408B670}"/>
          </ac:graphicFrameMkLst>
        </pc:graphicFrameChg>
        <pc:picChg chg="add mod ord">
          <ac:chgData name="Joelle Brehm" userId="a518f54c-6985-42c0-8041-2bb16a414839" providerId="ADAL" clId="{E58FA468-8508-4D9D-B61C-DD2554E44EF7}" dt="2024-03-07T17:03:36.759" v="46077"/>
          <ac:picMkLst>
            <pc:docMk/>
            <pc:sldMk cId="168389892" sldId="281"/>
            <ac:picMk id="31" creationId="{AEB32563-9E91-74B3-86AE-7ED1945BC1E8}"/>
          </ac:picMkLst>
        </pc:picChg>
        <pc:picChg chg="del mod ord">
          <ac:chgData name="Joelle Brehm" userId="a518f54c-6985-42c0-8041-2bb16a414839" providerId="ADAL" clId="{E58FA468-8508-4D9D-B61C-DD2554E44EF7}" dt="2024-03-07T17:02:54.738" v="44606" actId="478"/>
          <ac:picMkLst>
            <pc:docMk/>
            <pc:sldMk cId="168389892" sldId="281"/>
            <ac:picMk id="33" creationId="{BD0F2C68-7218-39CD-3E0F-B8721E473296}"/>
          </ac:picMkLst>
        </pc:picChg>
        <pc:picChg chg="mod ord">
          <ac:chgData name="Joelle Brehm" userId="a518f54c-6985-42c0-8041-2bb16a414839" providerId="ADAL" clId="{E58FA468-8508-4D9D-B61C-DD2554E44EF7}" dt="2024-03-07T17:03:36.779" v="46165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E58FA468-8508-4D9D-B61C-DD2554E44EF7}" dt="2024-03-07T17:03:36.779" v="46163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03:36.759" v="46081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05:24.344" v="47555"/>
        <pc:sldMkLst>
          <pc:docMk/>
          <pc:sldMk cId="3564961532" sldId="282"/>
        </pc:sldMkLst>
        <pc:spChg chg="mod ord">
          <ac:chgData name="Joelle Brehm" userId="a518f54c-6985-42c0-8041-2bb16a414839" providerId="ADAL" clId="{E58FA468-8508-4D9D-B61C-DD2554E44EF7}" dt="2024-03-07T17:05:24.328" v="47549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E58FA468-8508-4D9D-B61C-DD2554E44EF7}" dt="2024-03-07T17:03:41.408" v="46174" actId="478"/>
          <ac:spMkLst>
            <pc:docMk/>
            <pc:sldMk cId="3564961532" sldId="282"/>
            <ac:spMk id="3" creationId="{AECEAF58-090B-66F2-DED4-76FB3AFB0A29}"/>
          </ac:spMkLst>
        </pc:spChg>
        <pc:spChg chg="add del mod modVis">
          <ac:chgData name="Joelle Brehm" userId="a518f54c-6985-42c0-8041-2bb16a414839" providerId="ADAL" clId="{E58FA468-8508-4D9D-B61C-DD2554E44EF7}" dt="2024-03-07T17:03:52.712" v="46410"/>
          <ac:spMkLst>
            <pc:docMk/>
            <pc:sldMk cId="3564961532" sldId="282"/>
            <ac:spMk id="5" creationId="{386CA789-9D6D-5A6F-3D85-879FE265E107}"/>
          </ac:spMkLst>
        </pc:spChg>
        <pc:spChg chg="mod ord">
          <ac:chgData name="Joelle Brehm" userId="a518f54c-6985-42c0-8041-2bb16a414839" providerId="ADAL" clId="{E58FA468-8508-4D9D-B61C-DD2554E44EF7}" dt="2024-03-07T17:05:24.296" v="47462"/>
          <ac:spMkLst>
            <pc:docMk/>
            <pc:sldMk cId="3564961532" sldId="282"/>
            <ac:spMk id="6" creationId="{B47CE71D-7819-4857-B121-737A3BD39B4D}"/>
          </ac:spMkLst>
        </pc:spChg>
        <pc:spChg chg="del mod">
          <ac:chgData name="Joelle Brehm" userId="a518f54c-6985-42c0-8041-2bb16a414839" providerId="ADAL" clId="{E58FA468-8508-4D9D-B61C-DD2554E44EF7}" dt="2024-03-07T17:05:24.165" v="4730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E58FA468-8508-4D9D-B61C-DD2554E44EF7}" dt="2024-03-07T17:05:24.296" v="47473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05:24.296" v="47469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05:24.296" v="47470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05:24.296" v="47467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05:24.296" v="47468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05:24.296" v="47471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05:24.296" v="47472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05:24.296" v="47474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05:24.296" v="47475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05:24.296" v="47476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05:24.296" v="47477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05:24.296" v="47478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05:24.296" v="47480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05:24.296" v="47483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05:24.296" v="47485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05:24.296" v="47484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05:24.296" v="47488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05:24.296" v="47489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05:24.296" v="47487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05:24.311" v="47491"/>
          <ac:spMkLst>
            <pc:docMk/>
            <pc:sldMk cId="3564961532" sldId="282"/>
            <ac:spMk id="30" creationId="{121A2A89-FB4E-4B9A-840D-28523B0B457F}"/>
          </ac:spMkLst>
        </pc:spChg>
        <pc:spChg chg="del mod">
          <ac:chgData name="Joelle Brehm" userId="a518f54c-6985-42c0-8041-2bb16a414839" providerId="ADAL" clId="{E58FA468-8508-4D9D-B61C-DD2554E44EF7}" dt="2024-03-07T17:05:24.153" v="47305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E58FA468-8508-4D9D-B61C-DD2554E44EF7}" dt="2024-03-07T17:05:24.313" v="47516"/>
          <ac:spMkLst>
            <pc:docMk/>
            <pc:sldMk cId="3564961532" sldId="282"/>
            <ac:spMk id="34" creationId="{5449B49A-6F6A-898A-2D6E-3B98A8E86022}"/>
          </ac:spMkLst>
        </pc:spChg>
        <pc:spChg chg="mod">
          <ac:chgData name="Joelle Brehm" userId="a518f54c-6985-42c0-8041-2bb16a414839" providerId="ADAL" clId="{E58FA468-8508-4D9D-B61C-DD2554E44EF7}" dt="2024-03-07T17:05:24.313" v="47520"/>
          <ac:spMkLst>
            <pc:docMk/>
            <pc:sldMk cId="3564961532" sldId="282"/>
            <ac:spMk id="35" creationId="{1817EC5B-9379-1D20-DF3E-54BFCC2A61DC}"/>
          </ac:spMkLst>
        </pc:spChg>
        <pc:spChg chg="add del mod modVis">
          <ac:chgData name="Joelle Brehm" userId="a518f54c-6985-42c0-8041-2bb16a414839" providerId="ADAL" clId="{E58FA468-8508-4D9D-B61C-DD2554E44EF7}" dt="2024-03-07T17:05:12.691" v="46716"/>
          <ac:spMkLst>
            <pc:docMk/>
            <pc:sldMk cId="3564961532" sldId="282"/>
            <ac:spMk id="36" creationId="{EFE91913-67D0-B245-FB23-8E469AB20622}"/>
          </ac:spMkLst>
        </pc:spChg>
        <pc:spChg chg="mod ord">
          <ac:chgData name="Joelle Brehm" userId="a518f54c-6985-42c0-8041-2bb16a414839" providerId="ADAL" clId="{E58FA468-8508-4D9D-B61C-DD2554E44EF7}" dt="2024-03-07T17:05:24.296" v="47482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E58FA468-8508-4D9D-B61C-DD2554E44EF7}" dt="2024-03-07T17:05:24.313" v="47518"/>
          <ac:spMkLst>
            <pc:docMk/>
            <pc:sldMk cId="3564961532" sldId="282"/>
            <ac:spMk id="38" creationId="{CC249A73-3953-259C-3458-D4FAFD8A9D0B}"/>
          </ac:spMkLst>
        </pc:spChg>
        <pc:spChg chg="mod">
          <ac:chgData name="Joelle Brehm" userId="a518f54c-6985-42c0-8041-2bb16a414839" providerId="ADAL" clId="{E58FA468-8508-4D9D-B61C-DD2554E44EF7}" dt="2024-03-07T17:05:24.313" v="47517"/>
          <ac:spMkLst>
            <pc:docMk/>
            <pc:sldMk cId="3564961532" sldId="282"/>
            <ac:spMk id="39" creationId="{CEC7EE6E-A856-A6AD-4F8A-2BEBB154E0B8}"/>
          </ac:spMkLst>
        </pc:spChg>
        <pc:spChg chg="mod">
          <ac:chgData name="Joelle Brehm" userId="a518f54c-6985-42c0-8041-2bb16a414839" providerId="ADAL" clId="{E58FA468-8508-4D9D-B61C-DD2554E44EF7}" dt="2024-03-07T17:05:24.313" v="47519"/>
          <ac:spMkLst>
            <pc:docMk/>
            <pc:sldMk cId="3564961532" sldId="282"/>
            <ac:spMk id="40" creationId="{8BE1E6AE-AB78-C64F-A6DE-9570C6DA172C}"/>
          </ac:spMkLst>
        </pc:spChg>
        <pc:spChg chg="mod">
          <ac:chgData name="Joelle Brehm" userId="a518f54c-6985-42c0-8041-2bb16a414839" providerId="ADAL" clId="{E58FA468-8508-4D9D-B61C-DD2554E44EF7}" dt="2024-03-07T17:05:24.313" v="47522"/>
          <ac:spMkLst>
            <pc:docMk/>
            <pc:sldMk cId="3564961532" sldId="282"/>
            <ac:spMk id="42" creationId="{2E0459C3-4123-A318-EFC4-EB93D8840E71}"/>
          </ac:spMkLst>
        </pc:spChg>
        <pc:spChg chg="mod">
          <ac:chgData name="Joelle Brehm" userId="a518f54c-6985-42c0-8041-2bb16a414839" providerId="ADAL" clId="{E58FA468-8508-4D9D-B61C-DD2554E44EF7}" dt="2024-03-07T17:05:24.313" v="47521"/>
          <ac:spMkLst>
            <pc:docMk/>
            <pc:sldMk cId="3564961532" sldId="282"/>
            <ac:spMk id="43" creationId="{56265422-1A09-1EDC-EA11-A10E73964C50}"/>
          </ac:spMkLst>
        </pc:spChg>
        <pc:spChg chg="add mod replST">
          <ac:chgData name="Joelle Brehm" userId="a518f54c-6985-42c0-8041-2bb16a414839" providerId="ADAL" clId="{E58FA468-8508-4D9D-B61C-DD2554E44EF7}" dt="2024-03-07T17:05:24.313" v="47523"/>
          <ac:spMkLst>
            <pc:docMk/>
            <pc:sldMk cId="3564961532" sldId="282"/>
            <ac:spMk id="45" creationId="{07309B7F-9064-1EE3-BDEE-E8D418366AAA}"/>
          </ac:spMkLst>
        </pc:spChg>
        <pc:spChg chg="add del mod modVis">
          <ac:chgData name="Joelle Brehm" userId="a518f54c-6985-42c0-8041-2bb16a414839" providerId="ADAL" clId="{E58FA468-8508-4D9D-B61C-DD2554E44EF7}" dt="2024-03-07T17:05:18.959" v="47081"/>
          <ac:spMkLst>
            <pc:docMk/>
            <pc:sldMk cId="3564961532" sldId="282"/>
            <ac:spMk id="46" creationId="{B0200174-43D1-5D48-D4A6-6DEA17298FF6}"/>
          </ac:spMkLst>
        </pc:spChg>
        <pc:spChg chg="mod">
          <ac:chgData name="Joelle Brehm" userId="a518f54c-6985-42c0-8041-2bb16a414839" providerId="ADAL" clId="{E58FA468-8508-4D9D-B61C-DD2554E44EF7}" dt="2024-03-07T17:05:24.313" v="47515"/>
          <ac:spMkLst>
            <pc:docMk/>
            <pc:sldMk cId="3564961532" sldId="282"/>
            <ac:spMk id="47" creationId="{38F805B2-3D74-F0ED-4C65-55D891954B72}"/>
          </ac:spMkLst>
        </pc:spChg>
        <pc:spChg chg="mod">
          <ac:chgData name="Joelle Brehm" userId="a518f54c-6985-42c0-8041-2bb16a414839" providerId="ADAL" clId="{E58FA468-8508-4D9D-B61C-DD2554E44EF7}" dt="2024-03-07T17:05:24.313" v="47508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E58FA468-8508-4D9D-B61C-DD2554E44EF7}" dt="2024-03-07T17:05:24.313" v="47507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E58FA468-8508-4D9D-B61C-DD2554E44EF7}" dt="2024-03-07T17:05:24.313" v="47502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E58FA468-8508-4D9D-B61C-DD2554E44EF7}" dt="2024-03-07T17:05:24.313" v="47512"/>
          <ac:spMkLst>
            <pc:docMk/>
            <pc:sldMk cId="3564961532" sldId="282"/>
            <ac:spMk id="51" creationId="{7D7C884D-D57C-725C-5AC2-3935B0668B1E}"/>
          </ac:spMkLst>
        </pc:spChg>
        <pc:spChg chg="mod">
          <ac:chgData name="Joelle Brehm" userId="a518f54c-6985-42c0-8041-2bb16a414839" providerId="ADAL" clId="{E58FA468-8508-4D9D-B61C-DD2554E44EF7}" dt="2024-03-07T17:05:24.313" v="47501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E58FA468-8508-4D9D-B61C-DD2554E44EF7}" dt="2024-03-07T17:05:24.313" v="47504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E58FA468-8508-4D9D-B61C-DD2554E44EF7}" dt="2024-03-07T17:05:24.313" v="47514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E58FA468-8508-4D9D-B61C-DD2554E44EF7}" dt="2024-03-07T17:05:24.313" v="47510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E58FA468-8508-4D9D-B61C-DD2554E44EF7}" dt="2024-03-07T17:05:24.313" v="47503"/>
          <ac:spMkLst>
            <pc:docMk/>
            <pc:sldMk cId="3564961532" sldId="282"/>
            <ac:spMk id="56" creationId="{524D0E2B-EC88-5451-10B4-9BAED81D2D7E}"/>
          </ac:spMkLst>
        </pc:spChg>
        <pc:spChg chg="mod">
          <ac:chgData name="Joelle Brehm" userId="a518f54c-6985-42c0-8041-2bb16a414839" providerId="ADAL" clId="{E58FA468-8508-4D9D-B61C-DD2554E44EF7}" dt="2024-03-07T17:05:24.313" v="47511"/>
          <ac:spMkLst>
            <pc:docMk/>
            <pc:sldMk cId="3564961532" sldId="282"/>
            <ac:spMk id="57" creationId="{6C3836C5-4B8F-D1FF-D868-DEBFC10CBCF3}"/>
          </ac:spMkLst>
        </pc:spChg>
        <pc:spChg chg="mod">
          <ac:chgData name="Joelle Brehm" userId="a518f54c-6985-42c0-8041-2bb16a414839" providerId="ADAL" clId="{E58FA468-8508-4D9D-B61C-DD2554E44EF7}" dt="2024-03-07T17:05:24.313" v="47513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E58FA468-8508-4D9D-B61C-DD2554E44EF7}" dt="2024-03-07T17:05:24.313" v="47509"/>
          <ac:spMkLst>
            <pc:docMk/>
            <pc:sldMk cId="3564961532" sldId="282"/>
            <ac:spMk id="59" creationId="{59620921-9E96-B42F-E10D-70C8E9A97CC5}"/>
          </ac:spMkLst>
        </pc:spChg>
        <pc:spChg chg="add mod replST">
          <ac:chgData name="Joelle Brehm" userId="a518f54c-6985-42c0-8041-2bb16a414839" providerId="ADAL" clId="{E58FA468-8508-4D9D-B61C-DD2554E44EF7}" dt="2024-03-07T17:05:24.313" v="47524"/>
          <ac:spMkLst>
            <pc:docMk/>
            <pc:sldMk cId="3564961532" sldId="282"/>
            <ac:spMk id="61" creationId="{60D0F41E-5C01-F137-E99D-B9D246AC5A92}"/>
          </ac:spMkLst>
        </pc:spChg>
        <pc:spChg chg="mod">
          <ac:chgData name="Joelle Brehm" userId="a518f54c-6985-42c0-8041-2bb16a414839" providerId="ADAL" clId="{E58FA468-8508-4D9D-B61C-DD2554E44EF7}" dt="2024-03-07T17:05:24.313" v="47506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E58FA468-8508-4D9D-B61C-DD2554E44EF7}" dt="2024-03-07T17:05:21.916" v="47302"/>
          <ac:spMkLst>
            <pc:docMk/>
            <pc:sldMk cId="3564961532" sldId="282"/>
            <ac:spMk id="63" creationId="{C88389E7-649B-9683-214A-2ED18E553B92}"/>
          </ac:spMkLst>
        </pc:spChg>
        <pc:spChg chg="add del mod modVis">
          <ac:chgData name="Joelle Brehm" userId="a518f54c-6985-42c0-8041-2bb16a414839" providerId="ADAL" clId="{E58FA468-8508-4D9D-B61C-DD2554E44EF7}" dt="2024-03-07T17:05:24.328" v="47553"/>
          <ac:spMkLst>
            <pc:docMk/>
            <pc:sldMk cId="3564961532" sldId="282"/>
            <ac:spMk id="65" creationId="{6A40C35F-327A-7E7F-B291-82526011DA6A}"/>
          </ac:spMkLst>
        </pc:spChg>
        <pc:spChg chg="mod">
          <ac:chgData name="Joelle Brehm" userId="a518f54c-6985-42c0-8041-2bb16a414839" providerId="ADAL" clId="{E58FA468-8508-4D9D-B61C-DD2554E44EF7}" dt="2024-03-07T17:05:24.313" v="47505"/>
          <ac:spMkLst>
            <pc:docMk/>
            <pc:sldMk cId="3564961532" sldId="282"/>
            <ac:spMk id="66" creationId="{C4A33F4F-7FD9-EA78-EDDC-D0E322FB3032}"/>
          </ac:spMkLst>
        </pc:spChg>
        <pc:spChg chg="mod">
          <ac:chgData name="Joelle Brehm" userId="a518f54c-6985-42c0-8041-2bb16a414839" providerId="ADAL" clId="{E58FA468-8508-4D9D-B61C-DD2554E44EF7}" dt="2024-03-07T17:05:24.296" v="47486"/>
          <ac:spMkLst>
            <pc:docMk/>
            <pc:sldMk cId="3564961532" sldId="282"/>
            <ac:spMk id="74" creationId="{1E5392BC-349C-45B4-8F81-52F83DA74F43}"/>
          </ac:spMkLst>
        </pc:spChg>
        <pc:spChg chg="mod">
          <ac:chgData name="Joelle Brehm" userId="a518f54c-6985-42c0-8041-2bb16a414839" providerId="ADAL" clId="{E58FA468-8508-4D9D-B61C-DD2554E44EF7}" dt="2024-03-07T17:05:24.313" v="47494"/>
          <ac:spMkLst>
            <pc:docMk/>
            <pc:sldMk cId="3564961532" sldId="282"/>
            <ac:spMk id="7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5:24.313" v="47495"/>
          <ac:spMkLst>
            <pc:docMk/>
            <pc:sldMk cId="3564961532" sldId="282"/>
            <ac:spMk id="7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5:24.313" v="47526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05:24.313" v="47528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7:05:24.328" v="47547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E58FA468-8508-4D9D-B61C-DD2554E44EF7}" dt="2024-03-07T17:05:24.313" v="47499"/>
          <ac:spMkLst>
            <pc:docMk/>
            <pc:sldMk cId="3564961532" sldId="282"/>
            <ac:spMk id="9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5:24.313" v="47530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E58FA468-8508-4D9D-B61C-DD2554E44EF7}" dt="2024-03-07T17:05:24.313" v="47497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5:24.313" v="47532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05:24.325" v="47534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05:24.325" v="47536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05:24.313" v="47496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5:24.313" v="47498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5:24.313" v="47500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5:24.328" v="47539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5:24.328" v="47540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5:24.328" v="47541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5:24.328" v="47542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05:24.328" v="47543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7:05:24.344" v="47555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7:03:52.650" v="46303"/>
          <ac:graphicFrameMkLst>
            <pc:docMk/>
            <pc:sldMk cId="3564961532" sldId="282"/>
            <ac:graphicFrameMk id="8" creationId="{8C5BE696-1508-DE80-A672-6DB9BC7CD7F2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5:24.296" v="47466"/>
          <ac:graphicFrameMkLst>
            <pc:docMk/>
            <pc:sldMk cId="3564961532" sldId="282"/>
            <ac:graphicFrameMk id="9" creationId="{30D98F85-B102-BD5F-345A-8616D1CAB904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5:12.632" v="46615"/>
          <ac:graphicFrameMkLst>
            <pc:docMk/>
            <pc:sldMk cId="3564961532" sldId="282"/>
            <ac:graphicFrameMk id="41" creationId="{6EA819F1-1817-01B7-1DB7-7AF7326D7F4A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5:24.327" v="47538"/>
          <ac:graphicFrameMkLst>
            <pc:docMk/>
            <pc:sldMk cId="3564961532" sldId="282"/>
            <ac:graphicFrameMk id="44" creationId="{0C1E68ED-0F6D-6D69-C681-2AA847F3696C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5:21.862" v="47199"/>
          <ac:graphicFrameMkLst>
            <pc:docMk/>
            <pc:sldMk cId="3564961532" sldId="282"/>
            <ac:graphicFrameMk id="60" creationId="{C12DDF3E-318C-A683-0045-E97FDB34968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5:24.264" v="47452"/>
          <ac:graphicFrameMkLst>
            <pc:docMk/>
            <pc:sldMk cId="3564961532" sldId="282"/>
            <ac:graphicFrameMk id="64" creationId="{BF086761-E63D-E245-58A2-4406678A90AB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5:24.311" v="47493"/>
          <ac:graphicFrameMkLst>
            <pc:docMk/>
            <pc:sldMk cId="3564961532" sldId="282"/>
            <ac:graphicFrameMk id="67" creationId="{C3FE8B2B-0139-F88A-54FF-481DBAD98D15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5:18.906" v="46979"/>
          <ac:graphicFrameMkLst>
            <pc:docMk/>
            <pc:sldMk cId="3564961532" sldId="282"/>
            <ac:graphicFrameMk id="72" creationId="{349E02FE-2C62-2E5B-CF7E-948ADB1B105A}"/>
          </ac:graphicFrameMkLst>
        </pc:graphicFrameChg>
        <pc:picChg chg="del mod ord">
          <ac:chgData name="Joelle Brehm" userId="a518f54c-6985-42c0-8041-2bb16a414839" providerId="ADAL" clId="{E58FA468-8508-4D9D-B61C-DD2554E44EF7}" dt="2024-03-07T17:04:58.868" v="46519" actId="478"/>
          <ac:picMkLst>
            <pc:docMk/>
            <pc:sldMk cId="3564961532" sldId="282"/>
            <ac:picMk id="31" creationId="{923D59E3-1DB3-EDEE-4194-9053041E42B8}"/>
          </ac:picMkLst>
        </pc:picChg>
        <pc:picChg chg="add mod ord">
          <ac:chgData name="Joelle Brehm" userId="a518f54c-6985-42c0-8041-2bb16a414839" providerId="ADAL" clId="{E58FA468-8508-4D9D-B61C-DD2554E44EF7}" dt="2024-03-07T17:05:24.296" v="47460"/>
          <ac:picMkLst>
            <pc:docMk/>
            <pc:sldMk cId="3564961532" sldId="282"/>
            <ac:picMk id="32" creationId="{29BD9977-1BEB-437E-CF1F-9766898A6BBE}"/>
          </ac:picMkLst>
        </pc:picChg>
        <pc:picChg chg="mod ord">
          <ac:chgData name="Joelle Brehm" userId="a518f54c-6985-42c0-8041-2bb16a414839" providerId="ADAL" clId="{E58FA468-8508-4D9D-B61C-DD2554E44EF7}" dt="2024-03-07T17:05:24.328" v="47545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05:24.296" v="47464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06:23.663" v="49087"/>
        <pc:sldMkLst>
          <pc:docMk/>
          <pc:sldMk cId="2958919186" sldId="284"/>
        </pc:sldMkLst>
        <pc:spChg chg="mod ord">
          <ac:chgData name="Joelle Brehm" userId="a518f54c-6985-42c0-8041-2bb16a414839" providerId="ADAL" clId="{E58FA468-8508-4D9D-B61C-DD2554E44EF7}" dt="2024-03-07T17:06:23.645" v="49081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E58FA468-8508-4D9D-B61C-DD2554E44EF7}" dt="2024-03-07T17:05:39.753" v="47556" actId="478"/>
          <ac:spMkLst>
            <pc:docMk/>
            <pc:sldMk cId="2958919186" sldId="284"/>
            <ac:spMk id="3" creationId="{4281C177-0D00-5912-806F-B52F1F073D42}"/>
          </ac:spMkLst>
        </pc:spChg>
        <pc:spChg chg="add del mod modVis">
          <ac:chgData name="Joelle Brehm" userId="a518f54c-6985-42c0-8041-2bb16a414839" providerId="ADAL" clId="{E58FA468-8508-4D9D-B61C-DD2554E44EF7}" dt="2024-03-07T17:05:43.696" v="47793"/>
          <ac:spMkLst>
            <pc:docMk/>
            <pc:sldMk cId="2958919186" sldId="284"/>
            <ac:spMk id="5" creationId="{F5BD44EF-431A-F246-C010-7440256E1D94}"/>
          </ac:spMkLst>
        </pc:spChg>
        <pc:spChg chg="mod ord">
          <ac:chgData name="Joelle Brehm" userId="a518f54c-6985-42c0-8041-2bb16a414839" providerId="ADAL" clId="{E58FA468-8508-4D9D-B61C-DD2554E44EF7}" dt="2024-03-07T17:06:23.629" v="48995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7:06:23.645" v="49048"/>
          <ac:spMkLst>
            <pc:docMk/>
            <pc:sldMk cId="2958919186" sldId="284"/>
            <ac:spMk id="10" creationId="{9719655D-B1E7-347B-4560-8C174CD823A0}"/>
          </ac:spMkLst>
        </pc:spChg>
        <pc:spChg chg="mod">
          <ac:chgData name="Joelle Brehm" userId="a518f54c-6985-42c0-8041-2bb16a414839" providerId="ADAL" clId="{E58FA468-8508-4D9D-B61C-DD2554E44EF7}" dt="2024-03-07T17:06:23.629" v="49006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06:23.629" v="49002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06:23.629" v="49003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06:23.629" v="49000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06:23.629" v="49001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06:23.629" v="49004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06:23.629" v="49005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06:23.629" v="49007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06:23.629" v="49008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06:23.629" v="49009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06:23.629" v="49010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06:23.629" v="49011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06:23.629" v="49013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06:23.629" v="49016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06:23.629" v="49018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06:23.629" v="49017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06:23.629" v="49021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06:23.629" v="49022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06:23.629" v="49020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06:23.629" v="49024"/>
          <ac:spMkLst>
            <pc:docMk/>
            <pc:sldMk cId="2958919186" sldId="284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58FA468-8508-4D9D-B61C-DD2554E44EF7}" dt="2024-03-07T17:06:08.097" v="48097"/>
          <ac:spMkLst>
            <pc:docMk/>
            <pc:sldMk cId="2958919186" sldId="284"/>
            <ac:spMk id="31" creationId="{1D563BFD-1733-583E-3157-5B3038B30314}"/>
          </ac:spMkLst>
        </pc:spChg>
        <pc:spChg chg="mod">
          <ac:chgData name="Joelle Brehm" userId="a518f54c-6985-42c0-8041-2bb16a414839" providerId="ADAL" clId="{E58FA468-8508-4D9D-B61C-DD2554E44EF7}" dt="2024-03-07T17:06:23.645" v="49047"/>
          <ac:spMkLst>
            <pc:docMk/>
            <pc:sldMk cId="2958919186" sldId="284"/>
            <ac:spMk id="32" creationId="{A7F15473-C481-F557-18F4-5334C151E8F4}"/>
          </ac:spMkLst>
        </pc:spChg>
        <pc:spChg chg="add mod replST">
          <ac:chgData name="Joelle Brehm" userId="a518f54c-6985-42c0-8041-2bb16a414839" providerId="ADAL" clId="{E58FA468-8508-4D9D-B61C-DD2554E44EF7}" dt="2024-03-07T17:06:23.645" v="49055"/>
          <ac:spMkLst>
            <pc:docMk/>
            <pc:sldMk cId="2958919186" sldId="284"/>
            <ac:spMk id="36" creationId="{ABC0E037-21BF-BF4A-687C-480525152A9F}"/>
          </ac:spMkLst>
        </pc:spChg>
        <pc:spChg chg="mod ord">
          <ac:chgData name="Joelle Brehm" userId="a518f54c-6985-42c0-8041-2bb16a414839" providerId="ADAL" clId="{E58FA468-8508-4D9D-B61C-DD2554E44EF7}" dt="2024-03-07T17:06:23.629" v="49015"/>
          <ac:spMkLst>
            <pc:docMk/>
            <pc:sldMk cId="2958919186" sldId="284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E58FA468-8508-4D9D-B61C-DD2554E44EF7}" dt="2024-03-07T17:06:14.289" v="48452"/>
          <ac:spMkLst>
            <pc:docMk/>
            <pc:sldMk cId="2958919186" sldId="284"/>
            <ac:spMk id="38" creationId="{71CD801F-D773-B563-7638-74001559003A}"/>
          </ac:spMkLst>
        </pc:spChg>
        <pc:spChg chg="del mod">
          <ac:chgData name="Joelle Brehm" userId="a518f54c-6985-42c0-8041-2bb16a414839" providerId="ADAL" clId="{E58FA468-8508-4D9D-B61C-DD2554E44EF7}" dt="2024-03-07T17:06:19.694" v="48669"/>
          <ac:spMkLst>
            <pc:docMk/>
            <pc:sldMk cId="2958919186" sldId="284"/>
            <ac:spMk id="40" creationId="{65B69A5C-0F9E-A4F4-3815-34C5AD49C7B7}"/>
          </ac:spMkLst>
        </pc:spChg>
        <pc:spChg chg="del mod">
          <ac:chgData name="Joelle Brehm" userId="a518f54c-6985-42c0-8041-2bb16a414839" providerId="ADAL" clId="{E58FA468-8508-4D9D-B61C-DD2554E44EF7}" dt="2024-03-07T17:06:19.694" v="48668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E58FA468-8508-4D9D-B61C-DD2554E44EF7}" dt="2024-03-07T17:06:23.645" v="49044"/>
          <ac:spMkLst>
            <pc:docMk/>
            <pc:sldMk cId="2958919186" sldId="284"/>
            <ac:spMk id="42" creationId="{907D7408-F4BF-634D-C4A3-6AB144A133E9}"/>
          </ac:spMkLst>
        </pc:spChg>
        <pc:spChg chg="mod">
          <ac:chgData name="Joelle Brehm" userId="a518f54c-6985-42c0-8041-2bb16a414839" providerId="ADAL" clId="{E58FA468-8508-4D9D-B61C-DD2554E44EF7}" dt="2024-03-07T17:06:23.645" v="49052"/>
          <ac:spMkLst>
            <pc:docMk/>
            <pc:sldMk cId="2958919186" sldId="284"/>
            <ac:spMk id="43" creationId="{AE3E702C-DACE-F774-74FA-59D2669929E7}"/>
          </ac:spMkLst>
        </pc:spChg>
        <pc:spChg chg="mod">
          <ac:chgData name="Joelle Brehm" userId="a518f54c-6985-42c0-8041-2bb16a414839" providerId="ADAL" clId="{E58FA468-8508-4D9D-B61C-DD2554E44EF7}" dt="2024-03-07T17:06:23.645" v="49043"/>
          <ac:spMkLst>
            <pc:docMk/>
            <pc:sldMk cId="2958919186" sldId="284"/>
            <ac:spMk id="44" creationId="{77917790-2F42-F887-E684-5C13E341F164}"/>
          </ac:spMkLst>
        </pc:spChg>
        <pc:spChg chg="mod">
          <ac:chgData name="Joelle Brehm" userId="a518f54c-6985-42c0-8041-2bb16a414839" providerId="ADAL" clId="{E58FA468-8508-4D9D-B61C-DD2554E44EF7}" dt="2024-03-07T17:06:23.645" v="49054"/>
          <ac:spMkLst>
            <pc:docMk/>
            <pc:sldMk cId="2958919186" sldId="284"/>
            <ac:spMk id="45" creationId="{69B55197-3E95-C76B-28EA-C92C39CE202B}"/>
          </ac:spMkLst>
        </pc:spChg>
        <pc:spChg chg="mod">
          <ac:chgData name="Joelle Brehm" userId="a518f54c-6985-42c0-8041-2bb16a414839" providerId="ADAL" clId="{E58FA468-8508-4D9D-B61C-DD2554E44EF7}" dt="2024-03-07T17:06:23.645" v="49053"/>
          <ac:spMkLst>
            <pc:docMk/>
            <pc:sldMk cId="2958919186" sldId="284"/>
            <ac:spMk id="46" creationId="{11FBAC96-1BE5-4DA8-D741-A6923EFB5B15}"/>
          </ac:spMkLst>
        </pc:spChg>
        <pc:spChg chg="mod">
          <ac:chgData name="Joelle Brehm" userId="a518f54c-6985-42c0-8041-2bb16a414839" providerId="ADAL" clId="{E58FA468-8508-4D9D-B61C-DD2554E44EF7}" dt="2024-03-07T17:06:23.645" v="49039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E58FA468-8508-4D9D-B61C-DD2554E44EF7}" dt="2024-03-07T17:06:23.645" v="49046"/>
          <ac:spMkLst>
            <pc:docMk/>
            <pc:sldMk cId="2958919186" sldId="284"/>
            <ac:spMk id="48" creationId="{5D20D0D7-37CC-29AE-8F09-41EE1C3042D6}"/>
          </ac:spMkLst>
        </pc:spChg>
        <pc:spChg chg="mod">
          <ac:chgData name="Joelle Brehm" userId="a518f54c-6985-42c0-8041-2bb16a414839" providerId="ADAL" clId="{E58FA468-8508-4D9D-B61C-DD2554E44EF7}" dt="2024-03-07T17:06:23.645" v="49050"/>
          <ac:spMkLst>
            <pc:docMk/>
            <pc:sldMk cId="2958919186" sldId="284"/>
            <ac:spMk id="49" creationId="{CB11A0CB-368B-A60B-EDC1-4AB20B197FE5}"/>
          </ac:spMkLst>
        </pc:spChg>
        <pc:spChg chg="mod">
          <ac:chgData name="Joelle Brehm" userId="a518f54c-6985-42c0-8041-2bb16a414839" providerId="ADAL" clId="{E58FA468-8508-4D9D-B61C-DD2554E44EF7}" dt="2024-03-07T17:06:23.645" v="49049"/>
          <ac:spMkLst>
            <pc:docMk/>
            <pc:sldMk cId="2958919186" sldId="284"/>
            <ac:spMk id="50" creationId="{2C405B0B-A40D-DA13-F823-C48F9BB223C3}"/>
          </ac:spMkLst>
        </pc:spChg>
        <pc:spChg chg="mod">
          <ac:chgData name="Joelle Brehm" userId="a518f54c-6985-42c0-8041-2bb16a414839" providerId="ADAL" clId="{E58FA468-8508-4D9D-B61C-DD2554E44EF7}" dt="2024-03-07T17:06:23.645" v="49045"/>
          <ac:spMkLst>
            <pc:docMk/>
            <pc:sldMk cId="2958919186" sldId="284"/>
            <ac:spMk id="51" creationId="{5919439C-F2E5-38EE-454C-6197DCE4A0B6}"/>
          </ac:spMkLst>
        </pc:spChg>
        <pc:spChg chg="mod">
          <ac:chgData name="Joelle Brehm" userId="a518f54c-6985-42c0-8041-2bb16a414839" providerId="ADAL" clId="{E58FA468-8508-4D9D-B61C-DD2554E44EF7}" dt="2024-03-07T17:06:23.645" v="49034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E58FA468-8508-4D9D-B61C-DD2554E44EF7}" dt="2024-03-07T17:06:23.645" v="49033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E58FA468-8508-4D9D-B61C-DD2554E44EF7}" dt="2024-03-07T17:06:23.645" v="49042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E58FA468-8508-4D9D-B61C-DD2554E44EF7}" dt="2024-03-07T17:06:23.645" v="49041"/>
          <ac:spMkLst>
            <pc:docMk/>
            <pc:sldMk cId="2958919186" sldId="284"/>
            <ac:spMk id="55" creationId="{2BAA32C5-1C92-8614-2678-B94A36FCDC54}"/>
          </ac:spMkLst>
        </pc:spChg>
        <pc:spChg chg="mod">
          <ac:chgData name="Joelle Brehm" userId="a518f54c-6985-42c0-8041-2bb16a414839" providerId="ADAL" clId="{E58FA468-8508-4D9D-B61C-DD2554E44EF7}" dt="2024-03-07T17:06:23.645" v="49051"/>
          <ac:spMkLst>
            <pc:docMk/>
            <pc:sldMk cId="2958919186" sldId="284"/>
            <ac:spMk id="56" creationId="{FDC4214A-9C7D-E50B-B2D6-A8DDC8950E22}"/>
          </ac:spMkLst>
        </pc:spChg>
        <pc:spChg chg="mod">
          <ac:chgData name="Joelle Brehm" userId="a518f54c-6985-42c0-8041-2bb16a414839" providerId="ADAL" clId="{E58FA468-8508-4D9D-B61C-DD2554E44EF7}" dt="2024-03-07T17:06:23.645" v="49038"/>
          <ac:spMkLst>
            <pc:docMk/>
            <pc:sldMk cId="2958919186" sldId="284"/>
            <ac:spMk id="58" creationId="{1FE8095F-70AA-80E7-5AB4-793D17F07A13}"/>
          </ac:spMkLst>
        </pc:spChg>
        <pc:spChg chg="add mod replST">
          <ac:chgData name="Joelle Brehm" userId="a518f54c-6985-42c0-8041-2bb16a414839" providerId="ADAL" clId="{E58FA468-8508-4D9D-B61C-DD2554E44EF7}" dt="2024-03-07T17:06:23.645" v="49056"/>
          <ac:spMkLst>
            <pc:docMk/>
            <pc:sldMk cId="2958919186" sldId="284"/>
            <ac:spMk id="59" creationId="{A08BBCC9-3F12-9CFB-81E3-A06659BDF559}"/>
          </ac:spMkLst>
        </pc:spChg>
        <pc:spChg chg="mod">
          <ac:chgData name="Joelle Brehm" userId="a518f54c-6985-42c0-8041-2bb16a414839" providerId="ADAL" clId="{E58FA468-8508-4D9D-B61C-DD2554E44EF7}" dt="2024-03-07T17:06:23.645" v="49036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E58FA468-8508-4D9D-B61C-DD2554E44EF7}" dt="2024-03-07T17:06:23.645" v="49035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E58FA468-8508-4D9D-B61C-DD2554E44EF7}" dt="2024-03-07T17:06:18.191" v="48665"/>
          <ac:spMkLst>
            <pc:docMk/>
            <pc:sldMk cId="2958919186" sldId="284"/>
            <ac:spMk id="62" creationId="{DB6DA8B7-178A-F640-371E-D2928AE6FD63}"/>
          </ac:spMkLst>
        </pc:spChg>
        <pc:spChg chg="mod">
          <ac:chgData name="Joelle Brehm" userId="a518f54c-6985-42c0-8041-2bb16a414839" providerId="ADAL" clId="{E58FA468-8508-4D9D-B61C-DD2554E44EF7}" dt="2024-03-07T17:06:23.645" v="49037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E58FA468-8508-4D9D-B61C-DD2554E44EF7}" dt="2024-03-07T17:06:19.874" v="48908"/>
          <ac:spMkLst>
            <pc:docMk/>
            <pc:sldMk cId="2958919186" sldId="284"/>
            <ac:spMk id="65" creationId="{DFDD9F8B-F8A7-1E0B-2206-B1F6138553E4}"/>
          </ac:spMkLst>
        </pc:spChg>
        <pc:spChg chg="mod">
          <ac:chgData name="Joelle Brehm" userId="a518f54c-6985-42c0-8041-2bb16a414839" providerId="ADAL" clId="{E58FA468-8508-4D9D-B61C-DD2554E44EF7}" dt="2024-03-07T17:06:23.629" v="49028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6:23.629" v="49029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6:23.629" v="49031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6:23.629" v="49032"/>
          <ac:spMkLst>
            <pc:docMk/>
            <pc:sldMk cId="2958919186" sldId="284"/>
            <ac:spMk id="71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7:06:23.645" v="49085"/>
          <ac:spMkLst>
            <pc:docMk/>
            <pc:sldMk cId="2958919186" sldId="284"/>
            <ac:spMk id="72" creationId="{4AE2035D-785E-763F-B85D-D3F938376507}"/>
          </ac:spMkLst>
        </pc:spChg>
        <pc:spChg chg="mod">
          <ac:chgData name="Joelle Brehm" userId="a518f54c-6985-42c0-8041-2bb16a414839" providerId="ADAL" clId="{E58FA468-8508-4D9D-B61C-DD2554E44EF7}" dt="2024-03-07T17:06:23.629" v="49019"/>
          <ac:spMkLst>
            <pc:docMk/>
            <pc:sldMk cId="2958919186" sldId="284"/>
            <ac:spMk id="74" creationId="{1E5392BC-349C-45B4-8F81-52F83DA74F43}"/>
          </ac:spMkLst>
        </pc:spChg>
        <pc:spChg chg="mod">
          <ac:chgData name="Joelle Brehm" userId="a518f54c-6985-42c0-8041-2bb16a414839" providerId="ADAL" clId="{E58FA468-8508-4D9D-B61C-DD2554E44EF7}" dt="2024-03-07T17:06:23.645" v="49040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E58FA468-8508-4D9D-B61C-DD2554E44EF7}" dt="2024-03-07T17:06:23.645" v="49058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06:23.645" v="49060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E58FA468-8508-4D9D-B61C-DD2554E44EF7}" dt="2024-03-07T17:06:23.629" v="49027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6:23.645" v="49079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E58FA468-8508-4D9D-B61C-DD2554E44EF7}" dt="2024-03-07T17:06:23.645" v="49062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7:06:23.645" v="49064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06:23.645" v="49066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06:23.645" v="49068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06:23.645" v="49071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6:23.645" v="49072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6:23.645" v="49073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6:23.645" v="49074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06:23.645" v="49075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E58FA468-8508-4D9D-B61C-DD2554E44EF7}" dt="2024-03-07T17:06:23.629" v="49030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E58FA468-8508-4D9D-B61C-DD2554E44EF7}" dt="2024-03-07T17:06:23.663" v="49087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6:23.629" v="48999"/>
          <ac:graphicFrameMkLst>
            <pc:docMk/>
            <pc:sldMk cId="2958919186" sldId="284"/>
            <ac:graphicFrameMk id="8" creationId="{CEC18DF0-C7E4-A92F-17A1-7EA7B9DBBA0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6:23.645" v="49070"/>
          <ac:graphicFrameMkLst>
            <pc:docMk/>
            <pc:sldMk cId="2958919186" sldId="284"/>
            <ac:graphicFrameMk id="33" creationId="{DCF22CC6-8259-10C8-3931-BF5FE057171A}"/>
          </ac:graphicFrameMkLst>
        </pc:graphicFrameChg>
        <pc:graphicFrameChg chg="del">
          <ac:chgData name="Joelle Brehm" userId="a518f54c-6985-42c0-8041-2bb16a414839" providerId="ADAL" clId="{E58FA468-8508-4D9D-B61C-DD2554E44EF7}" dt="2024-03-07T17:05:43.624" v="47687"/>
          <ac:graphicFrameMkLst>
            <pc:docMk/>
            <pc:sldMk cId="2958919186" sldId="284"/>
            <ac:graphicFrameMk id="34" creationId="{D4510FEA-D6AC-7219-E96C-12C0459D8661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6:08.044" v="47997"/>
          <ac:graphicFrameMkLst>
            <pc:docMk/>
            <pc:sldMk cId="2958919186" sldId="284"/>
            <ac:graphicFrameMk id="39" creationId="{563BFDCC-AB6C-CCC1-04CD-12E1AB63D265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6:18.109" v="48563"/>
          <ac:graphicFrameMkLst>
            <pc:docMk/>
            <pc:sldMk cId="2958919186" sldId="284"/>
            <ac:graphicFrameMk id="57" creationId="{D03B0093-C52C-9449-32BD-CF4C559AD4C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6:19.811" v="48808"/>
          <ac:graphicFrameMkLst>
            <pc:docMk/>
            <pc:sldMk cId="2958919186" sldId="284"/>
            <ac:graphicFrameMk id="63" creationId="{E338D93F-7A58-F39F-095A-7CAB21AC4E0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6:23.598" v="48985"/>
          <ac:graphicFrameMkLst>
            <pc:docMk/>
            <pc:sldMk cId="2958919186" sldId="284"/>
            <ac:graphicFrameMk id="66" creationId="{41B8065F-7935-8AD7-4C7D-DEAD096B4F65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6:14.236" v="48351"/>
          <ac:graphicFrameMkLst>
            <pc:docMk/>
            <pc:sldMk cId="2958919186" sldId="284"/>
            <ac:graphicFrameMk id="67" creationId="{1DFBA6A8-7F90-D693-BEED-126F5B3B52BD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6:23.629" v="49026"/>
          <ac:graphicFrameMkLst>
            <pc:docMk/>
            <pc:sldMk cId="2958919186" sldId="284"/>
            <ac:graphicFrameMk id="73" creationId="{9975B402-1704-DC92-7C4C-FD00FC760196}"/>
          </ac:graphicFrameMkLst>
        </pc:graphicFrameChg>
        <pc:picChg chg="add mod ord">
          <ac:chgData name="Joelle Brehm" userId="a518f54c-6985-42c0-8041-2bb16a414839" providerId="ADAL" clId="{E58FA468-8508-4D9D-B61C-DD2554E44EF7}" dt="2024-03-07T17:06:23.629" v="48993"/>
          <ac:picMkLst>
            <pc:docMk/>
            <pc:sldMk cId="2958919186" sldId="284"/>
            <ac:picMk id="9" creationId="{9FE787A0-CD96-5DC5-312D-F8A60341C608}"/>
          </ac:picMkLst>
        </pc:picChg>
        <pc:picChg chg="del mod ord">
          <ac:chgData name="Joelle Brehm" userId="a518f54c-6985-42c0-8041-2bb16a414839" providerId="ADAL" clId="{E58FA468-8508-4D9D-B61C-DD2554E44EF7}" dt="2024-03-07T17:05:58.322" v="47898" actId="478"/>
          <ac:picMkLst>
            <pc:docMk/>
            <pc:sldMk cId="2958919186" sldId="284"/>
            <ac:picMk id="35" creationId="{3AEE04AD-8BE5-BE1A-3F3A-FD83F5846402}"/>
          </ac:picMkLst>
        </pc:picChg>
        <pc:picChg chg="mod ord">
          <ac:chgData name="Joelle Brehm" userId="a518f54c-6985-42c0-8041-2bb16a414839" providerId="ADAL" clId="{E58FA468-8508-4D9D-B61C-DD2554E44EF7}" dt="2024-03-07T17:06:23.645" v="49077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06:23.629" v="48997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07:44.480" v="50297"/>
        <pc:sldMkLst>
          <pc:docMk/>
          <pc:sldMk cId="3959601197" sldId="285"/>
        </pc:sldMkLst>
        <pc:spChg chg="mod ord">
          <ac:chgData name="Joelle Brehm" userId="a518f54c-6985-42c0-8041-2bb16a414839" providerId="ADAL" clId="{E58FA468-8508-4D9D-B61C-DD2554E44EF7}" dt="2024-03-07T17:07:44.461" v="50291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E58FA468-8508-4D9D-B61C-DD2554E44EF7}" dt="2024-03-07T17:06:29.706" v="49088" actId="478"/>
          <ac:spMkLst>
            <pc:docMk/>
            <pc:sldMk cId="3959601197" sldId="285"/>
            <ac:spMk id="3" creationId="{A4187C35-0D05-174D-A64B-C451A278560D}"/>
          </ac:spMkLst>
        </pc:spChg>
        <pc:spChg chg="add del mod modVis">
          <ac:chgData name="Joelle Brehm" userId="a518f54c-6985-42c0-8041-2bb16a414839" providerId="ADAL" clId="{E58FA468-8508-4D9D-B61C-DD2554E44EF7}" dt="2024-03-07T17:06:37.389" v="49309"/>
          <ac:spMkLst>
            <pc:docMk/>
            <pc:sldMk cId="3959601197" sldId="285"/>
            <ac:spMk id="5" creationId="{96361CC7-D9A3-3FCD-95DC-666031B291B0}"/>
          </ac:spMkLst>
        </pc:spChg>
        <pc:spChg chg="mod ord">
          <ac:chgData name="Joelle Brehm" userId="a518f54c-6985-42c0-8041-2bb16a414839" providerId="ADAL" clId="{E58FA468-8508-4D9D-B61C-DD2554E44EF7}" dt="2024-03-07T17:07:44.446" v="50223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7:07:44.446" v="50234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07:44.446" v="50230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07:44.446" v="50231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07:44.446" v="50228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07:44.446" v="50229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07:44.446" v="50232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07:44.446" v="50233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07:44.446" v="50235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07:44.446" v="50236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07:44.446" v="50237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07:44.446" v="50238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07:44.446" v="50239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07:44.446" v="50241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07:44.446" v="50244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07:44.461" v="50246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07:44.461" v="50245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07:44.461" v="50249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07:44.461" v="50250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07:44.461" v="50248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07:44.461" v="50252"/>
          <ac:spMkLst>
            <pc:docMk/>
            <pc:sldMk cId="3959601197" sldId="285"/>
            <ac:spMk id="30" creationId="{121A2A89-FB4E-4B9A-840D-28523B0B457F}"/>
          </ac:spMkLst>
        </pc:spChg>
        <pc:spChg chg="del mod">
          <ac:chgData name="Joelle Brehm" userId="a518f54c-6985-42c0-8041-2bb16a414839" providerId="ADAL" clId="{E58FA468-8508-4D9D-B61C-DD2554E44EF7}" dt="2024-03-07T17:07:44.338" v="50114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E58FA468-8508-4D9D-B61C-DD2554E44EF7}" dt="2024-03-07T17:07:44.461" v="50262"/>
          <ac:spMkLst>
            <pc:docMk/>
            <pc:sldMk cId="3959601197" sldId="285"/>
            <ac:spMk id="33" creationId="{5E6D8718-1100-5B0D-03C4-984A1480256E}"/>
          </ac:spMkLst>
        </pc:spChg>
        <pc:spChg chg="add del mod modVis">
          <ac:chgData name="Joelle Brehm" userId="a518f54c-6985-42c0-8041-2bb16a414839" providerId="ADAL" clId="{E58FA468-8508-4D9D-B61C-DD2554E44EF7}" dt="2024-03-07T17:07:33.298" v="49569"/>
          <ac:spMkLst>
            <pc:docMk/>
            <pc:sldMk cId="3959601197" sldId="285"/>
            <ac:spMk id="34" creationId="{E0A23755-BAA4-5121-4535-3FFDC3BA47D9}"/>
          </ac:spMkLst>
        </pc:spChg>
        <pc:spChg chg="mod ord">
          <ac:chgData name="Joelle Brehm" userId="a518f54c-6985-42c0-8041-2bb16a414839" providerId="ADAL" clId="{E58FA468-8508-4D9D-B61C-DD2554E44EF7}" dt="2024-03-07T17:07:44.446" v="50243"/>
          <ac:spMkLst>
            <pc:docMk/>
            <pc:sldMk cId="3959601197" sldId="285"/>
            <ac:spMk id="37" creationId="{6E6D97FF-E2E0-42EA-A83A-C3DF9F3514AE}"/>
          </ac:spMkLst>
        </pc:spChg>
        <pc:spChg chg="mod">
          <ac:chgData name="Joelle Brehm" userId="a518f54c-6985-42c0-8041-2bb16a414839" providerId="ADAL" clId="{E58FA468-8508-4D9D-B61C-DD2554E44EF7}" dt="2024-03-07T17:07:44.461" v="50261"/>
          <ac:spMkLst>
            <pc:docMk/>
            <pc:sldMk cId="3959601197" sldId="285"/>
            <ac:spMk id="38" creationId="{2FB404D9-C000-431B-6310-4B69B0746585}"/>
          </ac:spMkLst>
        </pc:spChg>
        <pc:spChg chg="mod">
          <ac:chgData name="Joelle Brehm" userId="a518f54c-6985-42c0-8041-2bb16a414839" providerId="ADAL" clId="{E58FA468-8508-4D9D-B61C-DD2554E44EF7}" dt="2024-03-07T17:07:44.461" v="50258"/>
          <ac:spMkLst>
            <pc:docMk/>
            <pc:sldMk cId="3959601197" sldId="285"/>
            <ac:spMk id="39" creationId="{49E3BF94-A3A3-6D9E-A640-936C4D588482}"/>
          </ac:spMkLst>
        </pc:spChg>
        <pc:spChg chg="mod">
          <ac:chgData name="Joelle Brehm" userId="a518f54c-6985-42c0-8041-2bb16a414839" providerId="ADAL" clId="{E58FA468-8508-4D9D-B61C-DD2554E44EF7}" dt="2024-03-07T17:07:44.461" v="50259"/>
          <ac:spMkLst>
            <pc:docMk/>
            <pc:sldMk cId="3959601197" sldId="285"/>
            <ac:spMk id="40" creationId="{EA599A54-45AC-0837-D7C5-3771AA871AAD}"/>
          </ac:spMkLst>
        </pc:spChg>
        <pc:spChg chg="mod">
          <ac:chgData name="Joelle Brehm" userId="a518f54c-6985-42c0-8041-2bb16a414839" providerId="ADAL" clId="{E58FA468-8508-4D9D-B61C-DD2554E44EF7}" dt="2024-03-07T17:07:44.461" v="50260"/>
          <ac:spMkLst>
            <pc:docMk/>
            <pc:sldMk cId="3959601197" sldId="285"/>
            <ac:spMk id="41" creationId="{EEDF60F4-83FD-2158-5CFE-740630E662A0}"/>
          </ac:spMkLst>
        </pc:spChg>
        <pc:spChg chg="mod">
          <ac:chgData name="Joelle Brehm" userId="a518f54c-6985-42c0-8041-2bb16a414839" providerId="ADAL" clId="{E58FA468-8508-4D9D-B61C-DD2554E44EF7}" dt="2024-03-07T17:07:44.461" v="50256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E58FA468-8508-4D9D-B61C-DD2554E44EF7}" dt="2024-03-07T17:07:44.461" v="50255"/>
          <ac:spMkLst>
            <pc:docMk/>
            <pc:sldMk cId="3959601197" sldId="285"/>
            <ac:spMk id="43" creationId="{7A0654C5-E72A-A91E-A2D8-90D96122F7D7}"/>
          </ac:spMkLst>
        </pc:spChg>
        <pc:spChg chg="mod">
          <ac:chgData name="Joelle Brehm" userId="a518f54c-6985-42c0-8041-2bb16a414839" providerId="ADAL" clId="{E58FA468-8508-4D9D-B61C-DD2554E44EF7}" dt="2024-03-07T17:07:44.461" v="50265"/>
          <ac:spMkLst>
            <pc:docMk/>
            <pc:sldMk cId="3959601197" sldId="285"/>
            <ac:spMk id="44" creationId="{08D2944B-2820-1365-ABAF-E434AEED3E90}"/>
          </ac:spMkLst>
        </pc:spChg>
        <pc:spChg chg="add mod replST">
          <ac:chgData name="Joelle Brehm" userId="a518f54c-6985-42c0-8041-2bb16a414839" providerId="ADAL" clId="{E58FA468-8508-4D9D-B61C-DD2554E44EF7}" dt="2024-03-07T17:07:44.461" v="50266"/>
          <ac:spMkLst>
            <pc:docMk/>
            <pc:sldMk cId="3959601197" sldId="285"/>
            <ac:spMk id="45" creationId="{626370B0-7EF7-184B-51C9-15EF29D50944}"/>
          </ac:spMkLst>
        </pc:spChg>
        <pc:spChg chg="mod">
          <ac:chgData name="Joelle Brehm" userId="a518f54c-6985-42c0-8041-2bb16a414839" providerId="ADAL" clId="{E58FA468-8508-4D9D-B61C-DD2554E44EF7}" dt="2024-03-07T17:07:44.461" v="50263"/>
          <ac:spMkLst>
            <pc:docMk/>
            <pc:sldMk cId="3959601197" sldId="285"/>
            <ac:spMk id="46" creationId="{529E40B7-0A04-6402-DEF9-2538E4023CED}"/>
          </ac:spMkLst>
        </pc:spChg>
        <pc:spChg chg="mod">
          <ac:chgData name="Joelle Brehm" userId="a518f54c-6985-42c0-8041-2bb16a414839" providerId="ADAL" clId="{E58FA468-8508-4D9D-B61C-DD2554E44EF7}" dt="2024-03-07T17:07:44.461" v="50257"/>
          <ac:spMkLst>
            <pc:docMk/>
            <pc:sldMk cId="3959601197" sldId="285"/>
            <ac:spMk id="47" creationId="{E68B1E78-8D9D-3E69-597C-1E05491CF1D5}"/>
          </ac:spMkLst>
        </pc:spChg>
        <pc:spChg chg="mod">
          <ac:chgData name="Joelle Brehm" userId="a518f54c-6985-42c0-8041-2bb16a414839" providerId="ADAL" clId="{E58FA468-8508-4D9D-B61C-DD2554E44EF7}" dt="2024-03-07T17:07:44.461" v="50264"/>
          <ac:spMkLst>
            <pc:docMk/>
            <pc:sldMk cId="3959601197" sldId="285"/>
            <ac:spMk id="48" creationId="{18ADE8BA-F709-3681-1C70-126B3A4F130F}"/>
          </ac:spMkLst>
        </pc:spChg>
        <pc:spChg chg="add del mod modVis">
          <ac:chgData name="Joelle Brehm" userId="a518f54c-6985-42c0-8041-2bb16a414839" providerId="ADAL" clId="{E58FA468-8508-4D9D-B61C-DD2554E44EF7}" dt="2024-03-07T17:07:39.108" v="49969"/>
          <ac:spMkLst>
            <pc:docMk/>
            <pc:sldMk cId="3959601197" sldId="285"/>
            <ac:spMk id="49" creationId="{44EEF44E-33A8-6FD2-66E3-A7A5622D6799}"/>
          </ac:spMkLst>
        </pc:spChg>
        <pc:spChg chg="add del mod modVis">
          <ac:chgData name="Joelle Brehm" userId="a518f54c-6985-42c0-8041-2bb16a414839" providerId="ADAL" clId="{E58FA468-8508-4D9D-B61C-DD2554E44EF7}" dt="2024-03-07T17:07:42.494" v="50111"/>
          <ac:spMkLst>
            <pc:docMk/>
            <pc:sldMk cId="3959601197" sldId="285"/>
            <ac:spMk id="51" creationId="{A298ABD6-12AF-DF34-018D-AA854A69F26E}"/>
          </ac:spMkLst>
        </pc:spChg>
        <pc:spChg chg="add del mod modVis">
          <ac:chgData name="Joelle Brehm" userId="a518f54c-6985-42c0-8041-2bb16a414839" providerId="ADAL" clId="{E58FA468-8508-4D9D-B61C-DD2554E44EF7}" dt="2024-03-07T17:07:44.477" v="50295"/>
          <ac:spMkLst>
            <pc:docMk/>
            <pc:sldMk cId="3959601197" sldId="285"/>
            <ac:spMk id="53" creationId="{38B91D7D-04D9-65F9-10E1-6C1D01531BF6}"/>
          </ac:spMkLst>
        </pc:spChg>
        <pc:spChg chg="mod">
          <ac:chgData name="Joelle Brehm" userId="a518f54c-6985-42c0-8041-2bb16a414839" providerId="ADAL" clId="{E58FA468-8508-4D9D-B61C-DD2554E44EF7}" dt="2024-03-07T17:07:44.461" v="50247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E58FA468-8508-4D9D-B61C-DD2554E44EF7}" dt="2024-03-07T17:07:44.461" v="50268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07:44.461" v="50270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7:07:44.461" v="50289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E58FA468-8508-4D9D-B61C-DD2554E44EF7}" dt="2024-03-07T17:07:44.461" v="50272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7:07:44.461" v="50274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07:44.461" v="50276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07:44.461" v="50278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07:44.461" v="50281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7:44.461" v="50282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7:44.461" v="50283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7:44.461" v="50284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07:44.461" v="50285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7:07:44.480" v="50297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7:44.446" v="50227"/>
          <ac:graphicFrameMkLst>
            <pc:docMk/>
            <pc:sldMk cId="3959601197" sldId="285"/>
            <ac:graphicFrameMk id="8" creationId="{055CD024-FE48-05A8-E761-E00DCB749196}"/>
          </ac:graphicFrameMkLst>
        </pc:graphicFrameChg>
        <pc:graphicFrameChg chg="del">
          <ac:chgData name="Joelle Brehm" userId="a518f54c-6985-42c0-8041-2bb16a414839" providerId="ADAL" clId="{E58FA468-8508-4D9D-B61C-DD2554E44EF7}" dt="2024-03-07T17:06:37.326" v="49223"/>
          <ac:graphicFrameMkLst>
            <pc:docMk/>
            <pc:sldMk cId="3959601197" sldId="285"/>
            <ac:graphicFrameMk id="9" creationId="{6D672CB7-863B-19FA-EEEE-D757EC135109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7:44.461" v="50280"/>
          <ac:graphicFrameMkLst>
            <pc:docMk/>
            <pc:sldMk cId="3959601197" sldId="285"/>
            <ac:graphicFrameMk id="35" creationId="{F86EAB29-2D88-F75A-0513-541E68F0C1C8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7:33.228" v="49487"/>
          <ac:graphicFrameMkLst>
            <pc:docMk/>
            <pc:sldMk cId="3959601197" sldId="285"/>
            <ac:graphicFrameMk id="36" creationId="{7A861186-6F7B-BD11-B607-3795FB253742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7:42.446" v="50028"/>
          <ac:graphicFrameMkLst>
            <pc:docMk/>
            <pc:sldMk cId="3959601197" sldId="285"/>
            <ac:graphicFrameMk id="50" creationId="{8E6ADAD3-9AA2-10F8-9F34-5E816CCD2AB6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7:44.413" v="50213"/>
          <ac:graphicFrameMkLst>
            <pc:docMk/>
            <pc:sldMk cId="3959601197" sldId="285"/>
            <ac:graphicFrameMk id="52" creationId="{0D44C9BF-B7CB-97DD-464E-E7A6A391D80A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7:44.461" v="50254"/>
          <ac:graphicFrameMkLst>
            <pc:docMk/>
            <pc:sldMk cId="3959601197" sldId="285"/>
            <ac:graphicFrameMk id="54" creationId="{EC38C7BA-08C7-3029-49D5-0F5AA2A076AE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7:39.038" v="49875"/>
          <ac:graphicFrameMkLst>
            <pc:docMk/>
            <pc:sldMk cId="3959601197" sldId="285"/>
            <ac:graphicFrameMk id="69" creationId="{56A8A47E-E19F-6E8A-58D0-F786D7BE4681}"/>
          </ac:graphicFrameMkLst>
        </pc:graphicFrameChg>
        <pc:picChg chg="add mod ord">
          <ac:chgData name="Joelle Brehm" userId="a518f54c-6985-42c0-8041-2bb16a414839" providerId="ADAL" clId="{E58FA468-8508-4D9D-B61C-DD2554E44EF7}" dt="2024-03-07T17:07:44.446" v="50221"/>
          <ac:picMkLst>
            <pc:docMk/>
            <pc:sldMk cId="3959601197" sldId="285"/>
            <ac:picMk id="10" creationId="{96613C84-CDBF-8486-F45F-D78C729285A2}"/>
          </ac:picMkLst>
        </pc:picChg>
        <pc:picChg chg="del mod ord">
          <ac:chgData name="Joelle Brehm" userId="a518f54c-6985-42c0-8041-2bb16a414839" providerId="ADAL" clId="{E58FA468-8508-4D9D-B61C-DD2554E44EF7}" dt="2024-03-07T17:06:51.076" v="49396" actId="478"/>
          <ac:picMkLst>
            <pc:docMk/>
            <pc:sldMk cId="3959601197" sldId="285"/>
            <ac:picMk id="31" creationId="{0DB17CF9-8AF8-9BFB-276D-A99D30B21504}"/>
          </ac:picMkLst>
        </pc:picChg>
        <pc:picChg chg="mod ord">
          <ac:chgData name="Joelle Brehm" userId="a518f54c-6985-42c0-8041-2bb16a414839" providerId="ADAL" clId="{E58FA468-8508-4D9D-B61C-DD2554E44EF7}" dt="2024-03-07T17:07:44.461" v="50287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07:44.446" v="50225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09:35.268" v="53139"/>
        <pc:sldMkLst>
          <pc:docMk/>
          <pc:sldMk cId="3093897313" sldId="286"/>
        </pc:sldMkLst>
        <pc:spChg chg="mod ord">
          <ac:chgData name="Joelle Brehm" userId="a518f54c-6985-42c0-8041-2bb16a414839" providerId="ADAL" clId="{E58FA468-8508-4D9D-B61C-DD2554E44EF7}" dt="2024-03-07T17:09:35.252" v="53133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E58FA468-8508-4D9D-B61C-DD2554E44EF7}" dt="2024-03-07T17:08:36.985" v="50298" actId="478"/>
          <ac:spMkLst>
            <pc:docMk/>
            <pc:sldMk cId="3093897313" sldId="286"/>
            <ac:spMk id="3" creationId="{2C52B943-A7BA-DEC1-9056-0E234D6F6F28}"/>
          </ac:spMkLst>
        </pc:spChg>
        <pc:spChg chg="add del mod modVis">
          <ac:chgData name="Joelle Brehm" userId="a518f54c-6985-42c0-8041-2bb16a414839" providerId="ADAL" clId="{E58FA468-8508-4D9D-B61C-DD2554E44EF7}" dt="2024-03-07T17:08:46.371" v="50531"/>
          <ac:spMkLst>
            <pc:docMk/>
            <pc:sldMk cId="3093897313" sldId="286"/>
            <ac:spMk id="5" creationId="{F4C0796C-34D5-E846-120D-CF870E94F9F7}"/>
          </ac:spMkLst>
        </pc:spChg>
        <pc:spChg chg="mod ord">
          <ac:chgData name="Joelle Brehm" userId="a518f54c-6985-42c0-8041-2bb16a414839" providerId="ADAL" clId="{E58FA468-8508-4D9D-B61C-DD2554E44EF7}" dt="2024-03-07T17:09:35.235" v="53065"/>
          <ac:spMkLst>
            <pc:docMk/>
            <pc:sldMk cId="3093897313" sldId="286"/>
            <ac:spMk id="6" creationId="{B47CE71D-7819-4857-B121-737A3BD39B4D}"/>
          </ac:spMkLst>
        </pc:spChg>
        <pc:spChg chg="del mod">
          <ac:chgData name="Joelle Brehm" userId="a518f54c-6985-42c0-8041-2bb16a414839" providerId="ADAL" clId="{E58FA468-8508-4D9D-B61C-DD2554E44EF7}" dt="2024-03-07T17:09:26.443" v="51520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E58FA468-8508-4D9D-B61C-DD2554E44EF7}" dt="2024-03-07T17:09:35.235" v="53076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09:35.235" v="53072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09:35.235" v="53073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09:35.235" v="53070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09:35.235" v="53071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09:35.235" v="53074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09:35.235" v="53075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09:35.235" v="53077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09:35.235" v="53078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09:35.235" v="53079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09:35.235" v="53080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09:35.235" v="53081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09:35.235" v="53083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09:35.235" v="53086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09:35.235" v="53088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09:35.235" v="53087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09:35.235" v="53091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09:35.235" v="53092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09:35.235" v="53090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09:35.235" v="53094"/>
          <ac:spMkLst>
            <pc:docMk/>
            <pc:sldMk cId="3093897313" sldId="286"/>
            <ac:spMk id="30" creationId="{121A2A89-FB4E-4B9A-840D-28523B0B457F}"/>
          </ac:spMkLst>
        </pc:spChg>
        <pc:spChg chg="del mod">
          <ac:chgData name="Joelle Brehm" userId="a518f54c-6985-42c0-8041-2bb16a414839" providerId="ADAL" clId="{E58FA468-8508-4D9D-B61C-DD2554E44EF7}" dt="2024-03-07T17:09:27.672" v="52159"/>
          <ac:spMkLst>
            <pc:docMk/>
            <pc:sldMk cId="3093897313" sldId="286"/>
            <ac:spMk id="32" creationId="{C8E615F0-CA56-2254-DC6C-F9BA32C5557A}"/>
          </ac:spMkLst>
        </pc:spChg>
        <pc:spChg chg="add del mod modVis">
          <ac:chgData name="Joelle Brehm" userId="a518f54c-6985-42c0-8041-2bb16a414839" providerId="ADAL" clId="{E58FA468-8508-4D9D-B61C-DD2554E44EF7}" dt="2024-03-07T17:09:10.276" v="50843"/>
          <ac:spMkLst>
            <pc:docMk/>
            <pc:sldMk cId="3093897313" sldId="286"/>
            <ac:spMk id="34" creationId="{68BB826F-F459-51DC-EBF8-517E4482D002}"/>
          </ac:spMkLst>
        </pc:spChg>
        <pc:spChg chg="add del mod modVis">
          <ac:chgData name="Joelle Brehm" userId="a518f54c-6985-42c0-8041-2bb16a414839" providerId="ADAL" clId="{E58FA468-8508-4D9D-B61C-DD2554E44EF7}" dt="2024-03-07T17:09:17.591" v="50971"/>
          <ac:spMkLst>
            <pc:docMk/>
            <pc:sldMk cId="3093897313" sldId="286"/>
            <ac:spMk id="36" creationId="{29325D3B-A628-8096-89DB-4D207B062F14}"/>
          </ac:spMkLst>
        </pc:spChg>
        <pc:spChg chg="mod ord">
          <ac:chgData name="Joelle Brehm" userId="a518f54c-6985-42c0-8041-2bb16a414839" providerId="ADAL" clId="{E58FA468-8508-4D9D-B61C-DD2554E44EF7}" dt="2024-03-07T17:09:35.235" v="53085"/>
          <ac:spMkLst>
            <pc:docMk/>
            <pc:sldMk cId="3093897313" sldId="286"/>
            <ac:spMk id="37" creationId="{6E6D97FF-E2E0-42EA-A83A-C3DF9F3514AE}"/>
          </ac:spMkLst>
        </pc:spChg>
        <pc:spChg chg="del mod">
          <ac:chgData name="Joelle Brehm" userId="a518f54c-6985-42c0-8041-2bb16a414839" providerId="ADAL" clId="{E58FA468-8508-4D9D-B61C-DD2554E44EF7}" dt="2024-03-07T17:09:27.672" v="52155"/>
          <ac:spMkLst>
            <pc:docMk/>
            <pc:sldMk cId="3093897313" sldId="286"/>
            <ac:spMk id="39" creationId="{148BD74F-B08A-D055-2827-72B7638D08C5}"/>
          </ac:spMkLst>
        </pc:spChg>
        <pc:spChg chg="del mod">
          <ac:chgData name="Joelle Brehm" userId="a518f54c-6985-42c0-8041-2bb16a414839" providerId="ADAL" clId="{E58FA468-8508-4D9D-B61C-DD2554E44EF7}" dt="2024-03-07T17:09:27.672" v="52161"/>
          <ac:spMkLst>
            <pc:docMk/>
            <pc:sldMk cId="3093897313" sldId="286"/>
            <ac:spMk id="40" creationId="{57F8A0F8-B220-B63E-9091-BA787817D62B}"/>
          </ac:spMkLst>
        </pc:spChg>
        <pc:spChg chg="del mod">
          <ac:chgData name="Joelle Brehm" userId="a518f54c-6985-42c0-8041-2bb16a414839" providerId="ADAL" clId="{E58FA468-8508-4D9D-B61C-DD2554E44EF7}" dt="2024-03-07T17:09:27.672" v="52156"/>
          <ac:spMkLst>
            <pc:docMk/>
            <pc:sldMk cId="3093897313" sldId="286"/>
            <ac:spMk id="41" creationId="{FA3F9D1B-56DF-7D88-3CCF-9C83CF37CE74}"/>
          </ac:spMkLst>
        </pc:spChg>
        <pc:spChg chg="del mod">
          <ac:chgData name="Joelle Brehm" userId="a518f54c-6985-42c0-8041-2bb16a414839" providerId="ADAL" clId="{E58FA468-8508-4D9D-B61C-DD2554E44EF7}" dt="2024-03-07T17:09:27.672" v="52152"/>
          <ac:spMkLst>
            <pc:docMk/>
            <pc:sldMk cId="3093897313" sldId="286"/>
            <ac:spMk id="42" creationId="{D859979A-C7CC-20E7-C4CA-F18D382485A8}"/>
          </ac:spMkLst>
        </pc:spChg>
        <pc:spChg chg="del mod">
          <ac:chgData name="Joelle Brehm" userId="a518f54c-6985-42c0-8041-2bb16a414839" providerId="ADAL" clId="{E58FA468-8508-4D9D-B61C-DD2554E44EF7}" dt="2024-03-07T17:09:27.672" v="52157"/>
          <ac:spMkLst>
            <pc:docMk/>
            <pc:sldMk cId="3093897313" sldId="286"/>
            <ac:spMk id="43" creationId="{4123BF06-FBEE-9624-4928-4F1CA3AC4FBB}"/>
          </ac:spMkLst>
        </pc:spChg>
        <pc:spChg chg="del mod">
          <ac:chgData name="Joelle Brehm" userId="a518f54c-6985-42c0-8041-2bb16a414839" providerId="ADAL" clId="{E58FA468-8508-4D9D-B61C-DD2554E44EF7}" dt="2024-03-07T17:09:27.672" v="52153"/>
          <ac:spMkLst>
            <pc:docMk/>
            <pc:sldMk cId="3093897313" sldId="286"/>
            <ac:spMk id="44" creationId="{725B225B-D384-EFBB-722A-58317FBB47BF}"/>
          </ac:spMkLst>
        </pc:spChg>
        <pc:spChg chg="del mod">
          <ac:chgData name="Joelle Brehm" userId="a518f54c-6985-42c0-8041-2bb16a414839" providerId="ADAL" clId="{E58FA468-8508-4D9D-B61C-DD2554E44EF7}" dt="2024-03-07T17:09:27.672" v="52154"/>
          <ac:spMkLst>
            <pc:docMk/>
            <pc:sldMk cId="3093897313" sldId="286"/>
            <ac:spMk id="45" creationId="{0F9CEF9A-7834-B39E-CB12-DD7EDCF963B1}"/>
          </ac:spMkLst>
        </pc:spChg>
        <pc:spChg chg="del mod">
          <ac:chgData name="Joelle Brehm" userId="a518f54c-6985-42c0-8041-2bb16a414839" providerId="ADAL" clId="{E58FA468-8508-4D9D-B61C-DD2554E44EF7}" dt="2024-03-07T17:09:27.672" v="52160"/>
          <ac:spMkLst>
            <pc:docMk/>
            <pc:sldMk cId="3093897313" sldId="286"/>
            <ac:spMk id="46" creationId="{EF399F64-CC33-2C7F-0BB7-8B8FA3A1318D}"/>
          </ac:spMkLst>
        </pc:spChg>
        <pc:spChg chg="add del mod replST">
          <ac:chgData name="Joelle Brehm" userId="a518f54c-6985-42c0-8041-2bb16a414839" providerId="ADAL" clId="{E58FA468-8508-4D9D-B61C-DD2554E44EF7}" dt="2024-03-07T17:09:27.672" v="52163"/>
          <ac:spMkLst>
            <pc:docMk/>
            <pc:sldMk cId="3093897313" sldId="286"/>
            <ac:spMk id="47" creationId="{FC94EBB8-F9D6-2A59-6B54-76A00D4D3FBE}"/>
          </ac:spMkLst>
        </pc:spChg>
        <pc:spChg chg="del mod">
          <ac:chgData name="Joelle Brehm" userId="a518f54c-6985-42c0-8041-2bb16a414839" providerId="ADAL" clId="{E58FA468-8508-4D9D-B61C-DD2554E44EF7}" dt="2024-03-07T17:09:27.672" v="52158"/>
          <ac:spMkLst>
            <pc:docMk/>
            <pc:sldMk cId="3093897313" sldId="286"/>
            <ac:spMk id="49" creationId="{E1413394-7EF3-221F-2D8D-F13494FCD19F}"/>
          </ac:spMkLst>
        </pc:spChg>
        <pc:spChg chg="del mod">
          <ac:chgData name="Joelle Brehm" userId="a518f54c-6985-42c0-8041-2bb16a414839" providerId="ADAL" clId="{E58FA468-8508-4D9D-B61C-DD2554E44EF7}" dt="2024-03-07T17:09:27.672" v="52162"/>
          <ac:spMkLst>
            <pc:docMk/>
            <pc:sldMk cId="3093897313" sldId="286"/>
            <ac:spMk id="50" creationId="{66BDFC55-80B9-C67A-B308-75D5D9781DD8}"/>
          </ac:spMkLst>
        </pc:spChg>
        <pc:spChg chg="add del mod modVis">
          <ac:chgData name="Joelle Brehm" userId="a518f54c-6985-42c0-8041-2bb16a414839" providerId="ADAL" clId="{E58FA468-8508-4D9D-B61C-DD2554E44EF7}" dt="2024-03-07T17:09:23.502" v="51343"/>
          <ac:spMkLst>
            <pc:docMk/>
            <pc:sldMk cId="3093897313" sldId="286"/>
            <ac:spMk id="51" creationId="{C61709CE-2862-3237-AC28-739DE2AB4CF2}"/>
          </ac:spMkLst>
        </pc:spChg>
        <pc:spChg chg="add del mod modVis">
          <ac:chgData name="Joelle Brehm" userId="a518f54c-6985-42c0-8041-2bb16a414839" providerId="ADAL" clId="{E58FA468-8508-4D9D-B61C-DD2554E44EF7}" dt="2024-03-07T17:09:24.387" v="51517"/>
          <ac:spMkLst>
            <pc:docMk/>
            <pc:sldMk cId="3093897313" sldId="286"/>
            <ac:spMk id="53" creationId="{D89A0B71-4F4C-6D1E-C00D-2A94F2F349FC}"/>
          </ac:spMkLst>
        </pc:spChg>
        <pc:spChg chg="add del mod modVis">
          <ac:chgData name="Joelle Brehm" userId="a518f54c-6985-42c0-8041-2bb16a414839" providerId="ADAL" clId="{E58FA468-8508-4D9D-B61C-DD2554E44EF7}" dt="2024-03-07T17:09:27.766" v="52269"/>
          <ac:spMkLst>
            <pc:docMk/>
            <pc:sldMk cId="3093897313" sldId="286"/>
            <ac:spMk id="55" creationId="{FE2BFD7D-B849-B65C-AE26-A9E644EEE9B5}"/>
          </ac:spMkLst>
        </pc:spChg>
        <pc:spChg chg="add del mod replST">
          <ac:chgData name="Joelle Brehm" userId="a518f54c-6985-42c0-8041-2bb16a414839" providerId="ADAL" clId="{E58FA468-8508-4D9D-B61C-DD2554E44EF7}" dt="2024-03-07T17:09:34.283" v="52290"/>
          <ac:spMkLst>
            <pc:docMk/>
            <pc:sldMk cId="3093897313" sldId="286"/>
            <ac:spMk id="56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09:34.283" v="52287"/>
          <ac:spMkLst>
            <pc:docMk/>
            <pc:sldMk cId="3093897313" sldId="286"/>
            <ac:spMk id="57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09:34.283" v="52284"/>
          <ac:spMkLst>
            <pc:docMk/>
            <pc:sldMk cId="3093897313" sldId="286"/>
            <ac:spMk id="58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09:34.283" v="52281"/>
          <ac:spMkLst>
            <pc:docMk/>
            <pc:sldMk cId="3093897313" sldId="286"/>
            <ac:spMk id="59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09:34.283" v="52278"/>
          <ac:spMkLst>
            <pc:docMk/>
            <pc:sldMk cId="3093897313" sldId="286"/>
            <ac:spMk id="60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09:34.283" v="52275"/>
          <ac:spMkLst>
            <pc:docMk/>
            <pc:sldMk cId="3093897313" sldId="286"/>
            <ac:spMk id="61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09:34.266" v="52272"/>
          <ac:spMkLst>
            <pc:docMk/>
            <pc:sldMk cId="3093897313" sldId="286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7:09:35.252" v="53137"/>
          <ac:spMkLst>
            <pc:docMk/>
            <pc:sldMk cId="3093897313" sldId="286"/>
            <ac:spMk id="72" creationId="{CBFDC382-E7D9-4F73-69D9-C516980FF6ED}"/>
          </ac:spMkLst>
        </pc:spChg>
        <pc:spChg chg="add mod replST">
          <ac:chgData name="Joelle Brehm" userId="a518f54c-6985-42c0-8041-2bb16a414839" providerId="ADAL" clId="{E58FA468-8508-4D9D-B61C-DD2554E44EF7}" dt="2024-03-07T17:09:35.235" v="53097"/>
          <ac:spMkLst>
            <pc:docMk/>
            <pc:sldMk cId="3093897313" sldId="286"/>
            <ac:spMk id="7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9:35.235" v="53089"/>
          <ac:spMkLst>
            <pc:docMk/>
            <pc:sldMk cId="3093897313" sldId="286"/>
            <ac:spMk id="74" creationId="{1E5392BC-349C-45B4-8F81-52F83DA74F43}"/>
          </ac:spMkLst>
        </pc:spChg>
        <pc:spChg chg="add mod replST">
          <ac:chgData name="Joelle Brehm" userId="a518f54c-6985-42c0-8041-2bb16a414839" providerId="ADAL" clId="{E58FA468-8508-4D9D-B61C-DD2554E44EF7}" dt="2024-03-07T17:09:35.235" v="53098"/>
          <ac:spMkLst>
            <pc:docMk/>
            <pc:sldMk cId="3093897313" sldId="286"/>
            <ac:spMk id="75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35" v="53099"/>
          <ac:spMkLst>
            <pc:docMk/>
            <pc:sldMk cId="3093897313" sldId="286"/>
            <ac:spMk id="76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35" v="53100"/>
          <ac:spMkLst>
            <pc:docMk/>
            <pc:sldMk cId="3093897313" sldId="286"/>
            <ac:spMk id="7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9:35.252" v="53110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09:35.252" v="53112"/>
          <ac:spMkLst>
            <pc:docMk/>
            <pc:sldMk cId="3093897313" sldId="286"/>
            <ac:spMk id="79" creationId="{F1476AC4-694B-4D83-BFD8-8DCAA4BB1923}"/>
          </ac:spMkLst>
        </pc:spChg>
        <pc:spChg chg="add mod replST">
          <ac:chgData name="Joelle Brehm" userId="a518f54c-6985-42c0-8041-2bb16a414839" providerId="ADAL" clId="{E58FA468-8508-4D9D-B61C-DD2554E44EF7}" dt="2024-03-07T17:09:35.235" v="53101"/>
          <ac:spMkLst>
            <pc:docMk/>
            <pc:sldMk cId="3093897313" sldId="286"/>
            <ac:spMk id="80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35" v="53102"/>
          <ac:spMkLst>
            <pc:docMk/>
            <pc:sldMk cId="3093897313" sldId="286"/>
            <ac:spMk id="81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35" v="53103"/>
          <ac:spMkLst>
            <pc:docMk/>
            <pc:sldMk cId="3093897313" sldId="286"/>
            <ac:spMk id="82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51" v="53104"/>
          <ac:spMkLst>
            <pc:docMk/>
            <pc:sldMk cId="3093897313" sldId="286"/>
            <ac:spMk id="83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52" v="53105"/>
          <ac:spMkLst>
            <pc:docMk/>
            <pc:sldMk cId="3093897313" sldId="286"/>
            <ac:spMk id="84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52" v="53106"/>
          <ac:spMkLst>
            <pc:docMk/>
            <pc:sldMk cId="3093897313" sldId="286"/>
            <ac:spMk id="85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52" v="53107"/>
          <ac:spMkLst>
            <pc:docMk/>
            <pc:sldMk cId="3093897313" sldId="286"/>
            <ac:spMk id="86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7T17:09:35.252" v="53108"/>
          <ac:spMkLst>
            <pc:docMk/>
            <pc:sldMk cId="3093897313" sldId="286"/>
            <ac:spMk id="8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09:35.252" v="53131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E58FA468-8508-4D9D-B61C-DD2554E44EF7}" dt="2024-03-07T17:09:35.252" v="53114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7:09:35.252" v="53116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09:35.252" v="53118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09:35.252" v="53120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09:35.252" v="53123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9:35.252" v="53124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9:35.252" v="53125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09:35.252" v="53126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09:35.252" v="53127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7:09:35.268" v="53139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9:35.235" v="53069"/>
          <ac:graphicFrameMkLst>
            <pc:docMk/>
            <pc:sldMk cId="3093897313" sldId="286"/>
            <ac:graphicFrameMk id="8" creationId="{0E9946AD-D68D-5F4B-D17C-8BE5FCFD5874}"/>
          </ac:graphicFrameMkLst>
        </pc:graphicFrameChg>
        <pc:graphicFrameChg chg="del">
          <ac:chgData name="Joelle Brehm" userId="a518f54c-6985-42c0-8041-2bb16a414839" providerId="ADAL" clId="{E58FA468-8508-4D9D-B61C-DD2554E44EF7}" dt="2024-03-07T17:08:46.299" v="50447"/>
          <ac:graphicFrameMkLst>
            <pc:docMk/>
            <pc:sldMk cId="3093897313" sldId="286"/>
            <ac:graphicFrameMk id="31" creationId="{A54E6D33-D5D4-E344-19AB-0E5E6977162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9:17.508" v="50889"/>
          <ac:graphicFrameMkLst>
            <pc:docMk/>
            <pc:sldMk cId="3093897313" sldId="286"/>
            <ac:graphicFrameMk id="35" creationId="{0DF65DCD-7671-FC44-FAF2-51490740717F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9:35.252" v="53122"/>
          <ac:graphicFrameMkLst>
            <pc:docMk/>
            <pc:sldMk cId="3093897313" sldId="286"/>
            <ac:graphicFrameMk id="38" creationId="{9DE5AA66-A33D-685B-4D81-42B82949974F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9:10.215" v="50761"/>
          <ac:graphicFrameMkLst>
            <pc:docMk/>
            <pc:sldMk cId="3093897313" sldId="286"/>
            <ac:graphicFrameMk id="48" creationId="{649425DE-218A-2EDE-1912-0E926E069CE4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9:24.303" v="51421"/>
          <ac:graphicFrameMkLst>
            <pc:docMk/>
            <pc:sldMk cId="3093897313" sldId="286"/>
            <ac:graphicFrameMk id="52" creationId="{9B82E990-840B-2538-71B2-102BD0454E3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9:27.672" v="52165"/>
          <ac:graphicFrameMkLst>
            <pc:docMk/>
            <pc:sldMk cId="3093897313" sldId="286"/>
            <ac:graphicFrameMk id="54" creationId="{FF813B37-940B-8F39-0D14-3BA0E3D26505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09:23.441" v="51252"/>
          <ac:graphicFrameMkLst>
            <pc:docMk/>
            <pc:sldMk cId="3093897313" sldId="286"/>
            <ac:graphicFrameMk id="67" creationId="{A55E5CC2-9417-1FDF-C4CC-BD3C9AEDA39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09:35.188" v="53042"/>
          <ac:graphicFrameMkLst>
            <pc:docMk/>
            <pc:sldMk cId="3093897313" sldId="286"/>
            <ac:graphicFrameMk id="71" creationId="{8348915E-9250-1AEF-C513-51EAAC4A684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09:35.235" v="53096"/>
          <ac:graphicFrameMkLst>
            <pc:docMk/>
            <pc:sldMk cId="3093897313" sldId="286"/>
            <ac:graphicFrameMk id="88" creationId="{CED02B43-11F3-B9C0-2C68-9D9A0368AC9B}"/>
          </ac:graphicFrameMkLst>
        </pc:graphicFrameChg>
        <pc:picChg chg="add mod ord">
          <ac:chgData name="Joelle Brehm" userId="a518f54c-6985-42c0-8041-2bb16a414839" providerId="ADAL" clId="{E58FA468-8508-4D9D-B61C-DD2554E44EF7}" dt="2024-03-07T17:09:35.235" v="53063"/>
          <ac:picMkLst>
            <pc:docMk/>
            <pc:sldMk cId="3093897313" sldId="286"/>
            <ac:picMk id="9" creationId="{A42CCAF3-BBD7-06E1-E600-6744E8589F99}"/>
          </ac:picMkLst>
        </pc:picChg>
        <pc:picChg chg="del mod ord">
          <ac:chgData name="Joelle Brehm" userId="a518f54c-6985-42c0-8041-2bb16a414839" providerId="ADAL" clId="{E58FA468-8508-4D9D-B61C-DD2554E44EF7}" dt="2024-03-07T17:08:59.616" v="50620" actId="478"/>
          <ac:picMkLst>
            <pc:docMk/>
            <pc:sldMk cId="3093897313" sldId="286"/>
            <ac:picMk id="33" creationId="{0ABDE3E4-FCFF-5C81-8064-7A955580EFF8}"/>
          </ac:picMkLst>
        </pc:picChg>
        <pc:picChg chg="mod ord">
          <ac:chgData name="Joelle Brehm" userId="a518f54c-6985-42c0-8041-2bb16a414839" providerId="ADAL" clId="{E58FA468-8508-4D9D-B61C-DD2554E44EF7}" dt="2024-03-07T17:09:35.252" v="53129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09:35.235" v="53067"/>
          <ac:cxnSpMkLst>
            <pc:docMk/>
            <pc:sldMk cId="3093897313" sldId="286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E58FA468-8508-4D9D-B61C-DD2554E44EF7}" dt="2024-03-07T17:09:34.283" v="52292"/>
          <ac:cxnSpMkLst>
            <pc:docMk/>
            <pc:sldMk cId="3093897313" sldId="286"/>
            <ac:cxnSpMk id="63" creationId="{9D17B19A-FD77-8C75-1767-A24F3CAC9951}"/>
          </ac:cxnSpMkLst>
        </pc:cxnChg>
        <pc:cxnChg chg="add del mod ord replST">
          <ac:chgData name="Joelle Brehm" userId="a518f54c-6985-42c0-8041-2bb16a414839" providerId="ADAL" clId="{E58FA468-8508-4D9D-B61C-DD2554E44EF7}" dt="2024-03-07T17:09:34.283" v="52289"/>
          <ac:cxnSpMkLst>
            <pc:docMk/>
            <pc:sldMk cId="3093897313" sldId="286"/>
            <ac:cxnSpMk id="64" creationId="{BA578E2D-924D-CBD9-A2E2-C16F757930C0}"/>
          </ac:cxnSpMkLst>
        </pc:cxnChg>
        <pc:cxnChg chg="add del mod ord replST">
          <ac:chgData name="Joelle Brehm" userId="a518f54c-6985-42c0-8041-2bb16a414839" providerId="ADAL" clId="{E58FA468-8508-4D9D-B61C-DD2554E44EF7}" dt="2024-03-07T17:09:34.283" v="52286"/>
          <ac:cxnSpMkLst>
            <pc:docMk/>
            <pc:sldMk cId="3093897313" sldId="286"/>
            <ac:cxnSpMk id="65" creationId="{4CF096DF-7E89-2E0E-F538-4CA6C858C02D}"/>
          </ac:cxnSpMkLst>
        </pc:cxnChg>
        <pc:cxnChg chg="add del mod ord replST">
          <ac:chgData name="Joelle Brehm" userId="a518f54c-6985-42c0-8041-2bb16a414839" providerId="ADAL" clId="{E58FA468-8508-4D9D-B61C-DD2554E44EF7}" dt="2024-03-07T17:09:34.283" v="52283"/>
          <ac:cxnSpMkLst>
            <pc:docMk/>
            <pc:sldMk cId="3093897313" sldId="286"/>
            <ac:cxnSpMk id="66" creationId="{C0AEDA07-57F6-F139-A714-58056C592D2A}"/>
          </ac:cxnSpMkLst>
        </pc:cxnChg>
        <pc:cxnChg chg="add del mod ord replST">
          <ac:chgData name="Joelle Brehm" userId="a518f54c-6985-42c0-8041-2bb16a414839" providerId="ADAL" clId="{E58FA468-8508-4D9D-B61C-DD2554E44EF7}" dt="2024-03-07T17:09:34.283" v="52280"/>
          <ac:cxnSpMkLst>
            <pc:docMk/>
            <pc:sldMk cId="3093897313" sldId="286"/>
            <ac:cxnSpMk id="68" creationId="{4BE70F2C-964E-6919-3648-07165365EEC4}"/>
          </ac:cxnSpMkLst>
        </pc:cxnChg>
        <pc:cxnChg chg="add del mod ord replST">
          <ac:chgData name="Joelle Brehm" userId="a518f54c-6985-42c0-8041-2bb16a414839" providerId="ADAL" clId="{E58FA468-8508-4D9D-B61C-DD2554E44EF7}" dt="2024-03-07T17:09:34.283" v="52277"/>
          <ac:cxnSpMkLst>
            <pc:docMk/>
            <pc:sldMk cId="3093897313" sldId="286"/>
            <ac:cxnSpMk id="69" creationId="{9BA214EB-BBE4-E25F-9CA6-37FD4EAD33A0}"/>
          </ac:cxnSpMkLst>
        </pc:cxnChg>
        <pc:cxnChg chg="add del mod ord replST">
          <ac:chgData name="Joelle Brehm" userId="a518f54c-6985-42c0-8041-2bb16a414839" providerId="ADAL" clId="{E58FA468-8508-4D9D-B61C-DD2554E44EF7}" dt="2024-03-07T17:09:34.283" v="52274"/>
          <ac:cxnSpMkLst>
            <pc:docMk/>
            <pc:sldMk cId="3093897313" sldId="286"/>
            <ac:cxnSpMk id="70" creationId="{FDB05753-26BE-14E1-3DEC-D0E89E90A5E5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11:37.209" v="54628"/>
        <pc:sldMkLst>
          <pc:docMk/>
          <pc:sldMk cId="1459118046" sldId="288"/>
        </pc:sldMkLst>
        <pc:spChg chg="mod ord">
          <ac:chgData name="Joelle Brehm" userId="a518f54c-6985-42c0-8041-2bb16a414839" providerId="ADAL" clId="{E58FA468-8508-4D9D-B61C-DD2554E44EF7}" dt="2024-03-07T17:11:37.192" v="54592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E58FA468-8508-4D9D-B61C-DD2554E44EF7}" dt="2024-03-07T17:09:42.212" v="53140" actId="478"/>
          <ac:spMkLst>
            <pc:docMk/>
            <pc:sldMk cId="1459118046" sldId="288"/>
            <ac:spMk id="3" creationId="{F28C3D7D-05D1-2F0B-E043-6A7D02ABB152}"/>
          </ac:spMkLst>
        </pc:spChg>
        <pc:spChg chg="add del mod modVis">
          <ac:chgData name="Joelle Brehm" userId="a518f54c-6985-42c0-8041-2bb16a414839" providerId="ADAL" clId="{E58FA468-8508-4D9D-B61C-DD2554E44EF7}" dt="2024-03-07T17:09:59.633" v="53367"/>
          <ac:spMkLst>
            <pc:docMk/>
            <pc:sldMk cId="1459118046" sldId="288"/>
            <ac:spMk id="5" creationId="{F3111237-A3F4-4DFF-A877-080D77D2DF51}"/>
          </ac:spMkLst>
        </pc:spChg>
        <pc:spChg chg="mod ord">
          <ac:chgData name="Joelle Brehm" userId="a518f54c-6985-42c0-8041-2bb16a414839" providerId="ADAL" clId="{E58FA468-8508-4D9D-B61C-DD2554E44EF7}" dt="2024-03-07T17:11:37.176" v="54554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7:11:37.176" v="54569"/>
          <ac:spMkLst>
            <pc:docMk/>
            <pc:sldMk cId="1459118046" sldId="288"/>
            <ac:spMk id="10" creationId="{F330FDA5-01AA-960D-FADC-74B8E7D526E8}"/>
          </ac:spMkLst>
        </pc:spChg>
        <pc:spChg chg="add del mod modVis">
          <ac:chgData name="Joelle Brehm" userId="a518f54c-6985-42c0-8041-2bb16a414839" providerId="ADAL" clId="{E58FA468-8508-4D9D-B61C-DD2554E44EF7}" dt="2024-03-07T17:11:21.494" v="53656"/>
          <ac:spMkLst>
            <pc:docMk/>
            <pc:sldMk cId="1459118046" sldId="288"/>
            <ac:spMk id="13" creationId="{F7B9D111-B83A-342B-7EC9-492A132146D2}"/>
          </ac:spMkLst>
        </pc:spChg>
        <pc:spChg chg="mod">
          <ac:chgData name="Joelle Brehm" userId="a518f54c-6985-42c0-8041-2bb16a414839" providerId="ADAL" clId="{E58FA468-8508-4D9D-B61C-DD2554E44EF7}" dt="2024-03-07T17:11:37.176" v="54570"/>
          <ac:spMkLst>
            <pc:docMk/>
            <pc:sldMk cId="1459118046" sldId="288"/>
            <ac:spMk id="15" creationId="{D494E85D-4F3D-3204-35FB-2E48C65A19C6}"/>
          </ac:spMkLst>
        </pc:spChg>
        <pc:spChg chg="del mod">
          <ac:chgData name="Joelle Brehm" userId="a518f54c-6985-42c0-8041-2bb16a414839" providerId="ADAL" clId="{E58FA468-8508-4D9D-B61C-DD2554E44EF7}" dt="2024-03-07T17:11:32.832" v="54225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E58FA468-8508-4D9D-B61C-DD2554E44EF7}" dt="2024-03-07T17:11:37.176" v="54573"/>
          <ac:spMkLst>
            <pc:docMk/>
            <pc:sldMk cId="1459118046" sldId="288"/>
            <ac:spMk id="17" creationId="{94023B31-D9C1-DAA3-4E90-5B42F38D372E}"/>
          </ac:spMkLst>
        </pc:spChg>
        <pc:spChg chg="mod">
          <ac:chgData name="Joelle Brehm" userId="a518f54c-6985-42c0-8041-2bb16a414839" providerId="ADAL" clId="{E58FA468-8508-4D9D-B61C-DD2554E44EF7}" dt="2024-03-07T17:11:37.176" v="54567"/>
          <ac:spMkLst>
            <pc:docMk/>
            <pc:sldMk cId="1459118046" sldId="288"/>
            <ac:spMk id="18" creationId="{626AA8C5-BA76-80F7-9C08-4738249D8EC3}"/>
          </ac:spMkLst>
        </pc:spChg>
        <pc:spChg chg="add mod replST">
          <ac:chgData name="Joelle Brehm" userId="a518f54c-6985-42c0-8041-2bb16a414839" providerId="ADAL" clId="{E58FA468-8508-4D9D-B61C-DD2554E44EF7}" dt="2024-03-07T17:11:37.176" v="54574"/>
          <ac:spMkLst>
            <pc:docMk/>
            <pc:sldMk cId="1459118046" sldId="288"/>
            <ac:spMk id="19" creationId="{684E5AE1-0CDA-4B7F-EC64-FB8D1F43ECBE}"/>
          </ac:spMkLst>
        </pc:spChg>
        <pc:spChg chg="mod">
          <ac:chgData name="Joelle Brehm" userId="a518f54c-6985-42c0-8041-2bb16a414839" providerId="ADAL" clId="{E58FA468-8508-4D9D-B61C-DD2554E44EF7}" dt="2024-03-07T17:11:37.176" v="54568"/>
          <ac:spMkLst>
            <pc:docMk/>
            <pc:sldMk cId="1459118046" sldId="288"/>
            <ac:spMk id="20" creationId="{1E04F6C7-C5CE-0639-E6EE-4EA6F2501082}"/>
          </ac:spMkLst>
        </pc:spChg>
        <pc:spChg chg="mod">
          <ac:chgData name="Joelle Brehm" userId="a518f54c-6985-42c0-8041-2bb16a414839" providerId="ADAL" clId="{E58FA468-8508-4D9D-B61C-DD2554E44EF7}" dt="2024-03-07T17:11:37.176" v="54563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E58FA468-8508-4D9D-B61C-DD2554E44EF7}" dt="2024-03-07T17:11:37.176" v="54566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E58FA468-8508-4D9D-B61C-DD2554E44EF7}" dt="2024-03-07T17:11:37.176" v="54558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11:37.176" v="54564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E58FA468-8508-4D9D-B61C-DD2554E44EF7}" dt="2024-03-07T17:11:29.317" v="54046"/>
          <ac:spMkLst>
            <pc:docMk/>
            <pc:sldMk cId="1459118046" sldId="288"/>
            <ac:spMk id="25" creationId="{0578AE85-7A34-21FA-94DE-B78EBC777D12}"/>
          </ac:spMkLst>
        </pc:spChg>
        <pc:spChg chg="mod">
          <ac:chgData name="Joelle Brehm" userId="a518f54c-6985-42c0-8041-2bb16a414839" providerId="ADAL" clId="{E58FA468-8508-4D9D-B61C-DD2554E44EF7}" dt="2024-03-07T17:11:37.176" v="54571"/>
          <ac:spMkLst>
            <pc:docMk/>
            <pc:sldMk cId="1459118046" sldId="288"/>
            <ac:spMk id="26" creationId="{F420E5CB-3D9D-458C-56DF-AF2792018047}"/>
          </ac:spMkLst>
        </pc:spChg>
        <pc:spChg chg="add del mod modVis">
          <ac:chgData name="Joelle Brehm" userId="a518f54c-6985-42c0-8041-2bb16a414839" providerId="ADAL" clId="{E58FA468-8508-4D9D-B61C-DD2554E44EF7}" dt="2024-03-07T17:11:30.751" v="54222"/>
          <ac:spMkLst>
            <pc:docMk/>
            <pc:sldMk cId="1459118046" sldId="288"/>
            <ac:spMk id="28" creationId="{5313BC3B-595C-79FF-997E-2201E664DFAD}"/>
          </ac:spMkLst>
        </pc:spChg>
        <pc:spChg chg="mod">
          <ac:chgData name="Joelle Brehm" userId="a518f54c-6985-42c0-8041-2bb16a414839" providerId="ADAL" clId="{E58FA468-8508-4D9D-B61C-DD2554E44EF7}" dt="2024-03-07T17:11:37.176" v="54572"/>
          <ac:spMkLst>
            <pc:docMk/>
            <pc:sldMk cId="1459118046" sldId="288"/>
            <ac:spMk id="29" creationId="{540439B0-A678-8AD6-C88E-52118F5A08A3}"/>
          </ac:spMkLst>
        </pc:spChg>
        <pc:spChg chg="mod ord">
          <ac:chgData name="Joelle Brehm" userId="a518f54c-6985-42c0-8041-2bb16a414839" providerId="ADAL" clId="{E58FA468-8508-4D9D-B61C-DD2554E44EF7}" dt="2024-03-07T17:11:37.176" v="54560"/>
          <ac:spMkLst>
            <pc:docMk/>
            <pc:sldMk cId="1459118046" sldId="288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7:11:37.176" v="54565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E58FA468-8508-4D9D-B61C-DD2554E44EF7}" dt="2024-03-07T17:11:33.088" v="54485"/>
          <ac:spMkLst>
            <pc:docMk/>
            <pc:sldMk cId="1459118046" sldId="288"/>
            <ac:spMk id="33" creationId="{10DDA077-D028-8B67-439C-63131571E3A0}"/>
          </ac:spMkLst>
        </pc:spChg>
        <pc:spChg chg="add del mod ord replST">
          <ac:chgData name="Joelle Brehm" userId="a518f54c-6985-42c0-8041-2bb16a414839" providerId="ADAL" clId="{E58FA468-8508-4D9D-B61C-DD2554E44EF7}" dt="2024-03-07T17:11:37.144" v="54542"/>
          <ac:spMkLst>
            <pc:docMk/>
            <pc:sldMk cId="1459118046" sldId="288"/>
            <ac:spMk id="34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1:37.192" v="54622"/>
          <ac:spMkLst>
            <pc:docMk/>
            <pc:sldMk cId="1459118046" sldId="288"/>
            <ac:spMk id="35" creationId="{6B934B86-5715-3E83-5B96-BD8EBE06A322}"/>
          </ac:spMkLst>
        </pc:spChg>
        <pc:spChg chg="add del mod modVis">
          <ac:chgData name="Joelle Brehm" userId="a518f54c-6985-42c0-8041-2bb16a414839" providerId="ADAL" clId="{E58FA468-8508-4D9D-B61C-DD2554E44EF7}" dt="2024-03-07T17:11:37.192" v="54626"/>
          <ac:spMkLst>
            <pc:docMk/>
            <pc:sldMk cId="1459118046" sldId="288"/>
            <ac:spMk id="37" creationId="{BE26CA17-E5FF-630C-2C9E-D923AAAD5C8D}"/>
          </ac:spMkLst>
        </pc:spChg>
        <pc:spChg chg="mod ord">
          <ac:chgData name="Joelle Brehm" userId="a518f54c-6985-42c0-8041-2bb16a414839" providerId="ADAL" clId="{E58FA468-8508-4D9D-B61C-DD2554E44EF7}" dt="2024-03-07T17:11:37.176" v="54576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11:37.192" v="54578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E58FA468-8508-4D9D-B61C-DD2554E44EF7}" dt="2024-03-07T17:11:37.192" v="54606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E58FA468-8508-4D9D-B61C-DD2554E44EF7}" dt="2024-03-07T17:11:37.192" v="54595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E58FA468-8508-4D9D-B61C-DD2554E44EF7}" dt="2024-03-07T17:11:37.192" v="54590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E58FA468-8508-4D9D-B61C-DD2554E44EF7}" dt="2024-03-07T17:11:37.192" v="54601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E58FA468-8508-4D9D-B61C-DD2554E44EF7}" dt="2024-03-07T17:11:37.192" v="54596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E58FA468-8508-4D9D-B61C-DD2554E44EF7}" dt="2024-03-07T17:11:37.192" v="54600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E58FA468-8508-4D9D-B61C-DD2554E44EF7}" dt="2024-03-07T17:11:37.192" v="54580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E58FA468-8508-4D9D-B61C-DD2554E44EF7}" dt="2024-03-07T17:11:37.192" v="54597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E58FA468-8508-4D9D-B61C-DD2554E44EF7}" dt="2024-03-07T17:11:37.192" v="54598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E58FA468-8508-4D9D-B61C-DD2554E44EF7}" dt="2024-03-07T17:11:37.192" v="54602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E58FA468-8508-4D9D-B61C-DD2554E44EF7}" dt="2024-03-07T17:11:37.192" v="54599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E58FA468-8508-4D9D-B61C-DD2554E44EF7}" dt="2024-03-07T17:11:37.192" v="54603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E58FA468-8508-4D9D-B61C-DD2554E44EF7}" dt="2024-03-07T17:11:37.192" v="54604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E58FA468-8508-4D9D-B61C-DD2554E44EF7}" dt="2024-03-07T17:11:37.192" v="54605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E58FA468-8508-4D9D-B61C-DD2554E44EF7}" dt="2024-03-07T17:11:37.192" v="54582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11:37.192" v="54584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11:37.192" v="54586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11:37.192" v="54611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E58FA468-8508-4D9D-B61C-DD2554E44EF7}" dt="2024-03-07T17:11:37.192" v="54610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E58FA468-8508-4D9D-B61C-DD2554E44EF7}" dt="2024-03-07T17:11:37.192" v="54609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E58FA468-8508-4D9D-B61C-DD2554E44EF7}" dt="2024-03-07T17:11:37.192" v="54608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E58FA468-8508-4D9D-B61C-DD2554E44EF7}" dt="2024-03-07T17:11:37.192" v="54615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E58FA468-8508-4D9D-B61C-DD2554E44EF7}" dt="2024-03-07T17:11:37.192" v="54613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E58FA468-8508-4D9D-B61C-DD2554E44EF7}" dt="2024-03-07T17:11:37.192" v="54612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E58FA468-8508-4D9D-B61C-DD2554E44EF7}" dt="2024-03-07T17:11:37.192" v="54614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E58FA468-8508-4D9D-B61C-DD2554E44EF7}" dt="2024-03-07T17:11:37.192" v="54620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E58FA468-8508-4D9D-B61C-DD2554E44EF7}" dt="2024-03-07T17:11:37.192" v="54619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E58FA468-8508-4D9D-B61C-DD2554E44EF7}" dt="2024-03-07T17:11:37.192" v="54618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E58FA468-8508-4D9D-B61C-DD2554E44EF7}" dt="2024-03-07T17:11:37.192" v="54621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E58FA468-8508-4D9D-B61C-DD2554E44EF7}" dt="2024-03-07T17:11:37.209" v="54628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7:09:59.567" v="53283"/>
          <ac:graphicFrameMkLst>
            <pc:docMk/>
            <pc:sldMk cId="1459118046" sldId="288"/>
            <ac:graphicFrameMk id="8" creationId="{E8D830B4-A012-5612-22BD-2A137093FDD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1:37.192" v="54594"/>
          <ac:graphicFrameMkLst>
            <pc:docMk/>
            <pc:sldMk cId="1459118046" sldId="288"/>
            <ac:graphicFrameMk id="11" creationId="{21971FD0-A6FB-7C03-F5AA-564E66B66472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1:37.192" v="54617"/>
          <ac:graphicFrameMkLst>
            <pc:docMk/>
            <pc:sldMk cId="1459118046" sldId="288"/>
            <ac:graphicFrameMk id="14" creationId="{01EAAA68-681A-40AE-C449-2BD67ABCA596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1:30.669" v="54128"/>
          <ac:graphicFrameMkLst>
            <pc:docMk/>
            <pc:sldMk cId="1459118046" sldId="288"/>
            <ac:graphicFrameMk id="27" creationId="{08D32BD7-A97E-3789-33E4-A0A44014FC5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1:33.004" v="54390"/>
          <ac:graphicFrameMkLst>
            <pc:docMk/>
            <pc:sldMk cId="1459118046" sldId="288"/>
            <ac:graphicFrameMk id="31" creationId="{6B326D20-28E0-9C05-1858-436118A37E5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1:37.160" v="54544"/>
          <ac:graphicFrameMkLst>
            <pc:docMk/>
            <pc:sldMk cId="1459118046" sldId="288"/>
            <ac:graphicFrameMk id="36" creationId="{F70DFD05-E8A2-6DD6-A70D-067DE15E558F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1:37.176" v="54562"/>
          <ac:graphicFrameMkLst>
            <pc:docMk/>
            <pc:sldMk cId="1459118046" sldId="288"/>
            <ac:graphicFrameMk id="38" creationId="{C92C05D6-4755-9A89-7446-DE661E5C9422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1:29.241" v="53957"/>
          <ac:graphicFrameMkLst>
            <pc:docMk/>
            <pc:sldMk cId="1459118046" sldId="288"/>
            <ac:graphicFrameMk id="47" creationId="{A6B6CF40-1586-EB22-0D4C-FADFBEE4800D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1:21.424" v="53574"/>
          <ac:graphicFrameMkLst>
            <pc:docMk/>
            <pc:sldMk cId="1459118046" sldId="288"/>
            <ac:graphicFrameMk id="49" creationId="{6CD39900-B096-002C-DDF2-678C063CA3B2}"/>
          </ac:graphicFrameMkLst>
        </pc:graphicFrameChg>
        <pc:picChg chg="del mod ord">
          <ac:chgData name="Joelle Brehm" userId="a518f54c-6985-42c0-8041-2bb16a414839" providerId="ADAL" clId="{E58FA468-8508-4D9D-B61C-DD2554E44EF7}" dt="2024-03-07T17:10:16.018" v="53461" actId="478"/>
          <ac:picMkLst>
            <pc:docMk/>
            <pc:sldMk cId="1459118046" sldId="288"/>
            <ac:picMk id="9" creationId="{F903B9E9-BC80-AABB-EBF9-59BC774E82C8}"/>
          </ac:picMkLst>
        </pc:picChg>
        <pc:picChg chg="add mod ord">
          <ac:chgData name="Joelle Brehm" userId="a518f54c-6985-42c0-8041-2bb16a414839" providerId="ADAL" clId="{E58FA468-8508-4D9D-B61C-DD2554E44EF7}" dt="2024-03-07T17:11:37.176" v="54552"/>
          <ac:picMkLst>
            <pc:docMk/>
            <pc:sldMk cId="1459118046" sldId="288"/>
            <ac:picMk id="12" creationId="{FBF54E31-686E-5928-65CC-B5DCC83E05D2}"/>
          </ac:picMkLst>
        </pc:picChg>
        <pc:picChg chg="mod ord">
          <ac:chgData name="Joelle Brehm" userId="a518f54c-6985-42c0-8041-2bb16a414839" providerId="ADAL" clId="{E58FA468-8508-4D9D-B61C-DD2554E44EF7}" dt="2024-03-07T17:11:37.192" v="54588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11:37.176" v="54556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14:25.523" v="56102"/>
        <pc:sldMkLst>
          <pc:docMk/>
          <pc:sldMk cId="10849840" sldId="290"/>
        </pc:sldMkLst>
        <pc:spChg chg="add del mod">
          <ac:chgData name="Joelle Brehm" userId="a518f54c-6985-42c0-8041-2bb16a414839" providerId="ADAL" clId="{E58FA468-8508-4D9D-B61C-DD2554E44EF7}" dt="2024-03-07T17:13:26.750" v="54629" actId="478"/>
          <ac:spMkLst>
            <pc:docMk/>
            <pc:sldMk cId="10849840" sldId="290"/>
            <ac:spMk id="2" creationId="{BA0D5E4D-39B1-42F1-BC90-CDEADCCA95C8}"/>
          </ac:spMkLst>
        </pc:spChg>
        <pc:spChg chg="mod ord">
          <ac:chgData name="Joelle Brehm" userId="a518f54c-6985-42c0-8041-2bb16a414839" providerId="ADAL" clId="{E58FA468-8508-4D9D-B61C-DD2554E44EF7}" dt="2024-03-07T17:14:25.507" v="56096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E58FA468-8508-4D9D-B61C-DD2554E44EF7}" dt="2024-03-07T17:14:25.490" v="56062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E58FA468-8508-4D9D-B61C-DD2554E44EF7}" dt="2024-03-07T17:14:25.490" v="56028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58FA468-8508-4D9D-B61C-DD2554E44EF7}" dt="2024-03-07T17:13:40.151" v="54852"/>
          <ac:spMkLst>
            <pc:docMk/>
            <pc:sldMk cId="10849840" sldId="290"/>
            <ac:spMk id="8" creationId="{8BFB930D-FF02-C9CF-C5D1-1E3372F44F6D}"/>
          </ac:spMkLst>
        </pc:spChg>
        <pc:spChg chg="mod">
          <ac:chgData name="Joelle Brehm" userId="a518f54c-6985-42c0-8041-2bb16a414839" providerId="ADAL" clId="{E58FA468-8508-4D9D-B61C-DD2554E44EF7}" dt="2024-03-07T17:14:25.490" v="56039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14:25.490" v="56035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14:25.490" v="56036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14:25.490" v="56033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14:25.490" v="56034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14:25.490" v="56037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14:25.490" v="56038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14:25.490" v="56040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14:25.490" v="56041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14:25.490" v="56042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14:25.490" v="56043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14:25.490" v="56044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14:25.490" v="56046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14:25.490" v="56049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14:25.490" v="56051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14:25.490" v="56050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14:25.490" v="56054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14:25.490" v="56055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14:25.490" v="56053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14:25.490" v="56057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7:14:25.490" v="56067"/>
          <ac:spMkLst>
            <pc:docMk/>
            <pc:sldMk cId="10849840" sldId="290"/>
            <ac:spMk id="32" creationId="{6EC9F26A-A939-514C-7EDB-F425DFFD4036}"/>
          </ac:spMkLst>
        </pc:spChg>
        <pc:spChg chg="mod">
          <ac:chgData name="Joelle Brehm" userId="a518f54c-6985-42c0-8041-2bb16a414839" providerId="ADAL" clId="{E58FA468-8508-4D9D-B61C-DD2554E44EF7}" dt="2024-03-07T17:14:25.490" v="56063"/>
          <ac:spMkLst>
            <pc:docMk/>
            <pc:sldMk cId="10849840" sldId="290"/>
            <ac:spMk id="33" creationId="{A55B1EF4-73C4-D584-0203-A74707EA08E2}"/>
          </ac:spMkLst>
        </pc:spChg>
        <pc:spChg chg="add del mod modVis">
          <ac:chgData name="Joelle Brehm" userId="a518f54c-6985-42c0-8041-2bb16a414839" providerId="ADAL" clId="{E58FA468-8508-4D9D-B61C-DD2554E44EF7}" dt="2024-03-07T17:14:10.762" v="55149"/>
          <ac:spMkLst>
            <pc:docMk/>
            <pc:sldMk cId="10849840" sldId="290"/>
            <ac:spMk id="35" creationId="{7F6F240C-D3C4-1A6D-C2EB-E57039E4D5A5}"/>
          </ac:spMkLst>
        </pc:spChg>
        <pc:spChg chg="mod ord">
          <ac:chgData name="Joelle Brehm" userId="a518f54c-6985-42c0-8041-2bb16a414839" providerId="ADAL" clId="{E58FA468-8508-4D9D-B61C-DD2554E44EF7}" dt="2024-03-07T17:14:25.490" v="56048"/>
          <ac:spMkLst>
            <pc:docMk/>
            <pc:sldMk cId="10849840" sldId="290"/>
            <ac:spMk id="37" creationId="{6E6D97FF-E2E0-42EA-A83A-C3DF9F3514AE}"/>
          </ac:spMkLst>
        </pc:spChg>
        <pc:spChg chg="del mod">
          <ac:chgData name="Joelle Brehm" userId="a518f54c-6985-42c0-8041-2bb16a414839" providerId="ADAL" clId="{E58FA468-8508-4D9D-B61C-DD2554E44EF7}" dt="2024-03-07T17:14:25.390" v="55923"/>
          <ac:spMkLst>
            <pc:docMk/>
            <pc:sldMk cId="10849840" sldId="290"/>
            <ac:spMk id="39" creationId="{810C784D-B902-D4A3-E0DE-5483A97F9C49}"/>
          </ac:spMkLst>
        </pc:spChg>
        <pc:spChg chg="mod">
          <ac:chgData name="Joelle Brehm" userId="a518f54c-6985-42c0-8041-2bb16a414839" providerId="ADAL" clId="{E58FA468-8508-4D9D-B61C-DD2554E44EF7}" dt="2024-03-07T17:14:25.490" v="56070"/>
          <ac:spMkLst>
            <pc:docMk/>
            <pc:sldMk cId="10849840" sldId="290"/>
            <ac:spMk id="40" creationId="{A1E94C84-A04D-D474-C19C-53F6E4D29899}"/>
          </ac:spMkLst>
        </pc:spChg>
        <pc:spChg chg="add del mod modVis">
          <ac:chgData name="Joelle Brehm" userId="a518f54c-6985-42c0-8041-2bb16a414839" providerId="ADAL" clId="{E58FA468-8508-4D9D-B61C-DD2554E44EF7}" dt="2024-03-07T17:14:13.485" v="55277"/>
          <ac:spMkLst>
            <pc:docMk/>
            <pc:sldMk cId="10849840" sldId="290"/>
            <ac:spMk id="41" creationId="{66BDD3DD-92C4-EE51-6756-CF94429EF6F0}"/>
          </ac:spMkLst>
        </pc:spChg>
        <pc:spChg chg="mod">
          <ac:chgData name="Joelle Brehm" userId="a518f54c-6985-42c0-8041-2bb16a414839" providerId="ADAL" clId="{E58FA468-8508-4D9D-B61C-DD2554E44EF7}" dt="2024-03-07T17:14:25.490" v="56064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E58FA468-8508-4D9D-B61C-DD2554E44EF7}" dt="2024-03-07T17:14:25.490" v="56065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E58FA468-8508-4D9D-B61C-DD2554E44EF7}" dt="2024-03-07T17:14:25.490" v="56060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E58FA468-8508-4D9D-B61C-DD2554E44EF7}" dt="2024-03-07T17:14:25.490" v="56068"/>
          <ac:spMkLst>
            <pc:docMk/>
            <pc:sldMk cId="10849840" sldId="290"/>
            <ac:spMk id="45" creationId="{552BD52A-8984-63D8-5FA9-87FE57296EC3}"/>
          </ac:spMkLst>
        </pc:spChg>
        <pc:spChg chg="mod">
          <ac:chgData name="Joelle Brehm" userId="a518f54c-6985-42c0-8041-2bb16a414839" providerId="ADAL" clId="{E58FA468-8508-4D9D-B61C-DD2554E44EF7}" dt="2024-03-07T17:14:25.490" v="56061"/>
          <ac:spMkLst>
            <pc:docMk/>
            <pc:sldMk cId="10849840" sldId="290"/>
            <ac:spMk id="46" creationId="{3E1C433A-5376-E641-B9A1-4367058A9B7F}"/>
          </ac:spMkLst>
        </pc:spChg>
        <pc:spChg chg="mod">
          <ac:chgData name="Joelle Brehm" userId="a518f54c-6985-42c0-8041-2bb16a414839" providerId="ADAL" clId="{E58FA468-8508-4D9D-B61C-DD2554E44EF7}" dt="2024-03-07T17:14:25.490" v="56066"/>
          <ac:spMkLst>
            <pc:docMk/>
            <pc:sldMk cId="10849840" sldId="290"/>
            <ac:spMk id="47" creationId="{0E162DBF-E60F-A83B-56A5-E40D4E5B4D77}"/>
          </ac:spMkLst>
        </pc:spChg>
        <pc:spChg chg="add mod replST">
          <ac:chgData name="Joelle Brehm" userId="a518f54c-6985-42c0-8041-2bb16a414839" providerId="ADAL" clId="{E58FA468-8508-4D9D-B61C-DD2554E44EF7}" dt="2024-03-07T17:14:25.490" v="56071"/>
          <ac:spMkLst>
            <pc:docMk/>
            <pc:sldMk cId="10849840" sldId="290"/>
            <ac:spMk id="50" creationId="{449B00ED-3776-83CB-F1FD-BD8553FCA5FB}"/>
          </ac:spMkLst>
        </pc:spChg>
        <pc:spChg chg="add del mod modVis">
          <ac:chgData name="Joelle Brehm" userId="a518f54c-6985-42c0-8041-2bb16a414839" providerId="ADAL" clId="{E58FA468-8508-4D9D-B61C-DD2554E44EF7}" dt="2024-03-07T17:14:22.053" v="55748"/>
          <ac:spMkLst>
            <pc:docMk/>
            <pc:sldMk cId="10849840" sldId="290"/>
            <ac:spMk id="51" creationId="{F2804200-4C65-86E8-1064-948526B0B1C6}"/>
          </ac:spMkLst>
        </pc:spChg>
        <pc:spChg chg="mod">
          <ac:chgData name="Joelle Brehm" userId="a518f54c-6985-42c0-8041-2bb16a414839" providerId="ADAL" clId="{E58FA468-8508-4D9D-B61C-DD2554E44EF7}" dt="2024-03-07T17:14:25.490" v="56069"/>
          <ac:spMkLst>
            <pc:docMk/>
            <pc:sldMk cId="10849840" sldId="290"/>
            <ac:spMk id="52" creationId="{DC96C436-B81F-F984-27FA-D181BC415FF2}"/>
          </ac:spMkLst>
        </pc:spChg>
        <pc:spChg chg="add del mod modVis">
          <ac:chgData name="Joelle Brehm" userId="a518f54c-6985-42c0-8041-2bb16a414839" providerId="ADAL" clId="{E58FA468-8508-4D9D-B61C-DD2554E44EF7}" dt="2024-03-07T17:14:23.287" v="55920"/>
          <ac:spMkLst>
            <pc:docMk/>
            <pc:sldMk cId="10849840" sldId="290"/>
            <ac:spMk id="54" creationId="{51C35B76-4B39-6F22-1CFC-354B0423507C}"/>
          </ac:spMkLst>
        </pc:spChg>
        <pc:spChg chg="add del mod modVis">
          <ac:chgData name="Joelle Brehm" userId="a518f54c-6985-42c0-8041-2bb16a414839" providerId="ADAL" clId="{E58FA468-8508-4D9D-B61C-DD2554E44EF7}" dt="2024-03-07T17:14:25.507" v="56100"/>
          <ac:spMkLst>
            <pc:docMk/>
            <pc:sldMk cId="10849840" sldId="290"/>
            <ac:spMk id="56" creationId="{61CCBE78-2F7F-8320-4DA8-BF9E962B1EDA}"/>
          </ac:spMkLst>
        </pc:spChg>
        <pc:spChg chg="mod ord">
          <ac:chgData name="Joelle Brehm" userId="a518f54c-6985-42c0-8041-2bb16a414839" providerId="ADAL" clId="{E58FA468-8508-4D9D-B61C-DD2554E44EF7}" dt="2024-03-07T17:14:25.507" v="56094"/>
          <ac:spMkLst>
            <pc:docMk/>
            <pc:sldMk cId="10849840" sldId="290"/>
            <ac:spMk id="60" creationId="{AB5689A7-20F6-4DF1-88AE-FB8557333BFB}"/>
          </ac:spMkLst>
        </pc:spChg>
        <pc:spChg chg="mod">
          <ac:chgData name="Joelle Brehm" userId="a518f54c-6985-42c0-8041-2bb16a414839" providerId="ADAL" clId="{E58FA468-8508-4D9D-B61C-DD2554E44EF7}" dt="2024-03-07T17:14:25.490" v="56052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E58FA468-8508-4D9D-B61C-DD2554E44EF7}" dt="2024-03-07T17:14:25.490" v="56073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14:25.490" v="56075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7:14:25.490" v="56077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7:14:25.490" v="56079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14:25.507" v="56081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14:25.507" v="56083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14:25.507" v="56086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4:25.507" v="56087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4:25.507" v="56088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4:25.507" v="56089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14:25.507" v="56090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7:14:25.523" v="56102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4:25.490" v="56032"/>
          <ac:graphicFrameMkLst>
            <pc:docMk/>
            <pc:sldMk cId="10849840" sldId="290"/>
            <ac:graphicFrameMk id="9" creationId="{E7895EC9-C5DC-A15C-BD87-C48A0B22C5A9}"/>
          </ac:graphicFrameMkLst>
        </pc:graphicFrameChg>
        <pc:graphicFrameChg chg="del">
          <ac:chgData name="Joelle Brehm" userId="a518f54c-6985-42c0-8041-2bb16a414839" providerId="ADAL" clId="{E58FA468-8508-4D9D-B61C-DD2554E44EF7}" dt="2024-03-07T17:13:40.063" v="54764"/>
          <ac:graphicFrameMkLst>
            <pc:docMk/>
            <pc:sldMk cId="10849840" sldId="290"/>
            <ac:graphicFrameMk id="31" creationId="{F97447D6-DA76-C532-DD63-4CF6CD651226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4:10.700" v="55067"/>
          <ac:graphicFrameMkLst>
            <pc:docMk/>
            <pc:sldMk cId="10849840" sldId="290"/>
            <ac:graphicFrameMk id="36" creationId="{56133EAF-EDF2-FE3A-356B-F82D74DBC62E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4:13.421" v="55195"/>
          <ac:graphicFrameMkLst>
            <pc:docMk/>
            <pc:sldMk cId="10849840" sldId="290"/>
            <ac:graphicFrameMk id="38" creationId="{0B7DB166-FEB4-C717-E330-A5DC8FD61A3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4:16.280" v="55300"/>
          <ac:graphicFrameMkLst>
            <pc:docMk/>
            <pc:sldMk cId="10849840" sldId="290"/>
            <ac:graphicFrameMk id="48" creationId="{8CB0E1E0-8FA5-0EAF-4F7A-1DADFEFD472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4:25.507" v="56085"/>
          <ac:graphicFrameMkLst>
            <pc:docMk/>
            <pc:sldMk cId="10849840" sldId="290"/>
            <ac:graphicFrameMk id="49" creationId="{A392C421-6D65-0FF4-77DA-66BE180B8A36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4:23.233" v="55826"/>
          <ac:graphicFrameMkLst>
            <pc:docMk/>
            <pc:sldMk cId="10849840" sldId="290"/>
            <ac:graphicFrameMk id="53" creationId="{7500E8E0-7415-0528-EAA1-C7BB8A96D34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4:25.463" v="56018"/>
          <ac:graphicFrameMkLst>
            <pc:docMk/>
            <pc:sldMk cId="10849840" sldId="290"/>
            <ac:graphicFrameMk id="55" creationId="{9B56485B-1382-EEE6-0905-008331E5F6A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4:25.490" v="56059"/>
          <ac:graphicFrameMkLst>
            <pc:docMk/>
            <pc:sldMk cId="10849840" sldId="290"/>
            <ac:graphicFrameMk id="57" creationId="{58AA25D2-7E07-4656-824A-DE2ACB81B3B3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4:21.986" v="55661"/>
          <ac:graphicFrameMkLst>
            <pc:docMk/>
            <pc:sldMk cId="10849840" sldId="290"/>
            <ac:graphicFrameMk id="70" creationId="{E250B75F-95DD-E2E9-0DB1-7957A651A6BE}"/>
          </ac:graphicFrameMkLst>
        </pc:graphicFrameChg>
        <pc:picChg chg="add mod ord">
          <ac:chgData name="Joelle Brehm" userId="a518f54c-6985-42c0-8041-2bb16a414839" providerId="ADAL" clId="{E58FA468-8508-4D9D-B61C-DD2554E44EF7}" dt="2024-03-07T17:14:25.490" v="56026"/>
          <ac:picMkLst>
            <pc:docMk/>
            <pc:sldMk cId="10849840" sldId="290"/>
            <ac:picMk id="10" creationId="{C0C51D56-48D1-ECF6-964A-BA463EC15D5C}"/>
          </ac:picMkLst>
        </pc:picChg>
        <pc:picChg chg="del mod ord">
          <ac:chgData name="Joelle Brehm" userId="a518f54c-6985-42c0-8041-2bb16a414839" providerId="ADAL" clId="{E58FA468-8508-4D9D-B61C-DD2554E44EF7}" dt="2024-03-07T17:13:58.529" v="54939" actId="478"/>
          <ac:picMkLst>
            <pc:docMk/>
            <pc:sldMk cId="10849840" sldId="290"/>
            <ac:picMk id="34" creationId="{A4AA80EF-A0E2-DFE9-97AC-F2FCA242157E}"/>
          </ac:picMkLst>
        </pc:picChg>
        <pc:picChg chg="mod ord">
          <ac:chgData name="Joelle Brehm" userId="a518f54c-6985-42c0-8041-2bb16a414839" providerId="ADAL" clId="{E58FA468-8508-4D9D-B61C-DD2554E44EF7}" dt="2024-03-07T17:14:25.507" v="56092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14:25.490" v="56030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16:29.474" v="58696"/>
        <pc:sldMkLst>
          <pc:docMk/>
          <pc:sldMk cId="996393659" sldId="291"/>
        </pc:sldMkLst>
        <pc:spChg chg="mod ord">
          <ac:chgData name="Joelle Brehm" userId="a518f54c-6985-42c0-8041-2bb16a414839" providerId="ADAL" clId="{E58FA468-8508-4D9D-B61C-DD2554E44EF7}" dt="2024-03-07T17:16:29.458" v="58690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E58FA468-8508-4D9D-B61C-DD2554E44EF7}" dt="2024-03-07T17:15:43.625" v="57450" actId="478"/>
          <ac:spMkLst>
            <pc:docMk/>
            <pc:sldMk cId="996393659" sldId="291"/>
            <ac:spMk id="3" creationId="{48DB2875-7FBD-088E-B821-2189A7F70E22}"/>
          </ac:spMkLst>
        </pc:spChg>
        <pc:spChg chg="add del mod modVis">
          <ac:chgData name="Joelle Brehm" userId="a518f54c-6985-42c0-8041-2bb16a414839" providerId="ADAL" clId="{E58FA468-8508-4D9D-B61C-DD2554E44EF7}" dt="2024-03-07T17:15:56.388" v="57677"/>
          <ac:spMkLst>
            <pc:docMk/>
            <pc:sldMk cId="996393659" sldId="291"/>
            <ac:spMk id="5" creationId="{1773BE55-ADDE-77EB-EBCE-D7BCF8009E24}"/>
          </ac:spMkLst>
        </pc:spChg>
        <pc:spChg chg="mod ord">
          <ac:chgData name="Joelle Brehm" userId="a518f54c-6985-42c0-8041-2bb16a414839" providerId="ADAL" clId="{E58FA468-8508-4D9D-B61C-DD2554E44EF7}" dt="2024-03-07T17:16:29.403" v="58622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7:16:29.420" v="58633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16:29.403" v="58629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16:29.419" v="58630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16:29.403" v="58627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16:29.403" v="58628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16:29.420" v="58631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16:29.420" v="58632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16:29.420" v="58634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16:29.420" v="58635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16:29.420" v="58636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16:29.420" v="58637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16:29.420" v="58638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16:29.420" v="58640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16:29.420" v="58643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16:29.435" v="58645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16:29.420" v="58644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16:29.435" v="58648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16:29.435" v="58649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16:29.435" v="58647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16:29.435" v="58651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E58FA468-8508-4D9D-B61C-DD2554E44EF7}" dt="2024-03-07T17:16:29.435" v="58661"/>
          <ac:spMkLst>
            <pc:docMk/>
            <pc:sldMk cId="996393659" sldId="291"/>
            <ac:spMk id="32" creationId="{27A91E20-CA24-9C21-342D-ABA565F5471B}"/>
          </ac:spMkLst>
        </pc:spChg>
        <pc:spChg chg="mod">
          <ac:chgData name="Joelle Brehm" userId="a518f54c-6985-42c0-8041-2bb16a414839" providerId="ADAL" clId="{E58FA468-8508-4D9D-B61C-DD2554E44EF7}" dt="2024-03-07T17:16:29.435" v="58664"/>
          <ac:spMkLst>
            <pc:docMk/>
            <pc:sldMk cId="996393659" sldId="291"/>
            <ac:spMk id="33" creationId="{CB5C8FD5-055D-6A27-CF2F-C337C198975F}"/>
          </ac:spMkLst>
        </pc:spChg>
        <pc:spChg chg="add del mod modVis">
          <ac:chgData name="Joelle Brehm" userId="a518f54c-6985-42c0-8041-2bb16a414839" providerId="ADAL" clId="{E58FA468-8508-4D9D-B61C-DD2554E44EF7}" dt="2024-03-07T17:16:18.626" v="57969"/>
          <ac:spMkLst>
            <pc:docMk/>
            <pc:sldMk cId="996393659" sldId="291"/>
            <ac:spMk id="34" creationId="{EE03A3A0-13E5-0ECD-7958-F447DE1DC245}"/>
          </ac:spMkLst>
        </pc:spChg>
        <pc:spChg chg="add mod replST">
          <ac:chgData name="Joelle Brehm" userId="a518f54c-6985-42c0-8041-2bb16a414839" providerId="ADAL" clId="{E58FA468-8508-4D9D-B61C-DD2554E44EF7}" dt="2024-03-07T17:16:29.435" v="58665"/>
          <ac:spMkLst>
            <pc:docMk/>
            <pc:sldMk cId="996393659" sldId="291"/>
            <ac:spMk id="36" creationId="{A69784E3-14C3-52CF-6613-6D8ECE4E8A6A}"/>
          </ac:spMkLst>
        </pc:spChg>
        <pc:spChg chg="mod ord">
          <ac:chgData name="Joelle Brehm" userId="a518f54c-6985-42c0-8041-2bb16a414839" providerId="ADAL" clId="{E58FA468-8508-4D9D-B61C-DD2554E44EF7}" dt="2024-03-07T17:16:29.420" v="58642"/>
          <ac:spMkLst>
            <pc:docMk/>
            <pc:sldMk cId="996393659" sldId="291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E58FA468-8508-4D9D-B61C-DD2554E44EF7}" dt="2024-03-07T17:16:26.296" v="58344"/>
          <ac:spMkLst>
            <pc:docMk/>
            <pc:sldMk cId="996393659" sldId="291"/>
            <ac:spMk id="38" creationId="{1751C8AC-41B7-653C-4F75-96F139C241EA}"/>
          </ac:spMkLst>
        </pc:spChg>
        <pc:spChg chg="del mod">
          <ac:chgData name="Joelle Brehm" userId="a518f54c-6985-42c0-8041-2bb16a414839" providerId="ADAL" clId="{E58FA468-8508-4D9D-B61C-DD2554E44EF7}" dt="2024-03-07T17:16:29.203" v="58519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E58FA468-8508-4D9D-B61C-DD2554E44EF7}" dt="2024-03-07T17:16:29.435" v="58656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E58FA468-8508-4D9D-B61C-DD2554E44EF7}" dt="2024-03-07T17:16:29.435" v="58657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E58FA468-8508-4D9D-B61C-DD2554E44EF7}" dt="2024-03-07T17:16:29.435" v="58654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E58FA468-8508-4D9D-B61C-DD2554E44EF7}" dt="2024-03-07T17:16:29.435" v="58658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E58FA468-8508-4D9D-B61C-DD2554E44EF7}" dt="2024-03-07T17:16:29.435" v="58655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E58FA468-8508-4D9D-B61C-DD2554E44EF7}" dt="2024-03-07T17:16:29.435" v="58659"/>
          <ac:spMkLst>
            <pc:docMk/>
            <pc:sldMk cId="996393659" sldId="291"/>
            <ac:spMk id="45" creationId="{7A6869B6-C6F2-DDAD-D4B2-6D5DE21E6DC6}"/>
          </ac:spMkLst>
        </pc:spChg>
        <pc:spChg chg="mod">
          <ac:chgData name="Joelle Brehm" userId="a518f54c-6985-42c0-8041-2bb16a414839" providerId="ADAL" clId="{E58FA468-8508-4D9D-B61C-DD2554E44EF7}" dt="2024-03-07T17:16:29.435" v="58663"/>
          <ac:spMkLst>
            <pc:docMk/>
            <pc:sldMk cId="996393659" sldId="291"/>
            <ac:spMk id="46" creationId="{70F395A2-745A-564E-6009-C9A72EA00DA6}"/>
          </ac:spMkLst>
        </pc:spChg>
        <pc:spChg chg="mod">
          <ac:chgData name="Joelle Brehm" userId="a518f54c-6985-42c0-8041-2bb16a414839" providerId="ADAL" clId="{E58FA468-8508-4D9D-B61C-DD2554E44EF7}" dt="2024-03-07T17:16:29.435" v="58660"/>
          <ac:spMkLst>
            <pc:docMk/>
            <pc:sldMk cId="996393659" sldId="291"/>
            <ac:spMk id="47" creationId="{954547EF-AD33-B12C-24C3-BC43A057FE8B}"/>
          </ac:spMkLst>
        </pc:spChg>
        <pc:spChg chg="add del mod modVis">
          <ac:chgData name="Joelle Brehm" userId="a518f54c-6985-42c0-8041-2bb16a414839" providerId="ADAL" clId="{E58FA468-8508-4D9D-B61C-DD2554E44EF7}" dt="2024-03-07T17:16:27.735" v="58516"/>
          <ac:spMkLst>
            <pc:docMk/>
            <pc:sldMk cId="996393659" sldId="291"/>
            <ac:spMk id="49" creationId="{DF07D2F4-79E8-8410-7DB0-42F04B91E0F6}"/>
          </ac:spMkLst>
        </pc:spChg>
        <pc:spChg chg="add del mod modVis">
          <ac:chgData name="Joelle Brehm" userId="a518f54c-6985-42c0-8041-2bb16a414839" providerId="ADAL" clId="{E58FA468-8508-4D9D-B61C-DD2554E44EF7}" dt="2024-03-07T17:16:29.458" v="58694"/>
          <ac:spMkLst>
            <pc:docMk/>
            <pc:sldMk cId="996393659" sldId="291"/>
            <ac:spMk id="52" creationId="{3AD2B01D-471B-2BCA-BC30-0A4F2622D6FE}"/>
          </ac:spMkLst>
        </pc:spChg>
        <pc:spChg chg="mod">
          <ac:chgData name="Joelle Brehm" userId="a518f54c-6985-42c0-8041-2bb16a414839" providerId="ADAL" clId="{E58FA468-8508-4D9D-B61C-DD2554E44EF7}" dt="2024-03-07T17:16:29.435" v="58662"/>
          <ac:spMkLst>
            <pc:docMk/>
            <pc:sldMk cId="996393659" sldId="291"/>
            <ac:spMk id="53" creationId="{BBEFF6A7-9912-F6A1-9F12-1B2BB6B5B810}"/>
          </ac:spMkLst>
        </pc:spChg>
        <pc:spChg chg="mod">
          <ac:chgData name="Joelle Brehm" userId="a518f54c-6985-42c0-8041-2bb16a414839" providerId="ADAL" clId="{E58FA468-8508-4D9D-B61C-DD2554E44EF7}" dt="2024-03-07T17:16:29.435" v="58646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E58FA468-8508-4D9D-B61C-DD2554E44EF7}" dt="2024-03-07T17:16:29.451" v="58667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16:29.451" v="58669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7:16:29.458" v="58688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E58FA468-8508-4D9D-B61C-DD2554E44EF7}" dt="2024-03-07T17:16:29.451" v="58671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7:16:29.451" v="58673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16:29.451" v="58675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16:29.451" v="58677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16:29.451" v="58680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6:29.451" v="58681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6:29.458" v="58682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6:29.458" v="58683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16:29.458" v="58684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7:16:29.474" v="58696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7:15:56.323" v="57589"/>
          <ac:graphicFrameMkLst>
            <pc:docMk/>
            <pc:sldMk cId="996393659" sldId="291"/>
            <ac:graphicFrameMk id="8" creationId="{36C70261-7D84-2FFB-8789-D6791F8565CC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6:29.403" v="58626"/>
          <ac:graphicFrameMkLst>
            <pc:docMk/>
            <pc:sldMk cId="996393659" sldId="291"/>
            <ac:graphicFrameMk id="9" creationId="{2F49221F-A7D9-1CE3-EA20-42A252D4501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6:29.451" v="58679"/>
          <ac:graphicFrameMkLst>
            <pc:docMk/>
            <pc:sldMk cId="996393659" sldId="291"/>
            <ac:graphicFrameMk id="35" creationId="{9E058F99-F009-A389-D2F1-C98A30356C3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6:27.590" v="58420"/>
          <ac:graphicFrameMkLst>
            <pc:docMk/>
            <pc:sldMk cId="996393659" sldId="291"/>
            <ac:graphicFrameMk id="48" creationId="{E1F32EE0-B6F1-F247-25F2-B7087C7224D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6:29.338" v="58612"/>
          <ac:graphicFrameMkLst>
            <pc:docMk/>
            <pc:sldMk cId="996393659" sldId="291"/>
            <ac:graphicFrameMk id="50" creationId="{446688EC-1E7F-1776-249E-BD6AC99680DD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6:26.168" v="58248"/>
          <ac:graphicFrameMkLst>
            <pc:docMk/>
            <pc:sldMk cId="996393659" sldId="291"/>
            <ac:graphicFrameMk id="51" creationId="{E568C45B-3B78-A7B3-EBA4-E2C0A1D3A51E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6:18.559" v="57887"/>
          <ac:graphicFrameMkLst>
            <pc:docMk/>
            <pc:sldMk cId="996393659" sldId="291"/>
            <ac:graphicFrameMk id="54" creationId="{5CD17B8F-FBD4-6142-1F81-D8F6ABB696B4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6:29.435" v="58653"/>
          <ac:graphicFrameMkLst>
            <pc:docMk/>
            <pc:sldMk cId="996393659" sldId="291"/>
            <ac:graphicFrameMk id="55" creationId="{17A3AAFD-7FAA-06B3-E549-E270EB82DEC2}"/>
          </ac:graphicFrameMkLst>
        </pc:graphicFrameChg>
        <pc:picChg chg="add mod ord">
          <ac:chgData name="Joelle Brehm" userId="a518f54c-6985-42c0-8041-2bb16a414839" providerId="ADAL" clId="{E58FA468-8508-4D9D-B61C-DD2554E44EF7}" dt="2024-03-07T17:16:29.403" v="58620"/>
          <ac:picMkLst>
            <pc:docMk/>
            <pc:sldMk cId="996393659" sldId="291"/>
            <ac:picMk id="10" creationId="{7E38899A-D7AB-E70F-315C-CE90296609B7}"/>
          </ac:picMkLst>
        </pc:picChg>
        <pc:picChg chg="del mod ord">
          <ac:chgData name="Joelle Brehm" userId="a518f54c-6985-42c0-8041-2bb16a414839" providerId="ADAL" clId="{E58FA468-8508-4D9D-B61C-DD2554E44EF7}" dt="2024-03-07T17:16:10.281" v="57771" actId="478"/>
          <ac:picMkLst>
            <pc:docMk/>
            <pc:sldMk cId="996393659" sldId="291"/>
            <ac:picMk id="31" creationId="{DB6D7E8F-3508-51B7-CD1C-84C2BDA302D3}"/>
          </ac:picMkLst>
        </pc:picChg>
        <pc:picChg chg="mod ord">
          <ac:chgData name="Joelle Brehm" userId="a518f54c-6985-42c0-8041-2bb16a414839" providerId="ADAL" clId="{E58FA468-8508-4D9D-B61C-DD2554E44EF7}" dt="2024-03-07T17:16:29.458" v="58686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16:29.403" v="58624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7:15:39.397" v="57449"/>
        <pc:sldMkLst>
          <pc:docMk/>
          <pc:sldMk cId="3635637425" sldId="292"/>
        </pc:sldMkLst>
        <pc:spChg chg="mod ord">
          <ac:chgData name="Joelle Brehm" userId="a518f54c-6985-42c0-8041-2bb16a414839" providerId="ADAL" clId="{E58FA468-8508-4D9D-B61C-DD2554E44EF7}" dt="2024-03-07T17:15:39.360" v="57443"/>
          <ac:spMkLst>
            <pc:docMk/>
            <pc:sldMk cId="3635637425" sldId="292"/>
            <ac:spMk id="2" creationId="{9445A78E-5217-4459-B540-57B5B2359A2E}"/>
          </ac:spMkLst>
        </pc:spChg>
        <pc:spChg chg="add del mod">
          <ac:chgData name="Joelle Brehm" userId="a518f54c-6985-42c0-8041-2bb16a414839" providerId="ADAL" clId="{E58FA468-8508-4D9D-B61C-DD2554E44EF7}" dt="2024-03-07T17:14:34.672" v="56103" actId="478"/>
          <ac:spMkLst>
            <pc:docMk/>
            <pc:sldMk cId="3635637425" sldId="292"/>
            <ac:spMk id="3" creationId="{457C2F98-417D-6D1D-3AFA-37CB9E07D0D3}"/>
          </ac:spMkLst>
        </pc:spChg>
        <pc:spChg chg="add del mod modVis">
          <ac:chgData name="Joelle Brehm" userId="a518f54c-6985-42c0-8041-2bb16a414839" providerId="ADAL" clId="{E58FA468-8508-4D9D-B61C-DD2554E44EF7}" dt="2024-03-07T17:14:51.858" v="56326"/>
          <ac:spMkLst>
            <pc:docMk/>
            <pc:sldMk cId="3635637425" sldId="292"/>
            <ac:spMk id="5" creationId="{7F6558F3-727C-EB46-D2CF-311389779A81}"/>
          </ac:spMkLst>
        </pc:spChg>
        <pc:spChg chg="mod ord">
          <ac:chgData name="Joelle Brehm" userId="a518f54c-6985-42c0-8041-2bb16a414839" providerId="ADAL" clId="{E58FA468-8508-4D9D-B61C-DD2554E44EF7}" dt="2024-03-07T17:15:39.344" v="57375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E58FA468-8508-4D9D-B61C-DD2554E44EF7}" dt="2024-03-07T17:15:39.344" v="57386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E58FA468-8508-4D9D-B61C-DD2554E44EF7}" dt="2024-03-07T17:15:39.344" v="57382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E58FA468-8508-4D9D-B61C-DD2554E44EF7}" dt="2024-03-07T17:15:39.344" v="57383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E58FA468-8508-4D9D-B61C-DD2554E44EF7}" dt="2024-03-07T17:15:39.344" v="57380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E58FA468-8508-4D9D-B61C-DD2554E44EF7}" dt="2024-03-07T17:15:39.344" v="57381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E58FA468-8508-4D9D-B61C-DD2554E44EF7}" dt="2024-03-07T17:15:39.344" v="57384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E58FA468-8508-4D9D-B61C-DD2554E44EF7}" dt="2024-03-07T17:15:39.344" v="57385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E58FA468-8508-4D9D-B61C-DD2554E44EF7}" dt="2024-03-07T17:15:39.344" v="57387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E58FA468-8508-4D9D-B61C-DD2554E44EF7}" dt="2024-03-07T17:15:39.344" v="57388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E58FA468-8508-4D9D-B61C-DD2554E44EF7}" dt="2024-03-07T17:15:39.344" v="57389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E58FA468-8508-4D9D-B61C-DD2554E44EF7}" dt="2024-03-07T17:15:39.344" v="57390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E58FA468-8508-4D9D-B61C-DD2554E44EF7}" dt="2024-03-07T17:15:39.344" v="57391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E58FA468-8508-4D9D-B61C-DD2554E44EF7}" dt="2024-03-07T17:15:39.344" v="57393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E58FA468-8508-4D9D-B61C-DD2554E44EF7}" dt="2024-03-07T17:15:39.344" v="57396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E58FA468-8508-4D9D-B61C-DD2554E44EF7}" dt="2024-03-07T17:15:39.359" v="57398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E58FA468-8508-4D9D-B61C-DD2554E44EF7}" dt="2024-03-07T17:15:39.344" v="57397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E58FA468-8508-4D9D-B61C-DD2554E44EF7}" dt="2024-03-07T17:15:39.360" v="57401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E58FA468-8508-4D9D-B61C-DD2554E44EF7}" dt="2024-03-07T17:15:39.360" v="57402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E58FA468-8508-4D9D-B61C-DD2554E44EF7}" dt="2024-03-07T17:15:39.360" v="57400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E58FA468-8508-4D9D-B61C-DD2554E44EF7}" dt="2024-03-07T17:15:39.360" v="57404"/>
          <ac:spMkLst>
            <pc:docMk/>
            <pc:sldMk cId="3635637425" sldId="292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E58FA468-8508-4D9D-B61C-DD2554E44EF7}" dt="2024-03-07T17:15:39.360" v="57418"/>
          <ac:spMkLst>
            <pc:docMk/>
            <pc:sldMk cId="3635637425" sldId="292"/>
            <ac:spMk id="32" creationId="{8F9B02F6-DAE6-BC87-0735-690A0C269FE9}"/>
          </ac:spMkLst>
        </pc:spChg>
        <pc:spChg chg="mod">
          <ac:chgData name="Joelle Brehm" userId="a518f54c-6985-42c0-8041-2bb16a414839" providerId="ADAL" clId="{E58FA468-8508-4D9D-B61C-DD2554E44EF7}" dt="2024-03-07T17:15:39.360" v="57414"/>
          <ac:spMkLst>
            <pc:docMk/>
            <pc:sldMk cId="3635637425" sldId="292"/>
            <ac:spMk id="33" creationId="{FC0BC779-DB08-9C64-2173-284503839894}"/>
          </ac:spMkLst>
        </pc:spChg>
        <pc:spChg chg="mod">
          <ac:chgData name="Joelle Brehm" userId="a518f54c-6985-42c0-8041-2bb16a414839" providerId="ADAL" clId="{E58FA468-8508-4D9D-B61C-DD2554E44EF7}" dt="2024-03-07T17:15:39.360" v="57417"/>
          <ac:spMkLst>
            <pc:docMk/>
            <pc:sldMk cId="3635637425" sldId="292"/>
            <ac:spMk id="34" creationId="{1A89A7DF-5840-E927-8D60-C325BD6C6D3A}"/>
          </ac:spMkLst>
        </pc:spChg>
        <pc:spChg chg="add del mod modVis">
          <ac:chgData name="Joelle Brehm" userId="a518f54c-6985-42c0-8041-2bb16a414839" providerId="ADAL" clId="{E58FA468-8508-4D9D-B61C-DD2554E44EF7}" dt="2024-03-07T17:15:18.136" v="56815"/>
          <ac:spMkLst>
            <pc:docMk/>
            <pc:sldMk cId="3635637425" sldId="292"/>
            <ac:spMk id="35" creationId="{1C549E5B-A9B2-9E78-6CF1-CA9915C13F08}"/>
          </ac:spMkLst>
        </pc:spChg>
        <pc:spChg chg="del mod">
          <ac:chgData name="Joelle Brehm" userId="a518f54c-6985-42c0-8041-2bb16a414839" providerId="ADAL" clId="{E58FA468-8508-4D9D-B61C-DD2554E44EF7}" dt="2024-03-07T17:15:19.916" v="56818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E58FA468-8508-4D9D-B61C-DD2554E44EF7}" dt="2024-03-07T17:15:39.344" v="57395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E58FA468-8508-4D9D-B61C-DD2554E44EF7}" dt="2024-03-07T17:15:39.360" v="57409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E58FA468-8508-4D9D-B61C-DD2554E44EF7}" dt="2024-03-07T17:15:39.360" v="57410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E58FA468-8508-4D9D-B61C-DD2554E44EF7}" dt="2024-03-07T17:15:39.360" v="57411"/>
          <ac:spMkLst>
            <pc:docMk/>
            <pc:sldMk cId="3635637425" sldId="292"/>
            <ac:spMk id="41" creationId="{CAD662BE-DA77-C496-2C1F-D8B2218DD0E5}"/>
          </ac:spMkLst>
        </pc:spChg>
        <pc:spChg chg="add del mod modVis">
          <ac:chgData name="Joelle Brehm" userId="a518f54c-6985-42c0-8041-2bb16a414839" providerId="ADAL" clId="{E58FA468-8508-4D9D-B61C-DD2554E44EF7}" dt="2024-03-07T17:15:20.063" v="56995"/>
          <ac:spMkLst>
            <pc:docMk/>
            <pc:sldMk cId="3635637425" sldId="292"/>
            <ac:spMk id="42" creationId="{202521B5-A7E7-F7B9-4E47-F99DDD1C0D66}"/>
          </ac:spMkLst>
        </pc:spChg>
        <pc:spChg chg="mod">
          <ac:chgData name="Joelle Brehm" userId="a518f54c-6985-42c0-8041-2bb16a414839" providerId="ADAL" clId="{E58FA468-8508-4D9D-B61C-DD2554E44EF7}" dt="2024-03-07T17:15:39.360" v="57412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E58FA468-8508-4D9D-B61C-DD2554E44EF7}" dt="2024-03-07T17:15:39.360" v="57407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E58FA468-8508-4D9D-B61C-DD2554E44EF7}" dt="2024-03-07T17:15:39.360" v="57415"/>
          <ac:spMkLst>
            <pc:docMk/>
            <pc:sldMk cId="3635637425" sldId="292"/>
            <ac:spMk id="45" creationId="{A417CFF4-2744-C952-9C9F-69606D981D63}"/>
          </ac:spMkLst>
        </pc:spChg>
        <pc:spChg chg="mod">
          <ac:chgData name="Joelle Brehm" userId="a518f54c-6985-42c0-8041-2bb16a414839" providerId="ADAL" clId="{E58FA468-8508-4D9D-B61C-DD2554E44EF7}" dt="2024-03-07T17:15:39.360" v="57408"/>
          <ac:spMkLst>
            <pc:docMk/>
            <pc:sldMk cId="3635637425" sldId="292"/>
            <ac:spMk id="46" creationId="{38D3D6F2-A854-D543-7C6D-CB3894DB11AC}"/>
          </ac:spMkLst>
        </pc:spChg>
        <pc:spChg chg="mod">
          <ac:chgData name="Joelle Brehm" userId="a518f54c-6985-42c0-8041-2bb16a414839" providerId="ADAL" clId="{E58FA468-8508-4D9D-B61C-DD2554E44EF7}" dt="2024-03-07T17:15:39.360" v="57416"/>
          <ac:spMkLst>
            <pc:docMk/>
            <pc:sldMk cId="3635637425" sldId="292"/>
            <ac:spMk id="47" creationId="{23D31415-4B44-8B3E-05F2-6373D86735DA}"/>
          </ac:spMkLst>
        </pc:spChg>
        <pc:spChg chg="mod">
          <ac:chgData name="Joelle Brehm" userId="a518f54c-6985-42c0-8041-2bb16a414839" providerId="ADAL" clId="{E58FA468-8508-4D9D-B61C-DD2554E44EF7}" dt="2024-03-07T17:15:39.360" v="57413"/>
          <ac:spMkLst>
            <pc:docMk/>
            <pc:sldMk cId="3635637425" sldId="292"/>
            <ac:spMk id="49" creationId="{C2AC46DF-8DB5-4BF7-F270-6657C4B8CE44}"/>
          </ac:spMkLst>
        </pc:spChg>
        <pc:spChg chg="add del mod modVis">
          <ac:chgData name="Joelle Brehm" userId="a518f54c-6985-42c0-8041-2bb16a414839" providerId="ADAL" clId="{E58FA468-8508-4D9D-B61C-DD2554E44EF7}" dt="2024-03-07T17:15:23.163" v="57131"/>
          <ac:spMkLst>
            <pc:docMk/>
            <pc:sldMk cId="3635637425" sldId="292"/>
            <ac:spMk id="50" creationId="{6C2D7737-5DC3-935B-27DB-35928DD4FBC3}"/>
          </ac:spMkLst>
        </pc:spChg>
        <pc:spChg chg="add del mod modVis">
          <ac:chgData name="Joelle Brehm" userId="a518f54c-6985-42c0-8041-2bb16a414839" providerId="ADAL" clId="{E58FA468-8508-4D9D-B61C-DD2554E44EF7}" dt="2024-03-07T17:15:32.696" v="57319"/>
          <ac:spMkLst>
            <pc:docMk/>
            <pc:sldMk cId="3635637425" sldId="292"/>
            <ac:spMk id="52" creationId="{559B2109-D08B-16B2-3AB3-B470AB9754B6}"/>
          </ac:spMkLst>
        </pc:spChg>
        <pc:spChg chg="add del mod modVis">
          <ac:chgData name="Joelle Brehm" userId="a518f54c-6985-42c0-8041-2bb16a414839" providerId="ADAL" clId="{E58FA468-8508-4D9D-B61C-DD2554E44EF7}" dt="2024-03-07T17:15:39.360" v="57447"/>
          <ac:spMkLst>
            <pc:docMk/>
            <pc:sldMk cId="3635637425" sldId="292"/>
            <ac:spMk id="55" creationId="{E832BC51-C01B-184C-B752-11A1CE560C12}"/>
          </ac:spMkLst>
        </pc:spChg>
        <pc:spChg chg="mod ord">
          <ac:chgData name="Joelle Brehm" userId="a518f54c-6985-42c0-8041-2bb16a414839" providerId="ADAL" clId="{E58FA468-8508-4D9D-B61C-DD2554E44EF7}" dt="2024-03-07T17:15:39.360" v="57441"/>
          <ac:spMkLst>
            <pc:docMk/>
            <pc:sldMk cId="3635637425" sldId="292"/>
            <ac:spMk id="60" creationId="{8AFF754E-1785-41DB-892C-A30765DCA565}"/>
          </ac:spMkLst>
        </pc:spChg>
        <pc:spChg chg="mod">
          <ac:chgData name="Joelle Brehm" userId="a518f54c-6985-42c0-8041-2bb16a414839" providerId="ADAL" clId="{E58FA468-8508-4D9D-B61C-DD2554E44EF7}" dt="2024-03-07T17:15:39.360" v="57399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E58FA468-8508-4D9D-B61C-DD2554E44EF7}" dt="2024-03-07T17:15:39.360" v="57420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E58FA468-8508-4D9D-B61C-DD2554E44EF7}" dt="2024-03-07T17:15:39.360" v="57422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E58FA468-8508-4D9D-B61C-DD2554E44EF7}" dt="2024-03-07T17:15:39.360" v="57424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E58FA468-8508-4D9D-B61C-DD2554E44EF7}" dt="2024-03-07T17:15:39.360" v="57426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58FA468-8508-4D9D-B61C-DD2554E44EF7}" dt="2024-03-07T17:15:39.360" v="57428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58FA468-8508-4D9D-B61C-DD2554E44EF7}" dt="2024-03-07T17:15:39.360" v="57430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E58FA468-8508-4D9D-B61C-DD2554E44EF7}" dt="2024-03-07T17:15:39.360" v="57433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5:39.360" v="57434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5:39.360" v="57435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5:39.360" v="57436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E58FA468-8508-4D9D-B61C-DD2554E44EF7}" dt="2024-03-07T17:15:39.360" v="57437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58FA468-8508-4D9D-B61C-DD2554E44EF7}" dt="2024-03-07T17:15:39.397" v="57449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58FA468-8508-4D9D-B61C-DD2554E44EF7}" dt="2024-03-07T17:14:51.802" v="56240"/>
          <ac:graphicFrameMkLst>
            <pc:docMk/>
            <pc:sldMk cId="3635637425" sldId="292"/>
            <ac:graphicFrameMk id="8" creationId="{5EE11531-2176-DDE1-D20E-395C4003864D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5:39.344" v="57379"/>
          <ac:graphicFrameMkLst>
            <pc:docMk/>
            <pc:sldMk cId="3635637425" sldId="292"/>
            <ac:graphicFrameMk id="9" creationId="{4242B773-52FB-C80A-9820-085442CF433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5:19.991" v="56913"/>
          <ac:graphicFrameMkLst>
            <pc:docMk/>
            <pc:sldMk cId="3635637425" sldId="292"/>
            <ac:graphicFrameMk id="38" creationId="{A68ABEBE-3809-3CBD-7C8D-DE45812FACA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5:23.113" v="57049"/>
          <ac:graphicFrameMkLst>
            <pc:docMk/>
            <pc:sldMk cId="3635637425" sldId="292"/>
            <ac:graphicFrameMk id="48" creationId="{10B95326-1232-7385-87D3-A5B7049E635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5:39.360" v="57406"/>
          <ac:graphicFrameMkLst>
            <pc:docMk/>
            <pc:sldMk cId="3635637425" sldId="292"/>
            <ac:graphicFrameMk id="51" creationId="{257291E9-0F90-B940-AA5C-099D2DDC4919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5:39.311" v="57365"/>
          <ac:graphicFrameMkLst>
            <pc:docMk/>
            <pc:sldMk cId="3635637425" sldId="292"/>
            <ac:graphicFrameMk id="53" creationId="{2F3A5521-5C5F-F72C-0CB4-40C59CF5A53D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5:18.078" v="56719"/>
          <ac:graphicFrameMkLst>
            <pc:docMk/>
            <pc:sldMk cId="3635637425" sldId="292"/>
            <ac:graphicFrameMk id="54" creationId="{3A25B099-C7EB-4DA3-521E-29534E3C2309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5:39.360" v="57432"/>
          <ac:graphicFrameMkLst>
            <pc:docMk/>
            <pc:sldMk cId="3635637425" sldId="292"/>
            <ac:graphicFrameMk id="56" creationId="{E5C63175-1D82-926A-FDCF-24811E9A16E2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5:32.637" v="57237"/>
          <ac:graphicFrameMkLst>
            <pc:docMk/>
            <pc:sldMk cId="3635637425" sldId="292"/>
            <ac:graphicFrameMk id="57" creationId="{5DE050C9-8338-97C0-09FE-8F7A33E9BEA8}"/>
          </ac:graphicFrameMkLst>
        </pc:graphicFrameChg>
        <pc:picChg chg="del mod ord">
          <ac:chgData name="Joelle Brehm" userId="a518f54c-6985-42c0-8041-2bb16a414839" providerId="ADAL" clId="{E58FA468-8508-4D9D-B61C-DD2554E44EF7}" dt="2024-03-07T17:15:08.989" v="56424" actId="478"/>
          <ac:picMkLst>
            <pc:docMk/>
            <pc:sldMk cId="3635637425" sldId="292"/>
            <ac:picMk id="10" creationId="{208FEDC4-4977-CA08-8645-C52C643A8B6C}"/>
          </ac:picMkLst>
        </pc:picChg>
        <pc:picChg chg="add mod ord">
          <ac:chgData name="Joelle Brehm" userId="a518f54c-6985-42c0-8041-2bb16a414839" providerId="ADAL" clId="{E58FA468-8508-4D9D-B61C-DD2554E44EF7}" dt="2024-03-07T17:15:39.344" v="57373"/>
          <ac:picMkLst>
            <pc:docMk/>
            <pc:sldMk cId="3635637425" sldId="292"/>
            <ac:picMk id="31" creationId="{8EE05E45-CDAD-2477-0B22-5D3E0D4B5A8E}"/>
          </ac:picMkLst>
        </pc:picChg>
        <pc:picChg chg="mod ord">
          <ac:chgData name="Joelle Brehm" userId="a518f54c-6985-42c0-8041-2bb16a414839" providerId="ADAL" clId="{E58FA468-8508-4D9D-B61C-DD2554E44EF7}" dt="2024-03-07T17:15:39.360" v="57439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58FA468-8508-4D9D-B61C-DD2554E44EF7}" dt="2024-03-07T17:15:39.344" v="57377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6T18:45:03.592" v="1128" actId="1076"/>
        <pc:sldMkLst>
          <pc:docMk/>
          <pc:sldMk cId="4143996880" sldId="293"/>
        </pc:sldMkLst>
        <pc:spChg chg="mod ord">
          <ac:chgData name="Joelle Brehm" userId="a518f54c-6985-42c0-8041-2bb16a414839" providerId="ADAL" clId="{E58FA468-8508-4D9D-B61C-DD2554E44EF7}" dt="2024-03-06T18:44:57.837" v="1120"/>
          <ac:spMkLst>
            <pc:docMk/>
            <pc:sldMk cId="4143996880" sldId="293"/>
            <ac:spMk id="2" creationId="{01E014B2-1FBF-48C6-9093-6CFE20AFFCCE}"/>
          </ac:spMkLst>
        </pc:spChg>
        <pc:spChg chg="mod ord">
          <ac:chgData name="Joelle Brehm" userId="a518f54c-6985-42c0-8041-2bb16a414839" providerId="ADAL" clId="{E58FA468-8508-4D9D-B61C-DD2554E44EF7}" dt="2024-03-06T18:44:57.830" v="1095"/>
          <ac:spMkLst>
            <pc:docMk/>
            <pc:sldMk cId="4143996880" sldId="29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E58FA468-8508-4D9D-B61C-DD2554E44EF7}" dt="2024-03-04T23:50:55.793" v="863"/>
          <ac:spMkLst>
            <pc:docMk/>
            <pc:sldMk cId="4143996880" sldId="293"/>
            <ac:spMk id="6" creationId="{8E8F98C9-4C21-7643-8283-7B4CAB77017D}"/>
          </ac:spMkLst>
        </pc:spChg>
        <pc:spChg chg="add mod ord">
          <ac:chgData name="Joelle Brehm" userId="a518f54c-6985-42c0-8041-2bb16a414839" providerId="ADAL" clId="{E58FA468-8508-4D9D-B61C-DD2554E44EF7}" dt="2024-03-06T18:45:03.592" v="1128" actId="1076"/>
          <ac:spMkLst>
            <pc:docMk/>
            <pc:sldMk cId="4143996880" sldId="293"/>
            <ac:spMk id="7" creationId="{4565A035-FE13-20EE-FA55-3EF1907FA676}"/>
          </ac:spMkLst>
        </pc:spChg>
        <pc:spChg chg="mod">
          <ac:chgData name="Joelle Brehm" userId="a518f54c-6985-42c0-8041-2bb16a414839" providerId="ADAL" clId="{E58FA468-8508-4D9D-B61C-DD2554E44EF7}" dt="2024-03-06T18:44:57.832" v="1104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E58FA468-8508-4D9D-B61C-DD2554E44EF7}" dt="2024-03-06T18:44:57.831" v="1100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E58FA468-8508-4D9D-B61C-DD2554E44EF7}" dt="2024-03-06T18:44:57.831" v="1098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E58FA468-8508-4D9D-B61C-DD2554E44EF7}" dt="2024-03-06T18:44:57.831" v="1099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E58FA468-8508-4D9D-B61C-DD2554E44EF7}" dt="2024-03-06T18:44:57.831" v="1101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E58FA468-8508-4D9D-B61C-DD2554E44EF7}" dt="2024-03-06T18:44:57.832" v="1107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E58FA468-8508-4D9D-B61C-DD2554E44EF7}" dt="2024-03-06T18:44:57.831" v="1102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E58FA468-8508-4D9D-B61C-DD2554E44EF7}" dt="2024-03-06T18:44:57.832" v="1105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E58FA468-8508-4D9D-B61C-DD2554E44EF7}" dt="2024-03-06T18:44:57.832" v="1103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E58FA468-8508-4D9D-B61C-DD2554E44EF7}" dt="2024-03-06T18:44:57.832" v="1106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E58FA468-8508-4D9D-B61C-DD2554E44EF7}" dt="2024-03-06T18:44:57.834" v="1108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E58FA468-8508-4D9D-B61C-DD2554E44EF7}" dt="2024-03-06T18:44:57.834" v="1109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E58FA468-8508-4D9D-B61C-DD2554E44EF7}" dt="2024-03-06T18:44:57.834" v="1111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E58FA468-8508-4D9D-B61C-DD2554E44EF7}" dt="2024-03-06T18:44:57.835" v="1113"/>
          <ac:spMkLst>
            <pc:docMk/>
            <pc:sldMk cId="4143996880" sldId="293"/>
            <ac:spMk id="21" creationId="{B5AE4010-508F-4A3F-85C7-752A1F15F54F}"/>
          </ac:spMkLst>
        </pc:spChg>
        <pc:spChg chg="del mod ord">
          <ac:chgData name="Joelle Brehm" userId="a518f54c-6985-42c0-8041-2bb16a414839" providerId="ADAL" clId="{E58FA468-8508-4D9D-B61C-DD2554E44EF7}" dt="2024-03-06T18:42:54.946" v="1024" actId="478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E58FA468-8508-4D9D-B61C-DD2554E44EF7}" dt="2024-03-06T18:44:57.835" v="1115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E58FA468-8508-4D9D-B61C-DD2554E44EF7}" dt="2024-03-06T18:44:57.836" v="1117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E58FA468-8508-4D9D-B61C-DD2554E44EF7}" dt="2024-03-06T18:44:57.845" v="1126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18:44:57.831" v="1097"/>
          <ac:graphicFrameMkLst>
            <pc:docMk/>
            <pc:sldMk cId="4143996880" sldId="293"/>
            <ac:graphicFrameMk id="22" creationId="{2CD83285-C523-6FDC-3BC3-E0BB203B7354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4T23:50:55.749" v="820"/>
          <ac:graphicFrameMkLst>
            <pc:docMk/>
            <pc:sldMk cId="4143996880" sldId="293"/>
            <ac:graphicFrameMk id="24" creationId="{2568609E-C6C4-71E7-937B-EB10961907CF}"/>
          </ac:graphicFrameMkLst>
        </pc:graphicFrameChg>
        <pc:picChg chg="add del mod ord">
          <ac:chgData name="Joelle Brehm" userId="a518f54c-6985-42c0-8041-2bb16a414839" providerId="ADAL" clId="{E58FA468-8508-4D9D-B61C-DD2554E44EF7}" dt="2024-03-06T18:44:59.330" v="1127" actId="478"/>
          <ac:picMkLst>
            <pc:docMk/>
            <pc:sldMk cId="4143996880" sldId="293"/>
            <ac:picMk id="3" creationId="{B93537EE-4CE5-D30C-BC76-82B83AC19550}"/>
          </ac:picMkLst>
        </pc:picChg>
        <pc:picChg chg="add mod ord">
          <ac:chgData name="Joelle Brehm" userId="a518f54c-6985-42c0-8041-2bb16a414839" providerId="ADAL" clId="{E58FA468-8508-4D9D-B61C-DD2554E44EF7}" dt="2024-03-06T18:44:57.829" v="1091"/>
          <ac:picMkLst>
            <pc:docMk/>
            <pc:sldMk cId="4143996880" sldId="293"/>
            <ac:picMk id="6" creationId="{4C261C3F-9AE0-CB99-79F0-DA8D76F4627E}"/>
          </ac:picMkLst>
        </pc:picChg>
        <pc:picChg chg="del mod ord">
          <ac:chgData name="Joelle Brehm" userId="a518f54c-6985-42c0-8041-2bb16a414839" providerId="ADAL" clId="{E58FA468-8508-4D9D-B61C-DD2554E44EF7}" dt="2024-03-04T23:50:35.893" v="612" actId="478"/>
          <ac:picMkLst>
            <pc:docMk/>
            <pc:sldMk cId="4143996880" sldId="293"/>
            <ac:picMk id="7" creationId="{E1D6E832-E1A4-A492-4510-682088359FAB}"/>
          </ac:picMkLst>
        </pc:picChg>
        <pc:picChg chg="add mod ord">
          <ac:chgData name="Joelle Brehm" userId="a518f54c-6985-42c0-8041-2bb16a414839" providerId="ADAL" clId="{E58FA468-8508-4D9D-B61C-DD2554E44EF7}" dt="2024-03-06T18:44:57.828" v="1089"/>
          <ac:picMkLst>
            <pc:docMk/>
            <pc:sldMk cId="4143996880" sldId="293"/>
            <ac:picMk id="23" creationId="{1590F1F0-E00A-91F5-BC6E-F302284D3B81}"/>
          </ac:picMkLst>
        </pc:picChg>
        <pc:picChg chg="add del mod">
          <ac:chgData name="Joelle Brehm" userId="a518f54c-6985-42c0-8041-2bb16a414839" providerId="ADAL" clId="{E58FA468-8508-4D9D-B61C-DD2554E44EF7}" dt="2024-03-04T23:51:08.213" v="868" actId="478"/>
          <ac:picMkLst>
            <pc:docMk/>
            <pc:sldMk cId="4143996880" sldId="293"/>
            <ac:picMk id="23" creationId="{35EA1A3B-65DC-C0AF-4970-C988F0365366}"/>
          </ac:picMkLst>
        </pc:picChg>
        <pc:picChg chg="del mod ord">
          <ac:chgData name="Joelle Brehm" userId="a518f54c-6985-42c0-8041-2bb16a414839" providerId="ADAL" clId="{E58FA468-8508-4D9D-B61C-DD2554E44EF7}" dt="2024-03-04T23:54:09.474" v="912" actId="478"/>
          <ac:picMkLst>
            <pc:docMk/>
            <pc:sldMk cId="4143996880" sldId="293"/>
            <ac:picMk id="27" creationId="{757B9A0A-1172-2A42-6B54-7278863A51D7}"/>
          </ac:picMkLst>
        </pc:picChg>
        <pc:picChg chg="mod">
          <ac:chgData name="Joelle Brehm" userId="a518f54c-6985-42c0-8041-2bb16a414839" providerId="ADAL" clId="{E58FA468-8508-4D9D-B61C-DD2554E44EF7}" dt="2024-03-06T18:44:57.836" v="1118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E58FA468-8508-4D9D-B61C-DD2554E44EF7}" dt="2024-03-07T19:45:49.180" v="64733" actId="20577"/>
        <pc:sldMkLst>
          <pc:docMk/>
          <pc:sldMk cId="1958469684" sldId="294"/>
        </pc:sldMkLst>
        <pc:spChg chg="add mod">
          <ac:chgData name="Joelle Brehm" userId="a518f54c-6985-42c0-8041-2bb16a414839" providerId="ADAL" clId="{E58FA468-8508-4D9D-B61C-DD2554E44EF7}" dt="2024-03-07T18:29:04.545" v="64402" actId="571"/>
          <ac:spMkLst>
            <pc:docMk/>
            <pc:sldMk cId="1958469684" sldId="294"/>
            <ac:spMk id="2" creationId="{DCD346FD-5D54-F086-AFA9-24AB95FAE6BB}"/>
          </ac:spMkLst>
        </pc:spChg>
        <pc:spChg chg="mod">
          <ac:chgData name="Joelle Brehm" userId="a518f54c-6985-42c0-8041-2bb16a414839" providerId="ADAL" clId="{E58FA468-8508-4D9D-B61C-DD2554E44EF7}" dt="2024-03-07T18:30:24.924" v="64460" actId="554"/>
          <ac:spMkLst>
            <pc:docMk/>
            <pc:sldMk cId="1958469684" sldId="294"/>
            <ac:spMk id="7" creationId="{51E2C65D-B485-4A8E-B9D3-B9B0B3778A68}"/>
          </ac:spMkLst>
        </pc:spChg>
        <pc:spChg chg="add del">
          <ac:chgData name="Joelle Brehm" userId="a518f54c-6985-42c0-8041-2bb16a414839" providerId="ADAL" clId="{E58FA468-8508-4D9D-B61C-DD2554E44EF7}" dt="2024-03-07T19:45:38.898" v="64732" actId="22"/>
          <ac:spMkLst>
            <pc:docMk/>
            <pc:sldMk cId="1958469684" sldId="294"/>
            <ac:spMk id="8" creationId="{99CC07DA-8E81-FF07-5FF7-AE9AC41557BA}"/>
          </ac:spMkLst>
        </pc:spChg>
        <pc:spChg chg="mod">
          <ac:chgData name="Joelle Brehm" userId="a518f54c-6985-42c0-8041-2bb16a414839" providerId="ADAL" clId="{E58FA468-8508-4D9D-B61C-DD2554E44EF7}" dt="2024-03-07T19:45:49.180" v="64733" actId="20577"/>
          <ac:spMkLst>
            <pc:docMk/>
            <pc:sldMk cId="1958469684" sldId="294"/>
            <ac:spMk id="9" creationId="{69B02446-E7CD-4AE5-9EF3-A1D1E490EA5B}"/>
          </ac:spMkLst>
        </pc:spChg>
      </pc:sldChg>
      <pc:sldChg chg="addSp delSp modSp mod">
        <pc:chgData name="Joelle Brehm" userId="a518f54c-6985-42c0-8041-2bb16a414839" providerId="ADAL" clId="{E58FA468-8508-4D9D-B61C-DD2554E44EF7}" dt="2024-03-06T20:06:02.497" v="5606" actId="478"/>
        <pc:sldMkLst>
          <pc:docMk/>
          <pc:sldMk cId="77660323" sldId="295"/>
        </pc:sldMkLst>
        <pc:spChg chg="add del mod">
          <ac:chgData name="Joelle Brehm" userId="a518f54c-6985-42c0-8041-2bb16a414839" providerId="ADAL" clId="{E58FA468-8508-4D9D-B61C-DD2554E44EF7}" dt="2024-03-06T19:26:49.884" v="1132" actId="478"/>
          <ac:spMkLst>
            <pc:docMk/>
            <pc:sldMk cId="77660323" sldId="295"/>
            <ac:spMk id="2" creationId="{227D83B6-9F0B-4881-EFE1-BB962B13035D}"/>
          </ac:spMkLst>
        </pc:spChg>
        <pc:spChg chg="mod ord">
          <ac:chgData name="Joelle Brehm" userId="a518f54c-6985-42c0-8041-2bb16a414839" providerId="ADAL" clId="{E58FA468-8508-4D9D-B61C-DD2554E44EF7}" dt="2024-03-06T20:06:00.821" v="5496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E58FA468-8508-4D9D-B61C-DD2554E44EF7}" dt="2024-03-06T20:06:00.827" v="5517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E58FA468-8508-4D9D-B61C-DD2554E44EF7}" dt="2024-03-06T20:06:00.827" v="5518"/>
          <ac:spMkLst>
            <pc:docMk/>
            <pc:sldMk cId="77660323" sldId="295"/>
            <ac:spMk id="7" creationId="{AC248985-01B4-CD8C-E025-DF4D35603919}"/>
          </ac:spMkLst>
        </pc:spChg>
        <pc:spChg chg="mod">
          <ac:chgData name="Joelle Brehm" userId="a518f54c-6985-42c0-8041-2bb16a414839" providerId="ADAL" clId="{E58FA468-8508-4D9D-B61C-DD2554E44EF7}" dt="2024-03-06T20:06:00.828" v="5522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E58FA468-8508-4D9D-B61C-DD2554E44EF7}" dt="2024-03-06T20:06:00.828" v="5521"/>
          <ac:spMkLst>
            <pc:docMk/>
            <pc:sldMk cId="77660323" sldId="295"/>
            <ac:spMk id="9" creationId="{5B920F75-31B6-8B4B-7E2C-665E8C04F047}"/>
          </ac:spMkLst>
        </pc:spChg>
        <pc:spChg chg="mod">
          <ac:chgData name="Joelle Brehm" userId="a518f54c-6985-42c0-8041-2bb16a414839" providerId="ADAL" clId="{E58FA468-8508-4D9D-B61C-DD2554E44EF7}" dt="2024-03-06T20:06:00.829" v="5523"/>
          <ac:spMkLst>
            <pc:docMk/>
            <pc:sldMk cId="77660323" sldId="295"/>
            <ac:spMk id="10" creationId="{99AAF5F5-7487-DDF7-D317-1B4F799ACEB6}"/>
          </ac:spMkLst>
        </pc:spChg>
        <pc:spChg chg="mod">
          <ac:chgData name="Joelle Brehm" userId="a518f54c-6985-42c0-8041-2bb16a414839" providerId="ADAL" clId="{E58FA468-8508-4D9D-B61C-DD2554E44EF7}" dt="2024-03-06T20:06:00.828" v="5520"/>
          <ac:spMkLst>
            <pc:docMk/>
            <pc:sldMk cId="77660323" sldId="295"/>
            <ac:spMk id="11" creationId="{4D142ECA-E2D8-9285-6C24-1D82A2038821}"/>
          </ac:spMkLst>
        </pc:spChg>
        <pc:spChg chg="mod">
          <ac:chgData name="Joelle Brehm" userId="a518f54c-6985-42c0-8041-2bb16a414839" providerId="ADAL" clId="{E58FA468-8508-4D9D-B61C-DD2554E44EF7}" dt="2024-03-06T20:06:00.829" v="5524"/>
          <ac:spMkLst>
            <pc:docMk/>
            <pc:sldMk cId="77660323" sldId="295"/>
            <ac:spMk id="12" creationId="{9794817C-34B2-68B8-0BC6-DDDED5C00595}"/>
          </ac:spMkLst>
        </pc:spChg>
        <pc:spChg chg="mod">
          <ac:chgData name="Joelle Brehm" userId="a518f54c-6985-42c0-8041-2bb16a414839" providerId="ADAL" clId="{E58FA468-8508-4D9D-B61C-DD2554E44EF7}" dt="2024-03-06T20:06:00.829" v="5525"/>
          <ac:spMkLst>
            <pc:docMk/>
            <pc:sldMk cId="77660323" sldId="295"/>
            <ac:spMk id="13" creationId="{806F2968-42A3-483A-337A-D0AE86BE93FB}"/>
          </ac:spMkLst>
        </pc:spChg>
        <pc:spChg chg="mod">
          <ac:chgData name="Joelle Brehm" userId="a518f54c-6985-42c0-8041-2bb16a414839" providerId="ADAL" clId="{E58FA468-8508-4D9D-B61C-DD2554E44EF7}" dt="2024-03-06T20:06:00.829" v="5526"/>
          <ac:spMkLst>
            <pc:docMk/>
            <pc:sldMk cId="77660323" sldId="295"/>
            <ac:spMk id="14" creationId="{0C8E4B72-72C6-60A2-4BA2-FBC70AE3CCF2}"/>
          </ac:spMkLst>
        </pc:spChg>
        <pc:spChg chg="mod">
          <ac:chgData name="Joelle Brehm" userId="a518f54c-6985-42c0-8041-2bb16a414839" providerId="ADAL" clId="{E58FA468-8508-4D9D-B61C-DD2554E44EF7}" dt="2024-03-06T20:06:00.839" v="5555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E58FA468-8508-4D9D-B61C-DD2554E44EF7}" dt="2024-03-06T20:06:00.839" v="5556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E58FA468-8508-4D9D-B61C-DD2554E44EF7}" dt="2024-03-06T20:06:00.827" v="5519"/>
          <ac:spMkLst>
            <pc:docMk/>
            <pc:sldMk cId="77660323" sldId="295"/>
            <ac:spMk id="17" creationId="{521229FB-0801-C7EF-5E13-8F0309A61A17}"/>
          </ac:spMkLst>
        </pc:spChg>
        <pc:spChg chg="add mod replST">
          <ac:chgData name="Joelle Brehm" userId="a518f54c-6985-42c0-8041-2bb16a414839" providerId="ADAL" clId="{E58FA468-8508-4D9D-B61C-DD2554E44EF7}" dt="2024-03-06T20:06:00.830" v="5527"/>
          <ac:spMkLst>
            <pc:docMk/>
            <pc:sldMk cId="77660323" sldId="295"/>
            <ac:spMk id="19" creationId="{E532CFC3-942F-0097-1AFF-537E14B8E55A}"/>
          </ac:spMkLst>
        </pc:spChg>
        <pc:spChg chg="add del mod modVis">
          <ac:chgData name="Joelle Brehm" userId="a518f54c-6985-42c0-8041-2bb16a414839" providerId="ADAL" clId="{E58FA468-8508-4D9D-B61C-DD2554E44EF7}" dt="2024-03-06T19:58:01.324" v="1513"/>
          <ac:spMkLst>
            <pc:docMk/>
            <pc:sldMk cId="77660323" sldId="295"/>
            <ac:spMk id="20" creationId="{C18E19EF-DB05-95C4-C756-B4D59A7A9780}"/>
          </ac:spMkLst>
        </pc:spChg>
        <pc:spChg chg="add del mod modVis">
          <ac:chgData name="Joelle Brehm" userId="a518f54c-6985-42c0-8041-2bb16a414839" providerId="ADAL" clId="{E58FA468-8508-4D9D-B61C-DD2554E44EF7}" dt="2024-03-06T19:58:04.707" v="1778"/>
          <ac:spMkLst>
            <pc:docMk/>
            <pc:sldMk cId="77660323" sldId="295"/>
            <ac:spMk id="22" creationId="{0BD19EF4-2F51-FF35-12A7-45017FC4ECF5}"/>
          </ac:spMkLst>
        </pc:spChg>
        <pc:spChg chg="mod">
          <ac:chgData name="Joelle Brehm" userId="a518f54c-6985-42c0-8041-2bb16a414839" providerId="ADAL" clId="{E58FA468-8508-4D9D-B61C-DD2554E44EF7}" dt="2024-03-06T20:06:00.825" v="5511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47" v="5584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E58FA468-8508-4D9D-B61C-DD2554E44EF7}" dt="2024-03-06T20:06:00.839" v="5557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E58FA468-8508-4D9D-B61C-DD2554E44EF7}" dt="2024-03-06T20:06:00.826" v="5513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26" v="5515"/>
          <ac:spMkLst>
            <pc:docMk/>
            <pc:sldMk cId="77660323" sldId="295"/>
            <ac:spMk id="28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40" v="5560"/>
          <ac:spMkLst>
            <pc:docMk/>
            <pc:sldMk cId="77660323" sldId="295"/>
            <ac:spMk id="29" creationId="{C91EE372-B381-84BD-F7CD-1CD5DBB058DB}"/>
          </ac:spMkLst>
        </pc:spChg>
        <pc:spChg chg="mod">
          <ac:chgData name="Joelle Brehm" userId="a518f54c-6985-42c0-8041-2bb16a414839" providerId="ADAL" clId="{E58FA468-8508-4D9D-B61C-DD2554E44EF7}" dt="2024-03-06T20:06:00.839" v="5558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E58FA468-8508-4D9D-B61C-DD2554E44EF7}" dt="2024-03-06T20:06:00.835" v="5544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40" v="5559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E58FA468-8508-4D9D-B61C-DD2554E44EF7}" dt="2024-03-06T20:06:00.836" v="5545"/>
          <ac:spMkLst>
            <pc:docMk/>
            <pc:sldMk cId="77660323" sldId="295"/>
            <ac:spMk id="3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42" v="5564"/>
          <ac:spMkLst>
            <pc:docMk/>
            <pc:sldMk cId="77660323" sldId="295"/>
            <ac:spMk id="35" creationId="{87059D8F-0431-2794-789F-F4FE79555058}"/>
          </ac:spMkLst>
        </pc:spChg>
        <pc:spChg chg="add del mod modVis">
          <ac:chgData name="Joelle Brehm" userId="a518f54c-6985-42c0-8041-2bb16a414839" providerId="ADAL" clId="{E58FA468-8508-4D9D-B61C-DD2554E44EF7}" dt="2024-03-06T19:58:13.474" v="2017"/>
          <ac:spMkLst>
            <pc:docMk/>
            <pc:sldMk cId="77660323" sldId="295"/>
            <ac:spMk id="37" creationId="{E9E88CFE-CD0D-3902-75B8-E391BCE8C088}"/>
          </ac:spMkLst>
        </pc:spChg>
        <pc:spChg chg="mod">
          <ac:chgData name="Joelle Brehm" userId="a518f54c-6985-42c0-8041-2bb16a414839" providerId="ADAL" clId="{E58FA468-8508-4D9D-B61C-DD2554E44EF7}" dt="2024-03-06T20:06:00.841" v="5562"/>
          <ac:spMkLst>
            <pc:docMk/>
            <pc:sldMk cId="77660323" sldId="295"/>
            <ac:spMk id="38" creationId="{47920EAE-D678-78D4-5D32-C1B72A6668A0}"/>
          </ac:spMkLst>
        </pc:spChg>
        <pc:spChg chg="mod">
          <ac:chgData name="Joelle Brehm" userId="a518f54c-6985-42c0-8041-2bb16a414839" providerId="ADAL" clId="{E58FA468-8508-4D9D-B61C-DD2554E44EF7}" dt="2024-03-06T20:06:00.825" v="5509"/>
          <ac:spMkLst>
            <pc:docMk/>
            <pc:sldMk cId="77660323" sldId="295"/>
            <ac:spMk id="39" creationId="{7CAA3B95-4C78-4122-BECA-B5FB0F3F3764}"/>
          </ac:spMkLst>
        </pc:spChg>
        <pc:spChg chg="add mod replST">
          <ac:chgData name="Joelle Brehm" userId="a518f54c-6985-42c0-8041-2bb16a414839" providerId="ADAL" clId="{E58FA468-8508-4D9D-B61C-DD2554E44EF7}" dt="2024-03-06T20:06:00.842" v="5565"/>
          <ac:spMkLst>
            <pc:docMk/>
            <pc:sldMk cId="77660323" sldId="295"/>
            <ac:spMk id="41" creationId="{4409CA20-692B-2DF1-691E-7BA9C26509DB}"/>
          </ac:spMkLst>
        </pc:spChg>
        <pc:spChg chg="mod">
          <ac:chgData name="Joelle Brehm" userId="a518f54c-6985-42c0-8041-2bb16a414839" providerId="ADAL" clId="{E58FA468-8508-4D9D-B61C-DD2554E44EF7}" dt="2024-03-06T20:06:00.836" v="5546"/>
          <ac:spMkLst>
            <pc:docMk/>
            <pc:sldMk cId="77660323" sldId="295"/>
            <ac:spMk id="42" creationId="{A32B7D8C-DAE5-D336-7D31-9ECFB1F6E20C}"/>
          </ac:spMkLst>
        </pc:spChg>
        <pc:spChg chg="mod">
          <ac:chgData name="Joelle Brehm" userId="a518f54c-6985-42c0-8041-2bb16a414839" providerId="ADAL" clId="{E58FA468-8508-4D9D-B61C-DD2554E44EF7}" dt="2024-03-06T20:06:00.849" v="5587"/>
          <ac:spMkLst>
            <pc:docMk/>
            <pc:sldMk cId="77660323" sldId="295"/>
            <ac:spMk id="43" creationId="{CB71E880-BE37-7B61-FE93-B2CADB32B81F}"/>
          </ac:spMkLst>
        </pc:spChg>
        <pc:spChg chg="mod">
          <ac:chgData name="Joelle Brehm" userId="a518f54c-6985-42c0-8041-2bb16a414839" providerId="ADAL" clId="{E58FA468-8508-4D9D-B61C-DD2554E44EF7}" dt="2024-03-06T20:06:00.840" v="5561"/>
          <ac:spMkLst>
            <pc:docMk/>
            <pc:sldMk cId="77660323" sldId="295"/>
            <ac:spMk id="44" creationId="{DAA4D810-B73F-CB1C-C983-F6E311360F17}"/>
          </ac:spMkLst>
        </pc:spChg>
        <pc:spChg chg="mod">
          <ac:chgData name="Joelle Brehm" userId="a518f54c-6985-42c0-8041-2bb16a414839" providerId="ADAL" clId="{E58FA468-8508-4D9D-B61C-DD2554E44EF7}" dt="2024-03-06T20:06:00.849" v="5585"/>
          <ac:spMkLst>
            <pc:docMk/>
            <pc:sldMk cId="77660323" sldId="295"/>
            <ac:spMk id="45" creationId="{7B959589-9B04-0960-03A9-FE10F7C63094}"/>
          </ac:spMkLst>
        </pc:spChg>
        <pc:spChg chg="mod">
          <ac:chgData name="Joelle Brehm" userId="a518f54c-6985-42c0-8041-2bb16a414839" providerId="ADAL" clId="{E58FA468-8508-4D9D-B61C-DD2554E44EF7}" dt="2024-03-06T20:06:00.841" v="5563"/>
          <ac:spMkLst>
            <pc:docMk/>
            <pc:sldMk cId="77660323" sldId="295"/>
            <ac:spMk id="46" creationId="{52EC1778-506C-D704-B036-314B2BE12802}"/>
          </ac:spMkLst>
        </pc:spChg>
        <pc:spChg chg="add del mod modVis">
          <ac:chgData name="Joelle Brehm" userId="a518f54c-6985-42c0-8041-2bb16a414839" providerId="ADAL" clId="{E58FA468-8508-4D9D-B61C-DD2554E44EF7}" dt="2024-03-06T19:58:28.709" v="2467"/>
          <ac:spMkLst>
            <pc:docMk/>
            <pc:sldMk cId="77660323" sldId="295"/>
            <ac:spMk id="47" creationId="{D51153B0-334F-79CC-70CE-6F813BD02113}"/>
          </ac:spMkLst>
        </pc:spChg>
        <pc:spChg chg="mod">
          <ac:chgData name="Joelle Brehm" userId="a518f54c-6985-42c0-8041-2bb16a414839" providerId="ADAL" clId="{E58FA468-8508-4D9D-B61C-DD2554E44EF7}" dt="2024-03-06T20:06:00.847" v="5583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E58FA468-8508-4D9D-B61C-DD2554E44EF7}" dt="2024-03-06T20:06:00.849" v="5586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E58FA468-8508-4D9D-B61C-DD2554E44EF7}" dt="2024-03-06T19:58:29.315" v="2673"/>
          <ac:spMkLst>
            <pc:docMk/>
            <pc:sldMk cId="77660323" sldId="295"/>
            <ac:spMk id="52" creationId="{6857C75F-FE88-D051-AA8A-DA70BFFAFE26}"/>
          </ac:spMkLst>
        </pc:spChg>
        <pc:spChg chg="mod">
          <ac:chgData name="Joelle Brehm" userId="a518f54c-6985-42c0-8041-2bb16a414839" providerId="ADAL" clId="{E58FA468-8508-4D9D-B61C-DD2554E44EF7}" dt="2024-03-06T20:06:00.850" v="5588"/>
          <ac:spMkLst>
            <pc:docMk/>
            <pc:sldMk cId="77660323" sldId="295"/>
            <ac:spMk id="53" creationId="{5EB6D661-779B-2B02-EA15-90F2D9CEB9D2}"/>
          </ac:spMkLst>
        </pc:spChg>
        <pc:spChg chg="add del mod modVis">
          <ac:chgData name="Joelle Brehm" userId="a518f54c-6985-42c0-8041-2bb16a414839" providerId="ADAL" clId="{E58FA468-8508-4D9D-B61C-DD2554E44EF7}" dt="2024-03-06T19:58:31.805" v="2911"/>
          <ac:spMkLst>
            <pc:docMk/>
            <pc:sldMk cId="77660323" sldId="295"/>
            <ac:spMk id="55" creationId="{9CC66913-AC2F-B064-380A-885A4D19A7BD}"/>
          </ac:spMkLst>
        </pc:spChg>
        <pc:spChg chg="add del mod modVis">
          <ac:chgData name="Joelle Brehm" userId="a518f54c-6985-42c0-8041-2bb16a414839" providerId="ADAL" clId="{E58FA468-8508-4D9D-B61C-DD2554E44EF7}" dt="2024-03-06T19:58:34.392" v="3145"/>
          <ac:spMkLst>
            <pc:docMk/>
            <pc:sldMk cId="77660323" sldId="295"/>
            <ac:spMk id="57" creationId="{0EF32097-D518-DB1C-28D2-762DC77E9DC3}"/>
          </ac:spMkLst>
        </pc:spChg>
        <pc:spChg chg="mod">
          <ac:chgData name="Joelle Brehm" userId="a518f54c-6985-42c0-8041-2bb16a414839" providerId="ADAL" clId="{E58FA468-8508-4D9D-B61C-DD2554E44EF7}" dt="2024-03-06T20:06:00.850" v="5590"/>
          <ac:spMkLst>
            <pc:docMk/>
            <pc:sldMk cId="77660323" sldId="295"/>
            <ac:spMk id="58" creationId="{C3E93442-7ED4-DBAD-677D-97CD63B5E9C5}"/>
          </ac:spMkLst>
        </pc:spChg>
        <pc:spChg chg="mod">
          <ac:chgData name="Joelle Brehm" userId="a518f54c-6985-42c0-8041-2bb16a414839" providerId="ADAL" clId="{E58FA468-8508-4D9D-B61C-DD2554E44EF7}" dt="2024-03-06T20:06:00.851" v="5592"/>
          <ac:spMkLst>
            <pc:docMk/>
            <pc:sldMk cId="77660323" sldId="295"/>
            <ac:spMk id="61" creationId="{2490F22C-9184-A493-0368-DF1074F98757}"/>
          </ac:spMkLst>
        </pc:spChg>
        <pc:spChg chg="add del mod modVis">
          <ac:chgData name="Joelle Brehm" userId="a518f54c-6985-42c0-8041-2bb16a414839" providerId="ADAL" clId="{E58FA468-8508-4D9D-B61C-DD2554E44EF7}" dt="2024-03-06T19:58:38.656" v="3327"/>
          <ac:spMkLst>
            <pc:docMk/>
            <pc:sldMk cId="77660323" sldId="295"/>
            <ac:spMk id="62" creationId="{37EF5452-52FA-BDAA-6B65-30A867D18727}"/>
          </ac:spMkLst>
        </pc:spChg>
        <pc:spChg chg="del mod">
          <ac:chgData name="Joelle Brehm" userId="a518f54c-6985-42c0-8041-2bb16a414839" providerId="ADAL" clId="{E58FA468-8508-4D9D-B61C-DD2554E44EF7}" dt="2024-03-06T19:58:53.241" v="3980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47" v="5582"/>
          <ac:spMkLst>
            <pc:docMk/>
            <pc:sldMk cId="77660323" sldId="295"/>
            <ac:spMk id="8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6T20:06:00.822" v="5502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E58FA468-8508-4D9D-B61C-DD2554E44EF7}" dt="2024-03-06T20:06:00.823" v="5504"/>
          <ac:spMkLst>
            <pc:docMk/>
            <pc:sldMk cId="77660323" sldId="295"/>
            <ac:spMk id="97" creationId="{64B2B8D7-E8A8-4757-99A4-69F1EAA48321}"/>
          </ac:spMkLst>
        </pc:spChg>
        <pc:spChg chg="mod ord">
          <ac:chgData name="Joelle Brehm" userId="a518f54c-6985-42c0-8041-2bb16a414839" providerId="ADAL" clId="{E58FA468-8508-4D9D-B61C-DD2554E44EF7}" dt="2024-03-06T20:06:00.821" v="5498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E58FA468-8508-4D9D-B61C-DD2554E44EF7}" dt="2024-03-06T20:06:00.825" v="5510"/>
          <ac:spMkLst>
            <pc:docMk/>
            <pc:sldMk cId="77660323" sldId="295"/>
            <ac:spMk id="113" creationId="{7CAA3B95-4C78-4122-BECA-B5FB0F3F3764}"/>
          </ac:spMkLst>
        </pc:spChg>
        <pc:spChg chg="del mod">
          <ac:chgData name="Joelle Brehm" userId="a518f54c-6985-42c0-8041-2bb16a414839" providerId="ADAL" clId="{E58FA468-8508-4D9D-B61C-DD2554E44EF7}" dt="2024-03-06T19:58:04.458" v="1516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27" v="5516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25" v="5512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26" v="5514"/>
          <ac:spMkLst>
            <pc:docMk/>
            <pc:sldMk cId="77660323" sldId="295"/>
            <ac:spMk id="136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6T20:06:00.823" v="5506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E58FA468-8508-4D9D-B61C-DD2554E44EF7}" dt="2024-03-06T20:06:00.837" v="5549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E58FA468-8508-4D9D-B61C-DD2554E44EF7}" dt="2024-03-06T20:06:00.845" v="5572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E58FA468-8508-4D9D-B61C-DD2554E44EF7}" dt="2024-03-06T20:06:00.846" v="5573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E58FA468-8508-4D9D-B61C-DD2554E44EF7}" dt="2024-03-06T20:06:00.852" v="5600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E58FA468-8508-4D9D-B61C-DD2554E44EF7}" dt="2024-03-06T20:06:00.854" v="5601"/>
          <ac:spMkLst>
            <pc:docMk/>
            <pc:sldMk cId="77660323" sldId="295"/>
            <ac:spMk id="402" creationId="{54A50511-8137-91F0-6AA8-1D657EEE3E68}"/>
          </ac:spMkLst>
        </pc:spChg>
        <pc:spChg chg="add del mod modVis">
          <ac:chgData name="Joelle Brehm" userId="a518f54c-6985-42c0-8041-2bb16a414839" providerId="ADAL" clId="{E58FA468-8508-4D9D-B61C-DD2554E44EF7}" dt="2024-03-06T19:58:42.301" v="3509"/>
          <ac:spMkLst>
            <pc:docMk/>
            <pc:sldMk cId="77660323" sldId="295"/>
            <ac:spMk id="448" creationId="{8900A75B-CAA4-C138-4256-07B173923572}"/>
          </ac:spMkLst>
        </pc:spChg>
        <pc:spChg chg="mod">
          <ac:chgData name="Joelle Brehm" userId="a518f54c-6985-42c0-8041-2bb16a414839" providerId="ADAL" clId="{E58FA468-8508-4D9D-B61C-DD2554E44EF7}" dt="2024-03-06T20:06:00.851" v="5591"/>
          <ac:spMkLst>
            <pc:docMk/>
            <pc:sldMk cId="77660323" sldId="295"/>
            <ac:spMk id="450" creationId="{44B69F35-8022-43B2-D33E-C796293293C0}"/>
          </ac:spMkLst>
        </pc:spChg>
        <pc:spChg chg="add mod replST">
          <ac:chgData name="Joelle Brehm" userId="a518f54c-6985-42c0-8041-2bb16a414839" providerId="ADAL" clId="{E58FA468-8508-4D9D-B61C-DD2554E44EF7}" dt="2024-03-06T20:06:00.851" v="5593"/>
          <ac:spMkLst>
            <pc:docMk/>
            <pc:sldMk cId="77660323" sldId="295"/>
            <ac:spMk id="452" creationId="{66947D3F-E2AF-4F7C-F30F-029BD637A524}"/>
          </ac:spMkLst>
        </pc:spChg>
        <pc:spChg chg="add del mod modVis">
          <ac:chgData name="Joelle Brehm" userId="a518f54c-6985-42c0-8041-2bb16a414839" providerId="ADAL" clId="{E58FA468-8508-4D9D-B61C-DD2554E44EF7}" dt="2024-03-06T19:58:50.917" v="3975"/>
          <ac:spMkLst>
            <pc:docMk/>
            <pc:sldMk cId="77660323" sldId="295"/>
            <ac:spMk id="453" creationId="{B23D4CBB-99E7-A32A-CA06-EE9750D1E3BA}"/>
          </ac:spMkLst>
        </pc:spChg>
        <pc:spChg chg="add del mod modVis">
          <ac:chgData name="Joelle Brehm" userId="a518f54c-6985-42c0-8041-2bb16a414839" providerId="ADAL" clId="{E58FA468-8508-4D9D-B61C-DD2554E44EF7}" dt="2024-03-06T19:58:53.469" v="4219"/>
          <ac:spMkLst>
            <pc:docMk/>
            <pc:sldMk cId="77660323" sldId="295"/>
            <ac:spMk id="456" creationId="{4A7DCFBD-65A0-3F33-20BF-3BE73BA2870B}"/>
          </ac:spMkLst>
        </pc:spChg>
        <pc:spChg chg="mod">
          <ac:chgData name="Joelle Brehm" userId="a518f54c-6985-42c0-8041-2bb16a414839" providerId="ADAL" clId="{E58FA468-8508-4D9D-B61C-DD2554E44EF7}" dt="2024-03-06T20:06:00.850" v="5589"/>
          <ac:spMkLst>
            <pc:docMk/>
            <pc:sldMk cId="77660323" sldId="295"/>
            <ac:spMk id="458" creationId="{C5443A0C-8372-D652-291B-09D997CCB0D0}"/>
          </ac:spMkLst>
        </pc:spChg>
        <pc:spChg chg="add del mod modVis">
          <ac:chgData name="Joelle Brehm" userId="a518f54c-6985-42c0-8041-2bb16a414839" providerId="ADAL" clId="{E58FA468-8508-4D9D-B61C-DD2554E44EF7}" dt="2024-03-06T19:58:55.638" v="4427"/>
          <ac:spMkLst>
            <pc:docMk/>
            <pc:sldMk cId="77660323" sldId="295"/>
            <ac:spMk id="460" creationId="{27B7561E-1F12-698F-DE32-9E1450EB6B58}"/>
          </ac:spMkLst>
        </pc:spChg>
        <pc:spChg chg="add del mod modVis">
          <ac:chgData name="Joelle Brehm" userId="a518f54c-6985-42c0-8041-2bb16a414839" providerId="ADAL" clId="{E58FA468-8508-4D9D-B61C-DD2554E44EF7}" dt="2024-03-06T19:59:00.548" v="4654"/>
          <ac:spMkLst>
            <pc:docMk/>
            <pc:sldMk cId="77660323" sldId="295"/>
            <ac:spMk id="463" creationId="{0631051F-A774-8CAA-ECA4-B54216A5BBC8}"/>
          </ac:spMkLst>
        </pc:spChg>
        <pc:spChg chg="add del mod modVis">
          <ac:chgData name="Joelle Brehm" userId="a518f54c-6985-42c0-8041-2bb16a414839" providerId="ADAL" clId="{E58FA468-8508-4D9D-B61C-DD2554E44EF7}" dt="2024-03-06T19:59:02.219" v="4912"/>
          <ac:spMkLst>
            <pc:docMk/>
            <pc:sldMk cId="77660323" sldId="295"/>
            <ac:spMk id="466" creationId="{E75EE2F4-DE49-A520-E859-BF0D4AFB1880}"/>
          </ac:spMkLst>
        </pc:spChg>
        <pc:spChg chg="add del mod replST">
          <ac:chgData name="Joelle Brehm" userId="a518f54c-6985-42c0-8041-2bb16a414839" providerId="ADAL" clId="{E58FA468-8508-4D9D-B61C-DD2554E44EF7}" dt="2024-03-06T19:59:04.876" v="4975"/>
          <ac:spMkLst>
            <pc:docMk/>
            <pc:sldMk cId="77660323" sldId="295"/>
            <ac:spMk id="467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6T19:59:04.955" v="5096"/>
          <ac:spMkLst>
            <pc:docMk/>
            <pc:sldMk cId="77660323" sldId="295"/>
            <ac:spMk id="469" creationId="{C8EC9B1F-E94E-64C2-859B-79A2C425C0FE}"/>
          </ac:spMkLst>
        </pc:spChg>
        <pc:spChg chg="add del mod modVis">
          <ac:chgData name="Joelle Brehm" userId="a518f54c-6985-42c0-8041-2bb16a414839" providerId="ADAL" clId="{E58FA468-8508-4D9D-B61C-DD2554E44EF7}" dt="2024-03-06T19:59:05.125" v="5284"/>
          <ac:spMkLst>
            <pc:docMk/>
            <pc:sldMk cId="77660323" sldId="295"/>
            <ac:spMk id="471" creationId="{87F721A9-8E88-4A45-AF73-54F9DF6E046D}"/>
          </ac:spMkLst>
        </pc:spChg>
        <pc:spChg chg="add del mod modVis">
          <ac:chgData name="Joelle Brehm" userId="a518f54c-6985-42c0-8041-2bb16a414839" providerId="ADAL" clId="{E58FA468-8508-4D9D-B61C-DD2554E44EF7}" dt="2024-03-06T19:59:10.122" v="5474"/>
          <ac:spMkLst>
            <pc:docMk/>
            <pc:sldMk cId="77660323" sldId="295"/>
            <ac:spMk id="473" creationId="{FC4CB57F-D4E4-8AAE-55B2-5B1E732A8B3C}"/>
          </ac:spMkLst>
        </pc:spChg>
        <pc:spChg chg="mod ord">
          <ac:chgData name="Joelle Brehm" userId="a518f54c-6985-42c0-8041-2bb16a414839" providerId="ADAL" clId="{E58FA468-8508-4D9D-B61C-DD2554E44EF7}" dt="2024-03-06T20:06:00.833" v="5539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E58FA468-8508-4D9D-B61C-DD2554E44EF7}" dt="2024-03-06T20:06:00.833" v="5537"/>
          <ac:spMkLst>
            <pc:docMk/>
            <pc:sldMk cId="77660323" sldId="295"/>
            <ac:spMk id="485" creationId="{0E817BE1-E587-06E4-D9FC-07EC7C45C787}"/>
          </ac:spMkLst>
        </pc:spChg>
        <pc:spChg chg="mod ord">
          <ac:chgData name="Joelle Brehm" userId="a518f54c-6985-42c0-8041-2bb16a414839" providerId="ADAL" clId="{E58FA468-8508-4D9D-B61C-DD2554E44EF7}" dt="2024-03-06T20:06:00.835" v="5541"/>
          <ac:spMkLst>
            <pc:docMk/>
            <pc:sldMk cId="77660323" sldId="295"/>
            <ac:spMk id="490" creationId="{9C81118A-E471-58E2-D54E-14C43A3A7D15}"/>
          </ac:spMkLst>
        </pc:spChg>
        <pc:spChg chg="mod">
          <ac:chgData name="Joelle Brehm" userId="a518f54c-6985-42c0-8041-2bb16a414839" providerId="ADAL" clId="{E58FA468-8508-4D9D-B61C-DD2554E44EF7}" dt="2024-03-06T20:06:00.836" v="5547"/>
          <ac:spMkLst>
            <pc:docMk/>
            <pc:sldMk cId="77660323" sldId="295"/>
            <ac:spMk id="496" creationId="{FB24F7D5-26C6-DCA1-D822-BCC9573069E9}"/>
          </ac:spMkLst>
        </pc:spChg>
        <pc:spChg chg="del mod">
          <ac:chgData name="Joelle Brehm" userId="a518f54c-6985-42c0-8041-2bb16a414839" providerId="ADAL" clId="{E58FA468-8508-4D9D-B61C-DD2554E44EF7}" dt="2024-03-06T19:58:34.202" v="2914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6T20:06:00.838" v="5554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6T20:06:00.835" v="5543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E58FA468-8508-4D9D-B61C-DD2554E44EF7}" dt="2024-03-06T20:06:00.845" v="5571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E58FA468-8508-4D9D-B61C-DD2554E44EF7}" dt="2024-03-06T20:06:00.852" v="5599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E58FA468-8508-4D9D-B61C-DD2554E44EF7}" dt="2024-03-06T20:06:00.876" v="5605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04.578" v="1603"/>
          <ac:graphicFrameMkLst>
            <pc:docMk/>
            <pc:sldMk cId="77660323" sldId="295"/>
            <ac:graphicFrameMk id="21" creationId="{E0E475A1-DCAC-F839-4059-1E8974C9D2EB}"/>
          </ac:graphicFrameMkLst>
        </pc:graphicFrameChg>
        <pc:graphicFrameChg chg="del">
          <ac:chgData name="Joelle Brehm" userId="a518f54c-6985-42c0-8041-2bb16a414839" providerId="ADAL" clId="{E58FA468-8508-4D9D-B61C-DD2554E44EF7}" dt="2024-03-06T19:58:01.178" v="1337"/>
          <ac:graphicFrameMkLst>
            <pc:docMk/>
            <pc:sldMk cId="77660323" sldId="295"/>
            <ac:graphicFrameMk id="23" creationId="{B92ABE06-322B-C0E1-D263-01CDEFEF650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13.316" v="1842"/>
          <ac:graphicFrameMkLst>
            <pc:docMk/>
            <pc:sldMk cId="77660323" sldId="295"/>
            <ac:graphicFrameMk id="36" creationId="{1EF30742-6E09-4A14-A0D3-B2509986861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06:00.824" v="5508"/>
          <ac:graphicFrameMkLst>
            <pc:docMk/>
            <pc:sldMk cId="77660323" sldId="295"/>
            <ac:graphicFrameMk id="40" creationId="{C7D2808F-AD71-C2D2-369D-2D1E5590F158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29.171" v="2525"/>
          <ac:graphicFrameMkLst>
            <pc:docMk/>
            <pc:sldMk cId="77660323" sldId="295"/>
            <ac:graphicFrameMk id="51" creationId="{3BAFDFB9-F3F9-0C25-C383-AF1DBA18E80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31.695" v="2751"/>
          <ac:graphicFrameMkLst>
            <pc:docMk/>
            <pc:sldMk cId="77660323" sldId="295"/>
            <ac:graphicFrameMk id="54" creationId="{D8BBA533-3AC6-6817-E0ED-3960F7C98AC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34.286" v="2998"/>
          <ac:graphicFrameMkLst>
            <pc:docMk/>
            <pc:sldMk cId="77660323" sldId="295"/>
            <ac:graphicFrameMk id="56" creationId="{FF3A9936-EBE2-70AB-BD79-B671C293414C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38.587" v="3208"/>
          <ac:graphicFrameMkLst>
            <pc:docMk/>
            <pc:sldMk cId="77660323" sldId="295"/>
            <ac:graphicFrameMk id="59" creationId="{7D881943-C528-8393-54DF-03F017D11B45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6T19:58:28.579" v="2311"/>
          <ac:graphicFrameMkLst>
            <pc:docMk/>
            <pc:sldMk cId="77660323" sldId="295"/>
            <ac:graphicFrameMk id="60" creationId="{B1A493EE-11C0-4AA6-0F79-1DD670F7EC0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42.231" v="3390"/>
          <ac:graphicFrameMkLst>
            <pc:docMk/>
            <pc:sldMk cId="77660323" sldId="295"/>
            <ac:graphicFrameMk id="63" creationId="{938ED5A4-B58F-1555-5498-64B216E35DE1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06:00.837" v="5551"/>
          <ac:graphicFrameMkLst>
            <pc:docMk/>
            <pc:sldMk cId="77660323" sldId="295"/>
            <ac:graphicFrameMk id="449" creationId="{90A0C085-3D35-2640-6EEE-BA955634202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53.352" v="4074"/>
          <ac:graphicFrameMkLst>
            <pc:docMk/>
            <pc:sldMk cId="77660323" sldId="295"/>
            <ac:graphicFrameMk id="455" creationId="{C0289FBE-C6D1-6DE9-04F5-8A860AD69109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6T19:58:50.805" v="3817"/>
          <ac:graphicFrameMkLst>
            <pc:docMk/>
            <pc:sldMk cId="77660323" sldId="295"/>
            <ac:graphicFrameMk id="457" creationId="{537CC445-C5C3-D2E6-8617-34B16900DB1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8:55.518" v="4282"/>
          <ac:graphicFrameMkLst>
            <pc:docMk/>
            <pc:sldMk cId="77660323" sldId="295"/>
            <ac:graphicFrameMk id="459" creationId="{A3016EBD-BD7B-381E-7995-4581CC47F79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9:00.452" v="4507"/>
          <ac:graphicFrameMkLst>
            <pc:docMk/>
            <pc:sldMk cId="77660323" sldId="295"/>
            <ac:graphicFrameMk id="462" creationId="{96B0ADFF-686F-FB76-D416-7A3C59ECADEC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9:02.140" v="4778"/>
          <ac:graphicFrameMkLst>
            <pc:docMk/>
            <pc:sldMk cId="77660323" sldId="295"/>
            <ac:graphicFrameMk id="465" creationId="{CF031FAC-602B-44D5-B9D9-2CC850008BEA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9:04.881" v="4977"/>
          <ac:graphicFrameMkLst>
            <pc:docMk/>
            <pc:sldMk cId="77660323" sldId="295"/>
            <ac:graphicFrameMk id="468" creationId="{584FBCDF-8DB6-8B27-C1EE-2928CE69694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9:05.056" v="5165"/>
          <ac:graphicFrameMkLst>
            <pc:docMk/>
            <pc:sldMk cId="77660323" sldId="295"/>
            <ac:graphicFrameMk id="470" creationId="{848D90A3-C30F-D416-515B-F1467EDADA01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6T19:59:10.055" v="5355"/>
          <ac:graphicFrameMkLst>
            <pc:docMk/>
            <pc:sldMk cId="77660323" sldId="295"/>
            <ac:graphicFrameMk id="472" creationId="{ECD2C5CF-078E-8179-CA37-D832536E2D20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6T20:06:00.846" v="5575"/>
          <ac:graphicFrameMkLst>
            <pc:docMk/>
            <pc:sldMk cId="77660323" sldId="295"/>
            <ac:graphicFrameMk id="474" creationId="{8B8FBF89-E105-A6F8-2F6E-4F2E41FA478D}"/>
          </ac:graphicFrameMkLst>
        </pc:graphicFrameChg>
        <pc:picChg chg="mod ord">
          <ac:chgData name="Joelle Brehm" userId="a518f54c-6985-42c0-8041-2bb16a414839" providerId="ADAL" clId="{E58FA468-8508-4D9D-B61C-DD2554E44EF7}" dt="2024-03-06T20:06:00.822" v="5500"/>
          <ac:picMkLst>
            <pc:docMk/>
            <pc:sldMk cId="77660323" sldId="295"/>
            <ac:picMk id="3" creationId="{2D4B0DAF-6DD7-4B10-8D9C-0B8AAD6563B0}"/>
          </ac:picMkLst>
        </pc:picChg>
        <pc:picChg chg="add del">
          <ac:chgData name="Joelle Brehm" userId="a518f54c-6985-42c0-8041-2bb16a414839" providerId="ADAL" clId="{E58FA468-8508-4D9D-B61C-DD2554E44EF7}" dt="2024-03-06T19:56:59.276" v="1134" actId="478"/>
          <ac:picMkLst>
            <pc:docMk/>
            <pc:sldMk cId="77660323" sldId="295"/>
            <ac:picMk id="18" creationId="{F129EE44-85A3-40FF-737A-02D15C3D24EA}"/>
          </ac:picMkLst>
        </pc:picChg>
        <pc:picChg chg="del mod ord">
          <ac:chgData name="Joelle Brehm" userId="a518f54c-6985-42c0-8041-2bb16a414839" providerId="ADAL" clId="{E58FA468-8508-4D9D-B61C-DD2554E44EF7}" dt="2024-03-06T20:06:02.497" v="5606" actId="478"/>
          <ac:picMkLst>
            <pc:docMk/>
            <pc:sldMk cId="77660323" sldId="295"/>
            <ac:picMk id="34" creationId="{2290F422-1C4B-11A8-26B3-DA22379B70A2}"/>
          </ac:picMkLst>
        </pc:picChg>
        <pc:picChg chg="add mod ord">
          <ac:chgData name="Joelle Brehm" userId="a518f54c-6985-42c0-8041-2bb16a414839" providerId="ADAL" clId="{E58FA468-8508-4D9D-B61C-DD2554E44EF7}" dt="2024-03-06T20:06:00.818" v="5492"/>
          <ac:picMkLst>
            <pc:docMk/>
            <pc:sldMk cId="77660323" sldId="295"/>
            <ac:picMk id="475" creationId="{63FA607F-A015-CF50-B6B5-914E7843B127}"/>
          </ac:picMkLst>
        </pc:picChg>
        <pc:cxnChg chg="mod ord">
          <ac:chgData name="Joelle Brehm" userId="a518f54c-6985-42c0-8041-2bb16a414839" providerId="ADAL" clId="{E58FA468-8508-4D9D-B61C-DD2554E44EF7}" dt="2024-03-06T20:06:00.838" v="5553"/>
          <ac:cxnSpMkLst>
            <pc:docMk/>
            <pc:sldMk cId="77660323" sldId="295"/>
            <ac:cxnSpMk id="49" creationId="{A1B8BCA2-A4F6-C735-D36D-75C40207794D}"/>
          </ac:cxnSpMkLst>
        </pc:cxnChg>
        <pc:cxnChg chg="mod ord">
          <ac:chgData name="Joelle Brehm" userId="a518f54c-6985-42c0-8041-2bb16a414839" providerId="ADAL" clId="{E58FA468-8508-4D9D-B61C-DD2554E44EF7}" dt="2024-03-06T20:06:00.830" v="5529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E58FA468-8508-4D9D-B61C-DD2554E44EF7}" dt="2024-03-06T20:06:00.831" v="5531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E58FA468-8508-4D9D-B61C-DD2554E44EF7}" dt="2024-03-06T20:06:00.831" v="5533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E58FA468-8508-4D9D-B61C-DD2554E44EF7}" dt="2024-03-06T20:06:00.842" v="5567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E58FA468-8508-4D9D-B61C-DD2554E44EF7}" dt="2024-03-06T20:06:00.844" v="5569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E58FA468-8508-4D9D-B61C-DD2554E44EF7}" dt="2024-03-06T20:06:00.852" v="5595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E58FA468-8508-4D9D-B61C-DD2554E44EF7}" dt="2024-03-06T20:06:00.852" v="5597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E58FA468-8508-4D9D-B61C-DD2554E44EF7}" dt="2024-03-06T20:06:00.847" v="5579"/>
          <ac:cxnSpMkLst>
            <pc:docMk/>
            <pc:sldMk cId="77660323" sldId="295"/>
            <ac:cxnSpMk id="451" creationId="{7A172D71-A9C3-9431-7EB5-BE9F63E67BCD}"/>
          </ac:cxnSpMkLst>
        </pc:cxnChg>
        <pc:cxnChg chg="del mod ord">
          <ac:chgData name="Joelle Brehm" userId="a518f54c-6985-42c0-8041-2bb16a414839" providerId="ADAL" clId="{E58FA468-8508-4D9D-B61C-DD2554E44EF7}" dt="2024-03-06T19:58:53.240" v="3979"/>
          <ac:cxnSpMkLst>
            <pc:docMk/>
            <pc:sldMk cId="77660323" sldId="295"/>
            <ac:cxnSpMk id="454" creationId="{43CAA34A-D62C-EDD3-8AC4-2799C476E1BB}"/>
          </ac:cxnSpMkLst>
        </pc:cxnChg>
        <pc:cxnChg chg="mod ord">
          <ac:chgData name="Joelle Brehm" userId="a518f54c-6985-42c0-8041-2bb16a414839" providerId="ADAL" clId="{E58FA468-8508-4D9D-B61C-DD2554E44EF7}" dt="2024-03-06T20:06:00.847" v="5577"/>
          <ac:cxnSpMkLst>
            <pc:docMk/>
            <pc:sldMk cId="77660323" sldId="295"/>
            <ac:cxnSpMk id="461" creationId="{A9880E77-89B4-FAF6-9F4F-4692C63B345B}"/>
          </ac:cxnSpMkLst>
        </pc:cxnChg>
        <pc:cxnChg chg="add mod ord replST">
          <ac:chgData name="Joelle Brehm" userId="a518f54c-6985-42c0-8041-2bb16a414839" providerId="ADAL" clId="{E58FA468-8508-4D9D-B61C-DD2554E44EF7}" dt="2024-03-06T20:06:00.847" v="5581"/>
          <ac:cxnSpMkLst>
            <pc:docMk/>
            <pc:sldMk cId="77660323" sldId="295"/>
            <ac:cxnSpMk id="464" creationId="{8B0C8772-9A41-2CE0-E710-52E090E563DE}"/>
          </ac:cxnSpMkLst>
        </pc:cxnChg>
        <pc:cxnChg chg="mod ord">
          <ac:chgData name="Joelle Brehm" userId="a518f54c-6985-42c0-8041-2bb16a414839" providerId="ADAL" clId="{E58FA468-8508-4D9D-B61C-DD2554E44EF7}" dt="2024-03-06T20:06:00.832" v="5535"/>
          <ac:cxnSpMkLst>
            <pc:docMk/>
            <pc:sldMk cId="77660323" sldId="295"/>
            <ac:cxnSpMk id="499" creationId="{03F78B4F-B1A0-4DEB-C1BE-2365D8B94D05}"/>
          </ac:cxnSpMkLst>
        </pc:cxnChg>
      </pc:sldChg>
      <pc:sldChg chg="addSp delSp modSp mod">
        <pc:chgData name="Joelle Brehm" userId="a518f54c-6985-42c0-8041-2bb16a414839" providerId="ADAL" clId="{E58FA468-8508-4D9D-B61C-DD2554E44EF7}" dt="2024-03-07T18:00:54.667" v="64140" actId="313"/>
        <pc:sldMkLst>
          <pc:docMk/>
          <pc:sldMk cId="3184321266" sldId="296"/>
        </pc:sldMkLst>
        <pc:spChg chg="add del mod">
          <ac:chgData name="Joelle Brehm" userId="a518f54c-6985-42c0-8041-2bb16a414839" providerId="ADAL" clId="{E58FA468-8508-4D9D-B61C-DD2554E44EF7}" dt="2024-03-07T17:54:02.406" v="63925" actId="478"/>
          <ac:spMkLst>
            <pc:docMk/>
            <pc:sldMk cId="3184321266" sldId="296"/>
            <ac:spMk id="2" creationId="{4B33D2C5-C107-57D8-45ED-6C717FCE5CD3}"/>
          </ac:spMkLst>
        </pc:spChg>
        <pc:spChg chg="mod ord">
          <ac:chgData name="Joelle Brehm" userId="a518f54c-6985-42c0-8041-2bb16a414839" providerId="ADAL" clId="{E58FA468-8508-4D9D-B61C-DD2554E44EF7}" dt="2024-03-07T17:56:13.007" v="64086"/>
          <ac:spMkLst>
            <pc:docMk/>
            <pc:sldMk cId="3184321266" sldId="296"/>
            <ac:spMk id="3" creationId="{86D6AA5F-2727-5417-09CB-42026894EFF8}"/>
          </ac:spMkLst>
        </pc:spChg>
        <pc:spChg chg="mod ord">
          <ac:chgData name="Joelle Brehm" userId="a518f54c-6985-42c0-8041-2bb16a414839" providerId="ADAL" clId="{E58FA468-8508-4D9D-B61C-DD2554E44EF7}" dt="2024-03-07T17:56:13.007" v="64079"/>
          <ac:spMkLst>
            <pc:docMk/>
            <pc:sldMk cId="3184321266" sldId="296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E58FA468-8508-4D9D-B61C-DD2554E44EF7}" dt="2024-03-07T17:55:46.295" v="63983"/>
          <ac:spMkLst>
            <pc:docMk/>
            <pc:sldMk cId="3184321266" sldId="296"/>
            <ac:spMk id="6" creationId="{38261060-4F33-5F60-C13B-A086E56D0CB6}"/>
          </ac:spMkLst>
        </pc:spChg>
        <pc:spChg chg="mod ord">
          <ac:chgData name="Joelle Brehm" userId="a518f54c-6985-42c0-8041-2bb16a414839" providerId="ADAL" clId="{E58FA468-8508-4D9D-B61C-DD2554E44EF7}" dt="2024-03-07T17:56:13.007" v="64088"/>
          <ac:spMkLst>
            <pc:docMk/>
            <pc:sldMk cId="3184321266" sldId="296"/>
            <ac:spMk id="8" creationId="{C75CB710-EFB8-7D57-0F83-AB63CD63F5E0}"/>
          </ac:spMkLst>
        </pc:spChg>
        <pc:spChg chg="add del mod modVis">
          <ac:chgData name="Joelle Brehm" userId="a518f54c-6985-42c0-8041-2bb16a414839" providerId="ADAL" clId="{E58FA468-8508-4D9D-B61C-DD2554E44EF7}" dt="2024-03-07T17:56:04.627" v="64058"/>
          <ac:spMkLst>
            <pc:docMk/>
            <pc:sldMk cId="3184321266" sldId="296"/>
            <ac:spMk id="9" creationId="{96781CF1-EA8A-0EE3-1D05-798A0B8C6CFC}"/>
          </ac:spMkLst>
        </pc:spChg>
        <pc:spChg chg="mod">
          <ac:chgData name="Joelle Brehm" userId="a518f54c-6985-42c0-8041-2bb16a414839" providerId="ADAL" clId="{E58FA468-8508-4D9D-B61C-DD2554E44EF7}" dt="2024-03-07T17:56:13.007" v="64092"/>
          <ac:spMkLst>
            <pc:docMk/>
            <pc:sldMk cId="3184321266" sldId="296"/>
            <ac:spMk id="10" creationId="{ACBE2952-1408-2663-AB1D-8F843E822072}"/>
          </ac:spMkLst>
        </pc:spChg>
        <pc:spChg chg="mod">
          <ac:chgData name="Joelle Brehm" userId="a518f54c-6985-42c0-8041-2bb16a414839" providerId="ADAL" clId="{E58FA468-8508-4D9D-B61C-DD2554E44EF7}" dt="2024-03-07T17:56:13.007" v="64091"/>
          <ac:spMkLst>
            <pc:docMk/>
            <pc:sldMk cId="3184321266" sldId="296"/>
            <ac:spMk id="14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56:13.007" v="64081"/>
          <ac:spMkLst>
            <pc:docMk/>
            <pc:sldMk cId="3184321266" sldId="296"/>
            <ac:spMk id="96" creationId="{13AC7CFA-23AF-445A-96F6-EA0D2FF657A3}"/>
          </ac:spMkLst>
        </pc:spChg>
        <pc:spChg chg="mod">
          <ac:chgData name="Joelle Brehm" userId="a518f54c-6985-42c0-8041-2bb16a414839" providerId="ADAL" clId="{E58FA468-8508-4D9D-B61C-DD2554E44EF7}" dt="2024-03-07T17:56:13.007" v="64096"/>
          <ac:spMkLst>
            <pc:docMk/>
            <pc:sldMk cId="3184321266" sldId="296"/>
            <ac:spMk id="190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56:13.007" v="64083"/>
          <ac:spMkLst>
            <pc:docMk/>
            <pc:sldMk cId="3184321266" sldId="296"/>
            <ac:spMk id="210" creationId="{2DBE4665-8B4A-4508-AC03-BDBC6AA30475}"/>
          </ac:spMkLst>
        </pc:spChg>
        <pc:spChg chg="mod">
          <ac:chgData name="Joelle Brehm" userId="a518f54c-6985-42c0-8041-2bb16a414839" providerId="ADAL" clId="{E58FA468-8508-4D9D-B61C-DD2554E44EF7}" dt="2024-03-07T17:56:13.007" v="64095"/>
          <ac:spMkLst>
            <pc:docMk/>
            <pc:sldMk cId="3184321266" sldId="296"/>
            <ac:spMk id="1062" creationId="{AAB4FE2D-13B1-774A-33CC-02765FFAA2DA}"/>
          </ac:spMkLst>
        </pc:spChg>
        <pc:spChg chg="mod ord">
          <ac:chgData name="Joelle Brehm" userId="a518f54c-6985-42c0-8041-2bb16a414839" providerId="ADAL" clId="{E58FA468-8508-4D9D-B61C-DD2554E44EF7}" dt="2024-03-07T18:00:54.667" v="64140" actId="313"/>
          <ac:spMkLst>
            <pc:docMk/>
            <pc:sldMk cId="3184321266" sldId="296"/>
            <ac:spMk id="1065" creationId="{D8CB5779-D0CF-D5F7-B11D-0A8746941D75}"/>
          </ac:spMkLst>
        </pc:spChg>
        <pc:graphicFrameChg chg="mod">
          <ac:chgData name="Joelle Brehm" userId="a518f54c-6985-42c0-8041-2bb16a414839" providerId="ADAL" clId="{E58FA468-8508-4D9D-B61C-DD2554E44EF7}" dt="2024-03-07T17:56:13.007" v="64102"/>
          <ac:graphicFrameMkLst>
            <pc:docMk/>
            <pc:sldMk cId="3184321266" sldId="296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56:13.007" v="64094"/>
          <ac:graphicFrameMkLst>
            <pc:docMk/>
            <pc:sldMk cId="3184321266" sldId="296"/>
            <ac:graphicFrameMk id="7" creationId="{5064592B-37DF-2705-7678-7FF94A586971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56:04.609" v="64027"/>
          <ac:graphicFrameMkLst>
            <pc:docMk/>
            <pc:sldMk cId="3184321266" sldId="296"/>
            <ac:graphicFrameMk id="11" creationId="{73A2D68C-1313-E594-1C17-522E6286420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56:12.981" v="64071"/>
          <ac:graphicFrameMkLst>
            <pc:docMk/>
            <pc:sldMk cId="3184321266" sldId="296"/>
            <ac:graphicFrameMk id="12" creationId="{EE98C75A-72DC-9315-6078-6B4D1F996F8C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56:13.007" v="64090"/>
          <ac:graphicFrameMkLst>
            <pc:docMk/>
            <pc:sldMk cId="3184321266" sldId="296"/>
            <ac:graphicFrameMk id="13" creationId="{0DCE691D-F1D3-A59D-26AD-2DFC9A93945B}"/>
          </ac:graphicFrameMkLst>
        </pc:graphicFrameChg>
        <pc:graphicFrameChg chg="del">
          <ac:chgData name="Joelle Brehm" userId="a518f54c-6985-42c0-8041-2bb16a414839" providerId="ADAL" clId="{E58FA468-8508-4D9D-B61C-DD2554E44EF7}" dt="2024-03-07T17:55:46.262" v="63952"/>
          <ac:graphicFrameMkLst>
            <pc:docMk/>
            <pc:sldMk cId="3184321266" sldId="296"/>
            <ac:graphicFrameMk id="16" creationId="{C06FA5D6-CFD3-0C5C-0289-D9DA8F135F85}"/>
          </ac:graphicFrameMkLst>
        </pc:graphicFrameChg>
        <pc:picChg chg="mod">
          <ac:chgData name="Joelle Brehm" userId="a518f54c-6985-42c0-8041-2bb16a414839" providerId="ADAL" clId="{E58FA468-8508-4D9D-B61C-DD2554E44EF7}" dt="2024-03-07T17:56:13.007" v="64084"/>
          <ac:picMkLst>
            <pc:docMk/>
            <pc:sldMk cId="3184321266" sldId="296"/>
            <ac:picMk id="1026" creationId="{A81E4029-9E9C-E6AC-16A9-5E0666C1EEB4}"/>
          </ac:picMkLst>
        </pc:picChg>
      </pc:sldChg>
      <pc:sldChg chg="addSp delSp modSp add mod">
        <pc:chgData name="Joelle Brehm" userId="a518f54c-6985-42c0-8041-2bb16a414839" providerId="ADAL" clId="{E58FA468-8508-4D9D-B61C-DD2554E44EF7}" dt="2024-03-07T16:57:16.681" v="42866" actId="12789"/>
        <pc:sldMkLst>
          <pc:docMk/>
          <pc:sldMk cId="691181643" sldId="297"/>
        </pc:sldMkLst>
        <pc:spChg chg="add del mod replST">
          <ac:chgData name="Joelle Brehm" userId="a518f54c-6985-42c0-8041-2bb16a414839" providerId="ADAL" clId="{E58FA468-8508-4D9D-B61C-DD2554E44EF7}" dt="2024-03-07T16:53:58.285" v="40361"/>
          <ac:spMkLst>
            <pc:docMk/>
            <pc:sldMk cId="691181643" sldId="297"/>
            <ac:spMk id="2" creationId="{0B632E74-50AE-E9A4-13FD-0174560AD621}"/>
          </ac:spMkLst>
        </pc:spChg>
        <pc:spChg chg="mod ord">
          <ac:chgData name="Joelle Brehm" userId="a518f54c-6985-42c0-8041-2bb16a414839" providerId="ADAL" clId="{E58FA468-8508-4D9D-B61C-DD2554E44EF7}" dt="2024-03-07T16:56:03.355" v="42850"/>
          <ac:spMkLst>
            <pc:docMk/>
            <pc:sldMk cId="691181643" sldId="297"/>
            <ac:spMk id="3" creationId="{E352B70C-7A9D-8F6C-4CE6-D440060FF1E2}"/>
          </ac:spMkLst>
        </pc:spChg>
        <pc:spChg chg="add del mod replST">
          <ac:chgData name="Joelle Brehm" userId="a518f54c-6985-42c0-8041-2bb16a414839" providerId="ADAL" clId="{E58FA468-8508-4D9D-B61C-DD2554E44EF7}" dt="2024-03-07T16:53:58.285" v="40362"/>
          <ac:spMkLst>
            <pc:docMk/>
            <pc:sldMk cId="691181643" sldId="297"/>
            <ac:spMk id="5" creationId="{6E9CC26E-CA0B-648A-972E-6285E0974FCE}"/>
          </ac:spMkLst>
        </pc:spChg>
        <pc:spChg chg="mod ord">
          <ac:chgData name="Joelle Brehm" userId="a518f54c-6985-42c0-8041-2bb16a414839" providerId="ADAL" clId="{E58FA468-8508-4D9D-B61C-DD2554E44EF7}" dt="2024-03-07T16:57:16.681" v="42866" actId="12789"/>
          <ac:spMkLst>
            <pc:docMk/>
            <pc:sldMk cId="691181643" sldId="297"/>
            <ac:spMk id="6" creationId="{37144386-4260-17AD-D649-2A9FECFC8E69}"/>
          </ac:spMkLst>
        </pc:spChg>
        <pc:spChg chg="add del mod replST">
          <ac:chgData name="Joelle Brehm" userId="a518f54c-6985-42c0-8041-2bb16a414839" providerId="ADAL" clId="{E58FA468-8508-4D9D-B61C-DD2554E44EF7}" dt="2024-03-07T16:53:58.285" v="40363"/>
          <ac:spMkLst>
            <pc:docMk/>
            <pc:sldMk cId="691181643" sldId="297"/>
            <ac:spMk id="8" creationId="{40A2FF85-303B-AC6E-24AC-C8AAF3C60F3A}"/>
          </ac:spMkLst>
        </pc:spChg>
        <pc:spChg chg="add del mod replST">
          <ac:chgData name="Joelle Brehm" userId="a518f54c-6985-42c0-8041-2bb16a414839" providerId="ADAL" clId="{E58FA468-8508-4D9D-B61C-DD2554E44EF7}" dt="2024-03-07T16:53:58.285" v="40364"/>
          <ac:spMkLst>
            <pc:docMk/>
            <pc:sldMk cId="691181643" sldId="297"/>
            <ac:spMk id="9" creationId="{EA144765-6D42-AC3D-2287-F8E872B47576}"/>
          </ac:spMkLst>
        </pc:spChg>
        <pc:spChg chg="add del mod replST">
          <ac:chgData name="Joelle Brehm" userId="a518f54c-6985-42c0-8041-2bb16a414839" providerId="ADAL" clId="{E58FA468-8508-4D9D-B61C-DD2554E44EF7}" dt="2024-03-07T16:53:58.285" v="40365"/>
          <ac:spMkLst>
            <pc:docMk/>
            <pc:sldMk cId="691181643" sldId="297"/>
            <ac:spMk id="10" creationId="{D06A6655-1FEF-AF90-5E39-C0F5199DBEB6}"/>
          </ac:spMkLst>
        </pc:spChg>
        <pc:spChg chg="mod">
          <ac:chgData name="Joelle Brehm" userId="a518f54c-6985-42c0-8041-2bb16a414839" providerId="ADAL" clId="{E58FA468-8508-4D9D-B61C-DD2554E44EF7}" dt="2024-03-07T16:56:03.355" v="42807"/>
          <ac:spMkLst>
            <pc:docMk/>
            <pc:sldMk cId="691181643" sldId="297"/>
            <ac:spMk id="11" creationId="{02BF5DC4-7E6B-48A3-B7C3-E226B893962E}"/>
          </ac:spMkLst>
        </pc:spChg>
        <pc:spChg chg="mod">
          <ac:chgData name="Joelle Brehm" userId="a518f54c-6985-42c0-8041-2bb16a414839" providerId="ADAL" clId="{E58FA468-8508-4D9D-B61C-DD2554E44EF7}" dt="2024-03-07T16:56:03.355" v="42803"/>
          <ac:spMkLst>
            <pc:docMk/>
            <pc:sldMk cId="691181643" sldId="297"/>
            <ac:spMk id="12" creationId="{716ACC36-D399-95B2-BCEC-AE9CB99DD50A}"/>
          </ac:spMkLst>
        </pc:spChg>
        <pc:spChg chg="mod">
          <ac:chgData name="Joelle Brehm" userId="a518f54c-6985-42c0-8041-2bb16a414839" providerId="ADAL" clId="{E58FA468-8508-4D9D-B61C-DD2554E44EF7}" dt="2024-03-07T16:56:03.355" v="42804"/>
          <ac:spMkLst>
            <pc:docMk/>
            <pc:sldMk cId="691181643" sldId="297"/>
            <ac:spMk id="13" creationId="{AD140D78-FDD5-695F-4A88-47F0D26CD5E1}"/>
          </ac:spMkLst>
        </pc:spChg>
        <pc:spChg chg="mod">
          <ac:chgData name="Joelle Brehm" userId="a518f54c-6985-42c0-8041-2bb16a414839" providerId="ADAL" clId="{E58FA468-8508-4D9D-B61C-DD2554E44EF7}" dt="2024-03-07T16:56:03.355" v="42801"/>
          <ac:spMkLst>
            <pc:docMk/>
            <pc:sldMk cId="691181643" sldId="297"/>
            <ac:spMk id="14" creationId="{CB87F016-E61D-A5A6-BCE4-6CD0F8DE5D43}"/>
          </ac:spMkLst>
        </pc:spChg>
        <pc:spChg chg="mod">
          <ac:chgData name="Joelle Brehm" userId="a518f54c-6985-42c0-8041-2bb16a414839" providerId="ADAL" clId="{E58FA468-8508-4D9D-B61C-DD2554E44EF7}" dt="2024-03-07T16:56:03.355" v="42802"/>
          <ac:spMkLst>
            <pc:docMk/>
            <pc:sldMk cId="691181643" sldId="297"/>
            <ac:spMk id="15" creationId="{50B6EFF4-ECF2-D261-34EF-07D689FDB03A}"/>
          </ac:spMkLst>
        </pc:spChg>
        <pc:spChg chg="mod">
          <ac:chgData name="Joelle Brehm" userId="a518f54c-6985-42c0-8041-2bb16a414839" providerId="ADAL" clId="{E58FA468-8508-4D9D-B61C-DD2554E44EF7}" dt="2024-03-07T16:56:03.355" v="42805"/>
          <ac:spMkLst>
            <pc:docMk/>
            <pc:sldMk cId="691181643" sldId="297"/>
            <ac:spMk id="16" creationId="{D980E975-E330-68EC-477F-60F48A87FAD8}"/>
          </ac:spMkLst>
        </pc:spChg>
        <pc:spChg chg="mod">
          <ac:chgData name="Joelle Brehm" userId="a518f54c-6985-42c0-8041-2bb16a414839" providerId="ADAL" clId="{E58FA468-8508-4D9D-B61C-DD2554E44EF7}" dt="2024-03-07T16:56:03.355" v="42806"/>
          <ac:spMkLst>
            <pc:docMk/>
            <pc:sldMk cId="691181643" sldId="297"/>
            <ac:spMk id="17" creationId="{D2BBB23C-0446-3CC4-77FA-286CB0F573C2}"/>
          </ac:spMkLst>
        </pc:spChg>
        <pc:spChg chg="mod">
          <ac:chgData name="Joelle Brehm" userId="a518f54c-6985-42c0-8041-2bb16a414839" providerId="ADAL" clId="{E58FA468-8508-4D9D-B61C-DD2554E44EF7}" dt="2024-03-07T16:56:03.355" v="42808"/>
          <ac:spMkLst>
            <pc:docMk/>
            <pc:sldMk cId="691181643" sldId="297"/>
            <ac:spMk id="18" creationId="{65495921-8928-9A1E-927A-65A293D208C7}"/>
          </ac:spMkLst>
        </pc:spChg>
        <pc:spChg chg="mod">
          <ac:chgData name="Joelle Brehm" userId="a518f54c-6985-42c0-8041-2bb16a414839" providerId="ADAL" clId="{E58FA468-8508-4D9D-B61C-DD2554E44EF7}" dt="2024-03-07T16:56:03.355" v="42809"/>
          <ac:spMkLst>
            <pc:docMk/>
            <pc:sldMk cId="691181643" sldId="297"/>
            <ac:spMk id="19" creationId="{CF683958-5957-5AC8-1047-E26BACAC97AD}"/>
          </ac:spMkLst>
        </pc:spChg>
        <pc:spChg chg="mod">
          <ac:chgData name="Joelle Brehm" userId="a518f54c-6985-42c0-8041-2bb16a414839" providerId="ADAL" clId="{E58FA468-8508-4D9D-B61C-DD2554E44EF7}" dt="2024-03-07T16:56:03.355" v="42810"/>
          <ac:spMkLst>
            <pc:docMk/>
            <pc:sldMk cId="691181643" sldId="297"/>
            <ac:spMk id="20" creationId="{99757F7C-687C-6778-5B80-6F5459DC2377}"/>
          </ac:spMkLst>
        </pc:spChg>
        <pc:spChg chg="mod">
          <ac:chgData name="Joelle Brehm" userId="a518f54c-6985-42c0-8041-2bb16a414839" providerId="ADAL" clId="{E58FA468-8508-4D9D-B61C-DD2554E44EF7}" dt="2024-03-07T16:56:03.355" v="42811"/>
          <ac:spMkLst>
            <pc:docMk/>
            <pc:sldMk cId="691181643" sldId="297"/>
            <ac:spMk id="21" creationId="{88662C75-372E-3172-0F30-2440B86A6E07}"/>
          </ac:spMkLst>
        </pc:spChg>
        <pc:spChg chg="mod">
          <ac:chgData name="Joelle Brehm" userId="a518f54c-6985-42c0-8041-2bb16a414839" providerId="ADAL" clId="{E58FA468-8508-4D9D-B61C-DD2554E44EF7}" dt="2024-03-07T16:56:03.355" v="42812"/>
          <ac:spMkLst>
            <pc:docMk/>
            <pc:sldMk cId="691181643" sldId="297"/>
            <ac:spMk id="22" creationId="{2D9142C4-67A0-25E1-D2CF-B2635DF32607}"/>
          </ac:spMkLst>
        </pc:spChg>
        <pc:spChg chg="mod ord">
          <ac:chgData name="Joelle Brehm" userId="a518f54c-6985-42c0-8041-2bb16a414839" providerId="ADAL" clId="{E58FA468-8508-4D9D-B61C-DD2554E44EF7}" dt="2024-03-07T16:56:03.355" v="42814"/>
          <ac:spMkLst>
            <pc:docMk/>
            <pc:sldMk cId="691181643" sldId="297"/>
            <ac:spMk id="23" creationId="{E55438EE-F637-2FA3-2C0E-B05EA6D8C1E8}"/>
          </ac:spMkLst>
        </pc:spChg>
        <pc:spChg chg="mod">
          <ac:chgData name="Joelle Brehm" userId="a518f54c-6985-42c0-8041-2bb16a414839" providerId="ADAL" clId="{E58FA468-8508-4D9D-B61C-DD2554E44EF7}" dt="2024-03-07T16:56:03.355" v="42815"/>
          <ac:spMkLst>
            <pc:docMk/>
            <pc:sldMk cId="691181643" sldId="297"/>
            <ac:spMk id="24" creationId="{F4D0BFA4-5AB2-BBC0-BC0F-1E4C03E222AF}"/>
          </ac:spMkLst>
        </pc:spChg>
        <pc:spChg chg="mod">
          <ac:chgData name="Joelle Brehm" userId="a518f54c-6985-42c0-8041-2bb16a414839" providerId="ADAL" clId="{E58FA468-8508-4D9D-B61C-DD2554E44EF7}" dt="2024-03-07T16:56:03.355" v="42817"/>
          <ac:spMkLst>
            <pc:docMk/>
            <pc:sldMk cId="691181643" sldId="297"/>
            <ac:spMk id="25" creationId="{5FD262B9-E4EE-5C5B-CBBE-842B5C267DD1}"/>
          </ac:spMkLst>
        </pc:spChg>
        <pc:spChg chg="mod">
          <ac:chgData name="Joelle Brehm" userId="a518f54c-6985-42c0-8041-2bb16a414839" providerId="ADAL" clId="{E58FA468-8508-4D9D-B61C-DD2554E44EF7}" dt="2024-03-07T16:56:03.355" v="42816"/>
          <ac:spMkLst>
            <pc:docMk/>
            <pc:sldMk cId="691181643" sldId="297"/>
            <ac:spMk id="26" creationId="{790670ED-11A2-E0D0-D7A5-53436D971104}"/>
          </ac:spMkLst>
        </pc:spChg>
        <pc:spChg chg="mod">
          <ac:chgData name="Joelle Brehm" userId="a518f54c-6985-42c0-8041-2bb16a414839" providerId="ADAL" clId="{E58FA468-8508-4D9D-B61C-DD2554E44EF7}" dt="2024-03-07T16:56:03.355" v="42819"/>
          <ac:spMkLst>
            <pc:docMk/>
            <pc:sldMk cId="691181643" sldId="297"/>
            <ac:spMk id="27" creationId="{074A3588-4A02-E75B-E640-8244EDF702A1}"/>
          </ac:spMkLst>
        </pc:spChg>
        <pc:spChg chg="mod">
          <ac:chgData name="Joelle Brehm" userId="a518f54c-6985-42c0-8041-2bb16a414839" providerId="ADAL" clId="{E58FA468-8508-4D9D-B61C-DD2554E44EF7}" dt="2024-03-07T16:56:03.355" v="42820"/>
          <ac:spMkLst>
            <pc:docMk/>
            <pc:sldMk cId="691181643" sldId="297"/>
            <ac:spMk id="28" creationId="{326C9293-A5D0-4EDC-4211-AC7D030AF457}"/>
          </ac:spMkLst>
        </pc:spChg>
        <pc:spChg chg="mod">
          <ac:chgData name="Joelle Brehm" userId="a518f54c-6985-42c0-8041-2bb16a414839" providerId="ADAL" clId="{E58FA468-8508-4D9D-B61C-DD2554E44EF7}" dt="2024-03-07T16:56:03.355" v="42818"/>
          <ac:spMkLst>
            <pc:docMk/>
            <pc:sldMk cId="691181643" sldId="297"/>
            <ac:spMk id="29" creationId="{E329C5DC-1864-0128-B1E2-CE87D618F8DF}"/>
          </ac:spMkLst>
        </pc:spChg>
        <pc:spChg chg="mod ord">
          <ac:chgData name="Joelle Brehm" userId="a518f54c-6985-42c0-8041-2bb16a414839" providerId="ADAL" clId="{E58FA468-8508-4D9D-B61C-DD2554E44EF7}" dt="2024-03-07T16:56:03.355" v="42822"/>
          <ac:spMkLst>
            <pc:docMk/>
            <pc:sldMk cId="691181643" sldId="297"/>
            <ac:spMk id="30" creationId="{DD13A74B-6D89-8AED-C069-E05CCAE360C9}"/>
          </ac:spMkLst>
        </pc:spChg>
        <pc:spChg chg="add del mod">
          <ac:chgData name="Joelle Brehm" userId="a518f54c-6985-42c0-8041-2bb16a414839" providerId="ADAL" clId="{E58FA468-8508-4D9D-B61C-DD2554E44EF7}" dt="2024-03-07T16:55:54.540" v="42506"/>
          <ac:spMkLst>
            <pc:docMk/>
            <pc:sldMk cId="691181643" sldId="297"/>
            <ac:spMk id="33" creationId="{38C9807A-530C-742F-88D5-97B13141567A}"/>
          </ac:spMkLst>
        </pc:spChg>
        <pc:spChg chg="add del mod replST">
          <ac:chgData name="Joelle Brehm" userId="a518f54c-6985-42c0-8041-2bb16a414839" providerId="ADAL" clId="{E58FA468-8508-4D9D-B61C-DD2554E44EF7}" dt="2024-03-07T16:53:58.285" v="40366"/>
          <ac:spMkLst>
            <pc:docMk/>
            <pc:sldMk cId="691181643" sldId="297"/>
            <ac:spMk id="34" creationId="{960282EB-D5AE-6273-C5F6-E6B7FED27011}"/>
          </ac:spMkLst>
        </pc:spChg>
        <pc:spChg chg="add del mod replST">
          <ac:chgData name="Joelle Brehm" userId="a518f54c-6985-42c0-8041-2bb16a414839" providerId="ADAL" clId="{E58FA468-8508-4D9D-B61C-DD2554E44EF7}" dt="2024-03-07T16:53:58.285" v="40367"/>
          <ac:spMkLst>
            <pc:docMk/>
            <pc:sldMk cId="691181643" sldId="297"/>
            <ac:spMk id="36" creationId="{86C5E67C-4252-B2F7-A13A-5FF10C247B19}"/>
          </ac:spMkLst>
        </pc:spChg>
        <pc:spChg chg="add del mod">
          <ac:chgData name="Joelle Brehm" userId="a518f54c-6985-42c0-8041-2bb16a414839" providerId="ADAL" clId="{E58FA468-8508-4D9D-B61C-DD2554E44EF7}" dt="2024-03-07T16:55:54.542" v="42509"/>
          <ac:spMkLst>
            <pc:docMk/>
            <pc:sldMk cId="691181643" sldId="297"/>
            <ac:spMk id="37" creationId="{072221CB-A9CC-716D-8CDD-965FF8370697}"/>
          </ac:spMkLst>
        </pc:spChg>
        <pc:spChg chg="add del mod">
          <ac:chgData name="Joelle Brehm" userId="a518f54c-6985-42c0-8041-2bb16a414839" providerId="ADAL" clId="{E58FA468-8508-4D9D-B61C-DD2554E44EF7}" dt="2024-03-07T16:55:54.535" v="42500"/>
          <ac:spMkLst>
            <pc:docMk/>
            <pc:sldMk cId="691181643" sldId="297"/>
            <ac:spMk id="38" creationId="{7B7DC5CA-F0F2-5949-6B54-F9A4C54EFE48}"/>
          </ac:spMkLst>
        </pc:spChg>
        <pc:spChg chg="add del mod">
          <ac:chgData name="Joelle Brehm" userId="a518f54c-6985-42c0-8041-2bb16a414839" providerId="ADAL" clId="{E58FA468-8508-4D9D-B61C-DD2554E44EF7}" dt="2024-03-07T16:55:54.541" v="42507"/>
          <ac:spMkLst>
            <pc:docMk/>
            <pc:sldMk cId="691181643" sldId="297"/>
            <ac:spMk id="39" creationId="{260CBA5A-D8E6-B117-1030-591DC3D590B3}"/>
          </ac:spMkLst>
        </pc:spChg>
        <pc:spChg chg="add del mod">
          <ac:chgData name="Joelle Brehm" userId="a518f54c-6985-42c0-8041-2bb16a414839" providerId="ADAL" clId="{E58FA468-8508-4D9D-B61C-DD2554E44EF7}" dt="2024-03-07T16:55:54.534" v="42499"/>
          <ac:spMkLst>
            <pc:docMk/>
            <pc:sldMk cId="691181643" sldId="297"/>
            <ac:spMk id="40" creationId="{8F3D6069-22DB-A17D-7641-254E65C1D843}"/>
          </ac:spMkLst>
        </pc:spChg>
        <pc:spChg chg="add del mod">
          <ac:chgData name="Joelle Brehm" userId="a518f54c-6985-42c0-8041-2bb16a414839" providerId="ADAL" clId="{E58FA468-8508-4D9D-B61C-DD2554E44EF7}" dt="2024-03-07T16:55:54.539" v="42505"/>
          <ac:spMkLst>
            <pc:docMk/>
            <pc:sldMk cId="691181643" sldId="297"/>
            <ac:spMk id="41" creationId="{5A18E735-A1BA-EB3A-9110-53CE3915675F}"/>
          </ac:spMkLst>
        </pc:spChg>
        <pc:spChg chg="add del mod">
          <ac:chgData name="Joelle Brehm" userId="a518f54c-6985-42c0-8041-2bb16a414839" providerId="ADAL" clId="{E58FA468-8508-4D9D-B61C-DD2554E44EF7}" dt="2024-03-07T16:55:54.537" v="42503"/>
          <ac:spMkLst>
            <pc:docMk/>
            <pc:sldMk cId="691181643" sldId="297"/>
            <ac:spMk id="42" creationId="{CBA51802-0DF9-B574-A997-7BCAB6CE7E1B}"/>
          </ac:spMkLst>
        </pc:spChg>
        <pc:spChg chg="add del mod">
          <ac:chgData name="Joelle Brehm" userId="a518f54c-6985-42c0-8041-2bb16a414839" providerId="ADAL" clId="{E58FA468-8508-4D9D-B61C-DD2554E44EF7}" dt="2024-03-07T16:55:54.537" v="42504"/>
          <ac:spMkLst>
            <pc:docMk/>
            <pc:sldMk cId="691181643" sldId="297"/>
            <ac:spMk id="43" creationId="{C4AD9E55-3953-C291-62D3-46FFC98EBF80}"/>
          </ac:spMkLst>
        </pc:spChg>
        <pc:spChg chg="add del mod">
          <ac:chgData name="Joelle Brehm" userId="a518f54c-6985-42c0-8041-2bb16a414839" providerId="ADAL" clId="{E58FA468-8508-4D9D-B61C-DD2554E44EF7}" dt="2024-03-07T16:56:03.355" v="42825"/>
          <ac:spMkLst>
            <pc:docMk/>
            <pc:sldMk cId="691181643" sldId="297"/>
            <ac:spMk id="44" creationId="{6B978AFC-A986-0352-AEF6-422F66617A4E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68"/>
          <ac:spMkLst>
            <pc:docMk/>
            <pc:sldMk cId="691181643" sldId="297"/>
            <ac:spMk id="45" creationId="{79D90DFD-69AC-B089-3859-0D221B62651D}"/>
          </ac:spMkLst>
        </pc:spChg>
        <pc:spChg chg="add del mod">
          <ac:chgData name="Joelle Brehm" userId="a518f54c-6985-42c0-8041-2bb16a414839" providerId="ADAL" clId="{E58FA468-8508-4D9D-B61C-DD2554E44EF7}" dt="2024-03-07T16:55:54.536" v="42501"/>
          <ac:spMkLst>
            <pc:docMk/>
            <pc:sldMk cId="691181643" sldId="297"/>
            <ac:spMk id="46" creationId="{26F592E8-3E21-CE7C-0D7F-468703331B52}"/>
          </ac:spMkLst>
        </pc:spChg>
        <pc:spChg chg="add del mod">
          <ac:chgData name="Joelle Brehm" userId="a518f54c-6985-42c0-8041-2bb16a414839" providerId="ADAL" clId="{E58FA468-8508-4D9D-B61C-DD2554E44EF7}" dt="2024-03-07T16:55:54.537" v="42502"/>
          <ac:spMkLst>
            <pc:docMk/>
            <pc:sldMk cId="691181643" sldId="297"/>
            <ac:spMk id="47" creationId="{BEE47855-BADC-93B6-6665-6C2872E3F0C3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69"/>
          <ac:spMkLst>
            <pc:docMk/>
            <pc:sldMk cId="691181643" sldId="297"/>
            <ac:spMk id="48" creationId="{FDEBCE6C-B9BE-47B0-58C8-AB1379A53A79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0"/>
          <ac:spMkLst>
            <pc:docMk/>
            <pc:sldMk cId="691181643" sldId="297"/>
            <ac:spMk id="49" creationId="{06A34113-A729-273B-A0F6-2624BEA0CCB3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1"/>
          <ac:spMkLst>
            <pc:docMk/>
            <pc:sldMk cId="691181643" sldId="297"/>
            <ac:spMk id="50" creationId="{674EA7C8-683C-C14F-9DE9-56362492D9C5}"/>
          </ac:spMkLst>
        </pc:spChg>
        <pc:spChg chg="add del mod">
          <ac:chgData name="Joelle Brehm" userId="a518f54c-6985-42c0-8041-2bb16a414839" providerId="ADAL" clId="{E58FA468-8508-4D9D-B61C-DD2554E44EF7}" dt="2024-03-07T16:55:54.542" v="42508"/>
          <ac:spMkLst>
            <pc:docMk/>
            <pc:sldMk cId="691181643" sldId="297"/>
            <ac:spMk id="51" creationId="{A3ABDDB3-316B-547E-AB1A-49B9A1820192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2"/>
          <ac:spMkLst>
            <pc:docMk/>
            <pc:sldMk cId="691181643" sldId="297"/>
            <ac:spMk id="52" creationId="{27FECB64-4963-B1C0-7082-350C652D36C9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3"/>
          <ac:spMkLst>
            <pc:docMk/>
            <pc:sldMk cId="691181643" sldId="297"/>
            <ac:spMk id="53" creationId="{5479C07B-A993-F3F4-C1C2-51063F49D556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4"/>
          <ac:spMkLst>
            <pc:docMk/>
            <pc:sldMk cId="691181643" sldId="297"/>
            <ac:spMk id="54" creationId="{5124C62F-9C98-9916-6F08-EE7FAB2784F4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5"/>
          <ac:spMkLst>
            <pc:docMk/>
            <pc:sldMk cId="691181643" sldId="297"/>
            <ac:spMk id="55" creationId="{F17F1775-A001-6621-96AF-9797EE557E21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6"/>
          <ac:spMkLst>
            <pc:docMk/>
            <pc:sldMk cId="691181643" sldId="297"/>
            <ac:spMk id="56" creationId="{62511968-57A0-DC19-BC89-039E14F43867}"/>
          </ac:spMkLst>
        </pc:spChg>
        <pc:spChg chg="del mod ord">
          <ac:chgData name="Joelle Brehm" userId="a518f54c-6985-42c0-8041-2bb16a414839" providerId="ADAL" clId="{E58FA468-8508-4D9D-B61C-DD2554E44EF7}" dt="2024-03-07T16:56:42.865" v="42860" actId="478"/>
          <ac:spMkLst>
            <pc:docMk/>
            <pc:sldMk cId="691181643" sldId="297"/>
            <ac:spMk id="58" creationId="{980108C4-C40D-B44D-A46B-B89FCCEDED16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7"/>
          <ac:spMkLst>
            <pc:docMk/>
            <pc:sldMk cId="691181643" sldId="297"/>
            <ac:spMk id="59" creationId="{2267BABE-A846-CED2-1E26-8F2881524BD0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8"/>
          <ac:spMkLst>
            <pc:docMk/>
            <pc:sldMk cId="691181643" sldId="297"/>
            <ac:spMk id="60" creationId="{34A04CE0-498C-503C-4949-DFA8BAF2073E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79"/>
          <ac:spMkLst>
            <pc:docMk/>
            <pc:sldMk cId="691181643" sldId="297"/>
            <ac:spMk id="61" creationId="{C92E496A-6378-FD4A-E5DA-91027FAFE62F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80"/>
          <ac:spMkLst>
            <pc:docMk/>
            <pc:sldMk cId="691181643" sldId="297"/>
            <ac:spMk id="62" creationId="{CF9C9C43-FFEE-5976-4C23-37680F8356A4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81"/>
          <ac:spMkLst>
            <pc:docMk/>
            <pc:sldMk cId="691181643" sldId="297"/>
            <ac:spMk id="63" creationId="{B966C24B-5D9D-345B-96CE-B0EF58A9D497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82"/>
          <ac:spMkLst>
            <pc:docMk/>
            <pc:sldMk cId="691181643" sldId="297"/>
            <ac:spMk id="64" creationId="{72C7D93D-4D99-9AD3-9278-7ED6AEC1B1A9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83"/>
          <ac:spMkLst>
            <pc:docMk/>
            <pc:sldMk cId="691181643" sldId="297"/>
            <ac:spMk id="65" creationId="{4E59CDAB-13AF-4832-4F0C-84F7A3DADA27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84"/>
          <ac:spMkLst>
            <pc:docMk/>
            <pc:sldMk cId="691181643" sldId="297"/>
            <ac:spMk id="66" creationId="{4E790952-37F4-12B3-5647-0F490A395AF5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85"/>
          <ac:spMkLst>
            <pc:docMk/>
            <pc:sldMk cId="691181643" sldId="297"/>
            <ac:spMk id="67" creationId="{0BA2CB9F-2644-1033-71FF-9973DB59766D}"/>
          </ac:spMkLst>
        </pc:spChg>
        <pc:spChg chg="add del mod replST">
          <ac:chgData name="Joelle Brehm" userId="a518f54c-6985-42c0-8041-2bb16a414839" providerId="ADAL" clId="{E58FA468-8508-4D9D-B61C-DD2554E44EF7}" dt="2024-03-07T16:53:58.299" v="40386"/>
          <ac:spMkLst>
            <pc:docMk/>
            <pc:sldMk cId="691181643" sldId="297"/>
            <ac:spMk id="68" creationId="{A4566B17-EE76-1C9B-2B9B-32F35AD3614F}"/>
          </ac:spMkLst>
        </pc:spChg>
        <pc:spChg chg="add del mod modVis">
          <ac:chgData name="Joelle Brehm" userId="a518f54c-6985-42c0-8041-2bb16a414839" providerId="ADAL" clId="{E58FA468-8508-4D9D-B61C-DD2554E44EF7}" dt="2024-03-07T16:53:45.672" v="40076"/>
          <ac:spMkLst>
            <pc:docMk/>
            <pc:sldMk cId="691181643" sldId="297"/>
            <ac:spMk id="69" creationId="{8CEEB5F4-4511-FED2-1E4F-D31E2F07D7B4}"/>
          </ac:spMkLst>
        </pc:spChg>
        <pc:spChg chg="add del mod ord replST">
          <ac:chgData name="Joelle Brehm" userId="a518f54c-6985-42c0-8041-2bb16a414839" providerId="ADAL" clId="{E58FA468-8508-4D9D-B61C-DD2554E44EF7}" dt="2024-03-07T16:53:50.220" v="40096"/>
          <ac:spMkLst>
            <pc:docMk/>
            <pc:sldMk cId="691181643" sldId="297"/>
            <ac:spMk id="70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36" v="40102"/>
          <ac:spMkLst>
            <pc:docMk/>
            <pc:sldMk cId="691181643" sldId="297"/>
            <ac:spMk id="71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36" v="40108"/>
          <ac:spMkLst>
            <pc:docMk/>
            <pc:sldMk cId="691181643" sldId="297"/>
            <ac:spMk id="72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36" v="40112"/>
          <ac:spMkLst>
            <pc:docMk/>
            <pc:sldMk cId="691181643" sldId="297"/>
            <ac:spMk id="73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36" v="40114"/>
          <ac:spMkLst>
            <pc:docMk/>
            <pc:sldMk cId="691181643" sldId="297"/>
            <ac:spMk id="74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52" v="40118"/>
          <ac:spMkLst>
            <pc:docMk/>
            <pc:sldMk cId="691181643" sldId="297"/>
            <ac:spMk id="75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52" v="40122"/>
          <ac:spMkLst>
            <pc:docMk/>
            <pc:sldMk cId="691181643" sldId="297"/>
            <ac:spMk id="76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52" v="40126"/>
          <ac:spMkLst>
            <pc:docMk/>
            <pc:sldMk cId="691181643" sldId="297"/>
            <ac:spMk id="7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56:03.355" v="42827"/>
          <ac:spMkLst>
            <pc:docMk/>
            <pc:sldMk cId="691181643" sldId="297"/>
            <ac:spMk id="78" creationId="{98C90A5D-A6CB-ABB8-DC63-03278FBCB561}"/>
          </ac:spMkLst>
        </pc:spChg>
        <pc:spChg chg="mod ord">
          <ac:chgData name="Joelle Brehm" userId="a518f54c-6985-42c0-8041-2bb16a414839" providerId="ADAL" clId="{E58FA468-8508-4D9D-B61C-DD2554E44EF7}" dt="2024-03-07T16:56:03.355" v="42829"/>
          <ac:spMkLst>
            <pc:docMk/>
            <pc:sldMk cId="691181643" sldId="297"/>
            <ac:spMk id="79" creationId="{6462C443-5638-1A41-C459-2DF66B866EDA}"/>
          </ac:spMkLst>
        </pc:spChg>
        <pc:spChg chg="add del mod ord replST">
          <ac:chgData name="Joelle Brehm" userId="a518f54c-6985-42c0-8041-2bb16a414839" providerId="ADAL" clId="{E58FA468-8508-4D9D-B61C-DD2554E44EF7}" dt="2024-03-07T16:53:50.252" v="40130"/>
          <ac:spMkLst>
            <pc:docMk/>
            <pc:sldMk cId="691181643" sldId="297"/>
            <ac:spMk id="80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52" v="40136"/>
          <ac:spMkLst>
            <pc:docMk/>
            <pc:sldMk cId="691181643" sldId="297"/>
            <ac:spMk id="81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68" v="40140"/>
          <ac:spMkLst>
            <pc:docMk/>
            <pc:sldMk cId="691181643" sldId="297"/>
            <ac:spMk id="82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68" v="40144"/>
          <ac:spMkLst>
            <pc:docMk/>
            <pc:sldMk cId="691181643" sldId="297"/>
            <ac:spMk id="83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68" v="40148"/>
          <ac:spMkLst>
            <pc:docMk/>
            <pc:sldMk cId="691181643" sldId="297"/>
            <ac:spMk id="84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6:53:50.283" v="40158"/>
          <ac:spMkLst>
            <pc:docMk/>
            <pc:sldMk cId="691181643" sldId="297"/>
            <ac:spMk id="85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6:56:03.355" v="42831"/>
          <ac:spMkLst>
            <pc:docMk/>
            <pc:sldMk cId="691181643" sldId="297"/>
            <ac:spMk id="100" creationId="{7FC258AD-340F-DBAB-C9DB-CAF57178614D}"/>
          </ac:spMkLst>
        </pc:spChg>
        <pc:spChg chg="add del mod modVis">
          <ac:chgData name="Joelle Brehm" userId="a518f54c-6985-42c0-8041-2bb16a414839" providerId="ADAL" clId="{E58FA468-8508-4D9D-B61C-DD2554E44EF7}" dt="2024-03-07T16:53:50.661" v="40358"/>
          <ac:spMkLst>
            <pc:docMk/>
            <pc:sldMk cId="691181643" sldId="297"/>
            <ac:spMk id="107" creationId="{770E0A57-5098-EAEF-3FE2-62616496EE44}"/>
          </ac:spMkLst>
        </pc:spChg>
        <pc:spChg chg="mod ord">
          <ac:chgData name="Joelle Brehm" userId="a518f54c-6985-42c0-8041-2bb16a414839" providerId="ADAL" clId="{E58FA468-8508-4D9D-B61C-DD2554E44EF7}" dt="2024-03-07T16:56:03.355" v="42833"/>
          <ac:spMkLst>
            <pc:docMk/>
            <pc:sldMk cId="691181643" sldId="297"/>
            <ac:spMk id="108" creationId="{606A0223-A506-3818-5143-A2CA029E3AF2}"/>
          </ac:spMkLst>
        </pc:spChg>
        <pc:spChg chg="mod ord">
          <ac:chgData name="Joelle Brehm" userId="a518f54c-6985-42c0-8041-2bb16a414839" providerId="ADAL" clId="{E58FA468-8508-4D9D-B61C-DD2554E44EF7}" dt="2024-03-07T16:56:03.355" v="42835"/>
          <ac:spMkLst>
            <pc:docMk/>
            <pc:sldMk cId="691181643" sldId="297"/>
            <ac:spMk id="109" creationId="{7BEDB0ED-D13E-1714-C6F0-A02EF316F132}"/>
          </ac:spMkLst>
        </pc:spChg>
        <pc:spChg chg="mod ord">
          <ac:chgData name="Joelle Brehm" userId="a518f54c-6985-42c0-8041-2bb16a414839" providerId="ADAL" clId="{E58FA468-8508-4D9D-B61C-DD2554E44EF7}" dt="2024-03-07T16:56:03.355" v="42837"/>
          <ac:spMkLst>
            <pc:docMk/>
            <pc:sldMk cId="691181643" sldId="297"/>
            <ac:spMk id="110" creationId="{06800A4A-BF98-F3CF-A472-BC9F58811EF4}"/>
          </ac:spMkLst>
        </pc:spChg>
        <pc:spChg chg="add del mod modVis">
          <ac:chgData name="Joelle Brehm" userId="a518f54c-6985-42c0-8041-2bb16a414839" providerId="ADAL" clId="{E58FA468-8508-4D9D-B61C-DD2554E44EF7}" dt="2024-03-07T16:53:58.459" v="40578"/>
          <ac:spMkLst>
            <pc:docMk/>
            <pc:sldMk cId="691181643" sldId="297"/>
            <ac:spMk id="112" creationId="{8A44F48C-DBA7-D815-09E6-34887003FA94}"/>
          </ac:spMkLst>
        </pc:spChg>
        <pc:spChg chg="add del mod modVis">
          <ac:chgData name="Joelle Brehm" userId="a518f54c-6985-42c0-8041-2bb16a414839" providerId="ADAL" clId="{E58FA468-8508-4D9D-B61C-DD2554E44EF7}" dt="2024-03-07T16:54:04.277" v="40724"/>
          <ac:spMkLst>
            <pc:docMk/>
            <pc:sldMk cId="691181643" sldId="297"/>
            <ac:spMk id="114" creationId="{FEEB3C02-712E-42F0-2DA6-270751AD7708}"/>
          </ac:spMkLst>
        </pc:spChg>
        <pc:spChg chg="add mod ord">
          <ac:chgData name="Joelle Brehm" userId="a518f54c-6985-42c0-8041-2bb16a414839" providerId="ADAL" clId="{E58FA468-8508-4D9D-B61C-DD2554E44EF7}" dt="2024-03-07T16:56:03.355" v="42852"/>
          <ac:spMkLst>
            <pc:docMk/>
            <pc:sldMk cId="691181643" sldId="297"/>
            <ac:spMk id="116" creationId="{1FE84FA0-510F-7B5C-864C-30121652B032}"/>
          </ac:spMkLst>
        </pc:spChg>
        <pc:spChg chg="add del mod modVis">
          <ac:chgData name="Joelle Brehm" userId="a518f54c-6985-42c0-8041-2bb16a414839" providerId="ADAL" clId="{E58FA468-8508-4D9D-B61C-DD2554E44EF7}" dt="2024-03-07T16:55:13.838" v="41018"/>
          <ac:spMkLst>
            <pc:docMk/>
            <pc:sldMk cId="691181643" sldId="297"/>
            <ac:spMk id="118" creationId="{E9D43491-BF1C-6B2B-37AD-65A7521E97FF}"/>
          </ac:spMkLst>
        </pc:spChg>
        <pc:spChg chg="add del mod modVis">
          <ac:chgData name="Joelle Brehm" userId="a518f54c-6985-42c0-8041-2bb16a414839" providerId="ADAL" clId="{E58FA468-8508-4D9D-B61C-DD2554E44EF7}" dt="2024-03-07T16:55:19.633" v="41144"/>
          <ac:spMkLst>
            <pc:docMk/>
            <pc:sldMk cId="691181643" sldId="297"/>
            <ac:spMk id="120" creationId="{9992C8A6-47B7-6981-B50D-9489EDD85CB8}"/>
          </ac:spMkLst>
        </pc:spChg>
        <pc:spChg chg="add del mod modVis">
          <ac:chgData name="Joelle Brehm" userId="a518f54c-6985-42c0-8041-2bb16a414839" providerId="ADAL" clId="{E58FA468-8508-4D9D-B61C-DD2554E44EF7}" dt="2024-03-07T16:55:29.886" v="41353"/>
          <ac:spMkLst>
            <pc:docMk/>
            <pc:sldMk cId="691181643" sldId="297"/>
            <ac:spMk id="122" creationId="{0CEFD049-0471-FC0A-213A-84DA2223FBD5}"/>
          </ac:spMkLst>
        </pc:spChg>
        <pc:spChg chg="add del mod modVis">
          <ac:chgData name="Joelle Brehm" userId="a518f54c-6985-42c0-8041-2bb16a414839" providerId="ADAL" clId="{E58FA468-8508-4D9D-B61C-DD2554E44EF7}" dt="2024-03-07T16:55:40.957" v="41877"/>
          <ac:spMkLst>
            <pc:docMk/>
            <pc:sldMk cId="691181643" sldId="297"/>
            <ac:spMk id="124" creationId="{861C0FCF-ECB6-C873-5E1A-30AC991562FE}"/>
          </ac:spMkLst>
        </pc:spChg>
        <pc:spChg chg="add mod replST delST">
          <ac:chgData name="Joelle Brehm" userId="a518f54c-6985-42c0-8041-2bb16a414839" providerId="ADAL" clId="{E58FA468-8508-4D9D-B61C-DD2554E44EF7}" dt="2024-03-07T16:55:40.957" v="41877"/>
          <ac:spMkLst>
            <pc:docMk/>
            <pc:sldMk cId="691181643" sldId="297"/>
            <ac:spMk id="125" creationId="{7CAA3B95-4C78-4122-BECA-B5FB0F3F3764}"/>
          </ac:spMkLst>
        </pc:spChg>
        <pc:spChg chg="add mod replST delST">
          <ac:chgData name="Joelle Brehm" userId="a518f54c-6985-42c0-8041-2bb16a414839" providerId="ADAL" clId="{E58FA468-8508-4D9D-B61C-DD2554E44EF7}" dt="2024-03-07T16:55:40.957" v="41877"/>
          <ac:spMkLst>
            <pc:docMk/>
            <pc:sldMk cId="691181643" sldId="297"/>
            <ac:spMk id="126" creationId="{7CAA3B95-4C78-4122-BECA-B5FB0F3F3764}"/>
          </ac:spMkLst>
        </pc:spChg>
        <pc:spChg chg="add mod replST delST">
          <ac:chgData name="Joelle Brehm" userId="a518f54c-6985-42c0-8041-2bb16a414839" providerId="ADAL" clId="{E58FA468-8508-4D9D-B61C-DD2554E44EF7}" dt="2024-03-07T16:55:40.957" v="41877"/>
          <ac:spMkLst>
            <pc:docMk/>
            <pc:sldMk cId="691181643" sldId="297"/>
            <ac:spMk id="127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55:43.698" v="42175"/>
          <ac:spMkLst>
            <pc:docMk/>
            <pc:sldMk cId="691181643" sldId="297"/>
            <ac:spMk id="129" creationId="{B8543C3B-D49B-2119-C71B-C71A4233A503}"/>
          </ac:spMkLst>
        </pc:spChg>
        <pc:spChg chg="add del mod replST">
          <ac:chgData name="Joelle Brehm" userId="a518f54c-6985-42c0-8041-2bb16a414839" providerId="ADAL" clId="{E58FA468-8508-4D9D-B61C-DD2554E44EF7}" dt="2024-03-07T16:55:45.736" v="42230"/>
          <ac:spMkLst>
            <pc:docMk/>
            <pc:sldMk cId="691181643" sldId="297"/>
            <ac:spMk id="130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6:55:45.769" v="42313"/>
          <ac:spMkLst>
            <pc:docMk/>
            <pc:sldMk cId="691181643" sldId="297"/>
            <ac:spMk id="132" creationId="{AA3C3619-4CFF-D6C4-F087-85F84962F3B2}"/>
          </ac:spMkLst>
        </pc:spChg>
        <pc:spChg chg="mod">
          <ac:chgData name="Joelle Brehm" userId="a518f54c-6985-42c0-8041-2bb16a414839" providerId="ADAL" clId="{E58FA468-8508-4D9D-B61C-DD2554E44EF7}" dt="2024-03-07T16:56:03.355" v="42840"/>
          <ac:spMkLst>
            <pc:docMk/>
            <pc:sldMk cId="691181643" sldId="297"/>
            <ac:spMk id="133" creationId="{5424138A-AB7B-0F7B-15F3-FAA030115ECF}"/>
          </ac:spMkLst>
        </pc:spChg>
        <pc:spChg chg="mod">
          <ac:chgData name="Joelle Brehm" userId="a518f54c-6985-42c0-8041-2bb16a414839" providerId="ADAL" clId="{E58FA468-8508-4D9D-B61C-DD2554E44EF7}" dt="2024-03-07T16:56:03.355" v="42841"/>
          <ac:spMkLst>
            <pc:docMk/>
            <pc:sldMk cId="691181643" sldId="297"/>
            <ac:spMk id="135" creationId="{BA495C2F-E652-0B75-7A16-F6A1F64312BE}"/>
          </ac:spMkLst>
        </pc:spChg>
        <pc:spChg chg="mod">
          <ac:chgData name="Joelle Brehm" userId="a518f54c-6985-42c0-8041-2bb16a414839" providerId="ADAL" clId="{E58FA468-8508-4D9D-B61C-DD2554E44EF7}" dt="2024-03-07T16:56:03.355" v="42842"/>
          <ac:spMkLst>
            <pc:docMk/>
            <pc:sldMk cId="691181643" sldId="297"/>
            <ac:spMk id="136" creationId="{CB3283BC-69A1-DE36-1760-FDD3588B4CAD}"/>
          </ac:spMkLst>
        </pc:spChg>
        <pc:spChg chg="add del mod modVis">
          <ac:chgData name="Joelle Brehm" userId="a518f54c-6985-42c0-8041-2bb16a414839" providerId="ADAL" clId="{E58FA468-8508-4D9D-B61C-DD2554E44EF7}" dt="2024-03-07T16:55:47.601" v="42496"/>
          <ac:spMkLst>
            <pc:docMk/>
            <pc:sldMk cId="691181643" sldId="297"/>
            <ac:spMk id="137" creationId="{55D1F7ED-B103-34A7-6803-AB1426FE48B5}"/>
          </ac:spMkLst>
        </pc:spChg>
        <pc:spChg chg="add del mod modVis">
          <ac:chgData name="Joelle Brehm" userId="a518f54c-6985-42c0-8041-2bb16a414839" providerId="ADAL" clId="{E58FA468-8508-4D9D-B61C-DD2554E44EF7}" dt="2024-03-07T16:55:54.788" v="42623"/>
          <ac:spMkLst>
            <pc:docMk/>
            <pc:sldMk cId="691181643" sldId="297"/>
            <ac:spMk id="139" creationId="{2F942501-77A9-E78D-1B92-1D3B917BC4F1}"/>
          </ac:spMkLst>
        </pc:spChg>
        <pc:spChg chg="add del mod modVis">
          <ac:chgData name="Joelle Brehm" userId="a518f54c-6985-42c0-8041-2bb16a414839" providerId="ADAL" clId="{E58FA468-8508-4D9D-B61C-DD2554E44EF7}" dt="2024-03-07T16:55:59.277" v="42742"/>
          <ac:spMkLst>
            <pc:docMk/>
            <pc:sldMk cId="691181643" sldId="297"/>
            <ac:spMk id="141" creationId="{514A1AFF-A9E1-CFE7-BA45-AFF27C2B4B0A}"/>
          </ac:spMkLst>
        </pc:spChg>
        <pc:spChg chg="add del mod modVis">
          <ac:chgData name="Joelle Brehm" userId="a518f54c-6985-42c0-8041-2bb16a414839" providerId="ADAL" clId="{E58FA468-8508-4D9D-B61C-DD2554E44EF7}" dt="2024-03-07T16:56:03.355" v="42856"/>
          <ac:spMkLst>
            <pc:docMk/>
            <pc:sldMk cId="691181643" sldId="297"/>
            <ac:spMk id="143" creationId="{4F5F1EAC-E139-6809-2CBC-FE2E5D8607FF}"/>
          </ac:spMkLst>
        </pc:spChg>
        <pc:spChg chg="mod">
          <ac:chgData name="Joelle Brehm" userId="a518f54c-6985-42c0-8041-2bb16a414839" providerId="ADAL" clId="{E58FA468-8508-4D9D-B61C-DD2554E44EF7}" dt="2024-03-07T16:56:03.355" v="42843"/>
          <ac:spMkLst>
            <pc:docMk/>
            <pc:sldMk cId="691181643" sldId="297"/>
            <ac:spMk id="157" creationId="{E4B79A22-8103-94CD-F875-9827A05F8002}"/>
          </ac:spMkLst>
        </pc:spChg>
        <pc:spChg chg="mod">
          <ac:chgData name="Joelle Brehm" userId="a518f54c-6985-42c0-8041-2bb16a414839" providerId="ADAL" clId="{E58FA468-8508-4D9D-B61C-DD2554E44EF7}" dt="2024-03-07T16:56:03.355" v="42844"/>
          <ac:spMkLst>
            <pc:docMk/>
            <pc:sldMk cId="691181643" sldId="297"/>
            <ac:spMk id="158" creationId="{7A7BF95B-537C-2588-A4E4-756592017FC8}"/>
          </ac:spMkLst>
        </pc:spChg>
        <pc:graphicFrameChg chg="mod">
          <ac:chgData name="Joelle Brehm" userId="a518f54c-6985-42c0-8041-2bb16a414839" providerId="ADAL" clId="{E58FA468-8508-4D9D-B61C-DD2554E44EF7}" dt="2024-03-07T16:56:03.371" v="42858"/>
          <ac:graphicFrameMkLst>
            <pc:docMk/>
            <pc:sldMk cId="691181643" sldId="297"/>
            <ac:graphicFrameMk id="4" creationId="{419D2559-42BC-46AC-BFDB-B77F1539CB18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5:29.809" v="41268"/>
          <ac:graphicFrameMkLst>
            <pc:docMk/>
            <pc:sldMk cId="691181643" sldId="297"/>
            <ac:graphicFrameMk id="31" creationId="{E28ECEE9-54B1-7BB4-2708-F4AF33D37517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6:55:13.757" v="40937"/>
          <ac:graphicFrameMkLst>
            <pc:docMk/>
            <pc:sldMk cId="691181643" sldId="297"/>
            <ac:graphicFrameMk id="35" creationId="{E60E4570-E1A3-4B40-8F81-FCDC79F62324}"/>
          </ac:graphicFrameMkLst>
        </pc:graphicFrameChg>
        <pc:graphicFrameChg chg="del">
          <ac:chgData name="Joelle Brehm" userId="a518f54c-6985-42c0-8041-2bb16a414839" providerId="ADAL" clId="{E58FA468-8508-4D9D-B61C-DD2554E44EF7}" dt="2024-03-07T16:53:45.481" v="39899"/>
          <ac:graphicFrameMkLst>
            <pc:docMk/>
            <pc:sldMk cId="691181643" sldId="297"/>
            <ac:graphicFrameMk id="57" creationId="{82AE6700-CCE1-CF82-05C1-4ED8349103B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3:50.496" v="40253"/>
          <ac:graphicFrameMkLst>
            <pc:docMk/>
            <pc:sldMk cId="691181643" sldId="297"/>
            <ac:graphicFrameMk id="106" creationId="{10A9E550-5813-C9C2-5F2F-1972AA77432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3:58.393" v="40499"/>
          <ac:graphicFrameMkLst>
            <pc:docMk/>
            <pc:sldMk cId="691181643" sldId="297"/>
            <ac:graphicFrameMk id="111" creationId="{A55F8FFD-C62C-B89C-18B0-ABCA10B8B67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4:04.217" v="40645"/>
          <ac:graphicFrameMkLst>
            <pc:docMk/>
            <pc:sldMk cId="691181643" sldId="297"/>
            <ac:graphicFrameMk id="113" creationId="{69B98CA8-9F8D-0075-A316-0F0E642D9148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5:43.633" v="42087"/>
          <ac:graphicFrameMkLst>
            <pc:docMk/>
            <pc:sldMk cId="691181643" sldId="297"/>
            <ac:graphicFrameMk id="115" creationId="{6858C946-387B-9234-6ADC-4B34D323245D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5:19.588" v="41063"/>
          <ac:graphicFrameMkLst>
            <pc:docMk/>
            <pc:sldMk cId="691181643" sldId="297"/>
            <ac:graphicFrameMk id="119" creationId="{8962ACC4-4E77-8D0E-A348-52E1EF4D9DD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6:03.355" v="42839"/>
          <ac:graphicFrameMkLst>
            <pc:docMk/>
            <pc:sldMk cId="691181643" sldId="297"/>
            <ac:graphicFrameMk id="121" creationId="{837C417E-9A9C-6772-C026-265F32D7C7E3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6:03.355" v="42800"/>
          <ac:graphicFrameMkLst>
            <pc:docMk/>
            <pc:sldMk cId="691181643" sldId="297"/>
            <ac:graphicFrameMk id="123" creationId="{926595F3-B340-4891-8BEC-6E63A7775089}"/>
          </ac:graphicFrameMkLst>
        </pc:graphicFrameChg>
        <pc:graphicFrameChg chg="add mod ord replST delST">
          <ac:chgData name="Joelle Brehm" userId="a518f54c-6985-42c0-8041-2bb16a414839" providerId="ADAL" clId="{E58FA468-8508-4D9D-B61C-DD2554E44EF7}" dt="2024-03-07T16:55:40.957" v="41877"/>
          <ac:graphicFrameMkLst>
            <pc:docMk/>
            <pc:sldMk cId="691181643" sldId="297"/>
            <ac:graphicFrameMk id="128" creationId="{6E7A95F1-BADA-560A-9A8A-5119792D395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5:45.736" v="42232"/>
          <ac:graphicFrameMkLst>
            <pc:docMk/>
            <pc:sldMk cId="691181643" sldId="297"/>
            <ac:graphicFrameMk id="131" creationId="{E143D81F-581A-2122-2FF1-B22A642C465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5:47.567" v="42415"/>
          <ac:graphicFrameMkLst>
            <pc:docMk/>
            <pc:sldMk cId="691181643" sldId="297"/>
            <ac:graphicFrameMk id="134" creationId="{F538CA71-824A-847E-FCCB-A4E0E213C39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5:54.684" v="42553"/>
          <ac:graphicFrameMkLst>
            <pc:docMk/>
            <pc:sldMk cId="691181643" sldId="297"/>
            <ac:graphicFrameMk id="138" creationId="{2C0FD6D9-1849-1CDF-F6C8-FDD24B75F023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5:59.232" v="42672"/>
          <ac:graphicFrameMkLst>
            <pc:docMk/>
            <pc:sldMk cId="691181643" sldId="297"/>
            <ac:graphicFrameMk id="140" creationId="{03828F31-31F3-B6B9-89FF-849A1A18CE87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6:56:03.328" v="42786"/>
          <ac:graphicFrameMkLst>
            <pc:docMk/>
            <pc:sldMk cId="691181643" sldId="297"/>
            <ac:graphicFrameMk id="142" creationId="{89C5AD0F-1798-21B5-DDB7-73935ECF6A96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6:56:03.355" v="42824"/>
          <ac:graphicFrameMkLst>
            <pc:docMk/>
            <pc:sldMk cId="691181643" sldId="297"/>
            <ac:graphicFrameMk id="144" creationId="{5EA47312-E696-C50E-060F-91A918716963}"/>
          </ac:graphicFrameMkLst>
        </pc:graphicFrameChg>
        <pc:picChg chg="del mod ord">
          <ac:chgData name="Joelle Brehm" userId="a518f54c-6985-42c0-8041-2bb16a414839" providerId="ADAL" clId="{E58FA468-8508-4D9D-B61C-DD2554E44EF7}" dt="2024-03-07T16:55:03.461" v="40820" actId="478"/>
          <ac:picMkLst>
            <pc:docMk/>
            <pc:sldMk cId="691181643" sldId="297"/>
            <ac:picMk id="32" creationId="{FE73AE84-4171-6E56-4EAF-BA0AF39D9E73}"/>
          </ac:picMkLst>
        </pc:picChg>
        <pc:picChg chg="add mod ord">
          <ac:chgData name="Joelle Brehm" userId="a518f54c-6985-42c0-8041-2bb16a414839" providerId="ADAL" clId="{E58FA468-8508-4D9D-B61C-DD2554E44EF7}" dt="2024-03-07T16:56:03.344" v="42794"/>
          <ac:picMkLst>
            <pc:docMk/>
            <pc:sldMk cId="691181643" sldId="297"/>
            <ac:picMk id="117" creationId="{501537C5-BFB5-6947-B4D7-64F37D4E041C}"/>
          </ac:picMkLst>
        </pc:picChg>
        <pc:picChg chg="mod ord">
          <ac:chgData name="Joelle Brehm" userId="a518f54c-6985-42c0-8041-2bb16a414839" providerId="ADAL" clId="{E58FA468-8508-4D9D-B61C-DD2554E44EF7}" dt="2024-03-07T16:56:03.355" v="42846"/>
          <ac:picMkLst>
            <pc:docMk/>
            <pc:sldMk cId="691181643" sldId="297"/>
            <ac:picMk id="185" creationId="{9FFEEFE7-BA59-B86C-A215-C2885FAFB419}"/>
          </ac:picMkLst>
        </pc:picChg>
        <pc:picChg chg="add mod">
          <ac:chgData name="Joelle Brehm" userId="a518f54c-6985-42c0-8041-2bb16a414839" providerId="ADAL" clId="{E58FA468-8508-4D9D-B61C-DD2554E44EF7}" dt="2024-03-07T16:57:16.681" v="42866" actId="12789"/>
          <ac:picMkLst>
            <pc:docMk/>
            <pc:sldMk cId="691181643" sldId="297"/>
            <ac:picMk id="1026" creationId="{9954C29C-BCE7-2698-3D0E-771A38088457}"/>
          </ac:picMkLst>
        </pc:picChg>
        <pc:cxnChg chg="mod ord">
          <ac:chgData name="Joelle Brehm" userId="a518f54c-6985-42c0-8041-2bb16a414839" providerId="ADAL" clId="{E58FA468-8508-4D9D-B61C-DD2554E44EF7}" dt="2024-03-07T16:56:03.344" v="42798"/>
          <ac:cxnSpMkLst>
            <pc:docMk/>
            <pc:sldMk cId="691181643" sldId="297"/>
            <ac:cxnSpMk id="7" creationId="{BB10A77B-1D7D-C192-4A0C-D5604924950E}"/>
          </ac:cxnSpMkLst>
        </pc:cxnChg>
        <pc:cxnChg chg="add del mod ord replST">
          <ac:chgData name="Joelle Brehm" userId="a518f54c-6985-42c0-8041-2bb16a414839" providerId="ADAL" clId="{E58FA468-8508-4D9D-B61C-DD2554E44EF7}" dt="2024-03-07T16:53:50.220" v="40094"/>
          <ac:cxnSpMkLst>
            <pc:docMk/>
            <pc:sldMk cId="691181643" sldId="297"/>
            <ac:cxnSpMk id="86" creationId="{8B909736-4573-E552-70A2-06E178689DF1}"/>
          </ac:cxnSpMkLst>
        </pc:cxnChg>
        <pc:cxnChg chg="add del mod ord replST">
          <ac:chgData name="Joelle Brehm" userId="a518f54c-6985-42c0-8041-2bb16a414839" providerId="ADAL" clId="{E58FA468-8508-4D9D-B61C-DD2554E44EF7}" dt="2024-03-07T16:53:50.236" v="40098"/>
          <ac:cxnSpMkLst>
            <pc:docMk/>
            <pc:sldMk cId="691181643" sldId="297"/>
            <ac:cxnSpMk id="87" creationId="{48F7B597-41D9-F0A4-846F-2A12BBA45B40}"/>
          </ac:cxnSpMkLst>
        </pc:cxnChg>
        <pc:cxnChg chg="add del mod ord replST">
          <ac:chgData name="Joelle Brehm" userId="a518f54c-6985-42c0-8041-2bb16a414839" providerId="ADAL" clId="{E58FA468-8508-4D9D-B61C-DD2554E44EF7}" dt="2024-03-07T16:53:50.236" v="40100"/>
          <ac:cxnSpMkLst>
            <pc:docMk/>
            <pc:sldMk cId="691181643" sldId="297"/>
            <ac:cxnSpMk id="88" creationId="{9A830C8B-4334-EF15-8F7C-49A138650959}"/>
          </ac:cxnSpMkLst>
        </pc:cxnChg>
        <pc:cxnChg chg="add del mod ord replST">
          <ac:chgData name="Joelle Brehm" userId="a518f54c-6985-42c0-8041-2bb16a414839" providerId="ADAL" clId="{E58FA468-8508-4D9D-B61C-DD2554E44EF7}" dt="2024-03-07T16:53:50.236" v="40104"/>
          <ac:cxnSpMkLst>
            <pc:docMk/>
            <pc:sldMk cId="691181643" sldId="297"/>
            <ac:cxnSpMk id="89" creationId="{C67CCE04-B5F9-CE5C-340E-47AF8550D82F}"/>
          </ac:cxnSpMkLst>
        </pc:cxnChg>
        <pc:cxnChg chg="add del mod ord replST">
          <ac:chgData name="Joelle Brehm" userId="a518f54c-6985-42c0-8041-2bb16a414839" providerId="ADAL" clId="{E58FA468-8508-4D9D-B61C-DD2554E44EF7}" dt="2024-03-07T16:53:50.236" v="40106"/>
          <ac:cxnSpMkLst>
            <pc:docMk/>
            <pc:sldMk cId="691181643" sldId="297"/>
            <ac:cxnSpMk id="90" creationId="{62F25E20-251E-47E2-A3D6-8EEFEDAC315F}"/>
          </ac:cxnSpMkLst>
        </pc:cxnChg>
        <pc:cxnChg chg="add del mod ord replST">
          <ac:chgData name="Joelle Brehm" userId="a518f54c-6985-42c0-8041-2bb16a414839" providerId="ADAL" clId="{E58FA468-8508-4D9D-B61C-DD2554E44EF7}" dt="2024-03-07T16:53:50.236" v="40110"/>
          <ac:cxnSpMkLst>
            <pc:docMk/>
            <pc:sldMk cId="691181643" sldId="297"/>
            <ac:cxnSpMk id="91" creationId="{87D687C2-1EF6-B675-F4F2-4B5B767D9EE7}"/>
          </ac:cxnSpMkLst>
        </pc:cxnChg>
        <pc:cxnChg chg="add del mod ord replST">
          <ac:chgData name="Joelle Brehm" userId="a518f54c-6985-42c0-8041-2bb16a414839" providerId="ADAL" clId="{E58FA468-8508-4D9D-B61C-DD2554E44EF7}" dt="2024-03-07T16:53:50.252" v="40116"/>
          <ac:cxnSpMkLst>
            <pc:docMk/>
            <pc:sldMk cId="691181643" sldId="297"/>
            <ac:cxnSpMk id="92" creationId="{E9944487-2B89-37FB-E511-36F2620178E1}"/>
          </ac:cxnSpMkLst>
        </pc:cxnChg>
        <pc:cxnChg chg="add del mod ord replST">
          <ac:chgData name="Joelle Brehm" userId="a518f54c-6985-42c0-8041-2bb16a414839" providerId="ADAL" clId="{E58FA468-8508-4D9D-B61C-DD2554E44EF7}" dt="2024-03-07T16:53:50.252" v="40120"/>
          <ac:cxnSpMkLst>
            <pc:docMk/>
            <pc:sldMk cId="691181643" sldId="297"/>
            <ac:cxnSpMk id="93" creationId="{6F8A479C-6FDB-00CE-37E1-F265D6FE5DD7}"/>
          </ac:cxnSpMkLst>
        </pc:cxnChg>
        <pc:cxnChg chg="add del mod ord replST">
          <ac:chgData name="Joelle Brehm" userId="a518f54c-6985-42c0-8041-2bb16a414839" providerId="ADAL" clId="{E58FA468-8508-4D9D-B61C-DD2554E44EF7}" dt="2024-03-07T16:53:50.252" v="40124"/>
          <ac:cxnSpMkLst>
            <pc:docMk/>
            <pc:sldMk cId="691181643" sldId="297"/>
            <ac:cxnSpMk id="94" creationId="{C485316F-1E06-D77C-7928-7AF1DD98F5B1}"/>
          </ac:cxnSpMkLst>
        </pc:cxnChg>
        <pc:cxnChg chg="add del mod ord replST">
          <ac:chgData name="Joelle Brehm" userId="a518f54c-6985-42c0-8041-2bb16a414839" providerId="ADAL" clId="{E58FA468-8508-4D9D-B61C-DD2554E44EF7}" dt="2024-03-07T16:53:50.252" v="40128"/>
          <ac:cxnSpMkLst>
            <pc:docMk/>
            <pc:sldMk cId="691181643" sldId="297"/>
            <ac:cxnSpMk id="95" creationId="{FC3515E8-0797-5F0D-88BC-750AFDFC75E5}"/>
          </ac:cxnSpMkLst>
        </pc:cxnChg>
        <pc:cxnChg chg="add del mod ord replST">
          <ac:chgData name="Joelle Brehm" userId="a518f54c-6985-42c0-8041-2bb16a414839" providerId="ADAL" clId="{E58FA468-8508-4D9D-B61C-DD2554E44EF7}" dt="2024-03-07T16:53:50.252" v="40132"/>
          <ac:cxnSpMkLst>
            <pc:docMk/>
            <pc:sldMk cId="691181643" sldId="297"/>
            <ac:cxnSpMk id="96" creationId="{61801409-828C-E560-CFDC-81161401B42A}"/>
          </ac:cxnSpMkLst>
        </pc:cxnChg>
        <pc:cxnChg chg="add del mod ord replST">
          <ac:chgData name="Joelle Brehm" userId="a518f54c-6985-42c0-8041-2bb16a414839" providerId="ADAL" clId="{E58FA468-8508-4D9D-B61C-DD2554E44EF7}" dt="2024-03-07T16:53:50.252" v="40134"/>
          <ac:cxnSpMkLst>
            <pc:docMk/>
            <pc:sldMk cId="691181643" sldId="297"/>
            <ac:cxnSpMk id="97" creationId="{D7F5B3D1-7484-EBCD-3EE1-4D6AD9DC91D6}"/>
          </ac:cxnSpMkLst>
        </pc:cxnChg>
        <pc:cxnChg chg="add del mod ord replST">
          <ac:chgData name="Joelle Brehm" userId="a518f54c-6985-42c0-8041-2bb16a414839" providerId="ADAL" clId="{E58FA468-8508-4D9D-B61C-DD2554E44EF7}" dt="2024-03-07T16:53:50.268" v="40138"/>
          <ac:cxnSpMkLst>
            <pc:docMk/>
            <pc:sldMk cId="691181643" sldId="297"/>
            <ac:cxnSpMk id="98" creationId="{2A1C5FB1-E3B3-D5B2-BFAE-32DE7E52BADC}"/>
          </ac:cxnSpMkLst>
        </pc:cxnChg>
        <pc:cxnChg chg="add del mod ord replST">
          <ac:chgData name="Joelle Brehm" userId="a518f54c-6985-42c0-8041-2bb16a414839" providerId="ADAL" clId="{E58FA468-8508-4D9D-B61C-DD2554E44EF7}" dt="2024-03-07T16:53:50.268" v="40142"/>
          <ac:cxnSpMkLst>
            <pc:docMk/>
            <pc:sldMk cId="691181643" sldId="297"/>
            <ac:cxnSpMk id="99" creationId="{25B643BC-5BC6-DEB6-7D65-0D38F7D8103C}"/>
          </ac:cxnSpMkLst>
        </pc:cxnChg>
        <pc:cxnChg chg="add del mod ord replST">
          <ac:chgData name="Joelle Brehm" userId="a518f54c-6985-42c0-8041-2bb16a414839" providerId="ADAL" clId="{E58FA468-8508-4D9D-B61C-DD2554E44EF7}" dt="2024-03-07T16:53:50.268" v="40146"/>
          <ac:cxnSpMkLst>
            <pc:docMk/>
            <pc:sldMk cId="691181643" sldId="297"/>
            <ac:cxnSpMk id="101" creationId="{6758C092-9A61-F2DC-540A-6C73AF034605}"/>
          </ac:cxnSpMkLst>
        </pc:cxnChg>
        <pc:cxnChg chg="add del mod ord replST">
          <ac:chgData name="Joelle Brehm" userId="a518f54c-6985-42c0-8041-2bb16a414839" providerId="ADAL" clId="{E58FA468-8508-4D9D-B61C-DD2554E44EF7}" dt="2024-03-07T16:53:50.268" v="40150"/>
          <ac:cxnSpMkLst>
            <pc:docMk/>
            <pc:sldMk cId="691181643" sldId="297"/>
            <ac:cxnSpMk id="102" creationId="{68F5D7E7-0620-DCD4-F281-F26D3330C96E}"/>
          </ac:cxnSpMkLst>
        </pc:cxnChg>
        <pc:cxnChg chg="add del mod ord replST">
          <ac:chgData name="Joelle Brehm" userId="a518f54c-6985-42c0-8041-2bb16a414839" providerId="ADAL" clId="{E58FA468-8508-4D9D-B61C-DD2554E44EF7}" dt="2024-03-07T16:53:50.268" v="40152"/>
          <ac:cxnSpMkLst>
            <pc:docMk/>
            <pc:sldMk cId="691181643" sldId="297"/>
            <ac:cxnSpMk id="103" creationId="{B2B5762A-98E1-CFD2-A959-0C55086614D3}"/>
          </ac:cxnSpMkLst>
        </pc:cxnChg>
        <pc:cxnChg chg="add del mod ord replST">
          <ac:chgData name="Joelle Brehm" userId="a518f54c-6985-42c0-8041-2bb16a414839" providerId="ADAL" clId="{E58FA468-8508-4D9D-B61C-DD2554E44EF7}" dt="2024-03-07T16:53:50.268" v="40154"/>
          <ac:cxnSpMkLst>
            <pc:docMk/>
            <pc:sldMk cId="691181643" sldId="297"/>
            <ac:cxnSpMk id="104" creationId="{3326B29C-BE05-1519-3EE2-6224D005B974}"/>
          </ac:cxnSpMkLst>
        </pc:cxnChg>
        <pc:cxnChg chg="add del mod ord replST">
          <ac:chgData name="Joelle Brehm" userId="a518f54c-6985-42c0-8041-2bb16a414839" providerId="ADAL" clId="{E58FA468-8508-4D9D-B61C-DD2554E44EF7}" dt="2024-03-07T16:53:50.268" v="40156"/>
          <ac:cxnSpMkLst>
            <pc:docMk/>
            <pc:sldMk cId="691181643" sldId="297"/>
            <ac:cxnSpMk id="105" creationId="{B85AAA92-6F23-B57C-61B8-5BB77C318963}"/>
          </ac:cxnSpMkLst>
        </pc:cxnChg>
      </pc:sldChg>
      <pc:sldChg chg="delSp modSp add del mod">
        <pc:chgData name="Joelle Brehm" userId="a518f54c-6985-42c0-8041-2bb16a414839" providerId="ADAL" clId="{E58FA468-8508-4D9D-B61C-DD2554E44EF7}" dt="2024-03-04T23:46:47.275" v="80" actId="47"/>
        <pc:sldMkLst>
          <pc:docMk/>
          <pc:sldMk cId="3297612740" sldId="297"/>
        </pc:sldMkLst>
        <pc:spChg chg="mod">
          <ac:chgData name="Joelle Brehm" userId="a518f54c-6985-42c0-8041-2bb16a414839" providerId="ADAL" clId="{E58FA468-8508-4D9D-B61C-DD2554E44EF7}" dt="2024-03-04T23:46:40.758" v="78" actId="6549"/>
          <ac:spMkLst>
            <pc:docMk/>
            <pc:sldMk cId="3297612740" sldId="297"/>
            <ac:spMk id="6" creationId="{3E212D23-A19B-63EE-D93F-FF9F6B78162E}"/>
          </ac:spMkLst>
        </pc:spChg>
        <pc:spChg chg="del">
          <ac:chgData name="Joelle Brehm" userId="a518f54c-6985-42c0-8041-2bb16a414839" providerId="ADAL" clId="{E58FA468-8508-4D9D-B61C-DD2554E44EF7}" dt="2024-03-04T23:46:43.993" v="79" actId="478"/>
          <ac:spMkLst>
            <pc:docMk/>
            <pc:sldMk cId="3297612740" sldId="297"/>
            <ac:spMk id="97" creationId="{01333307-15C0-D256-1252-32C0102C8051}"/>
          </ac:spMkLst>
        </pc:spChg>
      </pc:sldChg>
      <pc:sldChg chg="addSp delSp modSp add mod">
        <pc:chgData name="Joelle Brehm" userId="a518f54c-6985-42c0-8041-2bb16a414839" providerId="ADAL" clId="{E58FA468-8508-4D9D-B61C-DD2554E44EF7}" dt="2024-03-07T17:22:23.528" v="63133" actId="12789"/>
        <pc:sldMkLst>
          <pc:docMk/>
          <pc:sldMk cId="2408005870" sldId="298"/>
        </pc:sldMkLst>
        <pc:spChg chg="mod ord">
          <ac:chgData name="Joelle Brehm" userId="a518f54c-6985-42c0-8041-2bb16a414839" providerId="ADAL" clId="{E58FA468-8508-4D9D-B61C-DD2554E44EF7}" dt="2024-03-07T17:18:17.424" v="63118"/>
          <ac:spMkLst>
            <pc:docMk/>
            <pc:sldMk cId="2408005870" sldId="298"/>
            <ac:spMk id="2" creationId="{0ED69946-FBC9-508C-7A76-E57B5F06DB25}"/>
          </ac:spMkLst>
        </pc:spChg>
        <pc:spChg chg="add mod ord">
          <ac:chgData name="Joelle Brehm" userId="a518f54c-6985-42c0-8041-2bb16a414839" providerId="ADAL" clId="{E58FA468-8508-4D9D-B61C-DD2554E44EF7}" dt="2024-03-07T17:18:17.424" v="63120"/>
          <ac:spMkLst>
            <pc:docMk/>
            <pc:sldMk cId="2408005870" sldId="298"/>
            <ac:spMk id="3" creationId="{9D385F7A-0D5E-BAA8-F542-D726F01E82AF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65"/>
          <ac:spMkLst>
            <pc:docMk/>
            <pc:sldMk cId="2408005870" sldId="298"/>
            <ac:spMk id="5" creationId="{F34FA374-3EAC-771E-33DB-159364F9DE00}"/>
          </ac:spMkLst>
        </pc:spChg>
        <pc:spChg chg="mod ord">
          <ac:chgData name="Joelle Brehm" userId="a518f54c-6985-42c0-8041-2bb16a414839" providerId="ADAL" clId="{E58FA468-8508-4D9D-B61C-DD2554E44EF7}" dt="2024-03-07T17:22:23.528" v="63133" actId="12789"/>
          <ac:spMkLst>
            <pc:docMk/>
            <pc:sldMk cId="2408005870" sldId="298"/>
            <ac:spMk id="6" creationId="{DE41C5D9-5F86-503E-31CB-2261C660FBA8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66"/>
          <ac:spMkLst>
            <pc:docMk/>
            <pc:sldMk cId="2408005870" sldId="298"/>
            <ac:spMk id="8" creationId="{A8C1D581-69D9-4A95-9EC7-797AAA061FED}"/>
          </ac:spMkLst>
        </pc:spChg>
        <pc:spChg chg="mod">
          <ac:chgData name="Joelle Brehm" userId="a518f54c-6985-42c0-8041-2bb16a414839" providerId="ADAL" clId="{E58FA468-8508-4D9D-B61C-DD2554E44EF7}" dt="2024-03-07T17:18:17.409" v="63072"/>
          <ac:spMkLst>
            <pc:docMk/>
            <pc:sldMk cId="2408005870" sldId="298"/>
            <ac:spMk id="11" creationId="{CA016300-C2A3-5479-F7F1-63A6DBB1977B}"/>
          </ac:spMkLst>
        </pc:spChg>
        <pc:spChg chg="mod">
          <ac:chgData name="Joelle Brehm" userId="a518f54c-6985-42c0-8041-2bb16a414839" providerId="ADAL" clId="{E58FA468-8508-4D9D-B61C-DD2554E44EF7}" dt="2024-03-07T17:18:17.404" v="63068"/>
          <ac:spMkLst>
            <pc:docMk/>
            <pc:sldMk cId="2408005870" sldId="298"/>
            <ac:spMk id="12" creationId="{95F9EB3F-3A35-4028-E594-42ACA739D3C0}"/>
          </ac:spMkLst>
        </pc:spChg>
        <pc:spChg chg="mod">
          <ac:chgData name="Joelle Brehm" userId="a518f54c-6985-42c0-8041-2bb16a414839" providerId="ADAL" clId="{E58FA468-8508-4D9D-B61C-DD2554E44EF7}" dt="2024-03-07T17:18:17.404" v="63069"/>
          <ac:spMkLst>
            <pc:docMk/>
            <pc:sldMk cId="2408005870" sldId="298"/>
            <ac:spMk id="13" creationId="{97D6763B-6469-7EB9-E8DE-188261B2C2FA}"/>
          </ac:spMkLst>
        </pc:spChg>
        <pc:spChg chg="mod">
          <ac:chgData name="Joelle Brehm" userId="a518f54c-6985-42c0-8041-2bb16a414839" providerId="ADAL" clId="{E58FA468-8508-4D9D-B61C-DD2554E44EF7}" dt="2024-03-07T17:18:17.404" v="63066"/>
          <ac:spMkLst>
            <pc:docMk/>
            <pc:sldMk cId="2408005870" sldId="298"/>
            <ac:spMk id="14" creationId="{16A22A32-B4BE-8C31-E1A5-E7423618FC14}"/>
          </ac:spMkLst>
        </pc:spChg>
        <pc:spChg chg="mod">
          <ac:chgData name="Joelle Brehm" userId="a518f54c-6985-42c0-8041-2bb16a414839" providerId="ADAL" clId="{E58FA468-8508-4D9D-B61C-DD2554E44EF7}" dt="2024-03-07T17:18:17.404" v="63067"/>
          <ac:spMkLst>
            <pc:docMk/>
            <pc:sldMk cId="2408005870" sldId="298"/>
            <ac:spMk id="15" creationId="{D9F0AB18-292A-D369-16B8-2E76E14CD1B4}"/>
          </ac:spMkLst>
        </pc:spChg>
        <pc:spChg chg="mod">
          <ac:chgData name="Joelle Brehm" userId="a518f54c-6985-42c0-8041-2bb16a414839" providerId="ADAL" clId="{E58FA468-8508-4D9D-B61C-DD2554E44EF7}" dt="2024-03-07T17:18:17.408" v="63070"/>
          <ac:spMkLst>
            <pc:docMk/>
            <pc:sldMk cId="2408005870" sldId="298"/>
            <ac:spMk id="16" creationId="{A1A79201-80C7-A139-796A-12F76E5104AD}"/>
          </ac:spMkLst>
        </pc:spChg>
        <pc:spChg chg="mod">
          <ac:chgData name="Joelle Brehm" userId="a518f54c-6985-42c0-8041-2bb16a414839" providerId="ADAL" clId="{E58FA468-8508-4D9D-B61C-DD2554E44EF7}" dt="2024-03-07T17:18:17.408" v="63071"/>
          <ac:spMkLst>
            <pc:docMk/>
            <pc:sldMk cId="2408005870" sldId="298"/>
            <ac:spMk id="17" creationId="{A6371AA9-0691-90E2-6053-C44FB7BF3E38}"/>
          </ac:spMkLst>
        </pc:spChg>
        <pc:spChg chg="mod">
          <ac:chgData name="Joelle Brehm" userId="a518f54c-6985-42c0-8041-2bb16a414839" providerId="ADAL" clId="{E58FA468-8508-4D9D-B61C-DD2554E44EF7}" dt="2024-03-07T17:18:17.409" v="63073"/>
          <ac:spMkLst>
            <pc:docMk/>
            <pc:sldMk cId="2408005870" sldId="298"/>
            <ac:spMk id="18" creationId="{C85CAE6F-7A3A-8BE3-BB6F-B363C5AFCDB8}"/>
          </ac:spMkLst>
        </pc:spChg>
        <pc:spChg chg="mod">
          <ac:chgData name="Joelle Brehm" userId="a518f54c-6985-42c0-8041-2bb16a414839" providerId="ADAL" clId="{E58FA468-8508-4D9D-B61C-DD2554E44EF7}" dt="2024-03-07T17:18:17.409" v="63074"/>
          <ac:spMkLst>
            <pc:docMk/>
            <pc:sldMk cId="2408005870" sldId="298"/>
            <ac:spMk id="19" creationId="{5277DDC2-2A2D-0029-DB25-F54866371E0C}"/>
          </ac:spMkLst>
        </pc:spChg>
        <pc:spChg chg="mod">
          <ac:chgData name="Joelle Brehm" userId="a518f54c-6985-42c0-8041-2bb16a414839" providerId="ADAL" clId="{E58FA468-8508-4D9D-B61C-DD2554E44EF7}" dt="2024-03-07T17:18:17.409" v="63075"/>
          <ac:spMkLst>
            <pc:docMk/>
            <pc:sldMk cId="2408005870" sldId="298"/>
            <ac:spMk id="20" creationId="{BC7D336D-1BB9-ECF2-415F-E023A3BBBD9B}"/>
          </ac:spMkLst>
        </pc:spChg>
        <pc:spChg chg="mod">
          <ac:chgData name="Joelle Brehm" userId="a518f54c-6985-42c0-8041-2bb16a414839" providerId="ADAL" clId="{E58FA468-8508-4D9D-B61C-DD2554E44EF7}" dt="2024-03-07T17:18:17.409" v="63076"/>
          <ac:spMkLst>
            <pc:docMk/>
            <pc:sldMk cId="2408005870" sldId="298"/>
            <ac:spMk id="21" creationId="{D14ED558-5334-C19F-A5B8-7140010B5216}"/>
          </ac:spMkLst>
        </pc:spChg>
        <pc:spChg chg="mod">
          <ac:chgData name="Joelle Brehm" userId="a518f54c-6985-42c0-8041-2bb16a414839" providerId="ADAL" clId="{E58FA468-8508-4D9D-B61C-DD2554E44EF7}" dt="2024-03-07T17:18:17.409" v="63077"/>
          <ac:spMkLst>
            <pc:docMk/>
            <pc:sldMk cId="2408005870" sldId="298"/>
            <ac:spMk id="22" creationId="{1C150717-5D5C-4095-A24C-D6EF84446D4F}"/>
          </ac:spMkLst>
        </pc:spChg>
        <pc:spChg chg="mod ord">
          <ac:chgData name="Joelle Brehm" userId="a518f54c-6985-42c0-8041-2bb16a414839" providerId="ADAL" clId="{E58FA468-8508-4D9D-B61C-DD2554E44EF7}" dt="2024-03-07T17:18:17.409" v="63079"/>
          <ac:spMkLst>
            <pc:docMk/>
            <pc:sldMk cId="2408005870" sldId="298"/>
            <ac:spMk id="23" creationId="{0F60CB9C-34D1-36D2-F94C-15F4FC22092D}"/>
          </ac:spMkLst>
        </pc:spChg>
        <pc:spChg chg="mod">
          <ac:chgData name="Joelle Brehm" userId="a518f54c-6985-42c0-8041-2bb16a414839" providerId="ADAL" clId="{E58FA468-8508-4D9D-B61C-DD2554E44EF7}" dt="2024-03-07T17:18:17.409" v="63082"/>
          <ac:spMkLst>
            <pc:docMk/>
            <pc:sldMk cId="2408005870" sldId="298"/>
            <ac:spMk id="24" creationId="{36500181-4670-B49A-7AC3-2A82E53C2CA3}"/>
          </ac:spMkLst>
        </pc:spChg>
        <pc:spChg chg="mod">
          <ac:chgData name="Joelle Brehm" userId="a518f54c-6985-42c0-8041-2bb16a414839" providerId="ADAL" clId="{E58FA468-8508-4D9D-B61C-DD2554E44EF7}" dt="2024-03-07T17:18:17.409" v="63084"/>
          <ac:spMkLst>
            <pc:docMk/>
            <pc:sldMk cId="2408005870" sldId="298"/>
            <ac:spMk id="25" creationId="{58AD6EC7-2E4C-2B24-5137-99C38A661019}"/>
          </ac:spMkLst>
        </pc:spChg>
        <pc:spChg chg="mod">
          <ac:chgData name="Joelle Brehm" userId="a518f54c-6985-42c0-8041-2bb16a414839" providerId="ADAL" clId="{E58FA468-8508-4D9D-B61C-DD2554E44EF7}" dt="2024-03-07T17:18:17.409" v="63083"/>
          <ac:spMkLst>
            <pc:docMk/>
            <pc:sldMk cId="2408005870" sldId="298"/>
            <ac:spMk id="26" creationId="{29055051-95C0-892B-B496-84640681B51B}"/>
          </ac:spMkLst>
        </pc:spChg>
        <pc:spChg chg="mod">
          <ac:chgData name="Joelle Brehm" userId="a518f54c-6985-42c0-8041-2bb16a414839" providerId="ADAL" clId="{E58FA468-8508-4D9D-B61C-DD2554E44EF7}" dt="2024-03-07T17:18:17.409" v="63087"/>
          <ac:spMkLst>
            <pc:docMk/>
            <pc:sldMk cId="2408005870" sldId="298"/>
            <ac:spMk id="27" creationId="{15389E45-B188-8E55-F9BF-97020DFCC806}"/>
          </ac:spMkLst>
        </pc:spChg>
        <pc:spChg chg="mod">
          <ac:chgData name="Joelle Brehm" userId="a518f54c-6985-42c0-8041-2bb16a414839" providerId="ADAL" clId="{E58FA468-8508-4D9D-B61C-DD2554E44EF7}" dt="2024-03-07T17:18:17.409" v="63088"/>
          <ac:spMkLst>
            <pc:docMk/>
            <pc:sldMk cId="2408005870" sldId="298"/>
            <ac:spMk id="28" creationId="{B894C8FA-0E16-209B-5808-A9F27224B339}"/>
          </ac:spMkLst>
        </pc:spChg>
        <pc:spChg chg="mod">
          <ac:chgData name="Joelle Brehm" userId="a518f54c-6985-42c0-8041-2bb16a414839" providerId="ADAL" clId="{E58FA468-8508-4D9D-B61C-DD2554E44EF7}" dt="2024-03-07T17:18:17.409" v="63086"/>
          <ac:spMkLst>
            <pc:docMk/>
            <pc:sldMk cId="2408005870" sldId="298"/>
            <ac:spMk id="29" creationId="{D51A0C91-4CAD-F515-546F-3A2437891C98}"/>
          </ac:spMkLst>
        </pc:spChg>
        <pc:spChg chg="mod ord">
          <ac:chgData name="Joelle Brehm" userId="a518f54c-6985-42c0-8041-2bb16a414839" providerId="ADAL" clId="{E58FA468-8508-4D9D-B61C-DD2554E44EF7}" dt="2024-03-07T17:18:17.409" v="63090"/>
          <ac:spMkLst>
            <pc:docMk/>
            <pc:sldMk cId="2408005870" sldId="298"/>
            <ac:spMk id="30" creationId="{2CC97171-2B19-F184-EC98-7749012F6DB5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67"/>
          <ac:spMkLst>
            <pc:docMk/>
            <pc:sldMk cId="2408005870" sldId="298"/>
            <ac:spMk id="31" creationId="{EB71C0F1-FE90-275A-542F-32582C8E88D3}"/>
          </ac:spMkLst>
        </pc:spChg>
        <pc:spChg chg="del mod">
          <ac:chgData name="Joelle Brehm" userId="a518f54c-6985-42c0-8041-2bb16a414839" providerId="ADAL" clId="{E58FA468-8508-4D9D-B61C-DD2554E44EF7}" dt="2024-03-07T17:17:28.807" v="61998"/>
          <ac:spMkLst>
            <pc:docMk/>
            <pc:sldMk cId="2408005870" sldId="298"/>
            <ac:spMk id="32" creationId="{AFE8E0DD-A751-B02F-4A4C-1752B4832E67}"/>
          </ac:spMkLst>
        </pc:spChg>
        <pc:spChg chg="del mod">
          <ac:chgData name="Joelle Brehm" userId="a518f54c-6985-42c0-8041-2bb16a414839" providerId="ADAL" clId="{E58FA468-8508-4D9D-B61C-DD2554E44EF7}" dt="2024-03-07T17:17:28.807" v="62001"/>
          <ac:spMkLst>
            <pc:docMk/>
            <pc:sldMk cId="2408005870" sldId="298"/>
            <ac:spMk id="33" creationId="{5F908A86-5CA2-D3AC-351D-F5491AF63275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68"/>
          <ac:spMkLst>
            <pc:docMk/>
            <pc:sldMk cId="2408005870" sldId="298"/>
            <ac:spMk id="34" creationId="{6A086BD1-1F24-06AA-64C9-032261E4AA3A}"/>
          </ac:spMkLst>
        </pc:spChg>
        <pc:spChg chg="del mod">
          <ac:chgData name="Joelle Brehm" userId="a518f54c-6985-42c0-8041-2bb16a414839" providerId="ADAL" clId="{E58FA468-8508-4D9D-B61C-DD2554E44EF7}" dt="2024-03-07T17:17:29.083" v="62235"/>
          <ac:spMkLst>
            <pc:docMk/>
            <pc:sldMk cId="2408005870" sldId="298"/>
            <ac:spMk id="36" creationId="{8288D40D-1747-0BA9-CE69-F172C523321D}"/>
          </ac:spMkLst>
        </pc:spChg>
        <pc:spChg chg="mod ord">
          <ac:chgData name="Joelle Brehm" userId="a518f54c-6985-42c0-8041-2bb16a414839" providerId="ADAL" clId="{E58FA468-8508-4D9D-B61C-DD2554E44EF7}" dt="2024-03-07T17:18:17.409" v="63081"/>
          <ac:spMkLst>
            <pc:docMk/>
            <pc:sldMk cId="2408005870" sldId="298"/>
            <ac:spMk id="37" creationId="{D22AFD2E-1619-5918-9AA4-D04FE2AB012B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69"/>
          <ac:spMkLst>
            <pc:docMk/>
            <pc:sldMk cId="2408005870" sldId="298"/>
            <ac:spMk id="38" creationId="{8F825892-C42A-79F1-BD19-470815B0FB7A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0"/>
          <ac:spMkLst>
            <pc:docMk/>
            <pc:sldMk cId="2408005870" sldId="298"/>
            <ac:spMk id="39" creationId="{01948334-7C8E-6D26-931F-C205BFE51F74}"/>
          </ac:spMkLst>
        </pc:spChg>
        <pc:spChg chg="del mod">
          <ac:chgData name="Joelle Brehm" userId="a518f54c-6985-42c0-8041-2bb16a414839" providerId="ADAL" clId="{E58FA468-8508-4D9D-B61C-DD2554E44EF7}" dt="2024-03-07T17:17:28.807" v="61993"/>
          <ac:spMkLst>
            <pc:docMk/>
            <pc:sldMk cId="2408005870" sldId="298"/>
            <ac:spMk id="40" creationId="{E020F178-54DC-90A9-F04C-2503D070EAD2}"/>
          </ac:spMkLst>
        </pc:spChg>
        <pc:spChg chg="del mod">
          <ac:chgData name="Joelle Brehm" userId="a518f54c-6985-42c0-8041-2bb16a414839" providerId="ADAL" clId="{E58FA468-8508-4D9D-B61C-DD2554E44EF7}" dt="2024-03-07T17:17:28.807" v="61994"/>
          <ac:spMkLst>
            <pc:docMk/>
            <pc:sldMk cId="2408005870" sldId="298"/>
            <ac:spMk id="41" creationId="{302350AB-15DF-972D-4785-C700FA7DCF3F}"/>
          </ac:spMkLst>
        </pc:spChg>
        <pc:spChg chg="del mod">
          <ac:chgData name="Joelle Brehm" userId="a518f54c-6985-42c0-8041-2bb16a414839" providerId="ADAL" clId="{E58FA468-8508-4D9D-B61C-DD2554E44EF7}" dt="2024-03-07T17:17:28.807" v="61991"/>
          <ac:spMkLst>
            <pc:docMk/>
            <pc:sldMk cId="2408005870" sldId="298"/>
            <ac:spMk id="42" creationId="{474A2877-AE4D-BBA8-679D-0880ED3C5858}"/>
          </ac:spMkLst>
        </pc:spChg>
        <pc:spChg chg="del mod">
          <ac:chgData name="Joelle Brehm" userId="a518f54c-6985-42c0-8041-2bb16a414839" providerId="ADAL" clId="{E58FA468-8508-4D9D-B61C-DD2554E44EF7}" dt="2024-03-07T17:17:28.807" v="61995"/>
          <ac:spMkLst>
            <pc:docMk/>
            <pc:sldMk cId="2408005870" sldId="298"/>
            <ac:spMk id="43" creationId="{2E9EC3C5-0AF0-AB4E-60F4-765FF4536D19}"/>
          </ac:spMkLst>
        </pc:spChg>
        <pc:spChg chg="del mod">
          <ac:chgData name="Joelle Brehm" userId="a518f54c-6985-42c0-8041-2bb16a414839" providerId="ADAL" clId="{E58FA468-8508-4D9D-B61C-DD2554E44EF7}" dt="2024-03-07T17:17:28.807" v="61992"/>
          <ac:spMkLst>
            <pc:docMk/>
            <pc:sldMk cId="2408005870" sldId="298"/>
            <ac:spMk id="44" creationId="{102AB066-972A-598D-FC21-48C30AFB6D0A}"/>
          </ac:spMkLst>
        </pc:spChg>
        <pc:spChg chg="del mod">
          <ac:chgData name="Joelle Brehm" userId="a518f54c-6985-42c0-8041-2bb16a414839" providerId="ADAL" clId="{E58FA468-8508-4D9D-B61C-DD2554E44EF7}" dt="2024-03-07T17:17:28.807" v="61996"/>
          <ac:spMkLst>
            <pc:docMk/>
            <pc:sldMk cId="2408005870" sldId="298"/>
            <ac:spMk id="45" creationId="{ACF3A763-591D-7D74-ACF7-C7A3B23729C4}"/>
          </ac:spMkLst>
        </pc:spChg>
        <pc:spChg chg="del mod">
          <ac:chgData name="Joelle Brehm" userId="a518f54c-6985-42c0-8041-2bb16a414839" providerId="ADAL" clId="{E58FA468-8508-4D9D-B61C-DD2554E44EF7}" dt="2024-03-07T17:17:28.807" v="62000"/>
          <ac:spMkLst>
            <pc:docMk/>
            <pc:sldMk cId="2408005870" sldId="298"/>
            <ac:spMk id="46" creationId="{3C6143AA-F156-70FC-72EF-847F82F551A7}"/>
          </ac:spMkLst>
        </pc:spChg>
        <pc:spChg chg="del mod">
          <ac:chgData name="Joelle Brehm" userId="a518f54c-6985-42c0-8041-2bb16a414839" providerId="ADAL" clId="{E58FA468-8508-4D9D-B61C-DD2554E44EF7}" dt="2024-03-07T17:17:28.807" v="61997"/>
          <ac:spMkLst>
            <pc:docMk/>
            <pc:sldMk cId="2408005870" sldId="298"/>
            <ac:spMk id="47" creationId="{8CD50FB8-11BC-4623-B071-F610F7E9A5A0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1"/>
          <ac:spMkLst>
            <pc:docMk/>
            <pc:sldMk cId="2408005870" sldId="298"/>
            <ac:spMk id="48" creationId="{B7CE7F97-3702-0B4F-334B-967CDDC90649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2"/>
          <ac:spMkLst>
            <pc:docMk/>
            <pc:sldMk cId="2408005870" sldId="298"/>
            <ac:spMk id="49" creationId="{8395CCA2-ED9F-9E9B-892D-8C463CB86740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3"/>
          <ac:spMkLst>
            <pc:docMk/>
            <pc:sldMk cId="2408005870" sldId="298"/>
            <ac:spMk id="50" creationId="{533CE611-72D3-5FB7-5480-16045C4C537F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4"/>
          <ac:spMkLst>
            <pc:docMk/>
            <pc:sldMk cId="2408005870" sldId="298"/>
            <ac:spMk id="51" creationId="{E80B0C12-39EF-42AD-4F59-24C9B1A7BB89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5"/>
          <ac:spMkLst>
            <pc:docMk/>
            <pc:sldMk cId="2408005870" sldId="298"/>
            <ac:spMk id="52" creationId="{FCAB73C3-472E-3A44-8B64-E3CE6B02F471}"/>
          </ac:spMkLst>
        </pc:spChg>
        <pc:spChg chg="del mod">
          <ac:chgData name="Joelle Brehm" userId="a518f54c-6985-42c0-8041-2bb16a414839" providerId="ADAL" clId="{E58FA468-8508-4D9D-B61C-DD2554E44EF7}" dt="2024-03-07T17:17:28.807" v="61999"/>
          <ac:spMkLst>
            <pc:docMk/>
            <pc:sldMk cId="2408005870" sldId="298"/>
            <ac:spMk id="53" creationId="{7770A03F-8AA1-4388-3BA2-34987FE95A56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6"/>
          <ac:spMkLst>
            <pc:docMk/>
            <pc:sldMk cId="2408005870" sldId="298"/>
            <ac:spMk id="54" creationId="{69A44669-26C9-69DE-A80F-59305141A38F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7"/>
          <ac:spMkLst>
            <pc:docMk/>
            <pc:sldMk cId="2408005870" sldId="298"/>
            <ac:spMk id="56" creationId="{79831E38-B0AA-3768-1A76-C842B22DDAFB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8"/>
          <ac:spMkLst>
            <pc:docMk/>
            <pc:sldMk cId="2408005870" sldId="298"/>
            <ac:spMk id="57" creationId="{DD45ABFA-A05E-EA91-35A5-E86C4305ECDE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79"/>
          <ac:spMkLst>
            <pc:docMk/>
            <pc:sldMk cId="2408005870" sldId="298"/>
            <ac:spMk id="58" creationId="{844692E6-D81B-B4D4-044A-0F70F149164E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0"/>
          <ac:spMkLst>
            <pc:docMk/>
            <pc:sldMk cId="2408005870" sldId="298"/>
            <ac:spMk id="59" creationId="{8C2B1066-BAFC-4456-E49E-28838AA4AC09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1"/>
          <ac:spMkLst>
            <pc:docMk/>
            <pc:sldMk cId="2408005870" sldId="298"/>
            <ac:spMk id="60" creationId="{65D2154A-1C22-90F0-CCF7-E163A782638D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2"/>
          <ac:spMkLst>
            <pc:docMk/>
            <pc:sldMk cId="2408005870" sldId="298"/>
            <ac:spMk id="61" creationId="{44A9E092-F42E-7C90-F34B-3EE8EDD1608A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3"/>
          <ac:spMkLst>
            <pc:docMk/>
            <pc:sldMk cId="2408005870" sldId="298"/>
            <ac:spMk id="62" creationId="{2BF5AC42-51BC-0AD7-6039-984BAA9B6F3A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4"/>
          <ac:spMkLst>
            <pc:docMk/>
            <pc:sldMk cId="2408005870" sldId="298"/>
            <ac:spMk id="63" creationId="{0E5313B0-352E-8404-615C-EE0FA02D28F6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5"/>
          <ac:spMkLst>
            <pc:docMk/>
            <pc:sldMk cId="2408005870" sldId="298"/>
            <ac:spMk id="64" creationId="{0AAC8F7B-16E4-DACF-C7EA-4BE1FBC718B3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6"/>
          <ac:spMkLst>
            <pc:docMk/>
            <pc:sldMk cId="2408005870" sldId="298"/>
            <ac:spMk id="65" creationId="{34200248-48D5-0B08-7100-62E11E3F15A0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7"/>
          <ac:spMkLst>
            <pc:docMk/>
            <pc:sldMk cId="2408005870" sldId="298"/>
            <ac:spMk id="66" creationId="{0B3E57E2-D423-C677-5654-51DB4CC21303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8"/>
          <ac:spMkLst>
            <pc:docMk/>
            <pc:sldMk cId="2408005870" sldId="298"/>
            <ac:spMk id="67" creationId="{7FC886C3-3978-4B6E-3336-5970751CF711}"/>
          </ac:spMkLst>
        </pc:spChg>
        <pc:spChg chg="add del mod replST">
          <ac:chgData name="Joelle Brehm" userId="a518f54c-6985-42c0-8041-2bb16a414839" providerId="ADAL" clId="{E58FA468-8508-4D9D-B61C-DD2554E44EF7}" dt="2024-03-07T17:17:28.791" v="61989"/>
          <ac:spMkLst>
            <pc:docMk/>
            <pc:sldMk cId="2408005870" sldId="298"/>
            <ac:spMk id="68" creationId="{56FCD982-059D-DB27-89C2-52617A9F590D}"/>
          </ac:spMkLst>
        </pc:spChg>
        <pc:spChg chg="add del mod replST">
          <ac:chgData name="Joelle Brehm" userId="a518f54c-6985-42c0-8041-2bb16a414839" providerId="ADAL" clId="{E58FA468-8508-4D9D-B61C-DD2554E44EF7}" dt="2024-03-07T17:17:28.807" v="61990"/>
          <ac:spMkLst>
            <pc:docMk/>
            <pc:sldMk cId="2408005870" sldId="298"/>
            <ac:spMk id="69" creationId="{16CF07F1-4ECB-2B62-9480-92A0E775DAA6}"/>
          </ac:spMkLst>
        </pc:spChg>
        <pc:spChg chg="add del mod modVis">
          <ac:chgData name="Joelle Brehm" userId="a518f54c-6985-42c0-8041-2bb16a414839" providerId="ADAL" clId="{E58FA468-8508-4D9D-B61C-DD2554E44EF7}" dt="2024-03-07T17:17:13.472" v="61458"/>
          <ac:spMkLst>
            <pc:docMk/>
            <pc:sldMk cId="2408005870" sldId="298"/>
            <ac:spMk id="70" creationId="{4CB112CE-8F16-75DA-6A0E-76999D32A15D}"/>
          </ac:spMkLst>
        </pc:spChg>
        <pc:spChg chg="add del mod ord replST">
          <ac:chgData name="Joelle Brehm" userId="a518f54c-6985-42c0-8041-2bb16a414839" providerId="ADAL" clId="{E58FA468-8508-4D9D-B61C-DD2554E44EF7}" dt="2024-03-07T17:17:16.772" v="61480"/>
          <ac:spMkLst>
            <pc:docMk/>
            <pc:sldMk cId="2408005870" sldId="298"/>
            <ac:spMk id="71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776" v="61484"/>
          <ac:spMkLst>
            <pc:docMk/>
            <pc:sldMk cId="2408005870" sldId="298"/>
            <ac:spMk id="72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780" v="61488"/>
          <ac:spMkLst>
            <pc:docMk/>
            <pc:sldMk cId="2408005870" sldId="298"/>
            <ac:spMk id="73" creationId="{7CAA3B95-4C78-4122-BECA-B5FB0F3F3764}"/>
          </ac:spMkLst>
        </pc:spChg>
        <pc:spChg chg="mod">
          <ac:chgData name="Joelle Brehm" userId="a518f54c-6985-42c0-8041-2bb16a414839" providerId="ADAL" clId="{E58FA468-8508-4D9D-B61C-DD2554E44EF7}" dt="2024-03-07T17:18:17.409" v="63085"/>
          <ac:spMkLst>
            <pc:docMk/>
            <pc:sldMk cId="2408005870" sldId="298"/>
            <ac:spMk id="74" creationId="{F96CED9D-6367-A924-0F54-E35B745F0FAC}"/>
          </ac:spMkLst>
        </pc:spChg>
        <pc:spChg chg="add del mod ord replST">
          <ac:chgData name="Joelle Brehm" userId="a518f54c-6985-42c0-8041-2bb16a414839" providerId="ADAL" clId="{E58FA468-8508-4D9D-B61C-DD2554E44EF7}" dt="2024-03-07T17:17:16.782" v="61492"/>
          <ac:spMkLst>
            <pc:docMk/>
            <pc:sldMk cId="2408005870" sldId="298"/>
            <ac:spMk id="75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782" v="61494"/>
          <ac:spMkLst>
            <pc:docMk/>
            <pc:sldMk cId="2408005870" sldId="298"/>
            <ac:spMk id="76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782" v="61496"/>
          <ac:spMkLst>
            <pc:docMk/>
            <pc:sldMk cId="2408005870" sldId="298"/>
            <ac:spMk id="77" creationId="{7CAA3B95-4C78-4122-BECA-B5FB0F3F3764}"/>
          </ac:spMkLst>
        </pc:spChg>
        <pc:spChg chg="mod ord">
          <ac:chgData name="Joelle Brehm" userId="a518f54c-6985-42c0-8041-2bb16a414839" providerId="ADAL" clId="{E58FA468-8508-4D9D-B61C-DD2554E44EF7}" dt="2024-03-07T17:18:17.409" v="63095"/>
          <ac:spMkLst>
            <pc:docMk/>
            <pc:sldMk cId="2408005870" sldId="298"/>
            <ac:spMk id="78" creationId="{3BC39856-0E2A-9CBF-43C2-36FB3A102F41}"/>
          </ac:spMkLst>
        </pc:spChg>
        <pc:spChg chg="mod ord">
          <ac:chgData name="Joelle Brehm" userId="a518f54c-6985-42c0-8041-2bb16a414839" providerId="ADAL" clId="{E58FA468-8508-4D9D-B61C-DD2554E44EF7}" dt="2024-03-07T17:18:17.409" v="63097"/>
          <ac:spMkLst>
            <pc:docMk/>
            <pc:sldMk cId="2408005870" sldId="298"/>
            <ac:spMk id="79" creationId="{E49D6D66-16FF-BB70-1B5C-19C4966EBD03}"/>
          </ac:spMkLst>
        </pc:spChg>
        <pc:spChg chg="add del mod ord replST">
          <ac:chgData name="Joelle Brehm" userId="a518f54c-6985-42c0-8041-2bb16a414839" providerId="ADAL" clId="{E58FA468-8508-4D9D-B61C-DD2554E44EF7}" dt="2024-03-07T17:17:16.782" v="61500"/>
          <ac:spMkLst>
            <pc:docMk/>
            <pc:sldMk cId="2408005870" sldId="298"/>
            <ac:spMk id="80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790" v="61502"/>
          <ac:spMkLst>
            <pc:docMk/>
            <pc:sldMk cId="2408005870" sldId="298"/>
            <ac:spMk id="81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790" v="61506"/>
          <ac:spMkLst>
            <pc:docMk/>
            <pc:sldMk cId="2408005870" sldId="298"/>
            <ac:spMk id="82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790" v="61516"/>
          <ac:spMkLst>
            <pc:docMk/>
            <pc:sldMk cId="2408005870" sldId="298"/>
            <ac:spMk id="83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806" v="61520"/>
          <ac:spMkLst>
            <pc:docMk/>
            <pc:sldMk cId="2408005870" sldId="298"/>
            <ac:spMk id="84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807" v="61522"/>
          <ac:spMkLst>
            <pc:docMk/>
            <pc:sldMk cId="2408005870" sldId="298"/>
            <ac:spMk id="85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807" v="61526"/>
          <ac:spMkLst>
            <pc:docMk/>
            <pc:sldMk cId="2408005870" sldId="298"/>
            <ac:spMk id="86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820" v="61528"/>
          <ac:spMkLst>
            <pc:docMk/>
            <pc:sldMk cId="2408005870" sldId="298"/>
            <ac:spMk id="87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821" v="61532"/>
          <ac:spMkLst>
            <pc:docMk/>
            <pc:sldMk cId="2408005870" sldId="298"/>
            <ac:spMk id="88" creationId="{7CAA3B95-4C78-4122-BECA-B5FB0F3F3764}"/>
          </ac:spMkLst>
        </pc:spChg>
        <pc:spChg chg="add del mod ord replST">
          <ac:chgData name="Joelle Brehm" userId="a518f54c-6985-42c0-8041-2bb16a414839" providerId="ADAL" clId="{E58FA468-8508-4D9D-B61C-DD2554E44EF7}" dt="2024-03-07T17:17:16.843" v="61546"/>
          <ac:spMkLst>
            <pc:docMk/>
            <pc:sldMk cId="2408005870" sldId="298"/>
            <ac:spMk id="89" creationId="{7CAA3B95-4C78-4122-BECA-B5FB0F3F3764}"/>
          </ac:spMkLst>
        </pc:spChg>
        <pc:spChg chg="del mod ord">
          <ac:chgData name="Joelle Brehm" userId="a518f54c-6985-42c0-8041-2bb16a414839" providerId="ADAL" clId="{E58FA468-8508-4D9D-B61C-DD2554E44EF7}" dt="2024-03-07T17:22:01.378" v="63127" actId="478"/>
          <ac:spMkLst>
            <pc:docMk/>
            <pc:sldMk cId="2408005870" sldId="298"/>
            <ac:spMk id="97" creationId="{85B77AA1-07A9-68D4-97CC-49B9366B4D91}"/>
          </ac:spMkLst>
        </pc:spChg>
        <pc:spChg chg="mod ord">
          <ac:chgData name="Joelle Brehm" userId="a518f54c-6985-42c0-8041-2bb16a414839" providerId="ADAL" clId="{E58FA468-8508-4D9D-B61C-DD2554E44EF7}" dt="2024-03-07T17:18:17.409" v="63099"/>
          <ac:spMkLst>
            <pc:docMk/>
            <pc:sldMk cId="2408005870" sldId="298"/>
            <ac:spMk id="100" creationId="{C88E22AA-0092-05BA-BF9A-6365A03D7FBE}"/>
          </ac:spMkLst>
        </pc:spChg>
        <pc:spChg chg="mod ord">
          <ac:chgData name="Joelle Brehm" userId="a518f54c-6985-42c0-8041-2bb16a414839" providerId="ADAL" clId="{E58FA468-8508-4D9D-B61C-DD2554E44EF7}" dt="2024-03-07T17:18:17.424" v="63101"/>
          <ac:spMkLst>
            <pc:docMk/>
            <pc:sldMk cId="2408005870" sldId="298"/>
            <ac:spMk id="108" creationId="{5E4FE43B-AF0C-26EE-FD35-8E5FA1F48181}"/>
          </ac:spMkLst>
        </pc:spChg>
        <pc:spChg chg="mod ord">
          <ac:chgData name="Joelle Brehm" userId="a518f54c-6985-42c0-8041-2bb16a414839" providerId="ADAL" clId="{E58FA468-8508-4D9D-B61C-DD2554E44EF7}" dt="2024-03-07T17:18:17.424" v="63103"/>
          <ac:spMkLst>
            <pc:docMk/>
            <pc:sldMk cId="2408005870" sldId="298"/>
            <ac:spMk id="109" creationId="{813D763F-3392-5CD1-36BE-251DFFE419CF}"/>
          </ac:spMkLst>
        </pc:spChg>
        <pc:spChg chg="mod ord">
          <ac:chgData name="Joelle Brehm" userId="a518f54c-6985-42c0-8041-2bb16a414839" providerId="ADAL" clId="{E58FA468-8508-4D9D-B61C-DD2554E44EF7}" dt="2024-03-07T17:18:17.424" v="63105"/>
          <ac:spMkLst>
            <pc:docMk/>
            <pc:sldMk cId="2408005870" sldId="298"/>
            <ac:spMk id="110" creationId="{CDE9DB01-62E8-9DCE-9D32-2702FF3872FC}"/>
          </ac:spMkLst>
        </pc:spChg>
        <pc:spChg chg="add del mod modVis">
          <ac:chgData name="Joelle Brehm" userId="a518f54c-6985-42c0-8041-2bb16a414839" providerId="ADAL" clId="{E58FA468-8508-4D9D-B61C-DD2554E44EF7}" dt="2024-03-07T17:17:17.450" v="61750"/>
          <ac:spMkLst>
            <pc:docMk/>
            <pc:sldMk cId="2408005870" sldId="298"/>
            <ac:spMk id="117" creationId="{0823006D-32DA-73CD-D4CD-85A053234E41}"/>
          </ac:spMkLst>
        </pc:spChg>
        <pc:spChg chg="add del mod modVis">
          <ac:chgData name="Joelle Brehm" userId="a518f54c-6985-42c0-8041-2bb16a414839" providerId="ADAL" clId="{E58FA468-8508-4D9D-B61C-DD2554E44EF7}" dt="2024-03-07T17:17:25.019" v="61962"/>
          <ac:spMkLst>
            <pc:docMk/>
            <pc:sldMk cId="2408005870" sldId="298"/>
            <ac:spMk id="119" creationId="{2E61AA30-E056-16AA-E625-7F8C62A5FF45}"/>
          </ac:spMkLst>
        </pc:spChg>
        <pc:spChg chg="add del mod modVis">
          <ac:chgData name="Joelle Brehm" userId="a518f54c-6985-42c0-8041-2bb16a414839" providerId="ADAL" clId="{E58FA468-8508-4D9D-B61C-DD2554E44EF7}" dt="2024-03-07T17:17:29.134" v="62321"/>
          <ac:spMkLst>
            <pc:docMk/>
            <pc:sldMk cId="2408005870" sldId="298"/>
            <ac:spMk id="121" creationId="{910323A9-325D-2E56-6635-BD1664D88331}"/>
          </ac:spMkLst>
        </pc:spChg>
        <pc:spChg chg="add del mod replST">
          <ac:chgData name="Joelle Brehm" userId="a518f54c-6985-42c0-8041-2bb16a414839" providerId="ADAL" clId="{E58FA468-8508-4D9D-B61C-DD2554E44EF7}" dt="2024-03-07T17:17:39.783" v="62326"/>
          <ac:spMkLst>
            <pc:docMk/>
            <pc:sldMk cId="2408005870" sldId="298"/>
            <ac:spMk id="122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17:39.783" v="62325"/>
          <ac:spMkLst>
            <pc:docMk/>
            <pc:sldMk cId="2408005870" sldId="298"/>
            <ac:spMk id="123" creationId="{7CAA3B95-4C78-4122-BECA-B5FB0F3F3764}"/>
          </ac:spMkLst>
        </pc:spChg>
        <pc:spChg chg="add del mod replST">
          <ac:chgData name="Joelle Brehm" userId="a518f54c-6985-42c0-8041-2bb16a414839" providerId="ADAL" clId="{E58FA468-8508-4D9D-B61C-DD2554E44EF7}" dt="2024-03-07T17:17:39.783" v="62324"/>
          <ac:spMkLst>
            <pc:docMk/>
            <pc:sldMk cId="2408005870" sldId="298"/>
            <ac:spMk id="124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7:17:39.915" v="62517"/>
          <ac:spMkLst>
            <pc:docMk/>
            <pc:sldMk cId="2408005870" sldId="298"/>
            <ac:spMk id="126" creationId="{3E88EB63-4E9F-2F0D-E96C-73ADD0BD6F1D}"/>
          </ac:spMkLst>
        </pc:spChg>
        <pc:spChg chg="add mod replST">
          <ac:chgData name="Joelle Brehm" userId="a518f54c-6985-42c0-8041-2bb16a414839" providerId="ADAL" clId="{E58FA468-8508-4D9D-B61C-DD2554E44EF7}" dt="2024-03-07T17:18:17.409" v="63093"/>
          <ac:spMkLst>
            <pc:docMk/>
            <pc:sldMk cId="2408005870" sldId="298"/>
            <ac:spMk id="127" creationId="{7CAA3B95-4C78-4122-BECA-B5FB0F3F3764}"/>
          </ac:spMkLst>
        </pc:spChg>
        <pc:spChg chg="add del mod modVis">
          <ac:chgData name="Joelle Brehm" userId="a518f54c-6985-42c0-8041-2bb16a414839" providerId="ADAL" clId="{E58FA468-8508-4D9D-B61C-DD2554E44EF7}" dt="2024-03-07T17:17:43.117" v="62637"/>
          <ac:spMkLst>
            <pc:docMk/>
            <pc:sldMk cId="2408005870" sldId="298"/>
            <ac:spMk id="129" creationId="{6E2A8F7B-F8A4-9342-7736-6E425A7F61B2}"/>
          </ac:spMkLst>
        </pc:spChg>
        <pc:spChg chg="add del mod modVis">
          <ac:chgData name="Joelle Brehm" userId="a518f54c-6985-42c0-8041-2bb16a414839" providerId="ADAL" clId="{E58FA468-8508-4D9D-B61C-DD2554E44EF7}" dt="2024-03-07T17:17:52.220" v="62840"/>
          <ac:spMkLst>
            <pc:docMk/>
            <pc:sldMk cId="2408005870" sldId="298"/>
            <ac:spMk id="131" creationId="{99840DB3-E294-D3EA-588B-E421740E6818}"/>
          </ac:spMkLst>
        </pc:spChg>
        <pc:spChg chg="mod">
          <ac:chgData name="Joelle Brehm" userId="a518f54c-6985-42c0-8041-2bb16a414839" providerId="ADAL" clId="{E58FA468-8508-4D9D-B61C-DD2554E44EF7}" dt="2024-03-07T17:18:17.424" v="63108"/>
          <ac:spMkLst>
            <pc:docMk/>
            <pc:sldMk cId="2408005870" sldId="298"/>
            <ac:spMk id="133" creationId="{583DBFB2-F20D-7A4D-EA94-53532A11B391}"/>
          </ac:spMkLst>
        </pc:spChg>
        <pc:spChg chg="mod">
          <ac:chgData name="Joelle Brehm" userId="a518f54c-6985-42c0-8041-2bb16a414839" providerId="ADAL" clId="{E58FA468-8508-4D9D-B61C-DD2554E44EF7}" dt="2024-03-07T17:18:17.424" v="63109"/>
          <ac:spMkLst>
            <pc:docMk/>
            <pc:sldMk cId="2408005870" sldId="298"/>
            <ac:spMk id="135" creationId="{A26C4806-21AA-E022-6B28-DAABDCD94933}"/>
          </ac:spMkLst>
        </pc:spChg>
        <pc:spChg chg="mod">
          <ac:chgData name="Joelle Brehm" userId="a518f54c-6985-42c0-8041-2bb16a414839" providerId="ADAL" clId="{E58FA468-8508-4D9D-B61C-DD2554E44EF7}" dt="2024-03-07T17:18:17.424" v="63110"/>
          <ac:spMkLst>
            <pc:docMk/>
            <pc:sldMk cId="2408005870" sldId="298"/>
            <ac:spMk id="136" creationId="{5FA91760-C05A-676F-A929-95FF39F7B02B}"/>
          </ac:spMkLst>
        </pc:spChg>
        <pc:spChg chg="add del mod modVis">
          <ac:chgData name="Joelle Brehm" userId="a518f54c-6985-42c0-8041-2bb16a414839" providerId="ADAL" clId="{E58FA468-8508-4D9D-B61C-DD2554E44EF7}" dt="2024-03-07T17:18:17.424" v="63124"/>
          <ac:spMkLst>
            <pc:docMk/>
            <pc:sldMk cId="2408005870" sldId="298"/>
            <ac:spMk id="137" creationId="{F3D504C1-1891-C121-45FF-F851840C71F3}"/>
          </ac:spMkLst>
        </pc:spChg>
        <pc:spChg chg="mod">
          <ac:chgData name="Joelle Brehm" userId="a518f54c-6985-42c0-8041-2bb16a414839" providerId="ADAL" clId="{E58FA468-8508-4D9D-B61C-DD2554E44EF7}" dt="2024-03-07T17:18:17.424" v="63111"/>
          <ac:spMkLst>
            <pc:docMk/>
            <pc:sldMk cId="2408005870" sldId="298"/>
            <ac:spMk id="157" creationId="{473D045B-F2FA-ED54-96E1-5AF9FDD0A521}"/>
          </ac:spMkLst>
        </pc:spChg>
        <pc:spChg chg="mod">
          <ac:chgData name="Joelle Brehm" userId="a518f54c-6985-42c0-8041-2bb16a414839" providerId="ADAL" clId="{E58FA468-8508-4D9D-B61C-DD2554E44EF7}" dt="2024-03-07T17:18:17.424" v="63112"/>
          <ac:spMkLst>
            <pc:docMk/>
            <pc:sldMk cId="2408005870" sldId="298"/>
            <ac:spMk id="158" creationId="{59321C7D-64CF-E6EC-A954-708C21127E0D}"/>
          </ac:spMkLst>
        </pc:spChg>
        <pc:graphicFrameChg chg="mod">
          <ac:chgData name="Joelle Brehm" userId="a518f54c-6985-42c0-8041-2bb16a414839" providerId="ADAL" clId="{E58FA468-8508-4D9D-B61C-DD2554E44EF7}" dt="2024-03-07T17:18:17.457" v="63126"/>
          <ac:graphicFrameMkLst>
            <pc:docMk/>
            <pc:sldMk cId="2408005870" sldId="298"/>
            <ac:graphicFrameMk id="4" creationId="{49C9F69D-41F0-D32D-122C-78EE4AFF09A6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7:52.177" v="62763"/>
          <ac:graphicFrameMkLst>
            <pc:docMk/>
            <pc:sldMk cId="2408005870" sldId="298"/>
            <ac:graphicFrameMk id="9" creationId="{698F189E-E358-C40A-468B-86663110B228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18:17.351" v="63051"/>
          <ac:graphicFrameMkLst>
            <pc:docMk/>
            <pc:sldMk cId="2408005870" sldId="298"/>
            <ac:graphicFrameMk id="35" creationId="{F3312A40-5D6B-4E03-0E65-4423A5FBB377}"/>
          </ac:graphicFrameMkLst>
        </pc:graphicFrameChg>
        <pc:graphicFrameChg chg="del">
          <ac:chgData name="Joelle Brehm" userId="a518f54c-6985-42c0-8041-2bb16a414839" providerId="ADAL" clId="{E58FA468-8508-4D9D-B61C-DD2554E44EF7}" dt="2024-03-07T17:17:13.320" v="61268"/>
          <ac:graphicFrameMkLst>
            <pc:docMk/>
            <pc:sldMk cId="2408005870" sldId="298"/>
            <ac:graphicFrameMk id="55" creationId="{33819C73-DCE6-8374-37AC-270245A0207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7:17.157" v="61640"/>
          <ac:graphicFrameMkLst>
            <pc:docMk/>
            <pc:sldMk cId="2408005870" sldId="298"/>
            <ac:graphicFrameMk id="116" creationId="{ED43ECE4-2633-F2B1-2C4A-405752FD9DD2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7:24.965" v="61852"/>
          <ac:graphicFrameMkLst>
            <pc:docMk/>
            <pc:sldMk cId="2408005870" sldId="298"/>
            <ac:graphicFrameMk id="118" creationId="{E627A264-887E-2803-2C17-240E1958AF5F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7:29.083" v="62237"/>
          <ac:graphicFrameMkLst>
            <pc:docMk/>
            <pc:sldMk cId="2408005870" sldId="298"/>
            <ac:graphicFrameMk id="120" creationId="{00354A2E-3077-23A1-5064-15AE8DE41750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7:39.883" v="62440"/>
          <ac:graphicFrameMkLst>
            <pc:docMk/>
            <pc:sldMk cId="2408005870" sldId="298"/>
            <ac:graphicFrameMk id="125" creationId="{449B2EEB-1A0A-2666-AB4E-BA985C036E82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17:43.058" v="62564"/>
          <ac:graphicFrameMkLst>
            <pc:docMk/>
            <pc:sldMk cId="2408005870" sldId="298"/>
            <ac:graphicFrameMk id="128" creationId="{F894CB53-438A-1348-ACC8-05EF2EB4A0D7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8:17.409" v="63092"/>
          <ac:graphicFrameMkLst>
            <pc:docMk/>
            <pc:sldMk cId="2408005870" sldId="298"/>
            <ac:graphicFrameMk id="130" creationId="{D086FA47-AE0F-55DA-6471-102869AA6414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8:17.404" v="63065"/>
          <ac:graphicFrameMkLst>
            <pc:docMk/>
            <pc:sldMk cId="2408005870" sldId="298"/>
            <ac:graphicFrameMk id="132" creationId="{A05CE26E-50CF-2840-7ACA-8B71FBB45D92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18:17.424" v="63107"/>
          <ac:graphicFrameMkLst>
            <pc:docMk/>
            <pc:sldMk cId="2408005870" sldId="298"/>
            <ac:graphicFrameMk id="138" creationId="{2C248982-003C-55A9-23B3-336EB4DAD492}"/>
          </ac:graphicFrameMkLst>
        </pc:graphicFrameChg>
        <pc:picChg chg="del mod ord">
          <ac:chgData name="Joelle Brehm" userId="a518f54c-6985-42c0-8041-2bb16a414839" providerId="ADAL" clId="{E58FA468-8508-4D9D-B61C-DD2554E44EF7}" dt="2024-03-07T17:18:07.120" v="62918" actId="478"/>
          <ac:picMkLst>
            <pc:docMk/>
            <pc:sldMk cId="2408005870" sldId="298"/>
            <ac:picMk id="10" creationId="{4A09BAD4-4BA2-DBF1-7164-C0E81BEF8F45}"/>
          </ac:picMkLst>
        </pc:picChg>
        <pc:picChg chg="add mod ord">
          <ac:chgData name="Joelle Brehm" userId="a518f54c-6985-42c0-8041-2bb16a414839" providerId="ADAL" clId="{E58FA468-8508-4D9D-B61C-DD2554E44EF7}" dt="2024-03-07T17:18:17.402" v="63059"/>
          <ac:picMkLst>
            <pc:docMk/>
            <pc:sldMk cId="2408005870" sldId="298"/>
            <ac:picMk id="134" creationId="{F4A2227E-D1B2-312A-BE7E-B1BC11EF99DF}"/>
          </ac:picMkLst>
        </pc:picChg>
        <pc:picChg chg="mod ord">
          <ac:chgData name="Joelle Brehm" userId="a518f54c-6985-42c0-8041-2bb16a414839" providerId="ADAL" clId="{E58FA468-8508-4D9D-B61C-DD2554E44EF7}" dt="2024-03-07T17:18:17.424" v="63114"/>
          <ac:picMkLst>
            <pc:docMk/>
            <pc:sldMk cId="2408005870" sldId="298"/>
            <ac:picMk id="185" creationId="{7F94EC9E-13C7-B044-38AE-C9111050B406}"/>
          </ac:picMkLst>
        </pc:picChg>
        <pc:picChg chg="add mod">
          <ac:chgData name="Joelle Brehm" userId="a518f54c-6985-42c0-8041-2bb16a414839" providerId="ADAL" clId="{E58FA468-8508-4D9D-B61C-DD2554E44EF7}" dt="2024-03-07T17:22:23.528" v="63133" actId="12789"/>
          <ac:picMkLst>
            <pc:docMk/>
            <pc:sldMk cId="2408005870" sldId="298"/>
            <ac:picMk id="2050" creationId="{AE3D7468-37A1-3C28-8B8E-A27B162D7C98}"/>
          </ac:picMkLst>
        </pc:picChg>
        <pc:cxnChg chg="mod ord">
          <ac:chgData name="Joelle Brehm" userId="a518f54c-6985-42c0-8041-2bb16a414839" providerId="ADAL" clId="{E58FA468-8508-4D9D-B61C-DD2554E44EF7}" dt="2024-03-07T17:18:17.404" v="63063"/>
          <ac:cxnSpMkLst>
            <pc:docMk/>
            <pc:sldMk cId="2408005870" sldId="298"/>
            <ac:cxnSpMk id="7" creationId="{8EA446E6-71BC-F03A-3657-B927AE22D5A7}"/>
          </ac:cxnSpMkLst>
        </pc:cxnChg>
        <pc:cxnChg chg="add del mod ord replST">
          <ac:chgData name="Joelle Brehm" userId="a518f54c-6985-42c0-8041-2bb16a414839" providerId="ADAL" clId="{E58FA468-8508-4D9D-B61C-DD2554E44EF7}" dt="2024-03-07T17:17:16.769" v="61478"/>
          <ac:cxnSpMkLst>
            <pc:docMk/>
            <pc:sldMk cId="2408005870" sldId="298"/>
            <ac:cxnSpMk id="90" creationId="{0D97F326-A628-0275-E6CD-954D3F11F661}"/>
          </ac:cxnSpMkLst>
        </pc:cxnChg>
        <pc:cxnChg chg="add del mod ord replST">
          <ac:chgData name="Joelle Brehm" userId="a518f54c-6985-42c0-8041-2bb16a414839" providerId="ADAL" clId="{E58FA468-8508-4D9D-B61C-DD2554E44EF7}" dt="2024-03-07T17:17:16.774" v="61482"/>
          <ac:cxnSpMkLst>
            <pc:docMk/>
            <pc:sldMk cId="2408005870" sldId="298"/>
            <ac:cxnSpMk id="91" creationId="{3711E1E5-8957-1853-D5B4-050BC698A967}"/>
          </ac:cxnSpMkLst>
        </pc:cxnChg>
        <pc:cxnChg chg="add del mod ord replST">
          <ac:chgData name="Joelle Brehm" userId="a518f54c-6985-42c0-8041-2bb16a414839" providerId="ADAL" clId="{E58FA468-8508-4D9D-B61C-DD2554E44EF7}" dt="2024-03-07T17:17:16.778" v="61486"/>
          <ac:cxnSpMkLst>
            <pc:docMk/>
            <pc:sldMk cId="2408005870" sldId="298"/>
            <ac:cxnSpMk id="92" creationId="{707669EF-2AC1-04E4-5938-40E8FC1FD5F2}"/>
          </ac:cxnSpMkLst>
        </pc:cxnChg>
        <pc:cxnChg chg="add del mod ord replST">
          <ac:chgData name="Joelle Brehm" userId="a518f54c-6985-42c0-8041-2bb16a414839" providerId="ADAL" clId="{E58FA468-8508-4D9D-B61C-DD2554E44EF7}" dt="2024-03-07T17:17:16.781" v="61490"/>
          <ac:cxnSpMkLst>
            <pc:docMk/>
            <pc:sldMk cId="2408005870" sldId="298"/>
            <ac:cxnSpMk id="93" creationId="{EFC66044-FBE2-AE36-94B0-4DC098E4EBF6}"/>
          </ac:cxnSpMkLst>
        </pc:cxnChg>
        <pc:cxnChg chg="add del mod ord replST">
          <ac:chgData name="Joelle Brehm" userId="a518f54c-6985-42c0-8041-2bb16a414839" providerId="ADAL" clId="{E58FA468-8508-4D9D-B61C-DD2554E44EF7}" dt="2024-03-07T17:17:16.782" v="61498"/>
          <ac:cxnSpMkLst>
            <pc:docMk/>
            <pc:sldMk cId="2408005870" sldId="298"/>
            <ac:cxnSpMk id="94" creationId="{B64040AB-35C4-DD21-685E-48109B2A33D0}"/>
          </ac:cxnSpMkLst>
        </pc:cxnChg>
        <pc:cxnChg chg="add del mod ord replST">
          <ac:chgData name="Joelle Brehm" userId="a518f54c-6985-42c0-8041-2bb16a414839" providerId="ADAL" clId="{E58FA468-8508-4D9D-B61C-DD2554E44EF7}" dt="2024-03-07T17:17:16.790" v="61504"/>
          <ac:cxnSpMkLst>
            <pc:docMk/>
            <pc:sldMk cId="2408005870" sldId="298"/>
            <ac:cxnSpMk id="95" creationId="{BCECDBB5-7E7D-CAA8-A151-E284962F923E}"/>
          </ac:cxnSpMkLst>
        </pc:cxnChg>
        <pc:cxnChg chg="add del mod ord replST">
          <ac:chgData name="Joelle Brehm" userId="a518f54c-6985-42c0-8041-2bb16a414839" providerId="ADAL" clId="{E58FA468-8508-4D9D-B61C-DD2554E44EF7}" dt="2024-03-07T17:17:16.790" v="61508"/>
          <ac:cxnSpMkLst>
            <pc:docMk/>
            <pc:sldMk cId="2408005870" sldId="298"/>
            <ac:cxnSpMk id="96" creationId="{D382C9FA-2FAB-D5EB-23DA-094ACF9E5BED}"/>
          </ac:cxnSpMkLst>
        </pc:cxnChg>
        <pc:cxnChg chg="add del mod ord replST">
          <ac:chgData name="Joelle Brehm" userId="a518f54c-6985-42c0-8041-2bb16a414839" providerId="ADAL" clId="{E58FA468-8508-4D9D-B61C-DD2554E44EF7}" dt="2024-03-07T17:17:16.790" v="61510"/>
          <ac:cxnSpMkLst>
            <pc:docMk/>
            <pc:sldMk cId="2408005870" sldId="298"/>
            <ac:cxnSpMk id="98" creationId="{BDEA854D-83A7-E43A-3C40-E9D47507CD7B}"/>
          </ac:cxnSpMkLst>
        </pc:cxnChg>
        <pc:cxnChg chg="add del mod ord replST">
          <ac:chgData name="Joelle Brehm" userId="a518f54c-6985-42c0-8041-2bb16a414839" providerId="ADAL" clId="{E58FA468-8508-4D9D-B61C-DD2554E44EF7}" dt="2024-03-07T17:17:16.790" v="61512"/>
          <ac:cxnSpMkLst>
            <pc:docMk/>
            <pc:sldMk cId="2408005870" sldId="298"/>
            <ac:cxnSpMk id="99" creationId="{8D4DC51A-A3B3-2A31-985F-2DE5795ECF8A}"/>
          </ac:cxnSpMkLst>
        </pc:cxnChg>
        <pc:cxnChg chg="add del mod ord replST">
          <ac:chgData name="Joelle Brehm" userId="a518f54c-6985-42c0-8041-2bb16a414839" providerId="ADAL" clId="{E58FA468-8508-4D9D-B61C-DD2554E44EF7}" dt="2024-03-07T17:17:16.790" v="61514"/>
          <ac:cxnSpMkLst>
            <pc:docMk/>
            <pc:sldMk cId="2408005870" sldId="298"/>
            <ac:cxnSpMk id="101" creationId="{47235C71-9373-EBE4-14D3-42E901ECD267}"/>
          </ac:cxnSpMkLst>
        </pc:cxnChg>
        <pc:cxnChg chg="add del mod ord replST">
          <ac:chgData name="Joelle Brehm" userId="a518f54c-6985-42c0-8041-2bb16a414839" providerId="ADAL" clId="{E58FA468-8508-4D9D-B61C-DD2554E44EF7}" dt="2024-03-07T17:17:16.790" v="61518"/>
          <ac:cxnSpMkLst>
            <pc:docMk/>
            <pc:sldMk cId="2408005870" sldId="298"/>
            <ac:cxnSpMk id="102" creationId="{C4A75AF6-124E-10AA-6B68-6A429DCE1EB3}"/>
          </ac:cxnSpMkLst>
        </pc:cxnChg>
        <pc:cxnChg chg="add del mod ord replST">
          <ac:chgData name="Joelle Brehm" userId="a518f54c-6985-42c0-8041-2bb16a414839" providerId="ADAL" clId="{E58FA468-8508-4D9D-B61C-DD2554E44EF7}" dt="2024-03-07T17:17:16.807" v="61524"/>
          <ac:cxnSpMkLst>
            <pc:docMk/>
            <pc:sldMk cId="2408005870" sldId="298"/>
            <ac:cxnSpMk id="103" creationId="{22069500-D2AC-CB33-3FE8-777CCEDD1E65}"/>
          </ac:cxnSpMkLst>
        </pc:cxnChg>
        <pc:cxnChg chg="add del mod ord replST">
          <ac:chgData name="Joelle Brehm" userId="a518f54c-6985-42c0-8041-2bb16a414839" providerId="ADAL" clId="{E58FA468-8508-4D9D-B61C-DD2554E44EF7}" dt="2024-03-07T17:17:16.821" v="61530"/>
          <ac:cxnSpMkLst>
            <pc:docMk/>
            <pc:sldMk cId="2408005870" sldId="298"/>
            <ac:cxnSpMk id="104" creationId="{680D47D4-0B2E-3DC4-5D9F-20B4B0710B09}"/>
          </ac:cxnSpMkLst>
        </pc:cxnChg>
        <pc:cxnChg chg="add del mod ord replST">
          <ac:chgData name="Joelle Brehm" userId="a518f54c-6985-42c0-8041-2bb16a414839" providerId="ADAL" clId="{E58FA468-8508-4D9D-B61C-DD2554E44EF7}" dt="2024-03-07T17:17:16.821" v="61534"/>
          <ac:cxnSpMkLst>
            <pc:docMk/>
            <pc:sldMk cId="2408005870" sldId="298"/>
            <ac:cxnSpMk id="105" creationId="{EB775AD6-3021-4414-B8A5-CBAC6E525EE4}"/>
          </ac:cxnSpMkLst>
        </pc:cxnChg>
        <pc:cxnChg chg="add del mod ord replST">
          <ac:chgData name="Joelle Brehm" userId="a518f54c-6985-42c0-8041-2bb16a414839" providerId="ADAL" clId="{E58FA468-8508-4D9D-B61C-DD2554E44EF7}" dt="2024-03-07T17:17:16.821" v="61536"/>
          <ac:cxnSpMkLst>
            <pc:docMk/>
            <pc:sldMk cId="2408005870" sldId="298"/>
            <ac:cxnSpMk id="106" creationId="{45FAF72A-5A1F-ACC9-EA61-B34F9D516D11}"/>
          </ac:cxnSpMkLst>
        </pc:cxnChg>
        <pc:cxnChg chg="add del mod ord replST">
          <ac:chgData name="Joelle Brehm" userId="a518f54c-6985-42c0-8041-2bb16a414839" providerId="ADAL" clId="{E58FA468-8508-4D9D-B61C-DD2554E44EF7}" dt="2024-03-07T17:17:16.834" v="61538"/>
          <ac:cxnSpMkLst>
            <pc:docMk/>
            <pc:sldMk cId="2408005870" sldId="298"/>
            <ac:cxnSpMk id="107" creationId="{2ECB3388-9E61-FDCD-E137-BC58E52775E3}"/>
          </ac:cxnSpMkLst>
        </pc:cxnChg>
        <pc:cxnChg chg="add del mod ord replST">
          <ac:chgData name="Joelle Brehm" userId="a518f54c-6985-42c0-8041-2bb16a414839" providerId="ADAL" clId="{E58FA468-8508-4D9D-B61C-DD2554E44EF7}" dt="2024-03-07T17:17:16.834" v="61540"/>
          <ac:cxnSpMkLst>
            <pc:docMk/>
            <pc:sldMk cId="2408005870" sldId="298"/>
            <ac:cxnSpMk id="111" creationId="{77BA31AA-7A23-20DD-6C5F-E20658313989}"/>
          </ac:cxnSpMkLst>
        </pc:cxnChg>
        <pc:cxnChg chg="add del mod ord replST">
          <ac:chgData name="Joelle Brehm" userId="a518f54c-6985-42c0-8041-2bb16a414839" providerId="ADAL" clId="{E58FA468-8508-4D9D-B61C-DD2554E44EF7}" dt="2024-03-07T17:17:16.842" v="61542"/>
          <ac:cxnSpMkLst>
            <pc:docMk/>
            <pc:sldMk cId="2408005870" sldId="298"/>
            <ac:cxnSpMk id="112" creationId="{868ECAD9-F765-0FCC-9753-AF3EDA930A72}"/>
          </ac:cxnSpMkLst>
        </pc:cxnChg>
        <pc:cxnChg chg="add del mod ord replST">
          <ac:chgData name="Joelle Brehm" userId="a518f54c-6985-42c0-8041-2bb16a414839" providerId="ADAL" clId="{E58FA468-8508-4D9D-B61C-DD2554E44EF7}" dt="2024-03-07T17:17:16.843" v="61544"/>
          <ac:cxnSpMkLst>
            <pc:docMk/>
            <pc:sldMk cId="2408005870" sldId="298"/>
            <ac:cxnSpMk id="113" creationId="{E219A4E6-DA21-222C-D788-6717B0DF101F}"/>
          </ac:cxnSpMkLst>
        </pc:cxnChg>
        <pc:cxnChg chg="add del mod ord replST">
          <ac:chgData name="Joelle Brehm" userId="a518f54c-6985-42c0-8041-2bb16a414839" providerId="ADAL" clId="{E58FA468-8508-4D9D-B61C-DD2554E44EF7}" dt="2024-03-07T17:17:16.843" v="61548"/>
          <ac:cxnSpMkLst>
            <pc:docMk/>
            <pc:sldMk cId="2408005870" sldId="298"/>
            <ac:cxnSpMk id="114" creationId="{2865361C-512D-5CB8-B931-D92D2BCF34C2}"/>
          </ac:cxnSpMkLst>
        </pc:cxnChg>
        <pc:cxnChg chg="add del mod ord replST">
          <ac:chgData name="Joelle Brehm" userId="a518f54c-6985-42c0-8041-2bb16a414839" providerId="ADAL" clId="{E58FA468-8508-4D9D-B61C-DD2554E44EF7}" dt="2024-03-07T17:17:17.153" v="61638"/>
          <ac:cxnSpMkLst>
            <pc:docMk/>
            <pc:sldMk cId="2408005870" sldId="298"/>
            <ac:cxnSpMk id="115" creationId="{3BD7A546-D751-89CF-184E-7081D0822DC7}"/>
          </ac:cxnSpMkLst>
        </pc:cxnChg>
      </pc:sldChg>
      <pc:sldChg chg="addSp delSp modSp add mod">
        <pc:chgData name="Joelle Brehm" userId="a518f54c-6985-42c0-8041-2bb16a414839" providerId="ADAL" clId="{E58FA468-8508-4D9D-B61C-DD2554E44EF7}" dt="2024-03-07T17:35:50.385" v="63923" actId="12789"/>
        <pc:sldMkLst>
          <pc:docMk/>
          <pc:sldMk cId="1147469392" sldId="299"/>
        </pc:sldMkLst>
        <pc:spChg chg="mod ord">
          <ac:chgData name="Joelle Brehm" userId="a518f54c-6985-42c0-8041-2bb16a414839" providerId="ADAL" clId="{E58FA468-8508-4D9D-B61C-DD2554E44EF7}" dt="2024-03-07T17:24:18.958" v="63907"/>
          <ac:spMkLst>
            <pc:docMk/>
            <pc:sldMk cId="1147469392" sldId="299"/>
            <ac:spMk id="2" creationId="{B98AECD7-F227-7661-1D74-C87CD0D40C01}"/>
          </ac:spMkLst>
        </pc:spChg>
        <pc:spChg chg="mod ord">
          <ac:chgData name="Joelle Brehm" userId="a518f54c-6985-42c0-8041-2bb16a414839" providerId="ADAL" clId="{E58FA468-8508-4D9D-B61C-DD2554E44EF7}" dt="2024-03-07T17:24:18.958" v="63909"/>
          <ac:spMkLst>
            <pc:docMk/>
            <pc:sldMk cId="1147469392" sldId="299"/>
            <ac:spMk id="3" creationId="{987550CE-28D5-31FC-DA06-EE3C8CEEBAC4}"/>
          </ac:spMkLst>
        </pc:spChg>
        <pc:spChg chg="add del mod modVis">
          <ac:chgData name="Joelle Brehm" userId="a518f54c-6985-42c0-8041-2bb16a414839" providerId="ADAL" clId="{E58FA468-8508-4D9D-B61C-DD2554E44EF7}" dt="2024-03-07T17:23:43.183" v="63367"/>
          <ac:spMkLst>
            <pc:docMk/>
            <pc:sldMk cId="1147469392" sldId="299"/>
            <ac:spMk id="5" creationId="{D3191783-D7F4-C421-A1DE-94FD75850358}"/>
          </ac:spMkLst>
        </pc:spChg>
        <pc:spChg chg="mod ord">
          <ac:chgData name="Joelle Brehm" userId="a518f54c-6985-42c0-8041-2bb16a414839" providerId="ADAL" clId="{E58FA468-8508-4D9D-B61C-DD2554E44EF7}" dt="2024-03-07T17:35:50.385" v="63923" actId="12789"/>
          <ac:spMkLst>
            <pc:docMk/>
            <pc:sldMk cId="1147469392" sldId="299"/>
            <ac:spMk id="6" creationId="{0EAC578E-89F1-9012-7CFE-E394FA03D5BB}"/>
          </ac:spMkLst>
        </pc:spChg>
        <pc:spChg chg="add del mod modVis">
          <ac:chgData name="Joelle Brehm" userId="a518f54c-6985-42c0-8041-2bb16a414839" providerId="ADAL" clId="{E58FA468-8508-4D9D-B61C-DD2554E44EF7}" dt="2024-03-07T17:24:06.315" v="63606"/>
          <ac:spMkLst>
            <pc:docMk/>
            <pc:sldMk cId="1147469392" sldId="299"/>
            <ac:spMk id="10" creationId="{6B342D85-5CBD-A781-9B29-7ED245961EA7}"/>
          </ac:spMkLst>
        </pc:spChg>
        <pc:spChg chg="mod">
          <ac:chgData name="Joelle Brehm" userId="a518f54c-6985-42c0-8041-2bb16a414839" providerId="ADAL" clId="{E58FA468-8508-4D9D-B61C-DD2554E44EF7}" dt="2024-03-07T17:24:18.954" v="63863"/>
          <ac:spMkLst>
            <pc:docMk/>
            <pc:sldMk cId="1147469392" sldId="299"/>
            <ac:spMk id="11" creationId="{22B603EF-478D-0AD6-4D23-7FCAC6C5B3A8}"/>
          </ac:spMkLst>
        </pc:spChg>
        <pc:spChg chg="mod">
          <ac:chgData name="Joelle Brehm" userId="a518f54c-6985-42c0-8041-2bb16a414839" providerId="ADAL" clId="{E58FA468-8508-4D9D-B61C-DD2554E44EF7}" dt="2024-03-07T17:24:18.953" v="63859"/>
          <ac:spMkLst>
            <pc:docMk/>
            <pc:sldMk cId="1147469392" sldId="299"/>
            <ac:spMk id="12" creationId="{EF91471B-672D-6CC5-CF57-DA4811B37750}"/>
          </ac:spMkLst>
        </pc:spChg>
        <pc:spChg chg="mod">
          <ac:chgData name="Joelle Brehm" userId="a518f54c-6985-42c0-8041-2bb16a414839" providerId="ADAL" clId="{E58FA468-8508-4D9D-B61C-DD2554E44EF7}" dt="2024-03-07T17:24:18.953" v="63860"/>
          <ac:spMkLst>
            <pc:docMk/>
            <pc:sldMk cId="1147469392" sldId="299"/>
            <ac:spMk id="13" creationId="{93D9A990-B724-217A-59C0-550353D722BC}"/>
          </ac:spMkLst>
        </pc:spChg>
        <pc:spChg chg="mod">
          <ac:chgData name="Joelle Brehm" userId="a518f54c-6985-42c0-8041-2bb16a414839" providerId="ADAL" clId="{E58FA468-8508-4D9D-B61C-DD2554E44EF7}" dt="2024-03-07T17:24:18.952" v="63857"/>
          <ac:spMkLst>
            <pc:docMk/>
            <pc:sldMk cId="1147469392" sldId="299"/>
            <ac:spMk id="14" creationId="{01488B66-9E2B-C289-21D2-6006FA4EB02C}"/>
          </ac:spMkLst>
        </pc:spChg>
        <pc:spChg chg="mod">
          <ac:chgData name="Joelle Brehm" userId="a518f54c-6985-42c0-8041-2bb16a414839" providerId="ADAL" clId="{E58FA468-8508-4D9D-B61C-DD2554E44EF7}" dt="2024-03-07T17:24:18.952" v="63858"/>
          <ac:spMkLst>
            <pc:docMk/>
            <pc:sldMk cId="1147469392" sldId="299"/>
            <ac:spMk id="15" creationId="{C9DB922C-D286-DBF0-0AE7-25DDB51ED935}"/>
          </ac:spMkLst>
        </pc:spChg>
        <pc:spChg chg="mod">
          <ac:chgData name="Joelle Brehm" userId="a518f54c-6985-42c0-8041-2bb16a414839" providerId="ADAL" clId="{E58FA468-8508-4D9D-B61C-DD2554E44EF7}" dt="2024-03-07T17:24:18.953" v="63861"/>
          <ac:spMkLst>
            <pc:docMk/>
            <pc:sldMk cId="1147469392" sldId="299"/>
            <ac:spMk id="16" creationId="{EAF5C985-33B7-C144-D7D4-2F545640EB66}"/>
          </ac:spMkLst>
        </pc:spChg>
        <pc:spChg chg="mod">
          <ac:chgData name="Joelle Brehm" userId="a518f54c-6985-42c0-8041-2bb16a414839" providerId="ADAL" clId="{E58FA468-8508-4D9D-B61C-DD2554E44EF7}" dt="2024-03-07T17:24:18.954" v="63862"/>
          <ac:spMkLst>
            <pc:docMk/>
            <pc:sldMk cId="1147469392" sldId="299"/>
            <ac:spMk id="17" creationId="{A74F232F-4C99-6217-DB6E-798BC722C290}"/>
          </ac:spMkLst>
        </pc:spChg>
        <pc:spChg chg="mod">
          <ac:chgData name="Joelle Brehm" userId="a518f54c-6985-42c0-8041-2bb16a414839" providerId="ADAL" clId="{E58FA468-8508-4D9D-B61C-DD2554E44EF7}" dt="2024-03-07T17:24:18.954" v="63864"/>
          <ac:spMkLst>
            <pc:docMk/>
            <pc:sldMk cId="1147469392" sldId="299"/>
            <ac:spMk id="18" creationId="{31AF8F52-A343-80A2-1AAE-C847B4EC1C2F}"/>
          </ac:spMkLst>
        </pc:spChg>
        <pc:spChg chg="mod">
          <ac:chgData name="Joelle Brehm" userId="a518f54c-6985-42c0-8041-2bb16a414839" providerId="ADAL" clId="{E58FA468-8508-4D9D-B61C-DD2554E44EF7}" dt="2024-03-07T17:24:18.955" v="63865"/>
          <ac:spMkLst>
            <pc:docMk/>
            <pc:sldMk cId="1147469392" sldId="299"/>
            <ac:spMk id="19" creationId="{C67B8F2C-387B-9309-6C26-DA14E7C7F2B3}"/>
          </ac:spMkLst>
        </pc:spChg>
        <pc:spChg chg="mod">
          <ac:chgData name="Joelle Brehm" userId="a518f54c-6985-42c0-8041-2bb16a414839" providerId="ADAL" clId="{E58FA468-8508-4D9D-B61C-DD2554E44EF7}" dt="2024-03-07T17:24:18.955" v="63866"/>
          <ac:spMkLst>
            <pc:docMk/>
            <pc:sldMk cId="1147469392" sldId="299"/>
            <ac:spMk id="20" creationId="{A356996F-09E8-7E5E-06AD-FCA01C53425F}"/>
          </ac:spMkLst>
        </pc:spChg>
        <pc:spChg chg="mod">
          <ac:chgData name="Joelle Brehm" userId="a518f54c-6985-42c0-8041-2bb16a414839" providerId="ADAL" clId="{E58FA468-8508-4D9D-B61C-DD2554E44EF7}" dt="2024-03-07T17:24:18.955" v="63867"/>
          <ac:spMkLst>
            <pc:docMk/>
            <pc:sldMk cId="1147469392" sldId="299"/>
            <ac:spMk id="21" creationId="{B99DEEA5-7788-7892-8278-B8A15BEE72BF}"/>
          </ac:spMkLst>
        </pc:spChg>
        <pc:spChg chg="mod">
          <ac:chgData name="Joelle Brehm" userId="a518f54c-6985-42c0-8041-2bb16a414839" providerId="ADAL" clId="{E58FA468-8508-4D9D-B61C-DD2554E44EF7}" dt="2024-03-07T17:24:18.956" v="63868"/>
          <ac:spMkLst>
            <pc:docMk/>
            <pc:sldMk cId="1147469392" sldId="299"/>
            <ac:spMk id="22" creationId="{CC83DFED-CC12-B82A-CF88-46DCE7A285D0}"/>
          </ac:spMkLst>
        </pc:spChg>
        <pc:spChg chg="mod ord">
          <ac:chgData name="Joelle Brehm" userId="a518f54c-6985-42c0-8041-2bb16a414839" providerId="ADAL" clId="{E58FA468-8508-4D9D-B61C-DD2554E44EF7}" dt="2024-03-07T17:24:18.956" v="63870"/>
          <ac:spMkLst>
            <pc:docMk/>
            <pc:sldMk cId="1147469392" sldId="299"/>
            <ac:spMk id="23" creationId="{388B9762-8B62-238C-4DAE-371D743789A7}"/>
          </ac:spMkLst>
        </pc:spChg>
        <pc:spChg chg="mod">
          <ac:chgData name="Joelle Brehm" userId="a518f54c-6985-42c0-8041-2bb16a414839" providerId="ADAL" clId="{E58FA468-8508-4D9D-B61C-DD2554E44EF7}" dt="2024-03-07T17:24:18.957" v="63873"/>
          <ac:spMkLst>
            <pc:docMk/>
            <pc:sldMk cId="1147469392" sldId="299"/>
            <ac:spMk id="24" creationId="{08D99868-DFC5-7B57-ACE9-F10209C62F18}"/>
          </ac:spMkLst>
        </pc:spChg>
        <pc:spChg chg="mod">
          <ac:chgData name="Joelle Brehm" userId="a518f54c-6985-42c0-8041-2bb16a414839" providerId="ADAL" clId="{E58FA468-8508-4D9D-B61C-DD2554E44EF7}" dt="2024-03-07T17:24:18.958" v="63875"/>
          <ac:spMkLst>
            <pc:docMk/>
            <pc:sldMk cId="1147469392" sldId="299"/>
            <ac:spMk id="25" creationId="{893D1401-ECA9-770C-685D-A99936A67292}"/>
          </ac:spMkLst>
        </pc:spChg>
        <pc:spChg chg="mod">
          <ac:chgData name="Joelle Brehm" userId="a518f54c-6985-42c0-8041-2bb16a414839" providerId="ADAL" clId="{E58FA468-8508-4D9D-B61C-DD2554E44EF7}" dt="2024-03-07T17:24:18.958" v="63874"/>
          <ac:spMkLst>
            <pc:docMk/>
            <pc:sldMk cId="1147469392" sldId="299"/>
            <ac:spMk id="26" creationId="{8AE2212A-1DA5-F563-809B-F4152E79D85E}"/>
          </ac:spMkLst>
        </pc:spChg>
        <pc:spChg chg="mod">
          <ac:chgData name="Joelle Brehm" userId="a518f54c-6985-42c0-8041-2bb16a414839" providerId="ADAL" clId="{E58FA468-8508-4D9D-B61C-DD2554E44EF7}" dt="2024-03-07T17:24:18.958" v="63878"/>
          <ac:spMkLst>
            <pc:docMk/>
            <pc:sldMk cId="1147469392" sldId="299"/>
            <ac:spMk id="27" creationId="{7566499B-08B1-834D-908F-AE1A9393F260}"/>
          </ac:spMkLst>
        </pc:spChg>
        <pc:spChg chg="mod">
          <ac:chgData name="Joelle Brehm" userId="a518f54c-6985-42c0-8041-2bb16a414839" providerId="ADAL" clId="{E58FA468-8508-4D9D-B61C-DD2554E44EF7}" dt="2024-03-07T17:24:18.958" v="63879"/>
          <ac:spMkLst>
            <pc:docMk/>
            <pc:sldMk cId="1147469392" sldId="299"/>
            <ac:spMk id="28" creationId="{9A55B08D-DC70-EE69-55AD-11598C1C9B12}"/>
          </ac:spMkLst>
        </pc:spChg>
        <pc:spChg chg="mod">
          <ac:chgData name="Joelle Brehm" userId="a518f54c-6985-42c0-8041-2bb16a414839" providerId="ADAL" clId="{E58FA468-8508-4D9D-B61C-DD2554E44EF7}" dt="2024-03-07T17:24:18.958" v="63877"/>
          <ac:spMkLst>
            <pc:docMk/>
            <pc:sldMk cId="1147469392" sldId="299"/>
            <ac:spMk id="29" creationId="{CF6E8C33-3094-B90B-55D8-884C79658463}"/>
          </ac:spMkLst>
        </pc:spChg>
        <pc:spChg chg="mod ord">
          <ac:chgData name="Joelle Brehm" userId="a518f54c-6985-42c0-8041-2bb16a414839" providerId="ADAL" clId="{E58FA468-8508-4D9D-B61C-DD2554E44EF7}" dt="2024-03-07T17:24:18.958" v="63881"/>
          <ac:spMkLst>
            <pc:docMk/>
            <pc:sldMk cId="1147469392" sldId="299"/>
            <ac:spMk id="30" creationId="{F91A67B0-6455-465A-3588-978AE8BFE3CD}"/>
          </ac:spMkLst>
        </pc:spChg>
        <pc:spChg chg="add del mod modVis">
          <ac:chgData name="Joelle Brehm" userId="a518f54c-6985-42c0-8041-2bb16a414839" providerId="ADAL" clId="{E58FA468-8508-4D9D-B61C-DD2554E44EF7}" dt="2024-03-07T17:24:13.937" v="63796"/>
          <ac:spMkLst>
            <pc:docMk/>
            <pc:sldMk cId="1147469392" sldId="299"/>
            <ac:spMk id="32" creationId="{7978CBCE-0288-2093-EB85-80BB538B1925}"/>
          </ac:spMkLst>
        </pc:spChg>
        <pc:spChg chg="add del mod modVis">
          <ac:chgData name="Joelle Brehm" userId="a518f54c-6985-42c0-8041-2bb16a414839" providerId="ADAL" clId="{E58FA468-8508-4D9D-B61C-DD2554E44EF7}" dt="2024-03-07T17:24:18.958" v="63914"/>
          <ac:spMkLst>
            <pc:docMk/>
            <pc:sldMk cId="1147469392" sldId="299"/>
            <ac:spMk id="34" creationId="{5C1D1CA2-77B1-8FD2-505B-A7884C506B18}"/>
          </ac:spMkLst>
        </pc:spChg>
        <pc:spChg chg="mod ord">
          <ac:chgData name="Joelle Brehm" userId="a518f54c-6985-42c0-8041-2bb16a414839" providerId="ADAL" clId="{E58FA468-8508-4D9D-B61C-DD2554E44EF7}" dt="2024-03-07T17:24:18.957" v="63872"/>
          <ac:spMkLst>
            <pc:docMk/>
            <pc:sldMk cId="1147469392" sldId="299"/>
            <ac:spMk id="37" creationId="{AF100E2E-9AB7-93B9-D1F1-FCEDBF8C64D5}"/>
          </ac:spMkLst>
        </pc:spChg>
        <pc:spChg chg="mod">
          <ac:chgData name="Joelle Brehm" userId="a518f54c-6985-42c0-8041-2bb16a414839" providerId="ADAL" clId="{E58FA468-8508-4D9D-B61C-DD2554E44EF7}" dt="2024-03-07T17:24:18.958" v="63876"/>
          <ac:spMkLst>
            <pc:docMk/>
            <pc:sldMk cId="1147469392" sldId="299"/>
            <ac:spMk id="74" creationId="{4F5B4CA8-2D45-2165-F89C-2248C44244DE}"/>
          </ac:spMkLst>
        </pc:spChg>
        <pc:spChg chg="mod ord">
          <ac:chgData name="Joelle Brehm" userId="a518f54c-6985-42c0-8041-2bb16a414839" providerId="ADAL" clId="{E58FA468-8508-4D9D-B61C-DD2554E44EF7}" dt="2024-03-07T17:24:18.958" v="63886"/>
          <ac:spMkLst>
            <pc:docMk/>
            <pc:sldMk cId="1147469392" sldId="299"/>
            <ac:spMk id="78" creationId="{8693DA61-5E71-53E1-FED7-C350F1EBFA04}"/>
          </ac:spMkLst>
        </pc:spChg>
        <pc:spChg chg="mod ord">
          <ac:chgData name="Joelle Brehm" userId="a518f54c-6985-42c0-8041-2bb16a414839" providerId="ADAL" clId="{E58FA468-8508-4D9D-B61C-DD2554E44EF7}" dt="2024-03-07T17:24:18.958" v="63888"/>
          <ac:spMkLst>
            <pc:docMk/>
            <pc:sldMk cId="1147469392" sldId="299"/>
            <ac:spMk id="79" creationId="{2510167D-D2B4-E764-EE5A-59C5D61DA230}"/>
          </ac:spMkLst>
        </pc:spChg>
        <pc:spChg chg="mod ord">
          <ac:chgData name="Joelle Brehm" userId="a518f54c-6985-42c0-8041-2bb16a414839" providerId="ADAL" clId="{E58FA468-8508-4D9D-B61C-DD2554E44EF7}" dt="2024-03-07T17:24:18.958" v="63890"/>
          <ac:spMkLst>
            <pc:docMk/>
            <pc:sldMk cId="1147469392" sldId="299"/>
            <ac:spMk id="100" creationId="{0020504F-761A-2575-33E3-0FF9244E605B}"/>
          </ac:spMkLst>
        </pc:spChg>
        <pc:spChg chg="mod ord">
          <ac:chgData name="Joelle Brehm" userId="a518f54c-6985-42c0-8041-2bb16a414839" providerId="ADAL" clId="{E58FA468-8508-4D9D-B61C-DD2554E44EF7}" dt="2024-03-07T17:24:18.958" v="63892"/>
          <ac:spMkLst>
            <pc:docMk/>
            <pc:sldMk cId="1147469392" sldId="299"/>
            <ac:spMk id="108" creationId="{D21D14B1-19CF-8F2B-4831-0B9DB368403B}"/>
          </ac:spMkLst>
        </pc:spChg>
        <pc:spChg chg="mod ord">
          <ac:chgData name="Joelle Brehm" userId="a518f54c-6985-42c0-8041-2bb16a414839" providerId="ADAL" clId="{E58FA468-8508-4D9D-B61C-DD2554E44EF7}" dt="2024-03-07T17:24:18.958" v="63894"/>
          <ac:spMkLst>
            <pc:docMk/>
            <pc:sldMk cId="1147469392" sldId="299"/>
            <ac:spMk id="109" creationId="{CDDDEF1A-CB37-9452-AFDD-EBD68254CF6B}"/>
          </ac:spMkLst>
        </pc:spChg>
        <pc:spChg chg="mod ord">
          <ac:chgData name="Joelle Brehm" userId="a518f54c-6985-42c0-8041-2bb16a414839" providerId="ADAL" clId="{E58FA468-8508-4D9D-B61C-DD2554E44EF7}" dt="2024-03-07T17:24:18.958" v="63896"/>
          <ac:spMkLst>
            <pc:docMk/>
            <pc:sldMk cId="1147469392" sldId="299"/>
            <ac:spMk id="110" creationId="{C956C2F4-5A3A-F475-4541-EC71F2A97D96}"/>
          </ac:spMkLst>
        </pc:spChg>
        <pc:spChg chg="mod">
          <ac:chgData name="Joelle Brehm" userId="a518f54c-6985-42c0-8041-2bb16a414839" providerId="ADAL" clId="{E58FA468-8508-4D9D-B61C-DD2554E44EF7}" dt="2024-03-07T17:24:18.958" v="63884"/>
          <ac:spMkLst>
            <pc:docMk/>
            <pc:sldMk cId="1147469392" sldId="299"/>
            <ac:spMk id="127" creationId="{F5D06544-7B30-6FE8-2DD3-B45FB77A3FD1}"/>
          </ac:spMkLst>
        </pc:spChg>
        <pc:spChg chg="mod">
          <ac:chgData name="Joelle Brehm" userId="a518f54c-6985-42c0-8041-2bb16a414839" providerId="ADAL" clId="{E58FA468-8508-4D9D-B61C-DD2554E44EF7}" dt="2024-03-07T17:24:18.958" v="63899"/>
          <ac:spMkLst>
            <pc:docMk/>
            <pc:sldMk cId="1147469392" sldId="299"/>
            <ac:spMk id="133" creationId="{D4931E33-6B1D-945A-5828-575D87F40680}"/>
          </ac:spMkLst>
        </pc:spChg>
        <pc:spChg chg="mod">
          <ac:chgData name="Joelle Brehm" userId="a518f54c-6985-42c0-8041-2bb16a414839" providerId="ADAL" clId="{E58FA468-8508-4D9D-B61C-DD2554E44EF7}" dt="2024-03-07T17:24:18.958" v="63900"/>
          <ac:spMkLst>
            <pc:docMk/>
            <pc:sldMk cId="1147469392" sldId="299"/>
            <ac:spMk id="135" creationId="{5FC73E24-09AD-53E2-EC84-3C23A090452B}"/>
          </ac:spMkLst>
        </pc:spChg>
        <pc:spChg chg="mod">
          <ac:chgData name="Joelle Brehm" userId="a518f54c-6985-42c0-8041-2bb16a414839" providerId="ADAL" clId="{E58FA468-8508-4D9D-B61C-DD2554E44EF7}" dt="2024-03-07T17:24:18.958" v="63901"/>
          <ac:spMkLst>
            <pc:docMk/>
            <pc:sldMk cId="1147469392" sldId="299"/>
            <ac:spMk id="136" creationId="{78A4E297-043C-9254-6E7C-8739BFAAE38B}"/>
          </ac:spMkLst>
        </pc:spChg>
        <pc:spChg chg="mod">
          <ac:chgData name="Joelle Brehm" userId="a518f54c-6985-42c0-8041-2bb16a414839" providerId="ADAL" clId="{E58FA468-8508-4D9D-B61C-DD2554E44EF7}" dt="2024-03-07T17:24:18.958" v="63902"/>
          <ac:spMkLst>
            <pc:docMk/>
            <pc:sldMk cId="1147469392" sldId="299"/>
            <ac:spMk id="157" creationId="{12B01CFB-6682-78F2-C567-C22FB9480771}"/>
          </ac:spMkLst>
        </pc:spChg>
        <pc:spChg chg="mod">
          <ac:chgData name="Joelle Brehm" userId="a518f54c-6985-42c0-8041-2bb16a414839" providerId="ADAL" clId="{E58FA468-8508-4D9D-B61C-DD2554E44EF7}" dt="2024-03-07T17:24:18.958" v="63903"/>
          <ac:spMkLst>
            <pc:docMk/>
            <pc:sldMk cId="1147469392" sldId="299"/>
            <ac:spMk id="158" creationId="{2AE8B7E1-91CF-3DBA-E84B-F08CBB3B3A09}"/>
          </ac:spMkLst>
        </pc:spChg>
        <pc:graphicFrameChg chg="mod">
          <ac:chgData name="Joelle Brehm" userId="a518f54c-6985-42c0-8041-2bb16a414839" providerId="ADAL" clId="{E58FA468-8508-4D9D-B61C-DD2554E44EF7}" dt="2024-03-07T17:24:18.974" v="63916"/>
          <ac:graphicFrameMkLst>
            <pc:docMk/>
            <pc:sldMk cId="1147469392" sldId="299"/>
            <ac:graphicFrameMk id="4" creationId="{A8C2E1CE-EA94-6389-63BB-78C59C5B6632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24:18.952" v="63856"/>
          <ac:graphicFrameMkLst>
            <pc:docMk/>
            <pc:sldMk cId="1147469392" sldId="299"/>
            <ac:graphicFrameMk id="8" creationId="{C031E83F-D529-E0E6-F697-27C88B70DFA6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24:18.958" v="63883"/>
          <ac:graphicFrameMkLst>
            <pc:docMk/>
            <pc:sldMk cId="1147469392" sldId="299"/>
            <ac:graphicFrameMk id="31" creationId="{7633057E-3166-A0AD-03C2-FDB32AD6083B}"/>
          </ac:graphicFrameMkLst>
        </pc:graphicFrameChg>
        <pc:graphicFrameChg chg="add del mod ord replST">
          <ac:chgData name="Joelle Brehm" userId="a518f54c-6985-42c0-8041-2bb16a414839" providerId="ADAL" clId="{E58FA468-8508-4D9D-B61C-DD2554E44EF7}" dt="2024-03-07T17:24:18.914" v="63842"/>
          <ac:graphicFrameMkLst>
            <pc:docMk/>
            <pc:sldMk cId="1147469392" sldId="299"/>
            <ac:graphicFrameMk id="33" creationId="{81B32459-B1C5-0BD3-E1C9-5FD7F7A729AE}"/>
          </ac:graphicFrameMkLst>
        </pc:graphicFrameChg>
        <pc:graphicFrameChg chg="add mod ord replST">
          <ac:chgData name="Joelle Brehm" userId="a518f54c-6985-42c0-8041-2bb16a414839" providerId="ADAL" clId="{E58FA468-8508-4D9D-B61C-DD2554E44EF7}" dt="2024-03-07T17:24:18.958" v="63898"/>
          <ac:graphicFrameMkLst>
            <pc:docMk/>
            <pc:sldMk cId="1147469392" sldId="299"/>
            <ac:graphicFrameMk id="35" creationId="{BB4131CB-6A03-7C57-4107-E60FB9F22D18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24:06.249" v="63526"/>
          <ac:graphicFrameMkLst>
            <pc:docMk/>
            <pc:sldMk cId="1147469392" sldId="299"/>
            <ac:graphicFrameMk id="130" creationId="{BA88EBF2-6FAB-ED6F-19A3-8DEA492F259F}"/>
          </ac:graphicFrameMkLst>
        </pc:graphicFrameChg>
        <pc:graphicFrameChg chg="del">
          <ac:chgData name="Joelle Brehm" userId="a518f54c-6985-42c0-8041-2bb16a414839" providerId="ADAL" clId="{E58FA468-8508-4D9D-B61C-DD2554E44EF7}" dt="2024-03-07T17:23:43.129" v="63293"/>
          <ac:graphicFrameMkLst>
            <pc:docMk/>
            <pc:sldMk cId="1147469392" sldId="299"/>
            <ac:graphicFrameMk id="132" creationId="{BAE79CD7-1CC1-3FB8-AA63-B1DA74924ADD}"/>
          </ac:graphicFrameMkLst>
        </pc:graphicFrameChg>
        <pc:graphicFrameChg chg="del mod ord">
          <ac:chgData name="Joelle Brehm" userId="a518f54c-6985-42c0-8041-2bb16a414839" providerId="ADAL" clId="{E58FA468-8508-4D9D-B61C-DD2554E44EF7}" dt="2024-03-07T17:24:13.882" v="63724"/>
          <ac:graphicFrameMkLst>
            <pc:docMk/>
            <pc:sldMk cId="1147469392" sldId="299"/>
            <ac:graphicFrameMk id="138" creationId="{EA88C8C8-570F-FAD4-9D56-3778203F41A7}"/>
          </ac:graphicFrameMkLst>
        </pc:graphicFrameChg>
        <pc:picChg chg="add mod ord">
          <ac:chgData name="Joelle Brehm" userId="a518f54c-6985-42c0-8041-2bb16a414839" providerId="ADAL" clId="{E58FA468-8508-4D9D-B61C-DD2554E44EF7}" dt="2024-03-07T17:24:18.950" v="63850"/>
          <ac:picMkLst>
            <pc:docMk/>
            <pc:sldMk cId="1147469392" sldId="299"/>
            <ac:picMk id="9" creationId="{5E2917AE-1EDF-41C1-AF98-B31F7FE017BA}"/>
          </ac:picMkLst>
        </pc:picChg>
        <pc:picChg chg="del mod ord">
          <ac:chgData name="Joelle Brehm" userId="a518f54c-6985-42c0-8041-2bb16a414839" providerId="ADAL" clId="{E58FA468-8508-4D9D-B61C-DD2554E44EF7}" dt="2024-03-07T17:24:00.640" v="63447" actId="478"/>
          <ac:picMkLst>
            <pc:docMk/>
            <pc:sldMk cId="1147469392" sldId="299"/>
            <ac:picMk id="134" creationId="{B27FEDC6-3DE4-85CE-820D-80A15FA0EC7D}"/>
          </ac:picMkLst>
        </pc:picChg>
        <pc:picChg chg="mod ord">
          <ac:chgData name="Joelle Brehm" userId="a518f54c-6985-42c0-8041-2bb16a414839" providerId="ADAL" clId="{E58FA468-8508-4D9D-B61C-DD2554E44EF7}" dt="2024-03-07T17:24:18.958" v="63905"/>
          <ac:picMkLst>
            <pc:docMk/>
            <pc:sldMk cId="1147469392" sldId="299"/>
            <ac:picMk id="185" creationId="{4FBF27C0-F642-0AEF-665E-15710A187E9A}"/>
          </ac:picMkLst>
        </pc:picChg>
        <pc:picChg chg="del mod">
          <ac:chgData name="Joelle Brehm" userId="a518f54c-6985-42c0-8041-2bb16a414839" providerId="ADAL" clId="{E58FA468-8508-4D9D-B61C-DD2554E44EF7}" dt="2024-03-07T17:31:24.546" v="63917" actId="478"/>
          <ac:picMkLst>
            <pc:docMk/>
            <pc:sldMk cId="1147469392" sldId="299"/>
            <ac:picMk id="2050" creationId="{96D92AAF-1657-851A-B38D-F35D14A8CB6B}"/>
          </ac:picMkLst>
        </pc:picChg>
        <pc:picChg chg="add mod">
          <ac:chgData name="Joelle Brehm" userId="a518f54c-6985-42c0-8041-2bb16a414839" providerId="ADAL" clId="{E58FA468-8508-4D9D-B61C-DD2554E44EF7}" dt="2024-03-07T17:35:50.385" v="63923" actId="12789"/>
          <ac:picMkLst>
            <pc:docMk/>
            <pc:sldMk cId="1147469392" sldId="299"/>
            <ac:picMk id="3074" creationId="{C2BC9611-4625-A8D6-284C-17C9AD224671}"/>
          </ac:picMkLst>
        </pc:picChg>
        <pc:cxnChg chg="mod ord">
          <ac:chgData name="Joelle Brehm" userId="a518f54c-6985-42c0-8041-2bb16a414839" providerId="ADAL" clId="{E58FA468-8508-4D9D-B61C-DD2554E44EF7}" dt="2024-03-07T17:24:18.951" v="63854"/>
          <ac:cxnSpMkLst>
            <pc:docMk/>
            <pc:sldMk cId="1147469392" sldId="299"/>
            <ac:cxnSpMk id="7" creationId="{525B8DD7-1E59-E820-439B-D5FD08121ECB}"/>
          </ac:cxnSpMkLst>
        </pc:cxnChg>
      </pc:sldChg>
    </pc:docChg>
  </pc:docChgLst>
  <pc:docChgLst>
    <pc:chgData name="Joelle Brehm" userId="a518f54c-6985-42c0-8041-2bb16a414839" providerId="ADAL" clId="{7999C4A2-9ACD-4CB2-9DCD-52B9CDE5124D}"/>
    <pc:docChg chg="undo custSel modSld replTag">
      <pc:chgData name="Joelle Brehm" userId="a518f54c-6985-42c0-8041-2bb16a414839" providerId="ADAL" clId="{7999C4A2-9ACD-4CB2-9DCD-52B9CDE5124D}" dt="2023-05-08T18:28:29.860" v="62148" actId="20577"/>
      <pc:docMkLst>
        <pc:docMk/>
      </pc:docMkLst>
      <pc:sldChg chg="addSp delSp modSp mod">
        <pc:chgData name="Joelle Brehm" userId="a518f54c-6985-42c0-8041-2bb16a414839" providerId="ADAL" clId="{7999C4A2-9ACD-4CB2-9DCD-52B9CDE5124D}" dt="2023-05-08T18:28:29.860" v="62148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7999C4A2-9ACD-4CB2-9DCD-52B9CDE5124D}" dt="2023-05-08T18:23:57.549" v="61425" actId="478"/>
          <ac:spMkLst>
            <pc:docMk/>
            <pc:sldMk cId="3839614074" sldId="258"/>
            <ac:spMk id="2" creationId="{EA9F70AF-F16C-DFE2-C429-A78DBE0ED2D5}"/>
          </ac:spMkLst>
        </pc:spChg>
        <pc:spChg chg="mod">
          <ac:chgData name="Joelle Brehm" userId="a518f54c-6985-42c0-8041-2bb16a414839" providerId="ADAL" clId="{7999C4A2-9ACD-4CB2-9DCD-52B9CDE5124D}" dt="2023-05-08T18:28:29.860" v="62148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7999C4A2-9ACD-4CB2-9DCD-52B9CDE5124D}" dt="2023-05-08T18:23:52.659" v="61423" actId="2084"/>
          <ac:graphicFrameMkLst>
            <pc:docMk/>
            <pc:sldMk cId="3839614074" sldId="258"/>
            <ac:graphicFrameMk id="9" creationId="{253FC369-DB6F-43FD-0FA4-E8B6548598D1}"/>
          </ac:graphicFrameMkLst>
        </pc:graphicFrameChg>
      </pc:sldChg>
      <pc:sldChg chg="addSp delSp modSp mod">
        <pc:chgData name="Joelle Brehm" userId="a518f54c-6985-42c0-8041-2bb16a414839" providerId="ADAL" clId="{7999C4A2-9ACD-4CB2-9DCD-52B9CDE5124D}" dt="2023-05-07T18:00:30.846" v="15090" actId="478"/>
        <pc:sldMkLst>
          <pc:docMk/>
          <pc:sldMk cId="3798164587" sldId="259"/>
        </pc:sldMkLst>
        <pc:spChg chg="mod ord">
          <ac:chgData name="Joelle Brehm" userId="a518f54c-6985-42c0-8041-2bb16a414839" providerId="ADAL" clId="{7999C4A2-9ACD-4CB2-9DCD-52B9CDE5124D}" dt="2023-05-07T18:00:29.354" v="15083"/>
          <ac:spMkLst>
            <pc:docMk/>
            <pc:sldMk cId="3798164587" sldId="259"/>
            <ac:spMk id="2" creationId="{8EDF2A74-9587-4C1D-91CA-8D21248ED6E8}"/>
          </ac:spMkLst>
        </pc:spChg>
        <pc:spChg chg="add del mod ord">
          <ac:chgData name="Joelle Brehm" userId="a518f54c-6985-42c0-8041-2bb16a414839" providerId="ADAL" clId="{7999C4A2-9ACD-4CB2-9DCD-52B9CDE5124D}" dt="2023-05-07T17:53:24.419" v="10790" actId="478"/>
          <ac:spMkLst>
            <pc:docMk/>
            <pc:sldMk cId="3798164587" sldId="259"/>
            <ac:spMk id="3" creationId="{2E9E7619-AC88-0E0A-8499-B9AEB0344E69}"/>
          </ac:spMkLst>
        </pc:spChg>
        <pc:spChg chg="mod ord">
          <ac:chgData name="Joelle Brehm" userId="a518f54c-6985-42c0-8041-2bb16a414839" providerId="ADAL" clId="{7999C4A2-9ACD-4CB2-9DCD-52B9CDE5124D}" dt="2023-05-07T18:00:29.339" v="15000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00:29.354" v="15087"/>
          <ac:spMkLst>
            <pc:docMk/>
            <pc:sldMk cId="3798164587" sldId="259"/>
            <ac:spMk id="8" creationId="{74D09A60-1255-666C-BC32-58D58CF4B9C7}"/>
          </ac:spMkLst>
        </pc:spChg>
        <pc:spChg chg="add del mod modVis">
          <ac:chgData name="Joelle Brehm" userId="a518f54c-6985-42c0-8041-2bb16a414839" providerId="ADAL" clId="{7999C4A2-9ACD-4CB2-9DCD-52B9CDE5124D}" dt="2023-05-07T17:53:02.913" v="10684"/>
          <ac:spMkLst>
            <pc:docMk/>
            <pc:sldMk cId="3798164587" sldId="259"/>
            <ac:spMk id="8" creationId="{EA3A7738-15ED-C9AF-ACC6-DAFB98BDCFD2}"/>
          </ac:spMkLst>
        </pc:spChg>
        <pc:spChg chg="mod">
          <ac:chgData name="Joelle Brehm" userId="a518f54c-6985-42c0-8041-2bb16a414839" providerId="ADAL" clId="{7999C4A2-9ACD-4CB2-9DCD-52B9CDE5124D}" dt="2023-05-07T18:00:29.339" v="15011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00:29.339" v="15007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00:29.339" v="15009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00:29.339" v="15005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00:29.339" v="15006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00:29.339" v="15010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00:29.339" v="15008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00:29.339" v="15012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00:29.339" v="15013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00:29.339" v="15014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00:29.339" v="15015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00:29.339" v="15016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00:29.339" v="15018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00:29.339" v="15019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00:29.339" v="15020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00:29.339" v="15021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00:29.339" v="15023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00:29.339" v="15022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00:29.339" v="15024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00:29.339" v="15026"/>
          <ac:spMkLst>
            <pc:docMk/>
            <pc:sldMk cId="3798164587" sldId="259"/>
            <ac:spMk id="30" creationId="{121A2A89-FB4E-4B9A-840D-28523B0B457F}"/>
          </ac:spMkLst>
        </pc:spChg>
        <pc:spChg chg="del mod">
          <ac:chgData name="Joelle Brehm" userId="a518f54c-6985-42c0-8041-2bb16a414839" providerId="ADAL" clId="{7999C4A2-9ACD-4CB2-9DCD-52B9CDE5124D}" dt="2023-05-07T17:53:43.385" v="12477"/>
          <ac:spMkLst>
            <pc:docMk/>
            <pc:sldMk cId="3798164587" sldId="259"/>
            <ac:spMk id="31" creationId="{96EA24E0-2044-AF15-A06B-DFA2696AD0C4}"/>
          </ac:spMkLst>
        </pc:spChg>
        <pc:spChg chg="mod">
          <ac:chgData name="Joelle Brehm" userId="a518f54c-6985-42c0-8041-2bb16a414839" providerId="ADAL" clId="{7999C4A2-9ACD-4CB2-9DCD-52B9CDE5124D}" dt="2023-05-07T18:00:29.354" v="15049"/>
          <ac:spMkLst>
            <pc:docMk/>
            <pc:sldMk cId="3798164587" sldId="259"/>
            <ac:spMk id="33" creationId="{275DD78E-6C37-19E2-BB7D-7EC5FAF1B229}"/>
          </ac:spMkLst>
        </pc:spChg>
        <pc:spChg chg="add del mod modVis">
          <ac:chgData name="Joelle Brehm" userId="a518f54c-6985-42c0-8041-2bb16a414839" providerId="ADAL" clId="{7999C4A2-9ACD-4CB2-9DCD-52B9CDE5124D}" dt="2023-05-07T17:53:31.113" v="11023"/>
          <ac:spMkLst>
            <pc:docMk/>
            <pc:sldMk cId="3798164587" sldId="259"/>
            <ac:spMk id="35" creationId="{8FF2A9A0-EE34-0B93-882A-AD73FB7DF675}"/>
          </ac:spMkLst>
        </pc:spChg>
        <pc:spChg chg="mod">
          <ac:chgData name="Joelle Brehm" userId="a518f54c-6985-42c0-8041-2bb16a414839" providerId="ADAL" clId="{7999C4A2-9ACD-4CB2-9DCD-52B9CDE5124D}" dt="2023-05-07T18:00:29.354" v="15041"/>
          <ac:spMkLst>
            <pc:docMk/>
            <pc:sldMk cId="3798164587" sldId="259"/>
            <ac:spMk id="36" creationId="{17FE84B0-8441-0A09-95B5-2EDD40F6EB1C}"/>
          </ac:spMkLst>
        </pc:spChg>
        <pc:spChg chg="mod">
          <ac:chgData name="Joelle Brehm" userId="a518f54c-6985-42c0-8041-2bb16a414839" providerId="ADAL" clId="{7999C4A2-9ACD-4CB2-9DCD-52B9CDE5124D}" dt="2023-05-07T18:00:29.354" v="15052"/>
          <ac:spMkLst>
            <pc:docMk/>
            <pc:sldMk cId="3798164587" sldId="259"/>
            <ac:spMk id="38" creationId="{F9718545-2C79-73C0-B314-2B5D8CF60E56}"/>
          </ac:spMkLst>
        </pc:spChg>
        <pc:spChg chg="add del mod replST">
          <ac:chgData name="Joelle Brehm" userId="a518f54c-6985-42c0-8041-2bb16a414839" providerId="ADAL" clId="{7999C4A2-9ACD-4CB2-9DCD-52B9CDE5124D}" dt="2023-05-07T17:53:43.387" v="12482"/>
          <ac:spMkLst>
            <pc:docMk/>
            <pc:sldMk cId="3798164587" sldId="259"/>
            <ac:spMk id="39" creationId="{9F3CAB43-CD67-A72B-AB65-CA239150BF38}"/>
          </ac:spMkLst>
        </pc:spChg>
        <pc:spChg chg="add del mod modVis">
          <ac:chgData name="Joelle Brehm" userId="a518f54c-6985-42c0-8041-2bb16a414839" providerId="ADAL" clId="{7999C4A2-9ACD-4CB2-9DCD-52B9CDE5124D}" dt="2023-05-07T17:53:36.509" v="11405"/>
          <ac:spMkLst>
            <pc:docMk/>
            <pc:sldMk cId="3798164587" sldId="259"/>
            <ac:spMk id="40" creationId="{235625F5-41B4-BF02-7D09-17F661D01AE3}"/>
          </ac:spMkLst>
        </pc:spChg>
        <pc:spChg chg="mod">
          <ac:chgData name="Joelle Brehm" userId="a518f54c-6985-42c0-8041-2bb16a414839" providerId="ADAL" clId="{7999C4A2-9ACD-4CB2-9DCD-52B9CDE5124D}" dt="2023-05-07T18:00:29.354" v="15053"/>
          <ac:spMkLst>
            <pc:docMk/>
            <pc:sldMk cId="3798164587" sldId="259"/>
            <ac:spMk id="42" creationId="{17E5CF1F-B68A-803E-7A46-9E4C2586B04A}"/>
          </ac:spMkLst>
        </pc:spChg>
        <pc:spChg chg="mod">
          <ac:chgData name="Joelle Brehm" userId="a518f54c-6985-42c0-8041-2bb16a414839" providerId="ADAL" clId="{7999C4A2-9ACD-4CB2-9DCD-52B9CDE5124D}" dt="2023-05-07T18:00:29.354" v="15054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7999C4A2-9ACD-4CB2-9DCD-52B9CDE5124D}" dt="2023-05-07T18:00:29.354" v="15039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7999C4A2-9ACD-4CB2-9DCD-52B9CDE5124D}" dt="2023-05-07T18:00:29.339" v="15030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31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35"/>
          <ac:spMkLst>
            <pc:docMk/>
            <pc:sldMk cId="3798164587" sldId="259"/>
            <ac:spMk id="47" creationId="{0420A3C3-1A1B-41EB-AFAA-911B5CDBCB49}"/>
          </ac:spMkLst>
        </pc:spChg>
        <pc:spChg chg="mod ord">
          <ac:chgData name="Joelle Brehm" userId="a518f54c-6985-42c0-8041-2bb16a414839" providerId="ADAL" clId="{7999C4A2-9ACD-4CB2-9DCD-52B9CDE5124D}" dt="2023-05-07T18:00:29.354" v="15057"/>
          <ac:spMkLst>
            <pc:docMk/>
            <pc:sldMk cId="3798164587" sldId="259"/>
            <ac:spMk id="48" creationId="{109DD5E0-29D7-88B4-1064-D57907DC0418}"/>
          </ac:spMkLst>
        </pc:spChg>
        <pc:spChg chg="add mod ord replST">
          <ac:chgData name="Joelle Brehm" userId="a518f54c-6985-42c0-8041-2bb16a414839" providerId="ADAL" clId="{7999C4A2-9ACD-4CB2-9DCD-52B9CDE5124D}" dt="2023-05-07T18:00:29.354" v="15059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7999C4A2-9ACD-4CB2-9DCD-52B9CDE5124D}" dt="2023-05-07T18:00:29.354" v="15056"/>
          <ac:spMkLst>
            <pc:docMk/>
            <pc:sldMk cId="3798164587" sldId="259"/>
            <ac:spMk id="50" creationId="{6E0EEE28-854C-B3D5-8CC6-BD69B0BE61B8}"/>
          </ac:spMkLst>
        </pc:spChg>
        <pc:spChg chg="add del mod modVis">
          <ac:chgData name="Joelle Brehm" userId="a518f54c-6985-42c0-8041-2bb16a414839" providerId="ADAL" clId="{7999C4A2-9ACD-4CB2-9DCD-52B9CDE5124D}" dt="2023-05-07T17:53:40.043" v="11651"/>
          <ac:spMkLst>
            <pc:docMk/>
            <pc:sldMk cId="3798164587" sldId="259"/>
            <ac:spMk id="51" creationId="{D0D54C64-C561-DC40-43DE-751777648F94}"/>
          </ac:spMkLst>
        </pc:spChg>
        <pc:spChg chg="add del mod modVis">
          <ac:chgData name="Joelle Brehm" userId="a518f54c-6985-42c0-8041-2bb16a414839" providerId="ADAL" clId="{7999C4A2-9ACD-4CB2-9DCD-52B9CDE5124D}" dt="2023-05-07T17:53:43.434" v="12593"/>
          <ac:spMkLst>
            <pc:docMk/>
            <pc:sldMk cId="3798164587" sldId="259"/>
            <ac:spMk id="53" creationId="{9443E593-FF28-6B4B-CD94-EE8F961896F9}"/>
          </ac:spMkLst>
        </pc:spChg>
        <pc:spChg chg="add del mod replST">
          <ac:chgData name="Joelle Brehm" userId="a518f54c-6985-42c0-8041-2bb16a414839" providerId="ADAL" clId="{7999C4A2-9ACD-4CB2-9DCD-52B9CDE5124D}" dt="2023-05-07T17:53:56.722" v="13054"/>
          <ac:spMkLst>
            <pc:docMk/>
            <pc:sldMk cId="3798164587" sldId="259"/>
            <ac:spMk id="54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53:56.721" v="13051"/>
          <ac:spMkLst>
            <pc:docMk/>
            <pc:sldMk cId="3798164587" sldId="259"/>
            <ac:spMk id="56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53:56.720" v="13048"/>
          <ac:spMkLst>
            <pc:docMk/>
            <pc:sldMk cId="3798164587" sldId="259"/>
            <ac:spMk id="57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53:56.719" v="13045"/>
          <ac:spMkLst>
            <pc:docMk/>
            <pc:sldMk cId="3798164587" sldId="259"/>
            <ac:spMk id="58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53:56.718" v="13042"/>
          <ac:spMkLst>
            <pc:docMk/>
            <pc:sldMk cId="3798164587" sldId="259"/>
            <ac:spMk id="59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53:56.717" v="13039"/>
          <ac:spMkLst>
            <pc:docMk/>
            <pc:sldMk cId="3798164587" sldId="259"/>
            <ac:spMk id="6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32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7999C4A2-9ACD-4CB2-9DCD-52B9CDE5124D}" dt="2023-05-07T18:00:29.354" v="15033"/>
          <ac:spMkLst>
            <pc:docMk/>
            <pc:sldMk cId="3798164587" sldId="259"/>
            <ac:spMk id="62" creationId="{E621A99F-79E6-44D1-808B-D950A3930E70}"/>
          </ac:spMkLst>
        </pc:spChg>
        <pc:spChg chg="add del mod replST">
          <ac:chgData name="Joelle Brehm" userId="a518f54c-6985-42c0-8041-2bb16a414839" providerId="ADAL" clId="{7999C4A2-9ACD-4CB2-9DCD-52B9CDE5124D}" dt="2023-05-07T17:53:56.716" v="13036"/>
          <ac:spMkLst>
            <pc:docMk/>
            <pc:sldMk cId="3798164587" sldId="259"/>
            <ac:spMk id="6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34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7999C4A2-9ACD-4CB2-9DCD-52B9CDE5124D}" dt="2023-05-07T17:53:46.899" v="13033"/>
          <ac:spMkLst>
            <pc:docMk/>
            <pc:sldMk cId="3798164587" sldId="259"/>
            <ac:spMk id="74" creationId="{49CDB32D-E5AB-072B-1B6A-E7BD4E9012A6}"/>
          </ac:spMkLst>
        </pc:spChg>
        <pc:spChg chg="add del mod modVis">
          <ac:chgData name="Joelle Brehm" userId="a518f54c-6985-42c0-8041-2bb16a414839" providerId="ADAL" clId="{7999C4A2-9ACD-4CB2-9DCD-52B9CDE5124D}" dt="2023-05-07T17:53:57.863" v="14170"/>
          <ac:spMkLst>
            <pc:docMk/>
            <pc:sldMk cId="3798164587" sldId="259"/>
            <ac:spMk id="76" creationId="{F077D901-59E7-0312-F0D8-5454FC827837}"/>
          </ac:spMkLst>
        </pc:spChg>
        <pc:spChg chg="add mod replST">
          <ac:chgData name="Joelle Brehm" userId="a518f54c-6985-42c0-8041-2bb16a414839" providerId="ADAL" clId="{7999C4A2-9ACD-4CB2-9DCD-52B9CDE5124D}" dt="2023-05-07T18:00:29.354" v="15044"/>
          <ac:spMkLst>
            <pc:docMk/>
            <pc:sldMk cId="3798164587" sldId="259"/>
            <ac:spMk id="7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00:29.354" v="15062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00:29.354" v="15064"/>
          <ac:spMkLst>
            <pc:docMk/>
            <pc:sldMk cId="3798164587" sldId="259"/>
            <ac:spMk id="79" creationId="{F1476AC4-694B-4D83-BFD8-8DCAA4BB1923}"/>
          </ac:spMkLst>
        </pc:spChg>
        <pc:spChg chg="add mod replST">
          <ac:chgData name="Joelle Brehm" userId="a518f54c-6985-42c0-8041-2bb16a414839" providerId="ADAL" clId="{7999C4A2-9ACD-4CB2-9DCD-52B9CDE5124D}" dt="2023-05-07T18:00:29.354" v="15047"/>
          <ac:spMkLst>
            <pc:docMk/>
            <pc:sldMk cId="3798164587" sldId="259"/>
            <ac:spMk id="80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48"/>
          <ac:spMkLst>
            <pc:docMk/>
            <pc:sldMk cId="3798164587" sldId="259"/>
            <ac:spMk id="81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50"/>
          <ac:spMkLst>
            <pc:docMk/>
            <pc:sldMk cId="3798164587" sldId="259"/>
            <ac:spMk id="82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2.513" v="11655"/>
          <ac:spMkLst>
            <pc:docMk/>
            <pc:sldMk cId="3798164587" sldId="259"/>
            <ac:spMk id="83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51"/>
          <ac:spMkLst>
            <pc:docMk/>
            <pc:sldMk cId="3798164587" sldId="259"/>
            <ac:spMk id="84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37"/>
          <ac:spMkLst>
            <pc:docMk/>
            <pc:sldMk cId="3798164587" sldId="259"/>
            <ac:spMk id="85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74" v="12445"/>
          <ac:spMkLst>
            <pc:docMk/>
            <pc:sldMk cId="3798164587" sldId="259"/>
            <ac:spMk id="86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75" v="12448"/>
          <ac:spMkLst>
            <pc:docMk/>
            <pc:sldMk cId="3798164587" sldId="259"/>
            <ac:spMk id="87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76" v="12451"/>
          <ac:spMkLst>
            <pc:docMk/>
            <pc:sldMk cId="3798164587" sldId="259"/>
            <ac:spMk id="88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40"/>
          <ac:spMkLst>
            <pc:docMk/>
            <pc:sldMk cId="3798164587" sldId="259"/>
            <ac:spMk id="89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42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39" v="15029"/>
          <ac:spMkLst>
            <pc:docMk/>
            <pc:sldMk cId="3798164587" sldId="259"/>
            <ac:spMk id="91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55"/>
          <ac:spMkLst>
            <pc:docMk/>
            <pc:sldMk cId="3798164587" sldId="259"/>
            <ac:spMk id="92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2.511" v="11654"/>
          <ac:spMkLst>
            <pc:docMk/>
            <pc:sldMk cId="3798164587" sldId="259"/>
            <ac:spMk id="93" creationId="{4088B698-87E7-9DDB-894D-00DA07AB278B}"/>
          </ac:spMkLst>
        </pc:spChg>
        <pc:spChg chg="add mod replST">
          <ac:chgData name="Joelle Brehm" userId="a518f54c-6985-42c0-8041-2bb16a414839" providerId="ADAL" clId="{7999C4A2-9ACD-4CB2-9DCD-52B9CDE5124D}" dt="2023-05-07T18:00:29.354" v="15046"/>
          <ac:spMkLst>
            <pc:docMk/>
            <pc:sldMk cId="3798164587" sldId="259"/>
            <ac:spMk id="94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38"/>
          <ac:spMkLst>
            <pc:docMk/>
            <pc:sldMk cId="3798164587" sldId="259"/>
            <ac:spMk id="9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45"/>
          <ac:spMkLst>
            <pc:docMk/>
            <pc:sldMk cId="3798164587" sldId="259"/>
            <ac:spMk id="96" creationId="{B0CA5BD9-5CCF-4C87-0BE7-E4C0D2E84131}"/>
          </ac:spMkLst>
        </pc:spChg>
        <pc:spChg chg="mod">
          <ac:chgData name="Joelle Brehm" userId="a518f54c-6985-42c0-8041-2bb16a414839" providerId="ADAL" clId="{7999C4A2-9ACD-4CB2-9DCD-52B9CDE5124D}" dt="2023-05-07T18:00:29.354" v="15036"/>
          <ac:spMkLst>
            <pc:docMk/>
            <pc:sldMk cId="3798164587" sldId="259"/>
            <ac:spMk id="97" creationId="{746D11F9-B7E8-960F-299B-D42CF1548E0E}"/>
          </ac:spMkLst>
        </pc:spChg>
        <pc:spChg chg="mod">
          <ac:chgData name="Joelle Brehm" userId="a518f54c-6985-42c0-8041-2bb16a414839" providerId="ADAL" clId="{7999C4A2-9ACD-4CB2-9DCD-52B9CDE5124D}" dt="2023-05-07T18:00:29.354" v="15043"/>
          <ac:spMkLst>
            <pc:docMk/>
            <pc:sldMk cId="3798164587" sldId="259"/>
            <ac:spMk id="98" creationId="{5C2D14D9-12F3-09BB-CF0F-B06C9774FBF8}"/>
          </ac:spMkLst>
        </pc:spChg>
        <pc:spChg chg="del mod">
          <ac:chgData name="Joelle Brehm" userId="a518f54c-6985-42c0-8041-2bb16a414839" providerId="ADAL" clId="{7999C4A2-9ACD-4CB2-9DCD-52B9CDE5124D}" dt="2023-05-07T17:53:43.378" v="12454"/>
          <ac:spMkLst>
            <pc:docMk/>
            <pc:sldMk cId="3798164587" sldId="259"/>
            <ac:spMk id="99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00:29.354" v="15066"/>
          <ac:spMkLst>
            <pc:docMk/>
            <pc:sldMk cId="3798164587" sldId="259"/>
            <ac:spMk id="100" creationId="{8B5667AB-609C-4AEA-83B3-24E395C8F420}"/>
          </ac:spMkLst>
        </pc:spChg>
        <pc:spChg chg="del mod">
          <ac:chgData name="Joelle Brehm" userId="a518f54c-6985-42c0-8041-2bb16a414839" providerId="ADAL" clId="{7999C4A2-9ACD-4CB2-9DCD-52B9CDE5124D}" dt="2023-05-07T17:53:43.379" v="12457"/>
          <ac:spMkLst>
            <pc:docMk/>
            <pc:sldMk cId="3798164587" sldId="259"/>
            <ac:spMk id="101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80" v="12460"/>
          <ac:spMkLst>
            <pc:docMk/>
            <pc:sldMk cId="3798164587" sldId="259"/>
            <ac:spMk id="102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81" v="12463"/>
          <ac:spMkLst>
            <pc:docMk/>
            <pc:sldMk cId="3798164587" sldId="259"/>
            <ac:spMk id="103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82" v="12466"/>
          <ac:spMkLst>
            <pc:docMk/>
            <pc:sldMk cId="3798164587" sldId="259"/>
            <ac:spMk id="104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83" v="12469"/>
          <ac:spMkLst>
            <pc:docMk/>
            <pc:sldMk cId="3798164587" sldId="259"/>
            <ac:spMk id="105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53:43.384" v="12472"/>
          <ac:spMkLst>
            <pc:docMk/>
            <pc:sldMk cId="3798164587" sldId="259"/>
            <ac:spMk id="106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7T18:00:29.354" v="15060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00:29.354" v="15068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00:29.354" v="15070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00:29.354" v="15072"/>
          <ac:spMkLst>
            <pc:docMk/>
            <pc:sldMk cId="3798164587" sldId="259"/>
            <ac:spMk id="110" creationId="{76D5A471-E342-4112-9B61-678EA0C3F282}"/>
          </ac:spMkLst>
        </pc:spChg>
        <pc:spChg chg="add del mod modVis">
          <ac:chgData name="Joelle Brehm" userId="a518f54c-6985-42c0-8041-2bb16a414839" providerId="ADAL" clId="{7999C4A2-9ACD-4CB2-9DCD-52B9CDE5124D}" dt="2023-05-07T17:54:51.310" v="14915"/>
          <ac:spMkLst>
            <pc:docMk/>
            <pc:sldMk cId="3798164587" sldId="259"/>
            <ac:spMk id="112" creationId="{419CE0DC-F5BF-E2BF-D9A9-BFF0B19DFEDF}"/>
          </ac:spMkLst>
        </pc:spChg>
        <pc:spChg chg="mod">
          <ac:chgData name="Joelle Brehm" userId="a518f54c-6985-42c0-8041-2bb16a414839" providerId="ADAL" clId="{7999C4A2-9ACD-4CB2-9DCD-52B9CDE5124D}" dt="2023-05-07T18:00:29.354" v="15078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79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77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0:29.354" v="15076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00:29.354" v="15075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00:29.401" v="15089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7:53:02.837" v="10563"/>
          <ac:graphicFrameMkLst>
            <pc:docMk/>
            <pc:sldMk cId="3798164587" sldId="259"/>
            <ac:graphicFrameMk id="9" creationId="{D02B364C-C262-A097-7AF5-F9F6E853105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0:29.339" v="15004"/>
          <ac:graphicFrameMkLst>
            <pc:docMk/>
            <pc:sldMk cId="3798164587" sldId="259"/>
            <ac:graphicFrameMk id="32" creationId="{52D8F7AD-0A06-C39E-0DBA-8CC5FFB0B261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0:29.354" v="15074"/>
          <ac:graphicFrameMkLst>
            <pc:docMk/>
            <pc:sldMk cId="3798164587" sldId="259"/>
            <ac:graphicFrameMk id="37" creationId="{A3EB61F2-21D4-7620-BF29-5FAFF44DEC8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53:39.989" v="11549"/>
          <ac:graphicFrameMkLst>
            <pc:docMk/>
            <pc:sldMk cId="3798164587" sldId="259"/>
            <ac:graphicFrameMk id="41" creationId="{ED144553-3DF4-ED0C-5B53-F33F08EE4F4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53:43.388" v="12484"/>
          <ac:graphicFrameMkLst>
            <pc:docMk/>
            <pc:sldMk cId="3798164587" sldId="259"/>
            <ac:graphicFrameMk id="52" creationId="{E6C0F19A-0DC4-9148-7075-1353BCCD45E2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53:31.073" v="10924"/>
          <ac:graphicFrameMkLst>
            <pc:docMk/>
            <pc:sldMk cId="3798164587" sldId="259"/>
            <ac:graphicFrameMk id="55" creationId="{2CF64130-4105-5F93-EE19-868CE866243C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53:36.459" v="11305"/>
          <ac:graphicFrameMkLst>
            <pc:docMk/>
            <pc:sldMk cId="3798164587" sldId="259"/>
            <ac:graphicFrameMk id="68" creationId="{E8BBF516-EB95-23AB-1367-4406B1E5DA1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53:46.857" v="12925"/>
          <ac:graphicFrameMkLst>
            <pc:docMk/>
            <pc:sldMk cId="3798164587" sldId="259"/>
            <ac:graphicFrameMk id="73" creationId="{674E33E7-0AB2-E467-4F18-884A3A55A7CB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53:57.810" v="14071"/>
          <ac:graphicFrameMkLst>
            <pc:docMk/>
            <pc:sldMk cId="3798164587" sldId="259"/>
            <ac:graphicFrameMk id="75" creationId="{0DB5FC28-E302-6A6A-3CCF-488AC4AAFE15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0:29.339" v="15028"/>
          <ac:graphicFrameMkLst>
            <pc:docMk/>
            <pc:sldMk cId="3798164587" sldId="259"/>
            <ac:graphicFrameMk id="111" creationId="{E2E1D966-BBFD-5FBD-AFE0-8D6DD71F56DD}"/>
          </ac:graphicFrameMkLst>
        </pc:graphicFrameChg>
        <pc:graphicFrameChg chg="add mod ord replST delST">
          <ac:chgData name="Joelle Brehm" userId="a518f54c-6985-42c0-8041-2bb16a414839" providerId="ADAL" clId="{7999C4A2-9ACD-4CB2-9DCD-52B9CDE5124D}" dt="2023-05-07T17:54:51.310" v="14915"/>
          <ac:graphicFrameMkLst>
            <pc:docMk/>
            <pc:sldMk cId="3798164587" sldId="259"/>
            <ac:graphicFrameMk id="113" creationId="{C1618415-0341-317C-3AC1-A501C7C594B4}"/>
          </ac:graphicFrameMkLst>
        </pc:graphicFrameChg>
        <pc:picChg chg="add mod ord">
          <ac:chgData name="Joelle Brehm" userId="a518f54c-6985-42c0-8041-2bb16a414839" providerId="ADAL" clId="{7999C4A2-9ACD-4CB2-9DCD-52B9CDE5124D}" dt="2023-05-07T18:00:29.339" v="14994"/>
          <ac:picMkLst>
            <pc:docMk/>
            <pc:sldMk cId="3798164587" sldId="259"/>
            <ac:picMk id="3" creationId="{BCD021A0-CA82-A519-A624-52C14616AAF4}"/>
          </ac:picMkLst>
        </pc:picChg>
        <pc:picChg chg="mod ord">
          <ac:chgData name="Joelle Brehm" userId="a518f54c-6985-42c0-8041-2bb16a414839" providerId="ADAL" clId="{7999C4A2-9ACD-4CB2-9DCD-52B9CDE5124D}" dt="2023-05-07T18:00:29.339" v="14998"/>
          <ac:picMkLst>
            <pc:docMk/>
            <pc:sldMk cId="3798164587" sldId="259"/>
            <ac:picMk id="5" creationId="{8F4A2CF4-0CF3-47E4-B23B-AC49D50CFFA1}"/>
          </ac:picMkLst>
        </pc:picChg>
        <pc:picChg chg="del mod ord">
          <ac:chgData name="Joelle Brehm" userId="a518f54c-6985-42c0-8041-2bb16a414839" providerId="ADAL" clId="{7999C4A2-9ACD-4CB2-9DCD-52B9CDE5124D}" dt="2023-05-07T17:53:21.859" v="10789" actId="478"/>
          <ac:picMkLst>
            <pc:docMk/>
            <pc:sldMk cId="3798164587" sldId="259"/>
            <ac:picMk id="10" creationId="{48A2A676-AD05-B68B-7C69-ADA6BC676729}"/>
          </ac:picMkLst>
        </pc:picChg>
        <pc:picChg chg="add del mod ord">
          <ac:chgData name="Joelle Brehm" userId="a518f54c-6985-42c0-8041-2bb16a414839" providerId="ADAL" clId="{7999C4A2-9ACD-4CB2-9DCD-52B9CDE5124D}" dt="2023-05-07T18:00:30.846" v="15090" actId="478"/>
          <ac:picMkLst>
            <pc:docMk/>
            <pc:sldMk cId="3798164587" sldId="259"/>
            <ac:picMk id="34" creationId="{EB2D0887-8FD8-FED0-3841-3B5123A01805}"/>
          </ac:picMkLst>
        </pc:picChg>
        <pc:picChg chg="mod ord">
          <ac:chgData name="Joelle Brehm" userId="a518f54c-6985-42c0-8041-2bb16a414839" providerId="ADAL" clId="{7999C4A2-9ACD-4CB2-9DCD-52B9CDE5124D}" dt="2023-05-07T18:00:29.354" v="15081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00:29.339" v="15002"/>
          <ac:cxnSpMkLst>
            <pc:docMk/>
            <pc:sldMk cId="3798164587" sldId="259"/>
            <ac:cxnSpMk id="7" creationId="{81C3ADD2-FBA2-4990-9325-1C3084F656B8}"/>
          </ac:cxnSpMkLst>
        </pc:cxnChg>
        <pc:cxnChg chg="add del mod ord replST">
          <ac:chgData name="Joelle Brehm" userId="a518f54c-6985-42c0-8041-2bb16a414839" providerId="ADAL" clId="{7999C4A2-9ACD-4CB2-9DCD-52B9CDE5124D}" dt="2023-05-07T17:53:56.722" v="13056"/>
          <ac:cxnSpMkLst>
            <pc:docMk/>
            <pc:sldMk cId="3798164587" sldId="259"/>
            <ac:cxnSpMk id="65" creationId="{2758C488-DC2A-32B3-2314-176A9978CBF1}"/>
          </ac:cxnSpMkLst>
        </pc:cxnChg>
        <pc:cxnChg chg="add del mod ord replST">
          <ac:chgData name="Joelle Brehm" userId="a518f54c-6985-42c0-8041-2bb16a414839" providerId="ADAL" clId="{7999C4A2-9ACD-4CB2-9DCD-52B9CDE5124D}" dt="2023-05-07T17:53:56.721" v="13053"/>
          <ac:cxnSpMkLst>
            <pc:docMk/>
            <pc:sldMk cId="3798164587" sldId="259"/>
            <ac:cxnSpMk id="66" creationId="{88FC9385-F720-C1CB-04BB-4151FA0C5389}"/>
          </ac:cxnSpMkLst>
        </pc:cxnChg>
        <pc:cxnChg chg="add del mod ord replST">
          <ac:chgData name="Joelle Brehm" userId="a518f54c-6985-42c0-8041-2bb16a414839" providerId="ADAL" clId="{7999C4A2-9ACD-4CB2-9DCD-52B9CDE5124D}" dt="2023-05-07T17:53:56.720" v="13050"/>
          <ac:cxnSpMkLst>
            <pc:docMk/>
            <pc:sldMk cId="3798164587" sldId="259"/>
            <ac:cxnSpMk id="67" creationId="{0FB2F006-69F2-FDFC-E7DF-26A16504176D}"/>
          </ac:cxnSpMkLst>
        </pc:cxnChg>
        <pc:cxnChg chg="add del mod ord replST">
          <ac:chgData name="Joelle Brehm" userId="a518f54c-6985-42c0-8041-2bb16a414839" providerId="ADAL" clId="{7999C4A2-9ACD-4CB2-9DCD-52B9CDE5124D}" dt="2023-05-07T17:53:56.719" v="13047"/>
          <ac:cxnSpMkLst>
            <pc:docMk/>
            <pc:sldMk cId="3798164587" sldId="259"/>
            <ac:cxnSpMk id="69" creationId="{5FA91AAB-28AA-6A5E-7D06-299BA1B229AD}"/>
          </ac:cxnSpMkLst>
        </pc:cxnChg>
        <pc:cxnChg chg="add del mod ord replST">
          <ac:chgData name="Joelle Brehm" userId="a518f54c-6985-42c0-8041-2bb16a414839" providerId="ADAL" clId="{7999C4A2-9ACD-4CB2-9DCD-52B9CDE5124D}" dt="2023-05-07T17:53:56.719" v="13044"/>
          <ac:cxnSpMkLst>
            <pc:docMk/>
            <pc:sldMk cId="3798164587" sldId="259"/>
            <ac:cxnSpMk id="70" creationId="{E9ACEB2F-A520-3796-DEE4-8743F00A79FB}"/>
          </ac:cxnSpMkLst>
        </pc:cxnChg>
        <pc:cxnChg chg="add del mod ord replST">
          <ac:chgData name="Joelle Brehm" userId="a518f54c-6985-42c0-8041-2bb16a414839" providerId="ADAL" clId="{7999C4A2-9ACD-4CB2-9DCD-52B9CDE5124D}" dt="2023-05-07T17:53:56.718" v="13041"/>
          <ac:cxnSpMkLst>
            <pc:docMk/>
            <pc:sldMk cId="3798164587" sldId="259"/>
            <ac:cxnSpMk id="71" creationId="{3FFABF86-28ED-4BC6-ECA0-ED9DB3109A87}"/>
          </ac:cxnSpMkLst>
        </pc:cxnChg>
        <pc:cxnChg chg="add del mod ord replST">
          <ac:chgData name="Joelle Brehm" userId="a518f54c-6985-42c0-8041-2bb16a414839" providerId="ADAL" clId="{7999C4A2-9ACD-4CB2-9DCD-52B9CDE5124D}" dt="2023-05-07T17:53:56.717" v="13038"/>
          <ac:cxnSpMkLst>
            <pc:docMk/>
            <pc:sldMk cId="3798164587" sldId="259"/>
            <ac:cxnSpMk id="72" creationId="{F1048D59-9CCD-BB3C-545D-9A5CC16D1BCC}"/>
          </ac:cxnSpMkLst>
        </pc:cxnChg>
      </pc:sldChg>
      <pc:sldChg chg="modSp mod">
        <pc:chgData name="Joelle Brehm" userId="a518f54c-6985-42c0-8041-2bb16a414839" providerId="ADAL" clId="{7999C4A2-9ACD-4CB2-9DCD-52B9CDE5124D}" dt="2023-05-05T19:14:37.855" v="4" actId="20577"/>
        <pc:sldMkLst>
          <pc:docMk/>
          <pc:sldMk cId="4090961396" sldId="260"/>
        </pc:sldMkLst>
        <pc:spChg chg="mod">
          <ac:chgData name="Joelle Brehm" userId="a518f54c-6985-42c0-8041-2bb16a414839" providerId="ADAL" clId="{7999C4A2-9ACD-4CB2-9DCD-52B9CDE5124D}" dt="2023-05-05T19:14:37.855" v="4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7999C4A2-9ACD-4CB2-9DCD-52B9CDE5124D}" dt="2023-05-08T18:16:15.840" v="61366" actId="108"/>
        <pc:sldMkLst>
          <pc:docMk/>
          <pc:sldMk cId="2525895214" sldId="262"/>
        </pc:sldMkLst>
        <pc:spChg chg="add del mod">
          <ac:chgData name="Joelle Brehm" userId="a518f54c-6985-42c0-8041-2bb16a414839" providerId="ADAL" clId="{7999C4A2-9ACD-4CB2-9DCD-52B9CDE5124D}" dt="2023-05-08T18:14:12.709" v="61321" actId="478"/>
          <ac:spMkLst>
            <pc:docMk/>
            <pc:sldMk cId="2525895214" sldId="262"/>
            <ac:spMk id="3" creationId="{23232379-9A7A-3270-9183-E1D782F4753C}"/>
          </ac:spMkLst>
        </pc:spChg>
        <pc:graphicFrameChg chg="mod modGraphic">
          <ac:chgData name="Joelle Brehm" userId="a518f54c-6985-42c0-8041-2bb16a414839" providerId="ADAL" clId="{7999C4A2-9ACD-4CB2-9DCD-52B9CDE5124D}" dt="2023-05-08T18:16:15.840" v="61366" actId="108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7999C4A2-9ACD-4CB2-9DCD-52B9CDE5124D}" dt="2023-05-05T19:23:23.155" v="575" actId="478"/>
        <pc:sldMkLst>
          <pc:docMk/>
          <pc:sldMk cId="3980989934" sldId="263"/>
        </pc:sldMkLst>
        <pc:spChg chg="mod ord">
          <ac:chgData name="Joelle Brehm" userId="a518f54c-6985-42c0-8041-2bb16a414839" providerId="ADAL" clId="{7999C4A2-9ACD-4CB2-9DCD-52B9CDE5124D}" dt="2023-05-05T19:21:18.526" v="562"/>
          <ac:spMkLst>
            <pc:docMk/>
            <pc:sldMk cId="3980989934" sldId="263"/>
            <ac:spMk id="2" creationId="{75C72E1E-661F-4997-A353-2798333F5BE3}"/>
          </ac:spMkLst>
        </pc:spChg>
        <pc:spChg chg="add del mod ord">
          <ac:chgData name="Joelle Brehm" userId="a518f54c-6985-42c0-8041-2bb16a414839" providerId="ADAL" clId="{7999C4A2-9ACD-4CB2-9DCD-52B9CDE5124D}" dt="2023-05-05T19:23:23.155" v="575" actId="478"/>
          <ac:spMkLst>
            <pc:docMk/>
            <pc:sldMk cId="3980989934" sldId="263"/>
            <ac:spMk id="3" creationId="{67CD1A04-8917-CCA1-254A-831B7B4984C2}"/>
          </ac:spMkLst>
        </pc:spChg>
        <pc:spChg chg="mod ord">
          <ac:chgData name="Joelle Brehm" userId="a518f54c-6985-42c0-8041-2bb16a414839" providerId="ADAL" clId="{7999C4A2-9ACD-4CB2-9DCD-52B9CDE5124D}" dt="2023-05-05T19:21:18.516" v="537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7999C4A2-9ACD-4CB2-9DCD-52B9CDE5124D}" dt="2023-05-05T19:21:18.517" v="541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7999C4A2-9ACD-4CB2-9DCD-52B9CDE5124D}" dt="2023-05-05T19:21:18.520" v="546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7999C4A2-9ACD-4CB2-9DCD-52B9CDE5124D}" dt="2023-05-05T19:21:18.519" v="544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7999C4A2-9ACD-4CB2-9DCD-52B9CDE5124D}" dt="2023-05-05T19:21:18.519" v="545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7999C4A2-9ACD-4CB2-9DCD-52B9CDE5124D}" dt="2023-05-05T19:21:18.518" v="542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7999C4A2-9ACD-4CB2-9DCD-52B9CDE5124D}" dt="2023-05-05T19:21:18.521" v="550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7999C4A2-9ACD-4CB2-9DCD-52B9CDE5124D}" dt="2023-05-05T19:21:18.520" v="547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7999C4A2-9ACD-4CB2-9DCD-52B9CDE5124D}" dt="2023-05-05T19:21:18.520" v="548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7999C4A2-9ACD-4CB2-9DCD-52B9CDE5124D}" dt="2023-05-05T19:21:18.517" v="540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7999C4A2-9ACD-4CB2-9DCD-52B9CDE5124D}" dt="2023-05-05T19:21:18.521" v="549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7999C4A2-9ACD-4CB2-9DCD-52B9CDE5124D}" dt="2023-05-05T19:21:18.521" v="551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7999C4A2-9ACD-4CB2-9DCD-52B9CDE5124D}" dt="2023-05-05T19:21:18.518" v="543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7999C4A2-9ACD-4CB2-9DCD-52B9CDE5124D}" dt="2023-05-05T19:21:18.522" v="553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7999C4A2-9ACD-4CB2-9DCD-52B9CDE5124D}" dt="2023-05-05T19:21:18.523" v="555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7999C4A2-9ACD-4CB2-9DCD-52B9CDE5124D}" dt="2023-05-05T19:21:18.531" v="572"/>
          <ac:spMkLst>
            <pc:docMk/>
            <pc:sldMk cId="3980989934" sldId="263"/>
            <ac:spMk id="24" creationId="{8477F36B-ACD8-E433-85E7-820704134AE0}"/>
          </ac:spMkLst>
        </pc:spChg>
        <pc:spChg chg="mod ord">
          <ac:chgData name="Joelle Brehm" userId="a518f54c-6985-42c0-8041-2bb16a414839" providerId="ADAL" clId="{7999C4A2-9ACD-4CB2-9DCD-52B9CDE5124D}" dt="2023-05-05T19:21:18.527" v="564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7999C4A2-9ACD-4CB2-9DCD-52B9CDE5124D}" dt="2023-05-05T19:21:18.524" v="557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7999C4A2-9ACD-4CB2-9DCD-52B9CDE5124D}" dt="2023-05-05T19:21:18.525" v="559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7999C4A2-9ACD-4CB2-9DCD-52B9CDE5124D}" dt="2023-05-05T19:21:18.545" v="574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5T19:21:18.484" v="527"/>
          <ac:graphicFrameMkLst>
            <pc:docMk/>
            <pc:sldMk cId="3980989934" sldId="263"/>
            <ac:graphicFrameMk id="25" creationId="{4B7CBF55-0D4C-C132-0008-D312C972A453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5T19:21:18.516" v="539"/>
          <ac:graphicFrameMkLst>
            <pc:docMk/>
            <pc:sldMk cId="3980989934" sldId="263"/>
            <ac:graphicFrameMk id="27" creationId="{98BE7412-42DF-2DBA-B991-344CF7B9C2A3}"/>
          </ac:graphicFrameMkLst>
        </pc:graphicFrameChg>
        <pc:picChg chg="add del mod">
          <ac:chgData name="Joelle Brehm" userId="a518f54c-6985-42c0-8041-2bb16a414839" providerId="ADAL" clId="{7999C4A2-9ACD-4CB2-9DCD-52B9CDE5124D}" dt="2023-05-05T19:16:03.230" v="41" actId="478"/>
          <ac:picMkLst>
            <pc:docMk/>
            <pc:sldMk cId="3980989934" sldId="263"/>
            <ac:picMk id="6" creationId="{6D36F0C1-C4E2-75B3-8024-88399E580CF9}"/>
          </ac:picMkLst>
        </pc:picChg>
        <pc:picChg chg="del mod ord">
          <ac:chgData name="Joelle Brehm" userId="a518f54c-6985-42c0-8041-2bb16a414839" providerId="ADAL" clId="{7999C4A2-9ACD-4CB2-9DCD-52B9CDE5124D}" dt="2023-05-05T19:16:29.921" v="86" actId="478"/>
          <ac:picMkLst>
            <pc:docMk/>
            <pc:sldMk cId="3980989934" sldId="263"/>
            <ac:picMk id="7" creationId="{C78FE789-B92A-24F3-A95F-986E0875398D}"/>
          </ac:picMkLst>
        </pc:picChg>
        <pc:picChg chg="add mod ord">
          <ac:chgData name="Joelle Brehm" userId="a518f54c-6985-42c0-8041-2bb16a414839" providerId="ADAL" clId="{7999C4A2-9ACD-4CB2-9DCD-52B9CDE5124D}" dt="2023-05-05T19:21:18.515" v="535"/>
          <ac:picMkLst>
            <pc:docMk/>
            <pc:sldMk cId="3980989934" sldId="263"/>
            <ac:picMk id="22" creationId="{9068A140-4134-667C-BBB8-557761258898}"/>
          </ac:picMkLst>
        </pc:picChg>
        <pc:picChg chg="add mod ord">
          <ac:chgData name="Joelle Brehm" userId="a518f54c-6985-42c0-8041-2bb16a414839" providerId="ADAL" clId="{7999C4A2-9ACD-4CB2-9DCD-52B9CDE5124D}" dt="2023-05-05T19:21:18.529" v="568"/>
          <ac:picMkLst>
            <pc:docMk/>
            <pc:sldMk cId="3980989934" sldId="263"/>
            <ac:picMk id="23" creationId="{A5E5085F-857A-B38E-5D89-237F0D85DE9C}"/>
          </ac:picMkLst>
        </pc:picChg>
        <pc:picChg chg="del mod ord">
          <ac:chgData name="Joelle Brehm" userId="a518f54c-6985-42c0-8041-2bb16a414839" providerId="ADAL" clId="{7999C4A2-9ACD-4CB2-9DCD-52B9CDE5124D}" dt="2023-05-05T19:20:34.030" v="89" actId="478"/>
          <ac:picMkLst>
            <pc:docMk/>
            <pc:sldMk cId="3980989934" sldId="263"/>
            <ac:picMk id="26" creationId="{65F7538D-85BD-B343-B87E-87810083484B}"/>
          </ac:picMkLst>
        </pc:picChg>
        <pc:picChg chg="mod">
          <ac:chgData name="Joelle Brehm" userId="a518f54c-6985-42c0-8041-2bb16a414839" providerId="ADAL" clId="{7999C4A2-9ACD-4CB2-9DCD-52B9CDE5124D}" dt="2023-05-05T19:21:18.525" v="560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7999C4A2-9ACD-4CB2-9DCD-52B9CDE5124D}" dt="2023-05-08T18:12:30.301" v="61319"/>
        <pc:sldMkLst>
          <pc:docMk/>
          <pc:sldMk cId="1450446987" sldId="264"/>
        </pc:sldMkLst>
        <pc:spChg chg="add del mod ord">
          <ac:chgData name="Joelle Brehm" userId="a518f54c-6985-42c0-8041-2bb16a414839" providerId="ADAL" clId="{7999C4A2-9ACD-4CB2-9DCD-52B9CDE5124D}" dt="2023-05-08T18:11:41.545" v="58655" actId="478"/>
          <ac:spMkLst>
            <pc:docMk/>
            <pc:sldMk cId="1450446987" sldId="264"/>
            <ac:spMk id="2" creationId="{2D3C54DA-5624-C4EF-0999-586B921CCF0D}"/>
          </ac:spMkLst>
        </pc:spChg>
        <pc:spChg chg="mod ord">
          <ac:chgData name="Joelle Brehm" userId="a518f54c-6985-42c0-8041-2bb16a414839" providerId="ADAL" clId="{7999C4A2-9ACD-4CB2-9DCD-52B9CDE5124D}" dt="2023-05-08T18:12:22.101" v="61118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7999C4A2-9ACD-4CB2-9DCD-52B9CDE5124D}" dt="2023-05-08T18:12:22.121" v="61191"/>
          <ac:spMkLst>
            <pc:docMk/>
            <pc:sldMk cId="1450446987" sldId="264"/>
            <ac:spMk id="6" creationId="{C68F5169-412D-ED3A-1A99-F1B307B865FB}"/>
          </ac:spMkLst>
        </pc:spChg>
        <pc:spChg chg="mod ord">
          <ac:chgData name="Joelle Brehm" userId="a518f54c-6985-42c0-8041-2bb16a414839" providerId="ADAL" clId="{7999C4A2-9ACD-4CB2-9DCD-52B9CDE5124D}" dt="2023-05-08T18:12:30.255" v="61309"/>
          <ac:spMkLst>
            <pc:docMk/>
            <pc:sldMk cId="1450446987" sldId="264"/>
            <ac:spMk id="7" creationId="{E1E64566-68A0-42EC-A2FA-A382E667F65C}"/>
          </ac:spMkLst>
        </pc:spChg>
        <pc:spChg chg="add del mod modVis">
          <ac:chgData name="Joelle Brehm" userId="a518f54c-6985-42c0-8041-2bb16a414839" providerId="ADAL" clId="{7999C4A2-9ACD-4CB2-9DCD-52B9CDE5124D}" dt="2023-05-08T18:11:54.363" v="58917"/>
          <ac:spMkLst>
            <pc:docMk/>
            <pc:sldMk cId="1450446987" sldId="264"/>
            <ac:spMk id="9" creationId="{8FB1DBA8-A6A4-54F4-F958-5126661B1423}"/>
          </ac:spMkLst>
        </pc:spChg>
        <pc:spChg chg="mod">
          <ac:chgData name="Joelle Brehm" userId="a518f54c-6985-42c0-8041-2bb16a414839" providerId="ADAL" clId="{7999C4A2-9ACD-4CB2-9DCD-52B9CDE5124D}" dt="2023-05-08T18:12:22.118" v="61181"/>
          <ac:spMkLst>
            <pc:docMk/>
            <pc:sldMk cId="1450446987" sldId="264"/>
            <ac:spMk id="10" creationId="{0B5A57DD-7EDA-25CF-0BB0-3E0418CFBDB6}"/>
          </ac:spMkLst>
        </pc:spChg>
        <pc:spChg chg="mod">
          <ac:chgData name="Joelle Brehm" userId="a518f54c-6985-42c0-8041-2bb16a414839" providerId="ADAL" clId="{7999C4A2-9ACD-4CB2-9DCD-52B9CDE5124D}" dt="2023-05-08T18:12:22.117" v="61178"/>
          <ac:spMkLst>
            <pc:docMk/>
            <pc:sldMk cId="1450446987" sldId="264"/>
            <ac:spMk id="11" creationId="{A6526291-8335-68F9-3992-BACCF85E017D}"/>
          </ac:spMkLst>
        </pc:spChg>
        <pc:spChg chg="mod">
          <ac:chgData name="Joelle Brehm" userId="a518f54c-6985-42c0-8041-2bb16a414839" providerId="ADAL" clId="{7999C4A2-9ACD-4CB2-9DCD-52B9CDE5124D}" dt="2023-05-08T18:12:22.121" v="61192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7999C4A2-9ACD-4CB2-9DCD-52B9CDE5124D}" dt="2023-05-08T18:12:22.121" v="61189"/>
          <ac:spMkLst>
            <pc:docMk/>
            <pc:sldMk cId="1450446987" sldId="264"/>
            <ac:spMk id="13" creationId="{ADECDCFA-1E1B-DA79-857B-6C2FA278DB11}"/>
          </ac:spMkLst>
        </pc:spChg>
        <pc:spChg chg="add del mod modVis">
          <ac:chgData name="Joelle Brehm" userId="a518f54c-6985-42c0-8041-2bb16a414839" providerId="ADAL" clId="{7999C4A2-9ACD-4CB2-9DCD-52B9CDE5124D}" dt="2023-05-07T17:44:15.922" v="1295"/>
          <ac:spMkLst>
            <pc:docMk/>
            <pc:sldMk cId="1450446987" sldId="264"/>
            <ac:spMk id="14" creationId="{08D8DADC-1054-8189-3AB0-211FD6249143}"/>
          </ac:spMkLst>
        </pc:spChg>
        <pc:spChg chg="mod">
          <ac:chgData name="Joelle Brehm" userId="a518f54c-6985-42c0-8041-2bb16a414839" providerId="ADAL" clId="{7999C4A2-9ACD-4CB2-9DCD-52B9CDE5124D}" dt="2023-05-08T18:12:22.102" v="61125"/>
          <ac:spMkLst>
            <pc:docMk/>
            <pc:sldMk cId="1450446987" sldId="264"/>
            <ac:spMk id="15" creationId="{5B084CC3-E175-D9CA-87E6-954E2FBF59B5}"/>
          </ac:spMkLst>
        </pc:spChg>
        <pc:spChg chg="mod ord">
          <ac:chgData name="Joelle Brehm" userId="a518f54c-6985-42c0-8041-2bb16a414839" providerId="ADAL" clId="{7999C4A2-9ACD-4CB2-9DCD-52B9CDE5124D}" dt="2023-05-08T18:12:30.252" v="61303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7999C4A2-9ACD-4CB2-9DCD-52B9CDE5124D}" dt="2023-05-08T18:12:22.123" v="61197"/>
          <ac:spMkLst>
            <pc:docMk/>
            <pc:sldMk cId="1450446987" sldId="264"/>
            <ac:spMk id="17" creationId="{9F3E8293-6A80-77D9-FC6A-6EEAEB0893E2}"/>
          </ac:spMkLst>
        </pc:spChg>
        <pc:spChg chg="mod">
          <ac:chgData name="Joelle Brehm" userId="a518f54c-6985-42c0-8041-2bb16a414839" providerId="ADAL" clId="{7999C4A2-9ACD-4CB2-9DCD-52B9CDE5124D}" dt="2023-05-08T18:12:22.135" v="61244"/>
          <ac:spMkLst>
            <pc:docMk/>
            <pc:sldMk cId="1450446987" sldId="264"/>
            <ac:spMk id="18" creationId="{7CE63A35-6A90-6D8B-CF40-7241933EF0EF}"/>
          </ac:spMkLst>
        </pc:spChg>
        <pc:spChg chg="mod">
          <ac:chgData name="Joelle Brehm" userId="a518f54c-6985-42c0-8041-2bb16a414839" providerId="ADAL" clId="{7999C4A2-9ACD-4CB2-9DCD-52B9CDE5124D}" dt="2023-05-08T18:12:22.108" v="61142"/>
          <ac:spMkLst>
            <pc:docMk/>
            <pc:sldMk cId="1450446987" sldId="264"/>
            <ac:spMk id="19" creationId="{609141C7-071C-280D-1E22-F588C79AA2D4}"/>
          </ac:spMkLst>
        </pc:spChg>
        <pc:spChg chg="mod">
          <ac:chgData name="Joelle Brehm" userId="a518f54c-6985-42c0-8041-2bb16a414839" providerId="ADAL" clId="{7999C4A2-9ACD-4CB2-9DCD-52B9CDE5124D}" dt="2023-05-08T18:12:22.123" v="61198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7999C4A2-9ACD-4CB2-9DCD-52B9CDE5124D}" dt="2023-05-08T18:12:22.120" v="61188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7999C4A2-9ACD-4CB2-9DCD-52B9CDE5124D}" dt="2023-05-08T18:12:22.136" v="61248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7999C4A2-9ACD-4CB2-9DCD-52B9CDE5124D}" dt="2023-05-08T18:12:22.110" v="61152"/>
          <ac:spMkLst>
            <pc:docMk/>
            <pc:sldMk cId="1450446987" sldId="264"/>
            <ac:spMk id="23" creationId="{1C8A8CD9-592C-1226-E7D9-8A782BAF6ADF}"/>
          </ac:spMkLst>
        </pc:spChg>
        <pc:spChg chg="mod">
          <ac:chgData name="Joelle Brehm" userId="a518f54c-6985-42c0-8041-2bb16a414839" providerId="ADAL" clId="{7999C4A2-9ACD-4CB2-9DCD-52B9CDE5124D}" dt="2023-05-08T18:12:22.104" v="61131"/>
          <ac:spMkLst>
            <pc:docMk/>
            <pc:sldMk cId="1450446987" sldId="264"/>
            <ac:spMk id="24" creationId="{033E07CF-73C8-D4DB-8DB3-DC68E9322327}"/>
          </ac:spMkLst>
        </pc:spChg>
        <pc:spChg chg="add mod replST">
          <ac:chgData name="Joelle Brehm" userId="a518f54c-6985-42c0-8041-2bb16a414839" providerId="ADAL" clId="{7999C4A2-9ACD-4CB2-9DCD-52B9CDE5124D}" dt="2023-05-08T18:12:22.122" v="61193"/>
          <ac:spMkLst>
            <pc:docMk/>
            <pc:sldMk cId="1450446987" sldId="264"/>
            <ac:spMk id="25" creationId="{DDCB9CFD-6336-9FEE-8109-046E7B1EDE09}"/>
          </ac:spMkLst>
        </pc:spChg>
        <pc:spChg chg="mod">
          <ac:chgData name="Joelle Brehm" userId="a518f54c-6985-42c0-8041-2bb16a414839" providerId="ADAL" clId="{7999C4A2-9ACD-4CB2-9DCD-52B9CDE5124D}" dt="2023-05-08T18:12:22.115" v="61168"/>
          <ac:spMkLst>
            <pc:docMk/>
            <pc:sldMk cId="1450446987" sldId="264"/>
            <ac:spMk id="26" creationId="{CF9D487A-C1AA-6A8A-6FDD-D507F2BA7550}"/>
          </ac:spMkLst>
        </pc:spChg>
        <pc:spChg chg="mod">
          <ac:chgData name="Joelle Brehm" userId="a518f54c-6985-42c0-8041-2bb16a414839" providerId="ADAL" clId="{7999C4A2-9ACD-4CB2-9DCD-52B9CDE5124D}" dt="2023-05-08T18:12:22.120" v="61187"/>
          <ac:spMkLst>
            <pc:docMk/>
            <pc:sldMk cId="1450446987" sldId="264"/>
            <ac:spMk id="27" creationId="{7F5EB4C1-D71D-BF03-066C-3EB62DE130E1}"/>
          </ac:spMkLst>
        </pc:spChg>
        <pc:spChg chg="mod">
          <ac:chgData name="Joelle Brehm" userId="a518f54c-6985-42c0-8041-2bb16a414839" providerId="ADAL" clId="{7999C4A2-9ACD-4CB2-9DCD-52B9CDE5124D}" dt="2023-05-08T18:12:22.108" v="61144"/>
          <ac:spMkLst>
            <pc:docMk/>
            <pc:sldMk cId="1450446987" sldId="264"/>
            <ac:spMk id="28" creationId="{CCA5008F-57EC-C24D-08AD-B7F154B6F4E7}"/>
          </ac:spMkLst>
        </pc:spChg>
        <pc:spChg chg="mod">
          <ac:chgData name="Joelle Brehm" userId="a518f54c-6985-42c0-8041-2bb16a414839" providerId="ADAL" clId="{7999C4A2-9ACD-4CB2-9DCD-52B9CDE5124D}" dt="2023-05-08T18:12:22.104" v="61133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7999C4A2-9ACD-4CB2-9DCD-52B9CDE5124D}" dt="2023-05-08T18:12:22.120" v="61186"/>
          <ac:spMkLst>
            <pc:docMk/>
            <pc:sldMk cId="1450446987" sldId="264"/>
            <ac:spMk id="30" creationId="{53B66CFC-B735-ECDE-6C79-B64794091307}"/>
          </ac:spMkLst>
        </pc:spChg>
        <pc:spChg chg="add del mod modVis">
          <ac:chgData name="Joelle Brehm" userId="a518f54c-6985-42c0-8041-2bb16a414839" providerId="ADAL" clId="{7999C4A2-9ACD-4CB2-9DCD-52B9CDE5124D}" dt="2023-05-07T17:44:33.432" v="1632"/>
          <ac:spMkLst>
            <pc:docMk/>
            <pc:sldMk cId="1450446987" sldId="264"/>
            <ac:spMk id="31" creationId="{D286BEE0-5BB3-B0DB-C88E-F329DE6F593F}"/>
          </ac:spMkLst>
        </pc:spChg>
        <pc:spChg chg="add del mod modVis">
          <ac:chgData name="Joelle Brehm" userId="a518f54c-6985-42c0-8041-2bb16a414839" providerId="ADAL" clId="{7999C4A2-9ACD-4CB2-9DCD-52B9CDE5124D}" dt="2023-05-08T18:11:58.055" v="59207"/>
          <ac:spMkLst>
            <pc:docMk/>
            <pc:sldMk cId="1450446987" sldId="264"/>
            <ac:spMk id="31" creationId="{EC94D277-B0B2-736C-8B4F-FA33BA784251}"/>
          </ac:spMkLst>
        </pc:spChg>
        <pc:spChg chg="mod">
          <ac:chgData name="Joelle Brehm" userId="a518f54c-6985-42c0-8041-2bb16a414839" providerId="ADAL" clId="{7999C4A2-9ACD-4CB2-9DCD-52B9CDE5124D}" dt="2023-05-08T18:12:22.108" v="61143"/>
          <ac:spMkLst>
            <pc:docMk/>
            <pc:sldMk cId="1450446987" sldId="264"/>
            <ac:spMk id="32" creationId="{AA10C851-A6B4-C67A-2815-80E945AB6CF4}"/>
          </ac:spMkLst>
        </pc:spChg>
        <pc:spChg chg="add del mod replST">
          <ac:chgData name="Joelle Brehm" userId="a518f54c-6985-42c0-8041-2bb16a414839" providerId="ADAL" clId="{7999C4A2-9ACD-4CB2-9DCD-52B9CDE5124D}" dt="2023-05-08T18:11:58.696" v="59272"/>
          <ac:spMkLst>
            <pc:docMk/>
            <pc:sldMk cId="1450446987" sldId="264"/>
            <ac:spMk id="33" creationId="{7CAA3B95-4C78-4122-BECA-B5FB0F3F3764}"/>
          </ac:spMkLst>
        </pc:spChg>
        <pc:spChg chg="add mod replST">
          <ac:chgData name="Joelle Brehm" userId="a518f54c-6985-42c0-8041-2bb16a414839" providerId="ADAL" clId="{7999C4A2-9ACD-4CB2-9DCD-52B9CDE5124D}" dt="2023-05-08T18:12:22.123" v="61200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7999C4A2-9ACD-4CB2-9DCD-52B9CDE5124D}" dt="2023-05-08T18:12:22.123" v="61199"/>
          <ac:spMkLst>
            <pc:docMk/>
            <pc:sldMk cId="1450446987" sldId="264"/>
            <ac:spMk id="35" creationId="{693A4766-C773-96C2-36A2-80D63FCE1E41}"/>
          </ac:spMkLst>
        </pc:spChg>
        <pc:spChg chg="add del mod modVis">
          <ac:chgData name="Joelle Brehm" userId="a518f54c-6985-42c0-8041-2bb16a414839" providerId="ADAL" clId="{7999C4A2-9ACD-4CB2-9DCD-52B9CDE5124D}" dt="2023-05-07T17:44:36.758" v="1878"/>
          <ac:spMkLst>
            <pc:docMk/>
            <pc:sldMk cId="1450446987" sldId="264"/>
            <ac:spMk id="36" creationId="{BACD50D0-CE8A-D499-749F-5CD108CFE299}"/>
          </ac:spMkLst>
        </pc:spChg>
        <pc:spChg chg="add del mod modVis">
          <ac:chgData name="Joelle Brehm" userId="a518f54c-6985-42c0-8041-2bb16a414839" providerId="ADAL" clId="{7999C4A2-9ACD-4CB2-9DCD-52B9CDE5124D}" dt="2023-05-08T18:11:58.771" v="59420"/>
          <ac:spMkLst>
            <pc:docMk/>
            <pc:sldMk cId="1450446987" sldId="264"/>
            <ac:spMk id="37" creationId="{91F24361-2D90-DD7E-E9E0-FFF741B1A4F3}"/>
          </ac:spMkLst>
        </pc:spChg>
        <pc:spChg chg="mod">
          <ac:chgData name="Joelle Brehm" userId="a518f54c-6985-42c0-8041-2bb16a414839" providerId="ADAL" clId="{7999C4A2-9ACD-4CB2-9DCD-52B9CDE5124D}" dt="2023-05-08T18:12:22.119" v="61183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7999C4A2-9ACD-4CB2-9DCD-52B9CDE5124D}" dt="2023-05-08T18:12:22.105" v="61134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7999C4A2-9ACD-4CB2-9DCD-52B9CDE5124D}" dt="2023-05-08T18:12:22.121" v="61190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7999C4A2-9ACD-4CB2-9DCD-52B9CDE5124D}" dt="2023-05-08T18:12:22.115" v="61170"/>
          <ac:spMkLst>
            <pc:docMk/>
            <pc:sldMk cId="1450446987" sldId="264"/>
            <ac:spMk id="41" creationId="{17283985-5541-D643-07F1-12A6C1BB03BE}"/>
          </ac:spMkLst>
        </pc:spChg>
        <pc:spChg chg="add mod replST">
          <ac:chgData name="Joelle Brehm" userId="a518f54c-6985-42c0-8041-2bb16a414839" providerId="ADAL" clId="{7999C4A2-9ACD-4CB2-9DCD-52B9CDE5124D}" dt="2023-05-08T18:12:22.107" v="61138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7999C4A2-9ACD-4CB2-9DCD-52B9CDE5124D}" dt="2023-05-08T18:12:22.109" v="61145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7999C4A2-9ACD-4CB2-9DCD-52B9CDE5124D}" dt="2023-05-08T18:12:22.117" v="61177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7999C4A2-9ACD-4CB2-9DCD-52B9CDE5124D}" dt="2023-05-08T18:12:22.104" v="61132"/>
          <ac:spMkLst>
            <pc:docMk/>
            <pc:sldMk cId="1450446987" sldId="264"/>
            <ac:spMk id="46" creationId="{42ABD060-FEE1-EDE0-E99B-69A399E6BFE4}"/>
          </ac:spMkLst>
        </pc:spChg>
        <pc:spChg chg="mod">
          <ac:chgData name="Joelle Brehm" userId="a518f54c-6985-42c0-8041-2bb16a414839" providerId="ADAL" clId="{7999C4A2-9ACD-4CB2-9DCD-52B9CDE5124D}" dt="2023-05-08T18:12:22.120" v="61185"/>
          <ac:spMkLst>
            <pc:docMk/>
            <pc:sldMk cId="1450446987" sldId="264"/>
            <ac:spMk id="48" creationId="{DBF6EA08-CAF4-86D2-F9E1-E4CF8AFC464F}"/>
          </ac:spMkLst>
        </pc:spChg>
        <pc:spChg chg="add del mod modVis">
          <ac:chgData name="Joelle Brehm" userId="a518f54c-6985-42c0-8041-2bb16a414839" providerId="ADAL" clId="{7999C4A2-9ACD-4CB2-9DCD-52B9CDE5124D}" dt="2023-05-07T17:44:46.571" v="2391"/>
          <ac:spMkLst>
            <pc:docMk/>
            <pc:sldMk cId="1450446987" sldId="264"/>
            <ac:spMk id="49" creationId="{B41CCFE2-A73C-C3E1-245F-B4CB55F00323}"/>
          </ac:spMkLst>
        </pc:spChg>
        <pc:spChg chg="mod">
          <ac:chgData name="Joelle Brehm" userId="a518f54c-6985-42c0-8041-2bb16a414839" providerId="ADAL" clId="{7999C4A2-9ACD-4CB2-9DCD-52B9CDE5124D}" dt="2023-05-08T18:12:22.108" v="61141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7999C4A2-9ACD-4CB2-9DCD-52B9CDE5124D}" dt="2023-05-08T18:12:22.134" v="61243"/>
          <ac:spMkLst>
            <pc:docMk/>
            <pc:sldMk cId="1450446987" sldId="264"/>
            <ac:spMk id="52" creationId="{35E94CE7-373A-9E4A-3654-13C7C305FD02}"/>
          </ac:spMkLst>
        </pc:spChg>
        <pc:spChg chg="mod">
          <ac:chgData name="Joelle Brehm" userId="a518f54c-6985-42c0-8041-2bb16a414839" providerId="ADAL" clId="{7999C4A2-9ACD-4CB2-9DCD-52B9CDE5124D}" dt="2023-05-08T18:12:22.122" v="61196"/>
          <ac:spMkLst>
            <pc:docMk/>
            <pc:sldMk cId="1450446987" sldId="264"/>
            <ac:spMk id="53" creationId="{07583A85-3A1C-05BF-197B-FC4414C47FD4}"/>
          </ac:spMkLst>
        </pc:spChg>
        <pc:spChg chg="add mod replST">
          <ac:chgData name="Joelle Brehm" userId="a518f54c-6985-42c0-8041-2bb16a414839" providerId="ADAL" clId="{7999C4A2-9ACD-4CB2-9DCD-52B9CDE5124D}" dt="2023-05-08T18:12:22.109" v="61148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7999C4A2-9ACD-4CB2-9DCD-52B9CDE5124D}" dt="2023-05-08T18:12:22.105" v="61136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7999C4A2-9ACD-4CB2-9DCD-52B9CDE5124D}" dt="2023-05-08T18:12:22.134" v="61242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7999C4A2-9ACD-4CB2-9DCD-52B9CDE5124D}" dt="2023-05-08T18:12:22.107" v="61137"/>
          <ac:spMkLst>
            <pc:docMk/>
            <pc:sldMk cId="1450446987" sldId="264"/>
            <ac:spMk id="57" creationId="{691D1289-3B15-0AD2-5838-E87715C40325}"/>
          </ac:spMkLst>
        </pc:spChg>
        <pc:spChg chg="add mod replST">
          <ac:chgData name="Joelle Brehm" userId="a518f54c-6985-42c0-8041-2bb16a414839" providerId="ADAL" clId="{7999C4A2-9ACD-4CB2-9DCD-52B9CDE5124D}" dt="2023-05-08T18:12:22.127" v="61217"/>
          <ac:spMkLst>
            <pc:docMk/>
            <pc:sldMk cId="1450446987" sldId="264"/>
            <ac:spMk id="58" creationId="{89BF1F7A-55A8-FB33-7AAA-AA43F796D8AC}"/>
          </ac:spMkLst>
        </pc:spChg>
        <pc:spChg chg="add del mod modVis">
          <ac:chgData name="Joelle Brehm" userId="a518f54c-6985-42c0-8041-2bb16a414839" providerId="ADAL" clId="{7999C4A2-9ACD-4CB2-9DCD-52B9CDE5124D}" dt="2023-05-07T17:44:51.223" v="2637"/>
          <ac:spMkLst>
            <pc:docMk/>
            <pc:sldMk cId="1450446987" sldId="264"/>
            <ac:spMk id="58" creationId="{E8EBA7D3-676C-ACDD-794B-3F94DF4499DF}"/>
          </ac:spMkLst>
        </pc:spChg>
        <pc:spChg chg="add del mod modVis">
          <ac:chgData name="Joelle Brehm" userId="a518f54c-6985-42c0-8041-2bb16a414839" providerId="ADAL" clId="{7999C4A2-9ACD-4CB2-9DCD-52B9CDE5124D}" dt="2023-05-08T18:12:09.307" v="59971"/>
          <ac:spMkLst>
            <pc:docMk/>
            <pc:sldMk cId="1450446987" sldId="264"/>
            <ac:spMk id="59" creationId="{FA3537D6-5B7C-82AE-3206-2E4D690151E8}"/>
          </ac:spMkLst>
        </pc:spChg>
        <pc:spChg chg="mod ord">
          <ac:chgData name="Joelle Brehm" userId="a518f54c-6985-42c0-8041-2bb16a414839" providerId="ADAL" clId="{7999C4A2-9ACD-4CB2-9DCD-52B9CDE5124D}" dt="2023-05-08T18:12:22.124" v="61202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7999C4A2-9ACD-4CB2-9DCD-52B9CDE5124D}" dt="2023-05-08T18:12:22.124" v="61204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7999C4A2-9ACD-4CB2-9DCD-52B9CDE5124D}" dt="2023-05-08T18:12:22.125" v="61206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7999C4A2-9ACD-4CB2-9DCD-52B9CDE5124D}" dt="2023-05-08T18:12:22.113" v="61160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7999C4A2-9ACD-4CB2-9DCD-52B9CDE5124D}" dt="2023-05-08T18:12:22.109" v="61146"/>
          <ac:spMkLst>
            <pc:docMk/>
            <pc:sldMk cId="1450446987" sldId="264"/>
            <ac:spMk id="65" creationId="{3157109A-3120-04A6-D693-60F57F766A08}"/>
          </ac:spMkLst>
        </pc:spChg>
        <pc:spChg chg="mod">
          <ac:chgData name="Joelle Brehm" userId="a518f54c-6985-42c0-8041-2bb16a414839" providerId="ADAL" clId="{7999C4A2-9ACD-4CB2-9DCD-52B9CDE5124D}" dt="2023-05-08T18:12:22.104" v="61130"/>
          <ac:spMkLst>
            <pc:docMk/>
            <pc:sldMk cId="1450446987" sldId="264"/>
            <ac:spMk id="66" creationId="{716B7597-758E-617A-BFDD-E998C7101D5B}"/>
          </ac:spMkLst>
        </pc:spChg>
        <pc:spChg chg="mod">
          <ac:chgData name="Joelle Brehm" userId="a518f54c-6985-42c0-8041-2bb16a414839" providerId="ADAL" clId="{7999C4A2-9ACD-4CB2-9DCD-52B9CDE5124D}" dt="2023-05-08T18:12:22.116" v="61172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7999C4A2-9ACD-4CB2-9DCD-52B9CDE5124D}" dt="2023-05-08T18:12:22.109" v="61147"/>
          <ac:spMkLst>
            <pc:docMk/>
            <pc:sldMk cId="1450446987" sldId="264"/>
            <ac:spMk id="68" creationId="{73F4DC56-4ACE-7CF2-9887-2654DC647E84}"/>
          </ac:spMkLst>
        </pc:spChg>
        <pc:spChg chg="add mod replST">
          <ac:chgData name="Joelle Brehm" userId="a518f54c-6985-42c0-8041-2bb16a414839" providerId="ADAL" clId="{7999C4A2-9ACD-4CB2-9DCD-52B9CDE5124D}" dt="2023-05-08T18:12:22.135" v="61246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7999C4A2-9ACD-4CB2-9DCD-52B9CDE5124D}" dt="2023-05-08T18:12:22.107" v="61140"/>
          <ac:spMkLst>
            <pc:docMk/>
            <pc:sldMk cId="1450446987" sldId="264"/>
            <ac:spMk id="70" creationId="{5BDC691D-C8E2-B27A-3AB8-2FC6A54A898E}"/>
          </ac:spMkLst>
        </pc:spChg>
        <pc:spChg chg="add del mod modVis">
          <ac:chgData name="Joelle Brehm" userId="a518f54c-6985-42c0-8041-2bb16a414839" providerId="ADAL" clId="{7999C4A2-9ACD-4CB2-9DCD-52B9CDE5124D}" dt="2023-05-07T17:44:59.287" v="3126"/>
          <ac:spMkLst>
            <pc:docMk/>
            <pc:sldMk cId="1450446987" sldId="264"/>
            <ac:spMk id="71" creationId="{E746C0DC-B338-3ABA-D730-AA434FD684DB}"/>
          </ac:spMkLst>
        </pc:spChg>
        <pc:spChg chg="add del mod modVis">
          <ac:chgData name="Joelle Brehm" userId="a518f54c-6985-42c0-8041-2bb16a414839" providerId="ADAL" clId="{7999C4A2-9ACD-4CB2-9DCD-52B9CDE5124D}" dt="2023-05-08T18:12:10.690" v="60167"/>
          <ac:spMkLst>
            <pc:docMk/>
            <pc:sldMk cId="1450446987" sldId="264"/>
            <ac:spMk id="72" creationId="{2753EA49-0BB5-30A9-07B8-50C878201975}"/>
          </ac:spMkLst>
        </pc:spChg>
        <pc:spChg chg="mod">
          <ac:chgData name="Joelle Brehm" userId="a518f54c-6985-42c0-8041-2bb16a414839" providerId="ADAL" clId="{7999C4A2-9ACD-4CB2-9DCD-52B9CDE5124D}" dt="2023-05-08T18:12:22.113" v="61161"/>
          <ac:spMkLst>
            <pc:docMk/>
            <pc:sldMk cId="1450446987" sldId="264"/>
            <ac:spMk id="73" creationId="{9222FB5E-7628-BAAE-A4E4-E9F13F9B74EE}"/>
          </ac:spMkLst>
        </pc:spChg>
        <pc:spChg chg="mod">
          <ac:chgData name="Joelle Brehm" userId="a518f54c-6985-42c0-8041-2bb16a414839" providerId="ADAL" clId="{7999C4A2-9ACD-4CB2-9DCD-52B9CDE5124D}" dt="2023-05-08T18:12:22.112" v="61157"/>
          <ac:spMkLst>
            <pc:docMk/>
            <pc:sldMk cId="1450446987" sldId="264"/>
            <ac:spMk id="74" creationId="{F958F86A-808B-E798-783E-1A1F613E0728}"/>
          </ac:spMkLst>
        </pc:spChg>
        <pc:spChg chg="mod">
          <ac:chgData name="Joelle Brehm" userId="a518f54c-6985-42c0-8041-2bb16a414839" providerId="ADAL" clId="{7999C4A2-9ACD-4CB2-9DCD-52B9CDE5124D}" dt="2023-05-08T18:12:22.111" v="61155"/>
          <ac:spMkLst>
            <pc:docMk/>
            <pc:sldMk cId="1450446987" sldId="264"/>
            <ac:spMk id="75" creationId="{13410235-2E0C-20D9-B17D-8C7B02B22762}"/>
          </ac:spMkLst>
        </pc:spChg>
        <pc:spChg chg="mod">
          <ac:chgData name="Joelle Brehm" userId="a518f54c-6985-42c0-8041-2bb16a414839" providerId="ADAL" clId="{7999C4A2-9ACD-4CB2-9DCD-52B9CDE5124D}" dt="2023-05-08T18:12:22.127" v="61215"/>
          <ac:spMkLst>
            <pc:docMk/>
            <pc:sldMk cId="1450446987" sldId="264"/>
            <ac:spMk id="77" creationId="{60F97E40-1529-395D-816D-8834F0F881FD}"/>
          </ac:spMkLst>
        </pc:spChg>
        <pc:spChg chg="mod">
          <ac:chgData name="Joelle Brehm" userId="a518f54c-6985-42c0-8041-2bb16a414839" providerId="ADAL" clId="{7999C4A2-9ACD-4CB2-9DCD-52B9CDE5124D}" dt="2023-05-08T18:12:22.115" v="61167"/>
          <ac:spMkLst>
            <pc:docMk/>
            <pc:sldMk cId="1450446987" sldId="264"/>
            <ac:spMk id="78" creationId="{CC7AB43F-0280-E74F-A136-01BBACF44D65}"/>
          </ac:spMkLst>
        </pc:spChg>
        <pc:spChg chg="mod">
          <ac:chgData name="Joelle Brehm" userId="a518f54c-6985-42c0-8041-2bb16a414839" providerId="ADAL" clId="{7999C4A2-9ACD-4CB2-9DCD-52B9CDE5124D}" dt="2023-05-08T18:12:22.115" v="61169"/>
          <ac:spMkLst>
            <pc:docMk/>
            <pc:sldMk cId="1450446987" sldId="264"/>
            <ac:spMk id="79" creationId="{7839083A-6222-21DF-942E-D412CB0A038D}"/>
          </ac:spMkLst>
        </pc:spChg>
        <pc:spChg chg="add mod replST">
          <ac:chgData name="Joelle Brehm" userId="a518f54c-6985-42c0-8041-2bb16a414839" providerId="ADAL" clId="{7999C4A2-9ACD-4CB2-9DCD-52B9CDE5124D}" dt="2023-05-08T18:12:22.133" v="61238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7999C4A2-9ACD-4CB2-9DCD-52B9CDE5124D}" dt="2023-05-08T18:12:22.116" v="61174"/>
          <ac:spMkLst>
            <pc:docMk/>
            <pc:sldMk cId="1450446987" sldId="264"/>
            <ac:spMk id="81" creationId="{6F4C96C8-F30F-B7F9-162B-D0B13BC90C2B}"/>
          </ac:spMkLst>
        </pc:spChg>
        <pc:spChg chg="add mod replST">
          <ac:chgData name="Joelle Brehm" userId="a518f54c-6985-42c0-8041-2bb16a414839" providerId="ADAL" clId="{7999C4A2-9ACD-4CB2-9DCD-52B9CDE5124D}" dt="2023-05-08T18:12:22.127" v="61216"/>
          <ac:spMkLst>
            <pc:docMk/>
            <pc:sldMk cId="1450446987" sldId="264"/>
            <ac:spMk id="82" creationId="{47495649-1334-BE38-2A0B-39662035FACE}"/>
          </ac:spMkLst>
        </pc:spChg>
        <pc:spChg chg="add del mod modVis">
          <ac:chgData name="Joelle Brehm" userId="a518f54c-6985-42c0-8041-2bb16a414839" providerId="ADAL" clId="{7999C4A2-9ACD-4CB2-9DCD-52B9CDE5124D}" dt="2023-05-07T17:45:03.146" v="3364"/>
          <ac:spMkLst>
            <pc:docMk/>
            <pc:sldMk cId="1450446987" sldId="264"/>
            <ac:spMk id="82" creationId="{BC1AC29F-1920-0D99-8D05-D5D46837819B}"/>
          </ac:spMkLst>
        </pc:spChg>
        <pc:spChg chg="add del mod modVis">
          <ac:chgData name="Joelle Brehm" userId="a518f54c-6985-42c0-8041-2bb16a414839" providerId="ADAL" clId="{7999C4A2-9ACD-4CB2-9DCD-52B9CDE5124D}" dt="2023-05-08T18:12:15.138" v="60389"/>
          <ac:spMkLst>
            <pc:docMk/>
            <pc:sldMk cId="1450446987" sldId="264"/>
            <ac:spMk id="83" creationId="{A080F075-B8CE-40F5-4CCF-5FB61D38CD29}"/>
          </ac:spMkLst>
        </pc:spChg>
        <pc:spChg chg="mod">
          <ac:chgData name="Joelle Brehm" userId="a518f54c-6985-42c0-8041-2bb16a414839" providerId="ADAL" clId="{7999C4A2-9ACD-4CB2-9DCD-52B9CDE5124D}" dt="2023-05-08T18:12:22.135" v="61245"/>
          <ac:spMkLst>
            <pc:docMk/>
            <pc:sldMk cId="1450446987" sldId="264"/>
            <ac:spMk id="84" creationId="{C6FD14B3-2B6F-F354-0055-5C4DEDC0FDA2}"/>
          </ac:spMkLst>
        </pc:spChg>
        <pc:spChg chg="add mod replST">
          <ac:chgData name="Joelle Brehm" userId="a518f54c-6985-42c0-8041-2bb16a414839" providerId="ADAL" clId="{7999C4A2-9ACD-4CB2-9DCD-52B9CDE5124D}" dt="2023-05-08T18:12:22.113" v="61163"/>
          <ac:spMkLst>
            <pc:docMk/>
            <pc:sldMk cId="1450446987" sldId="264"/>
            <ac:spMk id="86" creationId="{8755EB97-A2D7-E12E-1034-20F2D9D1D86D}"/>
          </ac:spMkLst>
        </pc:spChg>
        <pc:spChg chg="add del mod modVis">
          <ac:chgData name="Joelle Brehm" userId="a518f54c-6985-42c0-8041-2bb16a414839" providerId="ADAL" clId="{7999C4A2-9ACD-4CB2-9DCD-52B9CDE5124D}" dt="2023-05-07T17:45:13.046" v="3857"/>
          <ac:spMkLst>
            <pc:docMk/>
            <pc:sldMk cId="1450446987" sldId="264"/>
            <ac:spMk id="87" creationId="{F6121E93-92C7-5787-970D-8276770414D2}"/>
          </ac:spMkLst>
        </pc:spChg>
        <pc:spChg chg="add del mod modVis">
          <ac:chgData name="Joelle Brehm" userId="a518f54c-6985-42c0-8041-2bb16a414839" providerId="ADAL" clId="{7999C4A2-9ACD-4CB2-9DCD-52B9CDE5124D}" dt="2023-05-08T18:12:16.840" v="60587"/>
          <ac:spMkLst>
            <pc:docMk/>
            <pc:sldMk cId="1450446987" sldId="264"/>
            <ac:spMk id="88" creationId="{5B278B9B-8A84-286D-A455-4A01C480DD66}"/>
          </ac:spMkLst>
        </pc:spChg>
        <pc:spChg chg="mod">
          <ac:chgData name="Joelle Brehm" userId="a518f54c-6985-42c0-8041-2bb16a414839" providerId="ADAL" clId="{7999C4A2-9ACD-4CB2-9DCD-52B9CDE5124D}" dt="2023-05-08T18:12:22.136" v="61249"/>
          <ac:spMkLst>
            <pc:docMk/>
            <pc:sldMk cId="1450446987" sldId="264"/>
            <ac:spMk id="89" creationId="{95B2D293-794F-A143-9799-33747A736BF9}"/>
          </ac:spMkLst>
        </pc:spChg>
        <pc:spChg chg="add mod replST">
          <ac:chgData name="Joelle Brehm" userId="a518f54c-6985-42c0-8041-2bb16a414839" providerId="ADAL" clId="{7999C4A2-9ACD-4CB2-9DCD-52B9CDE5124D}" dt="2023-05-08T18:12:22.116" v="61173"/>
          <ac:spMkLst>
            <pc:docMk/>
            <pc:sldMk cId="1450446987" sldId="264"/>
            <ac:spMk id="90" creationId="{5F5FA417-BFF1-F21F-47F8-135D335B8AB8}"/>
          </ac:spMkLst>
        </pc:spChg>
        <pc:spChg chg="add del mod modVis">
          <ac:chgData name="Joelle Brehm" userId="a518f54c-6985-42c0-8041-2bb16a414839" providerId="ADAL" clId="{7999C4A2-9ACD-4CB2-9DCD-52B9CDE5124D}" dt="2023-05-07T17:45:16.810" v="4128"/>
          <ac:spMkLst>
            <pc:docMk/>
            <pc:sldMk cId="1450446987" sldId="264"/>
            <ac:spMk id="91" creationId="{87295537-0A7F-1098-7191-CB2D222DCD30}"/>
          </ac:spMkLst>
        </pc:spChg>
        <pc:spChg chg="add del mod modVis">
          <ac:chgData name="Joelle Brehm" userId="a518f54c-6985-42c0-8041-2bb16a414839" providerId="ADAL" clId="{7999C4A2-9ACD-4CB2-9DCD-52B9CDE5124D}" dt="2023-05-08T18:12:18.852" v="60887"/>
          <ac:spMkLst>
            <pc:docMk/>
            <pc:sldMk cId="1450446987" sldId="264"/>
            <ac:spMk id="92" creationId="{EF7A7F43-1F90-294B-D121-CD2E4721875F}"/>
          </ac:spMkLst>
        </pc:spChg>
        <pc:spChg chg="mod">
          <ac:chgData name="Joelle Brehm" userId="a518f54c-6985-42c0-8041-2bb16a414839" providerId="ADAL" clId="{7999C4A2-9ACD-4CB2-9DCD-52B9CDE5124D}" dt="2023-05-08T18:12:22.132" v="61234"/>
          <ac:spMkLst>
            <pc:docMk/>
            <pc:sldMk cId="1450446987" sldId="264"/>
            <ac:spMk id="93" creationId="{E3535E8F-2FE1-602D-1DEE-9C3D3425F046}"/>
          </ac:spMkLst>
        </pc:spChg>
        <pc:spChg chg="add mod replST">
          <ac:chgData name="Joelle Brehm" userId="a518f54c-6985-42c0-8041-2bb16a414839" providerId="ADAL" clId="{7999C4A2-9ACD-4CB2-9DCD-52B9CDE5124D}" dt="2023-05-08T18:12:22.128" v="61220"/>
          <ac:spMkLst>
            <pc:docMk/>
            <pc:sldMk cId="1450446987" sldId="264"/>
            <ac:spMk id="95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8T18:12:22.125" v="61208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7999C4A2-9ACD-4CB2-9DCD-52B9CDE5124D}" dt="2023-05-08T18:12:22.126" v="61210"/>
          <ac:spMkLst>
            <pc:docMk/>
            <pc:sldMk cId="1450446987" sldId="264"/>
            <ac:spMk id="97" creationId="{64B2B8D7-E8A8-4757-99A4-69F1EAA48321}"/>
          </ac:spMkLst>
        </pc:spChg>
        <pc:spChg chg="add del mod modVis">
          <ac:chgData name="Joelle Brehm" userId="a518f54c-6985-42c0-8041-2bb16a414839" providerId="ADAL" clId="{7999C4A2-9ACD-4CB2-9DCD-52B9CDE5124D}" dt="2023-05-08T18:12:22.138" v="61255"/>
          <ac:spMkLst>
            <pc:docMk/>
            <pc:sldMk cId="1450446987" sldId="264"/>
            <ac:spMk id="100" creationId="{0FF7E99F-9CAC-B8D5-5B53-E957B0134DA8}"/>
          </ac:spMkLst>
        </pc:spChg>
        <pc:spChg chg="mod">
          <ac:chgData name="Joelle Brehm" userId="a518f54c-6985-42c0-8041-2bb16a414839" providerId="ADAL" clId="{7999C4A2-9ACD-4CB2-9DCD-52B9CDE5124D}" dt="2023-05-08T18:12:22.118" v="61179"/>
          <ac:spMkLst>
            <pc:docMk/>
            <pc:sldMk cId="1450446987" sldId="264"/>
            <ac:spMk id="102" creationId="{D01E11A6-CF9D-DEED-2CEC-6D0A4A368A39}"/>
          </ac:spMkLst>
        </pc:spChg>
        <pc:spChg chg="mod">
          <ac:chgData name="Joelle Brehm" userId="a518f54c-6985-42c0-8041-2bb16a414839" providerId="ADAL" clId="{7999C4A2-9ACD-4CB2-9DCD-52B9CDE5124D}" dt="2023-05-08T18:12:22.118" v="61180"/>
          <ac:spMkLst>
            <pc:docMk/>
            <pc:sldMk cId="1450446987" sldId="264"/>
            <ac:spMk id="103" creationId="{387E2E26-D12F-7AF0-9A22-25AAA09DD6F2}"/>
          </ac:spMkLst>
        </pc:spChg>
        <pc:spChg chg="mod">
          <ac:chgData name="Joelle Brehm" userId="a518f54c-6985-42c0-8041-2bb16a414839" providerId="ADAL" clId="{7999C4A2-9ACD-4CB2-9DCD-52B9CDE5124D}" dt="2023-05-08T18:12:22.113" v="61162"/>
          <ac:spMkLst>
            <pc:docMk/>
            <pc:sldMk cId="1450446987" sldId="264"/>
            <ac:spMk id="104" creationId="{FEE84FEA-7BD5-C89A-81E3-D4196031D1EF}"/>
          </ac:spMkLst>
        </pc:spChg>
        <pc:spChg chg="mod ord">
          <ac:chgData name="Joelle Brehm" userId="a518f54c-6985-42c0-8041-2bb16a414839" providerId="ADAL" clId="{7999C4A2-9ACD-4CB2-9DCD-52B9CDE5124D}" dt="2023-05-08T18:12:22.101" v="61120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7999C4A2-9ACD-4CB2-9DCD-52B9CDE5124D}" dt="2023-05-08T18:12:22.110" v="61151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7999C4A2-9ACD-4CB2-9DCD-52B9CDE5124D}" dt="2023-05-08T18:12:30.256" v="61313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7999C4A2-9ACD-4CB2-9DCD-52B9CDE5124D}" dt="2023-05-08T18:12:22.103" v="61129"/>
          <ac:spMkLst>
            <pc:docMk/>
            <pc:sldMk cId="1450446987" sldId="264"/>
            <ac:spMk id="114" creationId="{5B68E733-D471-6032-5D77-FB849AB2ADCF}"/>
          </ac:spMkLst>
        </pc:spChg>
        <pc:spChg chg="mod">
          <ac:chgData name="Joelle Brehm" userId="a518f54c-6985-42c0-8041-2bb16a414839" providerId="ADAL" clId="{7999C4A2-9ACD-4CB2-9DCD-52B9CDE5124D}" dt="2023-05-08T18:12:30.257" v="61315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7999C4A2-9ACD-4CB2-9DCD-52B9CDE5124D}" dt="2023-05-08T18:12:30.255" v="61311"/>
          <ac:spMkLst>
            <pc:docMk/>
            <pc:sldMk cId="1450446987" sldId="264"/>
            <ac:spMk id="117" creationId="{CA507393-C271-461C-833F-D27183C2BAD3}"/>
          </ac:spMkLst>
        </pc:spChg>
        <pc:spChg chg="mod">
          <ac:chgData name="Joelle Brehm" userId="a518f54c-6985-42c0-8041-2bb16a414839" providerId="ADAL" clId="{7999C4A2-9ACD-4CB2-9DCD-52B9CDE5124D}" dt="2023-05-08T18:12:22.105" v="61135"/>
          <ac:spMkLst>
            <pc:docMk/>
            <pc:sldMk cId="1450446987" sldId="264"/>
            <ac:spMk id="118" creationId="{5EDAD042-B830-C9D1-8CBE-2AF11422AA75}"/>
          </ac:spMkLst>
        </pc:spChg>
        <pc:spChg chg="del mod">
          <ac:chgData name="Joelle Brehm" userId="a518f54c-6985-42c0-8041-2bb16a414839" providerId="ADAL" clId="{7999C4A2-9ACD-4CB2-9DCD-52B9CDE5124D}" dt="2023-05-07T17:44:39.904" v="1882"/>
          <ac:spMkLst>
            <pc:docMk/>
            <pc:sldMk cId="1450446987" sldId="264"/>
            <ac:spMk id="120" creationId="{FA5232E7-F15F-7281-FCD9-B409243B9EB1}"/>
          </ac:spMkLst>
        </pc:spChg>
        <pc:spChg chg="mod">
          <ac:chgData name="Joelle Brehm" userId="a518f54c-6985-42c0-8041-2bb16a414839" providerId="ADAL" clId="{7999C4A2-9ACD-4CB2-9DCD-52B9CDE5124D}" dt="2023-05-08T18:12:22.132" v="61236"/>
          <ac:spMkLst>
            <pc:docMk/>
            <pc:sldMk cId="1450446987" sldId="264"/>
            <ac:spMk id="121" creationId="{476A269C-5CB6-E359-9D54-D0E45330A526}"/>
          </ac:spMkLst>
        </pc:spChg>
        <pc:spChg chg="mod">
          <ac:chgData name="Joelle Brehm" userId="a518f54c-6985-42c0-8041-2bb16a414839" providerId="ADAL" clId="{7999C4A2-9ACD-4CB2-9DCD-52B9CDE5124D}" dt="2023-05-08T18:12:22.119" v="61182"/>
          <ac:spMkLst>
            <pc:docMk/>
            <pc:sldMk cId="1450446987" sldId="264"/>
            <ac:spMk id="122" creationId="{92EF330F-BE02-28EB-A048-870C44A741ED}"/>
          </ac:spMkLst>
        </pc:spChg>
        <pc:spChg chg="del mod">
          <ac:chgData name="Joelle Brehm" userId="a518f54c-6985-42c0-8041-2bb16a414839" providerId="ADAL" clId="{7999C4A2-9ACD-4CB2-9DCD-52B9CDE5124D}" dt="2023-05-07T17:44:39.904" v="1881"/>
          <ac:spMkLst>
            <pc:docMk/>
            <pc:sldMk cId="1450446987" sldId="264"/>
            <ac:spMk id="124" creationId="{4E0793A6-2E68-CA3F-43F5-18E44776F98A}"/>
          </ac:spMkLst>
        </pc:spChg>
        <pc:spChg chg="mod">
          <ac:chgData name="Joelle Brehm" userId="a518f54c-6985-42c0-8041-2bb16a414839" providerId="ADAL" clId="{7999C4A2-9ACD-4CB2-9DCD-52B9CDE5124D}" dt="2023-05-08T18:12:22.131" v="61233"/>
          <ac:spMkLst>
            <pc:docMk/>
            <pc:sldMk cId="1450446987" sldId="264"/>
            <ac:spMk id="125" creationId="{26A4E280-203D-809C-945E-C61F80327FD2}"/>
          </ac:spMkLst>
        </pc:spChg>
        <pc:spChg chg="del mod">
          <ac:chgData name="Joelle Brehm" userId="a518f54c-6985-42c0-8041-2bb16a414839" providerId="ADAL" clId="{7999C4A2-9ACD-4CB2-9DCD-52B9CDE5124D}" dt="2023-05-07T17:45:06.113" v="3367"/>
          <ac:spMkLst>
            <pc:docMk/>
            <pc:sldMk cId="1450446987" sldId="264"/>
            <ac:spMk id="128" creationId="{E9667D33-5D0A-1E9D-B922-C9814A1A3A8C}"/>
          </ac:spMkLst>
        </pc:spChg>
        <pc:spChg chg="mod">
          <ac:chgData name="Joelle Brehm" userId="a518f54c-6985-42c0-8041-2bb16a414839" providerId="ADAL" clId="{7999C4A2-9ACD-4CB2-9DCD-52B9CDE5124D}" dt="2023-05-08T18:12:22.132" v="61235"/>
          <ac:spMkLst>
            <pc:docMk/>
            <pc:sldMk cId="1450446987" sldId="264"/>
            <ac:spMk id="129" creationId="{556E1ACB-04B2-5FBB-E211-5E44E25F9DFA}"/>
          </ac:spMkLst>
        </pc:spChg>
        <pc:spChg chg="mod">
          <ac:chgData name="Joelle Brehm" userId="a518f54c-6985-42c0-8041-2bb16a414839" providerId="ADAL" clId="{7999C4A2-9ACD-4CB2-9DCD-52B9CDE5124D}" dt="2023-05-08T18:12:22.122" v="61194"/>
          <ac:spMkLst>
            <pc:docMk/>
            <pc:sldMk cId="1450446987" sldId="264"/>
            <ac:spMk id="132" creationId="{9EDDB67C-1B49-4A3F-6ED6-DE0CC9043B37}"/>
          </ac:spMkLst>
        </pc:spChg>
        <pc:spChg chg="mod">
          <ac:chgData name="Joelle Brehm" userId="a518f54c-6985-42c0-8041-2bb16a414839" providerId="ADAL" clId="{7999C4A2-9ACD-4CB2-9DCD-52B9CDE5124D}" dt="2023-05-08T18:12:22.132" v="61237"/>
          <ac:spMkLst>
            <pc:docMk/>
            <pc:sldMk cId="1450446987" sldId="264"/>
            <ac:spMk id="133" creationId="{27E751A0-7D1F-8C13-F04F-59DC6E236D65}"/>
          </ac:spMkLst>
        </pc:spChg>
        <pc:spChg chg="mod">
          <ac:chgData name="Joelle Brehm" userId="a518f54c-6985-42c0-8041-2bb16a414839" providerId="ADAL" clId="{7999C4A2-9ACD-4CB2-9DCD-52B9CDE5124D}" dt="2023-05-08T18:12:22.112" v="61158"/>
          <ac:spMkLst>
            <pc:docMk/>
            <pc:sldMk cId="1450446987" sldId="264"/>
            <ac:spMk id="135" creationId="{157CAC38-1013-FF7F-5384-7241D692C85F}"/>
          </ac:spMkLst>
        </pc:spChg>
        <pc:spChg chg="mod">
          <ac:chgData name="Joelle Brehm" userId="a518f54c-6985-42c0-8041-2bb16a414839" providerId="ADAL" clId="{7999C4A2-9ACD-4CB2-9DCD-52B9CDE5124D}" dt="2023-05-08T18:12:22.126" v="61213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7999C4A2-9ACD-4CB2-9DCD-52B9CDE5124D}" dt="2023-05-08T18:12:22.114" v="61166"/>
          <ac:spMkLst>
            <pc:docMk/>
            <pc:sldMk cId="1450446987" sldId="264"/>
            <ac:spMk id="137" creationId="{9E2688B6-E861-7EEB-63C2-D727A9E9A01E}"/>
          </ac:spMkLst>
        </pc:spChg>
        <pc:spChg chg="mod">
          <ac:chgData name="Joelle Brehm" userId="a518f54c-6985-42c0-8041-2bb16a414839" providerId="ADAL" clId="{7999C4A2-9ACD-4CB2-9DCD-52B9CDE5124D}" dt="2023-05-08T18:12:22.133" v="61240"/>
          <ac:spMkLst>
            <pc:docMk/>
            <pc:sldMk cId="1450446987" sldId="264"/>
            <ac:spMk id="142" creationId="{4C243CA7-30C6-C41B-1F6A-8A2CF12A5651}"/>
          </ac:spMkLst>
        </pc:spChg>
        <pc:spChg chg="mod">
          <ac:chgData name="Joelle Brehm" userId="a518f54c-6985-42c0-8041-2bb16a414839" providerId="ADAL" clId="{7999C4A2-9ACD-4CB2-9DCD-52B9CDE5124D}" dt="2023-05-08T18:12:22.103" v="61126"/>
          <ac:spMkLst>
            <pc:docMk/>
            <pc:sldMk cId="1450446987" sldId="264"/>
            <ac:spMk id="145" creationId="{523527CE-79B8-0225-EF3F-3F7C02ABE1EA}"/>
          </ac:spMkLst>
        </pc:spChg>
        <pc:spChg chg="del mod">
          <ac:chgData name="Joelle Brehm" userId="a518f54c-6985-42c0-8041-2bb16a414839" providerId="ADAL" clId="{7999C4A2-9ACD-4CB2-9DCD-52B9CDE5124D}" dt="2023-05-07T17:44:53.132" v="2641"/>
          <ac:spMkLst>
            <pc:docMk/>
            <pc:sldMk cId="1450446987" sldId="264"/>
            <ac:spMk id="146" creationId="{6E4193EB-0829-5947-8DC6-F3A88AC54DF5}"/>
          </ac:spMkLst>
        </pc:spChg>
        <pc:spChg chg="mod">
          <ac:chgData name="Joelle Brehm" userId="a518f54c-6985-42c0-8041-2bb16a414839" providerId="ADAL" clId="{7999C4A2-9ACD-4CB2-9DCD-52B9CDE5124D}" dt="2023-05-08T18:12:22.128" v="61218"/>
          <ac:spMkLst>
            <pc:docMk/>
            <pc:sldMk cId="1450446987" sldId="264"/>
            <ac:spMk id="148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8T18:12:22.103" v="61128"/>
          <ac:spMkLst>
            <pc:docMk/>
            <pc:sldMk cId="1450446987" sldId="264"/>
            <ac:spMk id="150" creationId="{89FE12FE-A5FA-9B21-B5F5-E16D6E0804CA}"/>
          </ac:spMkLst>
        </pc:spChg>
        <pc:spChg chg="mod">
          <ac:chgData name="Joelle Brehm" userId="a518f54c-6985-42c0-8041-2bb16a414839" providerId="ADAL" clId="{7999C4A2-9ACD-4CB2-9DCD-52B9CDE5124D}" dt="2023-05-08T18:12:22.134" v="61241"/>
          <ac:spMkLst>
            <pc:docMk/>
            <pc:sldMk cId="1450446987" sldId="264"/>
            <ac:spMk id="151" creationId="{7EF7CCB6-B417-DC51-1AB2-68262CB2FA75}"/>
          </ac:spMkLst>
        </pc:spChg>
        <pc:spChg chg="mod">
          <ac:chgData name="Joelle Brehm" userId="a518f54c-6985-42c0-8041-2bb16a414839" providerId="ADAL" clId="{7999C4A2-9ACD-4CB2-9DCD-52B9CDE5124D}" dt="2023-05-08T18:12:22.133" v="61239"/>
          <ac:spMkLst>
            <pc:docMk/>
            <pc:sldMk cId="1450446987" sldId="264"/>
            <ac:spMk id="152" creationId="{DA6FB46B-FE82-345B-FD6E-877AEF916054}"/>
          </ac:spMkLst>
        </pc:spChg>
        <pc:spChg chg="del mod">
          <ac:chgData name="Joelle Brehm" userId="a518f54c-6985-42c0-8041-2bb16a414839" providerId="ADAL" clId="{7999C4A2-9ACD-4CB2-9DCD-52B9CDE5124D}" dt="2023-05-07T17:44:53.132" v="2640"/>
          <ac:spMkLst>
            <pc:docMk/>
            <pc:sldMk cId="1450446987" sldId="264"/>
            <ac:spMk id="155" creationId="{1DA0F9F1-4206-9639-20AC-4DBF9A1FE01A}"/>
          </ac:spMkLst>
        </pc:spChg>
        <pc:spChg chg="mod">
          <ac:chgData name="Joelle Brehm" userId="a518f54c-6985-42c0-8041-2bb16a414839" providerId="ADAL" clId="{7999C4A2-9ACD-4CB2-9DCD-52B9CDE5124D}" dt="2023-05-08T18:12:22.128" v="61219"/>
          <ac:spMkLst>
            <pc:docMk/>
            <pc:sldMk cId="1450446987" sldId="264"/>
            <ac:spMk id="160" creationId="{07C3E5D2-7583-63D0-37B6-7B151A712896}"/>
          </ac:spMkLst>
        </pc:spChg>
        <pc:spChg chg="del mod">
          <ac:chgData name="Joelle Brehm" userId="a518f54c-6985-42c0-8041-2bb16a414839" providerId="ADAL" clId="{7999C4A2-9ACD-4CB2-9DCD-52B9CDE5124D}" dt="2023-05-07T17:45:19.113" v="4132"/>
          <ac:spMkLst>
            <pc:docMk/>
            <pc:sldMk cId="1450446987" sldId="264"/>
            <ac:spMk id="161" creationId="{A66B5ABD-5AE7-94FD-EC61-5319C253A085}"/>
          </ac:spMkLst>
        </pc:spChg>
        <pc:spChg chg="mod">
          <ac:chgData name="Joelle Brehm" userId="a518f54c-6985-42c0-8041-2bb16a414839" providerId="ADAL" clId="{7999C4A2-9ACD-4CB2-9DCD-52B9CDE5124D}" dt="2023-05-08T18:12:30.253" v="61305"/>
          <ac:spMkLst>
            <pc:docMk/>
            <pc:sldMk cId="1450446987" sldId="264"/>
            <ac:spMk id="162" creationId="{A162EB60-F907-7F32-BE30-A5DD5012E9B2}"/>
          </ac:spMkLst>
        </pc:spChg>
        <pc:spChg chg="del mod">
          <ac:chgData name="Joelle Brehm" userId="a518f54c-6985-42c0-8041-2bb16a414839" providerId="ADAL" clId="{7999C4A2-9ACD-4CB2-9DCD-52B9CDE5124D}" dt="2023-05-07T17:45:19.112" v="4131"/>
          <ac:spMkLst>
            <pc:docMk/>
            <pc:sldMk cId="1450446987" sldId="264"/>
            <ac:spMk id="173" creationId="{41F11520-570D-8653-B236-E275F3513DA4}"/>
          </ac:spMkLst>
        </pc:spChg>
        <pc:spChg chg="mod">
          <ac:chgData name="Joelle Brehm" userId="a518f54c-6985-42c0-8041-2bb16a414839" providerId="ADAL" clId="{7999C4A2-9ACD-4CB2-9DCD-52B9CDE5124D}" dt="2023-05-08T18:12:22.111" v="61154"/>
          <ac:spMkLst>
            <pc:docMk/>
            <pc:sldMk cId="1450446987" sldId="264"/>
            <ac:spMk id="174" creationId="{721843FC-D9CE-BA0F-94A9-0E5C7F77618A}"/>
          </ac:spMkLst>
        </pc:spChg>
        <pc:spChg chg="mod">
          <ac:chgData name="Joelle Brehm" userId="a518f54c-6985-42c0-8041-2bb16a414839" providerId="ADAL" clId="{7999C4A2-9ACD-4CB2-9DCD-52B9CDE5124D}" dt="2023-05-08T18:12:22.119" v="61184"/>
          <ac:spMkLst>
            <pc:docMk/>
            <pc:sldMk cId="1450446987" sldId="264"/>
            <ac:spMk id="177" creationId="{5EF5A94E-675C-C3E5-116B-9D99173D50D9}"/>
          </ac:spMkLst>
        </pc:spChg>
        <pc:spChg chg="mod">
          <ac:chgData name="Joelle Brehm" userId="a518f54c-6985-42c0-8041-2bb16a414839" providerId="ADAL" clId="{7999C4A2-9ACD-4CB2-9DCD-52B9CDE5124D}" dt="2023-05-08T18:12:22.114" v="61164"/>
          <ac:spMkLst>
            <pc:docMk/>
            <pc:sldMk cId="1450446987" sldId="264"/>
            <ac:spMk id="179" creationId="{383C8964-5CC7-CBEE-BB38-3CA03DF02E19}"/>
          </ac:spMkLst>
        </pc:spChg>
        <pc:spChg chg="mod">
          <ac:chgData name="Joelle Brehm" userId="a518f54c-6985-42c0-8041-2bb16a414839" providerId="ADAL" clId="{7999C4A2-9ACD-4CB2-9DCD-52B9CDE5124D}" dt="2023-05-08T18:12:22.122" v="61195"/>
          <ac:spMkLst>
            <pc:docMk/>
            <pc:sldMk cId="1450446987" sldId="264"/>
            <ac:spMk id="180" creationId="{A86D3A91-516E-859E-8B91-49561B54A22D}"/>
          </ac:spMkLst>
        </pc:spChg>
        <pc:spChg chg="mod">
          <ac:chgData name="Joelle Brehm" userId="a518f54c-6985-42c0-8041-2bb16a414839" providerId="ADAL" clId="{7999C4A2-9ACD-4CB2-9DCD-52B9CDE5124D}" dt="2023-05-08T18:12:22.136" v="61247"/>
          <ac:spMkLst>
            <pc:docMk/>
            <pc:sldMk cId="1450446987" sldId="264"/>
            <ac:spMk id="183" creationId="{AF9B10EE-106F-F48F-396B-6E0A5755F50A}"/>
          </ac:spMkLst>
        </pc:spChg>
        <pc:spChg chg="mod">
          <ac:chgData name="Joelle Brehm" userId="a518f54c-6985-42c0-8041-2bb16a414839" providerId="ADAL" clId="{7999C4A2-9ACD-4CB2-9DCD-52B9CDE5124D}" dt="2023-05-08T18:12:22.103" v="61127"/>
          <ac:spMkLst>
            <pc:docMk/>
            <pc:sldMk cId="1450446987" sldId="264"/>
            <ac:spMk id="186" creationId="{6B41FF62-2B71-BDDC-6867-82772018D01F}"/>
          </ac:spMkLst>
        </pc:spChg>
        <pc:spChg chg="mod">
          <ac:chgData name="Joelle Brehm" userId="a518f54c-6985-42c0-8041-2bb16a414839" providerId="ADAL" clId="{7999C4A2-9ACD-4CB2-9DCD-52B9CDE5124D}" dt="2023-05-08T18:12:22.127" v="61214"/>
          <ac:spMkLst>
            <pc:docMk/>
            <pc:sldMk cId="1450446987" sldId="264"/>
            <ac:spMk id="188" creationId="{3EAD5544-D356-497E-99A8-A208C0CDD275}"/>
          </ac:spMkLst>
        </pc:spChg>
        <pc:spChg chg="mod">
          <ac:chgData name="Joelle Brehm" userId="a518f54c-6985-42c0-8041-2bb16a414839" providerId="ADAL" clId="{7999C4A2-9ACD-4CB2-9DCD-52B9CDE5124D}" dt="2023-05-08T18:12:22.107" v="61139"/>
          <ac:spMkLst>
            <pc:docMk/>
            <pc:sldMk cId="1450446987" sldId="264"/>
            <ac:spMk id="190" creationId="{B9C55F07-0B64-C081-E59D-1BDA2A37CE56}"/>
          </ac:spMkLst>
        </pc:spChg>
        <pc:spChg chg="mod">
          <ac:chgData name="Joelle Brehm" userId="a518f54c-6985-42c0-8041-2bb16a414839" providerId="ADAL" clId="{7999C4A2-9ACD-4CB2-9DCD-52B9CDE5124D}" dt="2023-05-08T18:12:22.112" v="61156"/>
          <ac:spMkLst>
            <pc:docMk/>
            <pc:sldMk cId="1450446987" sldId="264"/>
            <ac:spMk id="193" creationId="{3D8BF698-E445-4938-7124-83C29C500F12}"/>
          </ac:spMkLst>
        </pc:spChg>
        <pc:spChg chg="mod">
          <ac:chgData name="Joelle Brehm" userId="a518f54c-6985-42c0-8041-2bb16a414839" providerId="ADAL" clId="{7999C4A2-9ACD-4CB2-9DCD-52B9CDE5124D}" dt="2023-05-08T18:12:22.114" v="61165"/>
          <ac:spMkLst>
            <pc:docMk/>
            <pc:sldMk cId="1450446987" sldId="264"/>
            <ac:spMk id="195" creationId="{2816887B-399A-8554-0951-DD202BD9A4C3}"/>
          </ac:spMkLst>
        </pc:spChg>
        <pc:spChg chg="mod">
          <ac:chgData name="Joelle Brehm" userId="a518f54c-6985-42c0-8041-2bb16a414839" providerId="ADAL" clId="{7999C4A2-9ACD-4CB2-9DCD-52B9CDE5124D}" dt="2023-05-08T18:12:22.111" v="61153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7999C4A2-9ACD-4CB2-9DCD-52B9CDE5124D}" dt="2023-05-08T18:12:22.112" v="61159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7999C4A2-9ACD-4CB2-9DCD-52B9CDE5124D}" dt="2023-05-08T18:12:22.116" v="61171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7999C4A2-9ACD-4CB2-9DCD-52B9CDE5124D}" dt="2023-05-08T18:12:22.131" v="61230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7999C4A2-9ACD-4CB2-9DCD-52B9CDE5124D}" dt="2023-05-08T18:12:22.137" v="61251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7999C4A2-9ACD-4CB2-9DCD-52B9CDE5124D}" dt="2023-05-08T18:12:30.301" v="61319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1:57.974" v="59062"/>
          <ac:graphicFrameMkLst>
            <pc:docMk/>
            <pc:sldMk cId="1450446987" sldId="264"/>
            <ac:graphicFrameMk id="14" creationId="{011923F5-A2DA-F690-4D00-E0EE2A91B07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4:36.701" v="1731"/>
          <ac:graphicFrameMkLst>
            <pc:docMk/>
            <pc:sldMk cId="1450446987" sldId="264"/>
            <ac:graphicFrameMk id="33" creationId="{E2F0490B-1FE5-0727-FBEF-956F533D524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1:58.698" v="59276"/>
          <ac:graphicFrameMkLst>
            <pc:docMk/>
            <pc:sldMk cId="1450446987" sldId="264"/>
            <ac:graphicFrameMk id="36" creationId="{578709CD-C71F-21A4-422E-3A8849534CE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4:39.977" v="1959"/>
          <ac:graphicFrameMkLst>
            <pc:docMk/>
            <pc:sldMk cId="1450446987" sldId="264"/>
            <ac:graphicFrameMk id="37" creationId="{B964C3B3-188C-88B6-0694-8AE6130077E8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8T18:12:22.117" v="61176"/>
          <ac:graphicFrameMkLst>
            <pc:docMk/>
            <pc:sldMk cId="1450446987" sldId="264"/>
            <ac:graphicFrameMk id="42" creationId="{9AAD0899-BC8D-B8E7-F07F-5256DFE667FA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44:33.370" v="1486"/>
          <ac:graphicFrameMkLst>
            <pc:docMk/>
            <pc:sldMk cId="1450446987" sldId="264"/>
            <ac:graphicFrameMk id="47" creationId="{3E085EFB-76AE-1C08-400B-EC5EC43C233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03.486" v="59442"/>
          <ac:graphicFrameMkLst>
            <pc:docMk/>
            <pc:sldMk cId="1450446987" sldId="264"/>
            <ac:graphicFrameMk id="47" creationId="{D55D18D8-62AF-7E11-9360-38DD12158DB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05.122" v="59608"/>
          <ac:graphicFrameMkLst>
            <pc:docMk/>
            <pc:sldMk cId="1450446987" sldId="264"/>
            <ac:graphicFrameMk id="49" creationId="{B1BB8421-8F02-8D50-FD3D-9530A85D67F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4:51.144" v="2490"/>
          <ac:graphicFrameMkLst>
            <pc:docMk/>
            <pc:sldMk cId="1450446987" sldId="264"/>
            <ac:graphicFrameMk id="50" creationId="{8E27E111-7526-50D6-9B73-295E5735EA5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09.241" v="59826"/>
          <ac:graphicFrameMkLst>
            <pc:docMk/>
            <pc:sldMk cId="1450446987" sldId="264"/>
            <ac:graphicFrameMk id="50" creationId="{D1A8F908-7E60-F3F9-4A8D-738A30B8A481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4:53.186" v="2718"/>
          <ac:graphicFrameMkLst>
            <pc:docMk/>
            <pc:sldMk cId="1450446987" sldId="264"/>
            <ac:graphicFrameMk id="59" creationId="{75F7437B-8D01-72E6-EA07-F12514A23FD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8T18:12:22.102" v="61124"/>
          <ac:graphicFrameMkLst>
            <pc:docMk/>
            <pc:sldMk cId="1450446987" sldId="264"/>
            <ac:graphicFrameMk id="64" creationId="{80D4862F-1FD9-A163-C855-10351A4A3C2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10.616" v="60022"/>
          <ac:graphicFrameMkLst>
            <pc:docMk/>
            <pc:sldMk cId="1450446987" sldId="264"/>
            <ac:graphicFrameMk id="71" creationId="{463C2481-9FB9-626C-9B0A-D813F162E91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5:03.092" v="3217"/>
          <ac:graphicFrameMkLst>
            <pc:docMk/>
            <pc:sldMk cId="1450446987" sldId="264"/>
            <ac:graphicFrameMk id="72" creationId="{F7895E8B-F846-B5DF-A265-D553B8B998B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15.054" v="60243"/>
          <ac:graphicFrameMkLst>
            <pc:docMk/>
            <pc:sldMk cId="1450446987" sldId="264"/>
            <ac:graphicFrameMk id="76" creationId="{37C97F3D-DA54-34F6-1EB0-A28033E4E101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44:46.485" v="2245"/>
          <ac:graphicFrameMkLst>
            <pc:docMk/>
            <pc:sldMk cId="1450446987" sldId="264"/>
            <ac:graphicFrameMk id="76" creationId="{4887BE25-7311-CE45-8BBB-9EB880541F3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5:06.156" v="3423"/>
          <ac:graphicFrameMkLst>
            <pc:docMk/>
            <pc:sldMk cId="1450446987" sldId="264"/>
            <ac:graphicFrameMk id="83" creationId="{282002D2-98FF-6E18-7243-93AFE985BE6A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8T18:12:22.131" v="61232"/>
          <ac:graphicFrameMkLst>
            <pc:docMk/>
            <pc:sldMk cId="1450446987" sldId="264"/>
            <ac:graphicFrameMk id="85" creationId="{DC98659E-D2E2-EF2C-82E2-0311F133104C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16.761" v="60441"/>
          <ac:graphicFrameMkLst>
            <pc:docMk/>
            <pc:sldMk cId="1450446987" sldId="264"/>
            <ac:graphicFrameMk id="87" creationId="{DAE59568-E3E5-9D91-45F7-AA22869BECE4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5:16.729" v="3980"/>
          <ac:graphicFrameMkLst>
            <pc:docMk/>
            <pc:sldMk cId="1450446987" sldId="264"/>
            <ac:graphicFrameMk id="88" creationId="{0E117690-4BF1-DAF5-1ED9-8982D4FA354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18.793" v="60740"/>
          <ac:graphicFrameMkLst>
            <pc:docMk/>
            <pc:sldMk cId="1450446987" sldId="264"/>
            <ac:graphicFrameMk id="91" creationId="{333C925F-75B1-EC37-8B7B-04C1EC5F869A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5:19.178" v="4209"/>
          <ac:graphicFrameMkLst>
            <pc:docMk/>
            <pc:sldMk cId="1450446987" sldId="264"/>
            <ac:graphicFrameMk id="92" creationId="{14A5953D-CBF1-D12C-F87F-136E7995CCA0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8T18:12:22.110" v="61150"/>
          <ac:graphicFrameMkLst>
            <pc:docMk/>
            <pc:sldMk cId="1450446987" sldId="264"/>
            <ac:graphicFrameMk id="94" creationId="{57739560-447B-5803-0FB5-B22EE2AB4D4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19.753" v="60910"/>
          <ac:graphicFrameMkLst>
            <pc:docMk/>
            <pc:sldMk cId="1450446987" sldId="264"/>
            <ac:graphicFrameMk id="98" creationId="{8EB685AF-3BC8-3A96-2A9E-508E86DF3683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44:59.231" v="2980"/>
          <ac:graphicFrameMkLst>
            <pc:docMk/>
            <pc:sldMk cId="1450446987" sldId="264"/>
            <ac:graphicFrameMk id="98" creationId="{9B5E2766-C4FE-BEDB-FC1A-7BC902F52E3A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8T18:12:22.079" v="61108"/>
          <ac:graphicFrameMkLst>
            <pc:docMk/>
            <pc:sldMk cId="1450446987" sldId="264"/>
            <ac:graphicFrameMk id="99" creationId="{F89A3195-00E8-C19D-31B4-5A3BB24ABE43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8T18:12:22.126" v="61212"/>
          <ac:graphicFrameMkLst>
            <pc:docMk/>
            <pc:sldMk cId="1450446987" sldId="264"/>
            <ac:graphicFrameMk id="101" creationId="{A9AF2870-12EF-1795-0879-8945420DA15A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45:12.982" v="3710"/>
          <ac:graphicFrameMkLst>
            <pc:docMk/>
            <pc:sldMk cId="1450446987" sldId="264"/>
            <ac:graphicFrameMk id="116" creationId="{3966230D-30A4-27A6-4CCC-D6E9B200D748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8T18:11:54.273" v="58773"/>
          <ac:graphicFrameMkLst>
            <pc:docMk/>
            <pc:sldMk cId="1450446987" sldId="264"/>
            <ac:graphicFrameMk id="165" creationId="{8EE5C9C6-CE95-12C3-8683-76F2019D6D70}"/>
          </ac:graphicFrameMkLst>
        </pc:graphicFrameChg>
        <pc:picChg chg="mod ord">
          <ac:chgData name="Joelle Brehm" userId="a518f54c-6985-42c0-8041-2bb16a414839" providerId="ADAL" clId="{7999C4A2-9ACD-4CB2-9DCD-52B9CDE5124D}" dt="2023-05-08T18:12:22.101" v="61122"/>
          <ac:picMkLst>
            <pc:docMk/>
            <pc:sldMk cId="1450446987" sldId="264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7999C4A2-9ACD-4CB2-9DCD-52B9CDE5124D}" dt="2023-05-08T18:12:22.100" v="61116"/>
          <ac:picMkLst>
            <pc:docMk/>
            <pc:sldMk cId="1450446987" sldId="264"/>
            <ac:picMk id="8" creationId="{EB4EA5A4-5716-0EE2-C9EA-EF2FC00D4253}"/>
          </ac:picMkLst>
        </pc:picChg>
        <pc:picChg chg="del mod ord">
          <ac:chgData name="Joelle Brehm" userId="a518f54c-6985-42c0-8041-2bb16a414839" providerId="ADAL" clId="{7999C4A2-9ACD-4CB2-9DCD-52B9CDE5124D}" dt="2023-05-07T17:44:17.292" v="1298" actId="478"/>
          <ac:picMkLst>
            <pc:docMk/>
            <pc:sldMk cId="1450446987" sldId="264"/>
            <ac:picMk id="9" creationId="{05042876-D3D8-7850-4854-8CB6CC7E410F}"/>
          </ac:picMkLst>
        </pc:picChg>
      </pc:sldChg>
      <pc:sldChg chg="addSp delSp modSp mod">
        <pc:chgData name="Joelle Brehm" userId="a518f54c-6985-42c0-8041-2bb16a414839" providerId="ADAL" clId="{7999C4A2-9ACD-4CB2-9DCD-52B9CDE5124D}" dt="2023-05-07T18:02:56.774" v="18568"/>
        <pc:sldMkLst>
          <pc:docMk/>
          <pc:sldMk cId="3436037945" sldId="265"/>
        </pc:sldMkLst>
        <pc:spChg chg="mod ord">
          <ac:chgData name="Joelle Brehm" userId="a518f54c-6985-42c0-8041-2bb16a414839" providerId="ADAL" clId="{7999C4A2-9ACD-4CB2-9DCD-52B9CDE5124D}" dt="2023-05-07T18:02:56.758" v="18562"/>
          <ac:spMkLst>
            <pc:docMk/>
            <pc:sldMk cId="3436037945" sldId="265"/>
            <ac:spMk id="2" creationId="{6E232D48-9913-4AD2-87D8-2BF43FF429A0}"/>
          </ac:spMkLst>
        </pc:spChg>
        <pc:spChg chg="add del mod">
          <ac:chgData name="Joelle Brehm" userId="a518f54c-6985-42c0-8041-2bb16a414839" providerId="ADAL" clId="{7999C4A2-9ACD-4CB2-9DCD-52B9CDE5124D}" dt="2023-05-07T18:02:06.225" v="16345" actId="478"/>
          <ac:spMkLst>
            <pc:docMk/>
            <pc:sldMk cId="3436037945" sldId="265"/>
            <ac:spMk id="3" creationId="{EE7ACBF4-36CB-FDA3-3B70-E76D77A6A8C1}"/>
          </ac:spMkLst>
        </pc:spChg>
        <pc:spChg chg="add del mod modVis">
          <ac:chgData name="Joelle Brehm" userId="a518f54c-6985-42c0-8041-2bb16a414839" providerId="ADAL" clId="{7999C4A2-9ACD-4CB2-9DCD-52B9CDE5124D}" dt="2023-05-07T18:02:12.525" v="16603"/>
          <ac:spMkLst>
            <pc:docMk/>
            <pc:sldMk cId="3436037945" sldId="265"/>
            <ac:spMk id="5" creationId="{F9CABF3A-D93B-04FC-8FE4-FB3A9F3ECCDA}"/>
          </ac:spMkLst>
        </pc:spChg>
        <pc:spChg chg="mod ord">
          <ac:chgData name="Joelle Brehm" userId="a518f54c-6985-42c0-8041-2bb16a414839" providerId="ADAL" clId="{7999C4A2-9ACD-4CB2-9DCD-52B9CDE5124D}" dt="2023-05-07T18:02:56.742" v="18497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02:56.758" v="18535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7999C4A2-9ACD-4CB2-9DCD-52B9CDE5124D}" dt="2023-05-07T18:02:56.742" v="18508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02:56.742" v="18505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02:56.742" v="18507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02:56.742" v="18503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02:56.742" v="18504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02:56.742" v="18506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02:56.742" v="18502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02:56.742" v="18509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02:56.742" v="18510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02:56.742" v="18511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02:56.742" v="18512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02:56.742" v="18513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02:56.742" v="18515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02:56.742" v="18516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02:56.742" v="18517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02:56.742" v="18518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02:56.742" v="18520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02:56.742" v="18519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02:56.742" v="18521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02:56.742" v="18523"/>
          <ac:spMkLst>
            <pc:docMk/>
            <pc:sldMk cId="3436037945" sldId="265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02:56.758" v="18529"/>
          <ac:spMkLst>
            <pc:docMk/>
            <pc:sldMk cId="3436037945" sldId="265"/>
            <ac:spMk id="31" creationId="{618E9228-3A8F-6AD1-2FE9-4CA197D85F6A}"/>
          </ac:spMkLst>
        </pc:spChg>
        <pc:spChg chg="mod">
          <ac:chgData name="Joelle Brehm" userId="a518f54c-6985-42c0-8041-2bb16a414839" providerId="ADAL" clId="{7999C4A2-9ACD-4CB2-9DCD-52B9CDE5124D}" dt="2023-05-07T18:02:56.758" v="18531"/>
          <ac:spMkLst>
            <pc:docMk/>
            <pc:sldMk cId="3436037945" sldId="265"/>
            <ac:spMk id="33" creationId="{228F34A2-7DB7-9D12-615E-E947B53315B2}"/>
          </ac:spMkLst>
        </pc:spChg>
        <pc:spChg chg="mod">
          <ac:chgData name="Joelle Brehm" userId="a518f54c-6985-42c0-8041-2bb16a414839" providerId="ADAL" clId="{7999C4A2-9ACD-4CB2-9DCD-52B9CDE5124D}" dt="2023-05-07T18:02:56.758" v="18532"/>
          <ac:spMkLst>
            <pc:docMk/>
            <pc:sldMk cId="3436037945" sldId="265"/>
            <ac:spMk id="34" creationId="{A7A9CC08-35FC-512B-D6D9-BC2ABCCAD648}"/>
          </ac:spMkLst>
        </pc:spChg>
        <pc:spChg chg="mod">
          <ac:chgData name="Joelle Brehm" userId="a518f54c-6985-42c0-8041-2bb16a414839" providerId="ADAL" clId="{7999C4A2-9ACD-4CB2-9DCD-52B9CDE5124D}" dt="2023-05-07T18:02:56.758" v="18528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7999C4A2-9ACD-4CB2-9DCD-52B9CDE5124D}" dt="2023-05-07T18:02:56.758" v="18533"/>
          <ac:spMkLst>
            <pc:docMk/>
            <pc:sldMk cId="3436037945" sldId="265"/>
            <ac:spMk id="36" creationId="{0BBAC582-1932-357A-D778-84237C43CF05}"/>
          </ac:spMkLst>
        </pc:spChg>
        <pc:spChg chg="mod">
          <ac:chgData name="Joelle Brehm" userId="a518f54c-6985-42c0-8041-2bb16a414839" providerId="ADAL" clId="{7999C4A2-9ACD-4CB2-9DCD-52B9CDE5124D}" dt="2023-05-07T18:02:56.758" v="18536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7999C4A2-9ACD-4CB2-9DCD-52B9CDE5124D}" dt="2023-05-07T18:02:56.758" v="18537"/>
          <ac:spMkLst>
            <pc:docMk/>
            <pc:sldMk cId="3436037945" sldId="265"/>
            <ac:spMk id="39" creationId="{D3B6923F-EF2F-5CB1-1EC9-23DAFECD1AD3}"/>
          </ac:spMkLst>
        </pc:spChg>
        <pc:spChg chg="add del mod modVis">
          <ac:chgData name="Joelle Brehm" userId="a518f54c-6985-42c0-8041-2bb16a414839" providerId="ADAL" clId="{7999C4A2-9ACD-4CB2-9DCD-52B9CDE5124D}" dt="2023-05-07T18:02:41.162" v="16915"/>
          <ac:spMkLst>
            <pc:docMk/>
            <pc:sldMk cId="3436037945" sldId="265"/>
            <ac:spMk id="40" creationId="{D5534932-38BF-A575-27ED-7E50645E00E3}"/>
          </ac:spMkLst>
        </pc:spChg>
        <pc:spChg chg="add mod replST">
          <ac:chgData name="Joelle Brehm" userId="a518f54c-6985-42c0-8041-2bb16a414839" providerId="ADAL" clId="{7999C4A2-9ACD-4CB2-9DCD-52B9CDE5124D}" dt="2023-05-07T18:02:56.758" v="18534"/>
          <ac:spMkLst>
            <pc:docMk/>
            <pc:sldMk cId="3436037945" sldId="265"/>
            <ac:spMk id="42" creationId="{C3432236-FD50-8E13-A648-6A2FCA3BBBAE}"/>
          </ac:spMkLst>
        </pc:spChg>
        <pc:spChg chg="add del mod modVis">
          <ac:chgData name="Joelle Brehm" userId="a518f54c-6985-42c0-8041-2bb16a414839" providerId="ADAL" clId="{7999C4A2-9ACD-4CB2-9DCD-52B9CDE5124D}" dt="2023-05-07T18:02:47.716" v="17712"/>
          <ac:spMkLst>
            <pc:docMk/>
            <pc:sldMk cId="3436037945" sldId="265"/>
            <ac:spMk id="43" creationId="{92FF4D90-3FAE-3392-6F40-868C06DFDFDA}"/>
          </ac:spMkLst>
        </pc:spChg>
        <pc:spChg chg="add del mod ord replST">
          <ac:chgData name="Joelle Brehm" userId="a518f54c-6985-42c0-8041-2bb16a414839" providerId="ADAL" clId="{7999C4A2-9ACD-4CB2-9DCD-52B9CDE5124D}" dt="2023-05-07T18:02:51.019" v="17932"/>
          <ac:spMkLst>
            <pc:docMk/>
            <pc:sldMk cId="3436037945" sldId="265"/>
            <ac:spMk id="44" creationId="{7CAA3B95-4C78-4122-BECA-B5FB0F3F3764}"/>
          </ac:spMkLst>
        </pc:spChg>
        <pc:spChg chg="add del mod ord replST">
          <ac:chgData name="Joelle Brehm" userId="a518f54c-6985-42c0-8041-2bb16a414839" providerId="ADAL" clId="{7999C4A2-9ACD-4CB2-9DCD-52B9CDE5124D}" dt="2023-05-07T18:02:51.360" v="18130"/>
          <ac:spMkLst>
            <pc:docMk/>
            <pc:sldMk cId="3436037945" sldId="265"/>
            <ac:spMk id="45" creationId="{7CAA3B95-4C78-4122-BECA-B5FB0F3F3764}"/>
          </ac:spMkLst>
        </pc:spChg>
        <pc:spChg chg="add del mod ord replST">
          <ac:chgData name="Joelle Brehm" userId="a518f54c-6985-42c0-8041-2bb16a414839" providerId="ADAL" clId="{7999C4A2-9ACD-4CB2-9DCD-52B9CDE5124D}" dt="2023-05-07T18:02:54.530" v="18328"/>
          <ac:spMkLst>
            <pc:docMk/>
            <pc:sldMk cId="3436037945" sldId="265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02:48.624" v="17928"/>
          <ac:spMkLst>
            <pc:docMk/>
            <pc:sldMk cId="3436037945" sldId="265"/>
            <ac:spMk id="48" creationId="{02272E2B-0D36-D62A-2AB9-4D579F6840C0}"/>
          </ac:spMkLst>
        </pc:spChg>
        <pc:spChg chg="add del mod modVis">
          <ac:chgData name="Joelle Brehm" userId="a518f54c-6985-42c0-8041-2bb16a414839" providerId="ADAL" clId="{7999C4A2-9ACD-4CB2-9DCD-52B9CDE5124D}" dt="2023-05-07T18:02:51.500" v="18253"/>
          <ac:spMkLst>
            <pc:docMk/>
            <pc:sldMk cId="3436037945" sldId="265"/>
            <ac:spMk id="51" creationId="{8157705C-A16B-CCDB-EA86-5D4CAA77C7AC}"/>
          </ac:spMkLst>
        </pc:spChg>
        <pc:spChg chg="add del mod ord replST">
          <ac:chgData name="Joelle Brehm" userId="a518f54c-6985-42c0-8041-2bb16a414839" providerId="ADAL" clId="{7999C4A2-9ACD-4CB2-9DCD-52B9CDE5124D}" dt="2023-05-07T18:02:56.726" v="18485"/>
          <ac:spMkLst>
            <pc:docMk/>
            <pc:sldMk cId="3436037945" sldId="265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02:54.573" v="18411"/>
          <ac:spMkLst>
            <pc:docMk/>
            <pc:sldMk cId="3436037945" sldId="265"/>
            <ac:spMk id="55" creationId="{2996475D-5C7A-AAA3-60AB-05741D2585C7}"/>
          </ac:spMkLst>
        </pc:spChg>
        <pc:spChg chg="add del mod modVis">
          <ac:chgData name="Joelle Brehm" userId="a518f54c-6985-42c0-8041-2bb16a414839" providerId="ADAL" clId="{7999C4A2-9ACD-4CB2-9DCD-52B9CDE5124D}" dt="2023-05-07T18:02:56.758" v="18566"/>
          <ac:spMkLst>
            <pc:docMk/>
            <pc:sldMk cId="3436037945" sldId="265"/>
            <ac:spMk id="57" creationId="{BA098C29-470A-AF5C-E193-D72EFB9B2CDB}"/>
          </ac:spMkLst>
        </pc:spChg>
        <pc:spChg chg="del mod">
          <ac:chgData name="Joelle Brehm" userId="a518f54c-6985-42c0-8041-2bb16a414839" providerId="ADAL" clId="{7999C4A2-9ACD-4CB2-9DCD-52B9CDE5124D}" dt="2023-05-07T18:02:51.019" v="17933"/>
          <ac:spMkLst>
            <pc:docMk/>
            <pc:sldMk cId="3436037945" sldId="265"/>
            <ac:spMk id="60" creationId="{69063C30-6BAD-353F-E9FB-8627E90CAE76}"/>
          </ac:spMkLst>
        </pc:spChg>
        <pc:spChg chg="mod">
          <ac:chgData name="Joelle Brehm" userId="a518f54c-6985-42c0-8041-2bb16a414839" providerId="ADAL" clId="{7999C4A2-9ACD-4CB2-9DCD-52B9CDE5124D}" dt="2023-05-07T18:02:56.758" v="18527"/>
          <ac:spMkLst>
            <pc:docMk/>
            <pc:sldMk cId="3436037945" sldId="265"/>
            <ac:spMk id="61" creationId="{F599914F-7CFA-83EB-6C93-AE0E3A7222EA}"/>
          </ac:spMkLst>
        </pc:spChg>
        <pc:spChg chg="mod">
          <ac:chgData name="Joelle Brehm" userId="a518f54c-6985-42c0-8041-2bb16a414839" providerId="ADAL" clId="{7999C4A2-9ACD-4CB2-9DCD-52B9CDE5124D}" dt="2023-05-07T18:02:56.758" v="18530"/>
          <ac:spMkLst>
            <pc:docMk/>
            <pc:sldMk cId="3436037945" sldId="265"/>
            <ac:spMk id="62" creationId="{BEDB5BD1-9064-F903-1AE0-56AE80C9B05B}"/>
          </ac:spMkLst>
        </pc:spChg>
        <pc:spChg chg="mod">
          <ac:chgData name="Joelle Brehm" userId="a518f54c-6985-42c0-8041-2bb16a414839" providerId="ADAL" clId="{7999C4A2-9ACD-4CB2-9DCD-52B9CDE5124D}" dt="2023-05-07T18:02:56.758" v="18526"/>
          <ac:spMkLst>
            <pc:docMk/>
            <pc:sldMk cId="3436037945" sldId="265"/>
            <ac:spMk id="65" creationId="{144DCADE-7870-4E5E-3516-0379A7BCFDF0}"/>
          </ac:spMkLst>
        </pc:spChg>
        <pc:spChg chg="mod ord">
          <ac:chgData name="Joelle Brehm" userId="a518f54c-6985-42c0-8041-2bb16a414839" providerId="ADAL" clId="{7999C4A2-9ACD-4CB2-9DCD-52B9CDE5124D}" dt="2023-05-07T18:02:56.758" v="18539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02:56.758" v="18541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02:56.758" v="18543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02:56.758" v="18545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02:56.758" v="18547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02:56.758" v="18549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7999C4A2-9ACD-4CB2-9DCD-52B9CDE5124D}" dt="2023-05-07T18:02:56.758" v="18560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7999C4A2-9ACD-4CB2-9DCD-52B9CDE5124D}" dt="2023-05-07T18:02:56.758" v="18553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2:56.758" v="18554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2:56.758" v="18555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2:56.758" v="18552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02:56.758" v="18556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02:56.774" v="18568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02:12.465" v="16520"/>
          <ac:graphicFrameMkLst>
            <pc:docMk/>
            <pc:sldMk cId="3436037945" sldId="265"/>
            <ac:graphicFrameMk id="8" creationId="{8100CB3B-3F70-E4B2-DA15-D319FF82F026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2:56.742" v="18501"/>
          <ac:graphicFrameMkLst>
            <pc:docMk/>
            <pc:sldMk cId="3436037945" sldId="265"/>
            <ac:graphicFrameMk id="32" creationId="{20E550BE-70F4-9B27-2FF8-65D353AF93B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2:56.758" v="18551"/>
          <ac:graphicFrameMkLst>
            <pc:docMk/>
            <pc:sldMk cId="3436037945" sldId="265"/>
            <ac:graphicFrameMk id="41" creationId="{4247C956-DD33-765A-609B-1F454A8D42E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2:48.502" v="17820"/>
          <ac:graphicFrameMkLst>
            <pc:docMk/>
            <pc:sldMk cId="3436037945" sldId="265"/>
            <ac:graphicFrameMk id="47" creationId="{A730FBE1-8353-AE0B-7ED6-45D0FBBE159B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2:51.367" v="18148"/>
          <ac:graphicFrameMkLst>
            <pc:docMk/>
            <pc:sldMk cId="3436037945" sldId="265"/>
            <ac:graphicFrameMk id="49" creationId="{77A6D171-4908-DD1E-7B0C-E65C83073A74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2:47.634" v="17618"/>
          <ac:graphicFrameMkLst>
            <pc:docMk/>
            <pc:sldMk cId="3436037945" sldId="265"/>
            <ac:graphicFrameMk id="50" creationId="{BC110150-2786-561C-B1E5-74003EE30C65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2:41.071" v="16836"/>
          <ac:graphicFrameMkLst>
            <pc:docMk/>
            <pc:sldMk cId="3436037945" sldId="265"/>
            <ac:graphicFrameMk id="52" creationId="{3A2F36E4-5ADC-E4CA-D408-D3E4FC3D915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2:54.530" v="18330"/>
          <ac:graphicFrameMkLst>
            <pc:docMk/>
            <pc:sldMk cId="3436037945" sldId="265"/>
            <ac:graphicFrameMk id="54" creationId="{239BA98F-68C2-8FAD-8E2C-A7374A411FB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2:56.726" v="18487"/>
          <ac:graphicFrameMkLst>
            <pc:docMk/>
            <pc:sldMk cId="3436037945" sldId="265"/>
            <ac:graphicFrameMk id="56" creationId="{3DDD0787-7F91-6FC9-8193-BF762A977F2E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2:56.757" v="18525"/>
          <ac:graphicFrameMkLst>
            <pc:docMk/>
            <pc:sldMk cId="3436037945" sldId="265"/>
            <ac:graphicFrameMk id="58" creationId="{708E9BC1-CDC5-F9AD-0DFD-6B4DBB4B091F}"/>
          </ac:graphicFrameMkLst>
        </pc:graphicFrameChg>
        <pc:picChg chg="del mod ord">
          <ac:chgData name="Joelle Brehm" userId="a518f54c-6985-42c0-8041-2bb16a414839" providerId="ADAL" clId="{7999C4A2-9ACD-4CB2-9DCD-52B9CDE5124D}" dt="2023-05-07T18:02:30.404" v="16687" actId="478"/>
          <ac:picMkLst>
            <pc:docMk/>
            <pc:sldMk cId="3436037945" sldId="265"/>
            <ac:picMk id="10" creationId="{275F998F-01C7-4B58-7AE6-66D051B13BC7}"/>
          </ac:picMkLst>
        </pc:picChg>
        <pc:picChg chg="add mod ord">
          <ac:chgData name="Joelle Brehm" userId="a518f54c-6985-42c0-8041-2bb16a414839" providerId="ADAL" clId="{7999C4A2-9ACD-4CB2-9DCD-52B9CDE5124D}" dt="2023-05-07T18:02:56.742" v="18495"/>
          <ac:picMkLst>
            <pc:docMk/>
            <pc:sldMk cId="3436037945" sldId="265"/>
            <ac:picMk id="37" creationId="{D70C0369-D662-5484-F25B-4BAD1889F73C}"/>
          </ac:picMkLst>
        </pc:picChg>
        <pc:picChg chg="mod ord">
          <ac:chgData name="Joelle Brehm" userId="a518f54c-6985-42c0-8041-2bb16a414839" providerId="ADAL" clId="{7999C4A2-9ACD-4CB2-9DCD-52B9CDE5124D}" dt="2023-05-07T18:02:56.758" v="18558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02:56.742" v="18499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01:55.882" v="16344"/>
        <pc:sldMkLst>
          <pc:docMk/>
          <pc:sldMk cId="2057745716" sldId="266"/>
        </pc:sldMkLst>
        <pc:spChg chg="mod ord">
          <ac:chgData name="Joelle Brehm" userId="a518f54c-6985-42c0-8041-2bb16a414839" providerId="ADAL" clId="{7999C4A2-9ACD-4CB2-9DCD-52B9CDE5124D}" dt="2023-05-07T18:01:55.810" v="16338"/>
          <ac:spMkLst>
            <pc:docMk/>
            <pc:sldMk cId="2057745716" sldId="266"/>
            <ac:spMk id="2" creationId="{F6B4C531-23B2-41FF-8356-EA9D6490FDEB}"/>
          </ac:spMkLst>
        </pc:spChg>
        <pc:spChg chg="add del mod">
          <ac:chgData name="Joelle Brehm" userId="a518f54c-6985-42c0-8041-2bb16a414839" providerId="ADAL" clId="{7999C4A2-9ACD-4CB2-9DCD-52B9CDE5124D}" dt="2023-05-07T17:54:15.653" v="14173" actId="478"/>
          <ac:spMkLst>
            <pc:docMk/>
            <pc:sldMk cId="2057745716" sldId="266"/>
            <ac:spMk id="3" creationId="{E4477C58-0C1F-4A49-0052-DB31EB81BF70}"/>
          </ac:spMkLst>
        </pc:spChg>
        <pc:spChg chg="add del mod modVis">
          <ac:chgData name="Joelle Brehm" userId="a518f54c-6985-42c0-8041-2bb16a414839" providerId="ADAL" clId="{7999C4A2-9ACD-4CB2-9DCD-52B9CDE5124D}" dt="2023-05-07T17:54:19.917" v="14471"/>
          <ac:spMkLst>
            <pc:docMk/>
            <pc:sldMk cId="2057745716" sldId="266"/>
            <ac:spMk id="5" creationId="{92DB37AC-3ABD-D49C-AD7B-DAA6F3EA72A3}"/>
          </ac:spMkLst>
        </pc:spChg>
        <pc:spChg chg="add del mod modVis">
          <ac:chgData name="Joelle Brehm" userId="a518f54c-6985-42c0-8041-2bb16a414839" providerId="ADAL" clId="{7999C4A2-9ACD-4CB2-9DCD-52B9CDE5124D}" dt="2023-05-07T18:01:28.438" v="15233"/>
          <ac:spMkLst>
            <pc:docMk/>
            <pc:sldMk cId="2057745716" sldId="266"/>
            <ac:spMk id="5" creationId="{D42B6AEE-90BD-73E6-4714-61045F4F6C35}"/>
          </ac:spMkLst>
        </pc:spChg>
        <pc:spChg chg="mod ord">
          <ac:chgData name="Joelle Brehm" userId="a518f54c-6985-42c0-8041-2bb16a414839" providerId="ADAL" clId="{7999C4A2-9ACD-4CB2-9DCD-52B9CDE5124D}" dt="2023-05-07T18:01:55.771" v="16256"/>
          <ac:spMkLst>
            <pc:docMk/>
            <pc:sldMk cId="2057745716" sldId="266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01:55.800" v="16307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7999C4A2-9ACD-4CB2-9DCD-52B9CDE5124D}" dt="2023-05-07T18:01:55.771" v="16263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01:55.780" v="16265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01:55.781" v="16267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01:55.771" v="16262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01:55.780" v="16266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01:55.771" v="16264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01:55.771" v="16261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01:55.781" v="16268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01:55.781" v="16269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01:55.781" v="16270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01:55.781" v="16271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01:55.781" v="16272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01:55.781" v="16274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01:55.784" v="16276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01:55.783" v="16275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01:55.785" v="16277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01:55.785" v="16279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01:55.785" v="16278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01:55.786" v="16280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01:55.786" v="16282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01:55.797" v="16300"/>
          <ac:spMkLst>
            <pc:docMk/>
            <pc:sldMk cId="2057745716" sldId="266"/>
            <ac:spMk id="31" creationId="{541335D7-D042-7B18-CE6A-46B34332637A}"/>
          </ac:spMkLst>
        </pc:spChg>
        <pc:spChg chg="add mod replST">
          <ac:chgData name="Joelle Brehm" userId="a518f54c-6985-42c0-8041-2bb16a414839" providerId="ADAL" clId="{7999C4A2-9ACD-4CB2-9DCD-52B9CDE5124D}" dt="2023-05-07T18:01:55.800" v="16312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7999C4A2-9ACD-4CB2-9DCD-52B9CDE5124D}" dt="2023-05-07T18:01:55.798" v="16302"/>
          <ac:spMkLst>
            <pc:docMk/>
            <pc:sldMk cId="2057745716" sldId="266"/>
            <ac:spMk id="33" creationId="{1F14E375-AE0C-B86C-5AA8-BDDE7B453E82}"/>
          </ac:spMkLst>
        </pc:spChg>
        <pc:spChg chg="mod">
          <ac:chgData name="Joelle Brehm" userId="a518f54c-6985-42c0-8041-2bb16a414839" providerId="ADAL" clId="{7999C4A2-9ACD-4CB2-9DCD-52B9CDE5124D}" dt="2023-05-07T18:01:55.797" v="16299"/>
          <ac:spMkLst>
            <pc:docMk/>
            <pc:sldMk cId="2057745716" sldId="266"/>
            <ac:spMk id="34" creationId="{7686A18E-A22D-EB32-E9A2-F74C94C23822}"/>
          </ac:spMkLst>
        </pc:spChg>
        <pc:spChg chg="mod">
          <ac:chgData name="Joelle Brehm" userId="a518f54c-6985-42c0-8041-2bb16a414839" providerId="ADAL" clId="{7999C4A2-9ACD-4CB2-9DCD-52B9CDE5124D}" dt="2023-05-07T18:01:55.798" v="16301"/>
          <ac:spMkLst>
            <pc:docMk/>
            <pc:sldMk cId="2057745716" sldId="266"/>
            <ac:spMk id="35" creationId="{3AD29896-D042-6C80-A93D-02668CD2E53C}"/>
          </ac:spMkLst>
        </pc:spChg>
        <pc:spChg chg="mod">
          <ac:chgData name="Joelle Brehm" userId="a518f54c-6985-42c0-8041-2bb16a414839" providerId="ADAL" clId="{7999C4A2-9ACD-4CB2-9DCD-52B9CDE5124D}" dt="2023-05-07T18:01:55.798" v="16303"/>
          <ac:spMkLst>
            <pc:docMk/>
            <pc:sldMk cId="2057745716" sldId="266"/>
            <ac:spMk id="36" creationId="{5C57A8EA-9071-29F4-B24C-235140A0F3D6}"/>
          </ac:spMkLst>
        </pc:spChg>
        <pc:spChg chg="mod">
          <ac:chgData name="Joelle Brehm" userId="a518f54c-6985-42c0-8041-2bb16a414839" providerId="ADAL" clId="{7999C4A2-9ACD-4CB2-9DCD-52B9CDE5124D}" dt="2023-05-07T18:01:55.786" v="16290"/>
          <ac:spMkLst>
            <pc:docMk/>
            <pc:sldMk cId="2057745716" sldId="266"/>
            <ac:spMk id="37" creationId="{597526D1-0B00-BB9B-B8E0-3CF7DA66C023}"/>
          </ac:spMkLst>
        </pc:spChg>
        <pc:spChg chg="mod">
          <ac:chgData name="Joelle Brehm" userId="a518f54c-6985-42c0-8041-2bb16a414839" providerId="ADAL" clId="{7999C4A2-9ACD-4CB2-9DCD-52B9CDE5124D}" dt="2023-05-07T18:01:55.790" v="16291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7999C4A2-9ACD-4CB2-9DCD-52B9CDE5124D}" dt="2023-05-07T18:01:55.799" v="16306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7999C4A2-9ACD-4CB2-9DCD-52B9CDE5124D}" dt="2023-05-07T18:01:55.800" v="16311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7999C4A2-9ACD-4CB2-9DCD-52B9CDE5124D}" dt="2023-05-07T18:01:55.799" v="16304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7999C4A2-9ACD-4CB2-9DCD-52B9CDE5124D}" dt="2023-05-07T18:01:55.800" v="16308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7999C4A2-9ACD-4CB2-9DCD-52B9CDE5124D}" dt="2023-05-07T18:01:55.800" v="16310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7999C4A2-9ACD-4CB2-9DCD-52B9CDE5124D}" dt="2023-05-07T18:01:55.799" v="16305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7999C4A2-9ACD-4CB2-9DCD-52B9CDE5124D}" dt="2023-05-07T18:01:55.792" v="16293"/>
          <ac:spMkLst>
            <pc:docMk/>
            <pc:sldMk cId="2057745716" sldId="266"/>
            <ac:spMk id="45" creationId="{C945C7C2-70DE-49F7-A575-8212577369C7}"/>
          </ac:spMkLst>
        </pc:spChg>
        <pc:spChg chg="add del mod modVis">
          <ac:chgData name="Joelle Brehm" userId="a518f54c-6985-42c0-8041-2bb16a414839" providerId="ADAL" clId="{7999C4A2-9ACD-4CB2-9DCD-52B9CDE5124D}" dt="2023-05-07T18:01:41.670" v="15601"/>
          <ac:spMkLst>
            <pc:docMk/>
            <pc:sldMk cId="2057745716" sldId="266"/>
            <ac:spMk id="46" creationId="{4BFF2554-2A75-8096-94F9-E550AA62453D}"/>
          </ac:spMkLst>
        </pc:spChg>
        <pc:spChg chg="mod">
          <ac:chgData name="Joelle Brehm" userId="a518f54c-6985-42c0-8041-2bb16a414839" providerId="ADAL" clId="{7999C4A2-9ACD-4CB2-9DCD-52B9CDE5124D}" dt="2023-05-07T18:01:55.800" v="16309"/>
          <ac:spMkLst>
            <pc:docMk/>
            <pc:sldMk cId="2057745716" sldId="266"/>
            <ac:spMk id="47" creationId="{1C4FAF95-E411-B780-08E1-4E3B3EA052A3}"/>
          </ac:spMkLst>
        </pc:spChg>
        <pc:spChg chg="add mod replST">
          <ac:chgData name="Joelle Brehm" userId="a518f54c-6985-42c0-8041-2bb16a414839" providerId="ADAL" clId="{7999C4A2-9ACD-4CB2-9DCD-52B9CDE5124D}" dt="2023-05-07T18:01:55.800" v="16313"/>
          <ac:spMkLst>
            <pc:docMk/>
            <pc:sldMk cId="2057745716" sldId="266"/>
            <ac:spMk id="49" creationId="{CEED7133-C9B9-327C-BE9D-7D65501901CF}"/>
          </ac:spMkLst>
        </pc:spChg>
        <pc:spChg chg="add del mod modVis">
          <ac:chgData name="Joelle Brehm" userId="a518f54c-6985-42c0-8041-2bb16a414839" providerId="ADAL" clId="{7999C4A2-9ACD-4CB2-9DCD-52B9CDE5124D}" dt="2023-05-07T18:01:45.840" v="15833"/>
          <ac:spMkLst>
            <pc:docMk/>
            <pc:sldMk cId="2057745716" sldId="266"/>
            <ac:spMk id="50" creationId="{B3E6ABD6-16F1-E0A9-06A1-81B5DB0E9F15}"/>
          </ac:spMkLst>
        </pc:spChg>
        <pc:spChg chg="add del mod modVis">
          <ac:chgData name="Joelle Brehm" userId="a518f54c-6985-42c0-8041-2bb16a414839" providerId="ADAL" clId="{7999C4A2-9ACD-4CB2-9DCD-52B9CDE5124D}" dt="2023-05-07T18:01:48.079" v="16082"/>
          <ac:spMkLst>
            <pc:docMk/>
            <pc:sldMk cId="2057745716" sldId="266"/>
            <ac:spMk id="52" creationId="{E0235E7E-02C4-5072-0FD2-A6B06269C7E8}"/>
          </ac:spMkLst>
        </pc:spChg>
        <pc:spChg chg="add del mod modVis">
          <ac:chgData name="Joelle Brehm" userId="a518f54c-6985-42c0-8041-2bb16a414839" providerId="ADAL" clId="{7999C4A2-9ACD-4CB2-9DCD-52B9CDE5124D}" dt="2023-05-07T18:01:55.812" v="16342"/>
          <ac:spMkLst>
            <pc:docMk/>
            <pc:sldMk cId="2057745716" sldId="266"/>
            <ac:spMk id="54" creationId="{B4580376-CF68-D94D-2F63-1E2918D57528}"/>
          </ac:spMkLst>
        </pc:spChg>
        <pc:spChg chg="mod">
          <ac:chgData name="Joelle Brehm" userId="a518f54c-6985-42c0-8041-2bb16a414839" providerId="ADAL" clId="{7999C4A2-9ACD-4CB2-9DCD-52B9CDE5124D}" dt="2023-05-07T18:01:55.796" v="16298"/>
          <ac:spMkLst>
            <pc:docMk/>
            <pc:sldMk cId="2057745716" sldId="266"/>
            <ac:spMk id="76" creationId="{039768EB-A261-18F6-0AF2-126D0A594518}"/>
          </ac:spMkLst>
        </pc:spChg>
        <pc:spChg chg="mod ord">
          <ac:chgData name="Joelle Brehm" userId="a518f54c-6985-42c0-8041-2bb16a414839" providerId="ADAL" clId="{7999C4A2-9ACD-4CB2-9DCD-52B9CDE5124D}" dt="2023-05-07T18:01:55.800" v="16315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01:55.800" v="16317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01:55.793" v="16294"/>
          <ac:spMkLst>
            <pc:docMk/>
            <pc:sldMk cId="2057745716" sldId="266"/>
            <ac:spMk id="80" creationId="{EDCE0ED1-A9FD-E4A6-2595-6EF05BE1306D}"/>
          </ac:spMkLst>
        </pc:spChg>
        <pc:spChg chg="mod">
          <ac:chgData name="Joelle Brehm" userId="a518f54c-6985-42c0-8041-2bb16a414839" providerId="ADAL" clId="{7999C4A2-9ACD-4CB2-9DCD-52B9CDE5124D}" dt="2023-05-07T18:01:55.796" v="16297"/>
          <ac:spMkLst>
            <pc:docMk/>
            <pc:sldMk cId="2057745716" sldId="266"/>
            <ac:spMk id="81" creationId="{2F6CBD17-E9F7-7AAD-1088-F3A86BFA66B9}"/>
          </ac:spMkLst>
        </pc:spChg>
        <pc:spChg chg="del mod">
          <ac:chgData name="Joelle Brehm" userId="a518f54c-6985-42c0-8041-2bb16a414839" providerId="ADAL" clId="{7999C4A2-9ACD-4CB2-9DCD-52B9CDE5124D}" dt="2023-05-07T18:01:47.806" v="15837"/>
          <ac:spMkLst>
            <pc:docMk/>
            <pc:sldMk cId="2057745716" sldId="266"/>
            <ac:spMk id="82" creationId="{697EFDB3-820E-81A1-3B19-747E00092149}"/>
          </ac:spMkLst>
        </pc:spChg>
        <pc:spChg chg="del mod">
          <ac:chgData name="Joelle Brehm" userId="a518f54c-6985-42c0-8041-2bb16a414839" providerId="ADAL" clId="{7999C4A2-9ACD-4CB2-9DCD-52B9CDE5124D}" dt="2023-05-07T18:01:47.806" v="15836"/>
          <ac:spMkLst>
            <pc:docMk/>
            <pc:sldMk cId="2057745716" sldId="266"/>
            <ac:spMk id="83" creationId="{C91A6655-4A42-4759-53BF-D33E670B739C}"/>
          </ac:spMkLst>
        </pc:spChg>
        <pc:spChg chg="mod">
          <ac:chgData name="Joelle Brehm" userId="a518f54c-6985-42c0-8041-2bb16a414839" providerId="ADAL" clId="{7999C4A2-9ACD-4CB2-9DCD-52B9CDE5124D}" dt="2023-05-07T18:01:55.796" v="16296"/>
          <ac:spMkLst>
            <pc:docMk/>
            <pc:sldMk cId="2057745716" sldId="266"/>
            <ac:spMk id="85" creationId="{B0302A9E-2AE8-8509-DD05-E53D8136B94C}"/>
          </ac:spMkLst>
        </pc:spChg>
        <pc:spChg chg="mod">
          <ac:chgData name="Joelle Brehm" userId="a518f54c-6985-42c0-8041-2bb16a414839" providerId="ADAL" clId="{7999C4A2-9ACD-4CB2-9DCD-52B9CDE5124D}" dt="2023-05-07T18:01:55.791" v="16292"/>
          <ac:spMkLst>
            <pc:docMk/>
            <pc:sldMk cId="2057745716" sldId="266"/>
            <ac:spMk id="89" creationId="{446A42F1-8592-3C11-57C5-D23E4FC224CD}"/>
          </ac:spMkLst>
        </pc:spChg>
        <pc:spChg chg="mod">
          <ac:chgData name="Joelle Brehm" userId="a518f54c-6985-42c0-8041-2bb16a414839" providerId="ADAL" clId="{7999C4A2-9ACD-4CB2-9DCD-52B9CDE5124D}" dt="2023-05-07T18:01:55.793" v="16295"/>
          <ac:spMkLst>
            <pc:docMk/>
            <pc:sldMk cId="2057745716" sldId="266"/>
            <ac:spMk id="97" creationId="{9F50D670-332F-FEC4-F5FA-1274C5B2CB6D}"/>
          </ac:spMkLst>
        </pc:spChg>
        <pc:spChg chg="mod">
          <ac:chgData name="Joelle Brehm" userId="a518f54c-6985-42c0-8041-2bb16a414839" providerId="ADAL" clId="{7999C4A2-9ACD-4CB2-9DCD-52B9CDE5124D}" dt="2023-05-07T18:01:55.786" v="16289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01:55.800" v="16319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01:55.805" v="16321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01:55.805" v="16323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01:55.805" v="16325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01:55.786" v="16288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1:55.786" v="16286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1:55.786" v="16285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1:55.786" v="16287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1:55.805" v="16328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1:55.805" v="16329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1:55.805" v="16330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1:55.805" v="16332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01:55.805" v="16331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01:55.882" v="16344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1:55.745" v="16246"/>
          <ac:graphicFrameMkLst>
            <pc:docMk/>
            <pc:sldMk cId="2057745716" sldId="266"/>
            <ac:graphicFrameMk id="8" creationId="{5A266013-B730-E490-76BF-576F0C05FF9E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1:55.771" v="16260"/>
          <ac:graphicFrameMkLst>
            <pc:docMk/>
            <pc:sldMk cId="2057745716" sldId="266"/>
            <ac:graphicFrameMk id="9" creationId="{04D5EC77-5DD1-5002-93D3-48CB2E7E158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1:45.734" v="15735"/>
          <ac:graphicFrameMkLst>
            <pc:docMk/>
            <pc:sldMk cId="2057745716" sldId="266"/>
            <ac:graphicFrameMk id="48" creationId="{B6919915-95BA-2B05-80F3-76EC4E7F6A9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1:47.990" v="15986"/>
          <ac:graphicFrameMkLst>
            <pc:docMk/>
            <pc:sldMk cId="2057745716" sldId="266"/>
            <ac:graphicFrameMk id="51" creationId="{CBEE1C4C-6DA1-AFA6-4796-2F341F19C916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1:55.786" v="16284"/>
          <ac:graphicFrameMkLst>
            <pc:docMk/>
            <pc:sldMk cId="2057745716" sldId="266"/>
            <ac:graphicFrameMk id="53" creationId="{2A48335C-65D4-D06C-B3FD-A12590FB98E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1:55.805" v="16327"/>
          <ac:graphicFrameMkLst>
            <pc:docMk/>
            <pc:sldMk cId="2057745716" sldId="266"/>
            <ac:graphicFrameMk id="55" creationId="{8EA832FA-8BA9-C710-614C-125DABFB75C8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1:41.580" v="15504"/>
          <ac:graphicFrameMkLst>
            <pc:docMk/>
            <pc:sldMk cId="2057745716" sldId="266"/>
            <ac:graphicFrameMk id="87" creationId="{A4BDF78A-4511-43EB-F2EA-2359CF98A344}"/>
          </ac:graphicFrameMkLst>
        </pc:graphicFrameChg>
        <pc:graphicFrameChg chg="del">
          <ac:chgData name="Joelle Brehm" userId="a518f54c-6985-42c0-8041-2bb16a414839" providerId="ADAL" clId="{7999C4A2-9ACD-4CB2-9DCD-52B9CDE5124D}" dt="2023-05-07T17:54:19.847" v="14369"/>
          <ac:graphicFrameMkLst>
            <pc:docMk/>
            <pc:sldMk cId="2057745716" sldId="266"/>
            <ac:graphicFrameMk id="92" creationId="{F2E5C474-FB3D-2E51-7C87-A86144F4E4BF}"/>
          </ac:graphicFrameMkLst>
        </pc:graphicFrameChg>
        <pc:picChg chg="add mod ord">
          <ac:chgData name="Joelle Brehm" userId="a518f54c-6985-42c0-8041-2bb16a414839" providerId="ADAL" clId="{7999C4A2-9ACD-4CB2-9DCD-52B9CDE5124D}" dt="2023-05-07T18:01:55.771" v="16254"/>
          <ac:picMkLst>
            <pc:docMk/>
            <pc:sldMk cId="2057745716" sldId="266"/>
            <ac:picMk id="3" creationId="{75630819-803C-C6F7-F0D9-255526AD8CDD}"/>
          </ac:picMkLst>
        </pc:picChg>
        <pc:picChg chg="add del mod ord">
          <ac:chgData name="Joelle Brehm" userId="a518f54c-6985-42c0-8041-2bb16a414839" providerId="ADAL" clId="{7999C4A2-9ACD-4CB2-9DCD-52B9CDE5124D}" dt="2023-05-07T17:54:55.385" v="14946"/>
          <ac:picMkLst>
            <pc:docMk/>
            <pc:sldMk cId="2057745716" sldId="266"/>
            <ac:picMk id="32" creationId="{2560C681-1F91-D85F-1DEF-3AE291C87CFC}"/>
          </ac:picMkLst>
        </pc:picChg>
        <pc:picChg chg="add del mod ord">
          <ac:chgData name="Joelle Brehm" userId="a518f54c-6985-42c0-8041-2bb16a414839" providerId="ADAL" clId="{7999C4A2-9ACD-4CB2-9DCD-52B9CDE5124D}" dt="2023-05-07T18:01:29.578" v="15236" actId="478"/>
          <ac:picMkLst>
            <pc:docMk/>
            <pc:sldMk cId="2057745716" sldId="266"/>
            <ac:picMk id="88" creationId="{D05522AE-9CAC-E422-6431-E8D447E5485B}"/>
          </ac:picMkLst>
        </pc:picChg>
        <pc:picChg chg="mod ord">
          <ac:chgData name="Joelle Brehm" userId="a518f54c-6985-42c0-8041-2bb16a414839" providerId="ADAL" clId="{7999C4A2-9ACD-4CB2-9DCD-52B9CDE5124D}" dt="2023-05-07T18:01:55.810" v="16336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7999C4A2-9ACD-4CB2-9DCD-52B9CDE5124D}" dt="2023-05-07T18:01:55.809" v="16334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01:55.771" v="16258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04:06.878" v="20418"/>
        <pc:sldMkLst>
          <pc:docMk/>
          <pc:sldMk cId="3795966898" sldId="267"/>
        </pc:sldMkLst>
        <pc:spChg chg="mod ord">
          <ac:chgData name="Joelle Brehm" userId="a518f54c-6985-42c0-8041-2bb16a414839" providerId="ADAL" clId="{7999C4A2-9ACD-4CB2-9DCD-52B9CDE5124D}" dt="2023-05-07T18:04:06.851" v="20412"/>
          <ac:spMkLst>
            <pc:docMk/>
            <pc:sldMk cId="3795966898" sldId="267"/>
            <ac:spMk id="2" creationId="{8ADF3DAD-89AE-4B6D-9F50-64987A2AE5AE}"/>
          </ac:spMkLst>
        </pc:spChg>
        <pc:spChg chg="add del mod">
          <ac:chgData name="Joelle Brehm" userId="a518f54c-6985-42c0-8041-2bb16a414839" providerId="ADAL" clId="{7999C4A2-9ACD-4CB2-9DCD-52B9CDE5124D}" dt="2023-05-07T18:03:01.963" v="18569" actId="478"/>
          <ac:spMkLst>
            <pc:docMk/>
            <pc:sldMk cId="3795966898" sldId="267"/>
            <ac:spMk id="3" creationId="{F5788F9C-F10B-F674-E40C-3814F1A88E4F}"/>
          </ac:spMkLst>
        </pc:spChg>
        <pc:spChg chg="add del mod modVis">
          <ac:chgData name="Joelle Brehm" userId="a518f54c-6985-42c0-8041-2bb16a414839" providerId="ADAL" clId="{7999C4A2-9ACD-4CB2-9DCD-52B9CDE5124D}" dt="2023-05-07T18:03:12.327" v="18829"/>
          <ac:spMkLst>
            <pc:docMk/>
            <pc:sldMk cId="3795966898" sldId="267"/>
            <ac:spMk id="5" creationId="{671FEA92-A77A-FAC8-3094-91CC21FD5B1B}"/>
          </ac:spMkLst>
        </pc:spChg>
        <pc:spChg chg="mod ord">
          <ac:chgData name="Joelle Brehm" userId="a518f54c-6985-42c0-8041-2bb16a414839" providerId="ADAL" clId="{7999C4A2-9ACD-4CB2-9DCD-52B9CDE5124D}" dt="2023-05-07T18:04:06.819" v="20347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04:06.819" v="20359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04:06.819" v="20356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04:06.819" v="20354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04:06.819" v="20352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04:06.819" v="20355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04:06.819" v="20357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04:06.819" v="20353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04:06.819" v="20360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04:06.824" v="20361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04:06.825" v="20362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04:06.819" v="20358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04:06.825" v="20363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04:06.825" v="20365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04:06.825" v="20367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04:06.825" v="20366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04:06.825" v="20368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04:06.828" v="20371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04:06.825" v="20370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04:06.825" v="20369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04:06.828" v="20373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04:06.828" v="20382"/>
          <ac:spMkLst>
            <pc:docMk/>
            <pc:sldMk cId="3795966898" sldId="267"/>
            <ac:spMk id="31" creationId="{1FD446DE-B952-ACD9-BEA6-D4E54F5804A8}"/>
          </ac:spMkLst>
        </pc:spChg>
        <pc:spChg chg="mod">
          <ac:chgData name="Joelle Brehm" userId="a518f54c-6985-42c0-8041-2bb16a414839" providerId="ADAL" clId="{7999C4A2-9ACD-4CB2-9DCD-52B9CDE5124D}" dt="2023-05-07T18:04:06.839" v="20383"/>
          <ac:spMkLst>
            <pc:docMk/>
            <pc:sldMk cId="3795966898" sldId="267"/>
            <ac:spMk id="33" creationId="{0AF17994-2A88-B5A9-1960-3D49D7A5E286}"/>
          </ac:spMkLst>
        </pc:spChg>
        <pc:spChg chg="mod">
          <ac:chgData name="Joelle Brehm" userId="a518f54c-6985-42c0-8041-2bb16a414839" providerId="ADAL" clId="{7999C4A2-9ACD-4CB2-9DCD-52B9CDE5124D}" dt="2023-05-07T18:04:06.828" v="20377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7999C4A2-9ACD-4CB2-9DCD-52B9CDE5124D}" dt="2023-05-07T18:04:06.840" v="20386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7999C4A2-9ACD-4CB2-9DCD-52B9CDE5124D}" dt="2023-05-07T18:04:06.841" v="20387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7999C4A2-9ACD-4CB2-9DCD-52B9CDE5124D}" dt="2023-05-07T18:04:06.828" v="20376"/>
          <ac:spMkLst>
            <pc:docMk/>
            <pc:sldMk cId="3795966898" sldId="267"/>
            <ac:spMk id="37" creationId="{2C18F645-6C7C-E805-959B-6BCC1E699323}"/>
          </ac:spMkLst>
        </pc:spChg>
        <pc:spChg chg="mod">
          <ac:chgData name="Joelle Brehm" userId="a518f54c-6985-42c0-8041-2bb16a414839" providerId="ADAL" clId="{7999C4A2-9ACD-4CB2-9DCD-52B9CDE5124D}" dt="2023-05-07T18:04:06.840" v="20385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7999C4A2-9ACD-4CB2-9DCD-52B9CDE5124D}" dt="2023-05-07T18:04:06.828" v="20379"/>
          <ac:spMkLst>
            <pc:docMk/>
            <pc:sldMk cId="3795966898" sldId="267"/>
            <ac:spMk id="39" creationId="{83832067-25B3-AFCE-E78B-F25DBF661146}"/>
          </ac:spMkLst>
        </pc:spChg>
        <pc:spChg chg="add del mod modVis">
          <ac:chgData name="Joelle Brehm" userId="a518f54c-6985-42c0-8041-2bb16a414839" providerId="ADAL" clId="{7999C4A2-9ACD-4CB2-9DCD-52B9CDE5124D}" dt="2023-05-07T18:03:48.891" v="19194"/>
          <ac:spMkLst>
            <pc:docMk/>
            <pc:sldMk cId="3795966898" sldId="267"/>
            <ac:spMk id="40" creationId="{44FE991C-5446-FBE9-6682-BB8844822008}"/>
          </ac:spMkLst>
        </pc:spChg>
        <pc:spChg chg="add mod replST">
          <ac:chgData name="Joelle Brehm" userId="a518f54c-6985-42c0-8041-2bb16a414839" providerId="ADAL" clId="{7999C4A2-9ACD-4CB2-9DCD-52B9CDE5124D}" dt="2023-05-07T18:04:06.839" v="20384"/>
          <ac:spMkLst>
            <pc:docMk/>
            <pc:sldMk cId="3795966898" sldId="267"/>
            <ac:spMk id="42" creationId="{00A8D05A-611B-5627-879F-426A9C84E224}"/>
          </ac:spMkLst>
        </pc:spChg>
        <pc:spChg chg="add del mod modVis">
          <ac:chgData name="Joelle Brehm" userId="a518f54c-6985-42c0-8041-2bb16a414839" providerId="ADAL" clId="{7999C4A2-9ACD-4CB2-9DCD-52B9CDE5124D}" dt="2023-05-07T18:03:57.376" v="19858"/>
          <ac:spMkLst>
            <pc:docMk/>
            <pc:sldMk cId="3795966898" sldId="267"/>
            <ac:spMk id="43" creationId="{DBB56DB6-8A62-D91E-09D6-A8EFE331B850}"/>
          </ac:spMkLst>
        </pc:spChg>
        <pc:spChg chg="add del mod ord replST">
          <ac:chgData name="Joelle Brehm" userId="a518f54c-6985-42c0-8041-2bb16a414839" providerId="ADAL" clId="{7999C4A2-9ACD-4CB2-9DCD-52B9CDE5124D}" dt="2023-05-07T18:04:06.744" v="20311"/>
          <ac:spMkLst>
            <pc:docMk/>
            <pc:sldMk cId="3795966898" sldId="267"/>
            <ac:spMk id="44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04:01.425" v="20013"/>
          <ac:spMkLst>
            <pc:docMk/>
            <pc:sldMk cId="3795966898" sldId="267"/>
            <ac:spMk id="46" creationId="{DAD58DAC-AC25-E5BD-A035-88CA1D6D408B}"/>
          </ac:spMkLst>
        </pc:spChg>
        <pc:spChg chg="mod">
          <ac:chgData name="Joelle Brehm" userId="a518f54c-6985-42c0-8041-2bb16a414839" providerId="ADAL" clId="{7999C4A2-9ACD-4CB2-9DCD-52B9CDE5124D}" dt="2023-05-07T18:04:06.847" v="20404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7999C4A2-9ACD-4CB2-9DCD-52B9CDE5124D}" dt="2023-05-07T18:04:03.963" v="20219"/>
          <ac:spMkLst>
            <pc:docMk/>
            <pc:sldMk cId="3795966898" sldId="267"/>
            <ac:spMk id="49" creationId="{93F7CD02-FD94-38A8-718D-A1D3716D5382}"/>
          </ac:spMkLst>
        </pc:spChg>
        <pc:spChg chg="add del mod modVis">
          <ac:chgData name="Joelle Brehm" userId="a518f54c-6985-42c0-8041-2bb16a414839" providerId="ADAL" clId="{7999C4A2-9ACD-4CB2-9DCD-52B9CDE5124D}" dt="2023-05-07T18:04:06.853" v="20416"/>
          <ac:spMkLst>
            <pc:docMk/>
            <pc:sldMk cId="3795966898" sldId="267"/>
            <ac:spMk id="51" creationId="{F78480DF-A8CA-84C1-0CB6-AA46589AC45E}"/>
          </ac:spMkLst>
        </pc:spChg>
        <pc:spChg chg="del mod">
          <ac:chgData name="Joelle Brehm" userId="a518f54c-6985-42c0-8041-2bb16a414839" providerId="ADAL" clId="{7999C4A2-9ACD-4CB2-9DCD-52B9CDE5124D}" dt="2023-05-07T18:04:06.573" v="20222"/>
          <ac:spMkLst>
            <pc:docMk/>
            <pc:sldMk cId="3795966898" sldId="267"/>
            <ac:spMk id="61" creationId="{73C0489E-68BC-AA1D-31B8-1536B15FAA5F}"/>
          </ac:spMkLst>
        </pc:spChg>
        <pc:spChg chg="mod">
          <ac:chgData name="Joelle Brehm" userId="a518f54c-6985-42c0-8041-2bb16a414839" providerId="ADAL" clId="{7999C4A2-9ACD-4CB2-9DCD-52B9CDE5124D}" dt="2023-05-07T18:04:06.828" v="20378"/>
          <ac:spMkLst>
            <pc:docMk/>
            <pc:sldMk cId="3795966898" sldId="267"/>
            <ac:spMk id="62" creationId="{1C80596B-846E-DE2B-FE80-8D8C582D52DE}"/>
          </ac:spMkLst>
        </pc:spChg>
        <pc:spChg chg="mod">
          <ac:chgData name="Joelle Brehm" userId="a518f54c-6985-42c0-8041-2bb16a414839" providerId="ADAL" clId="{7999C4A2-9ACD-4CB2-9DCD-52B9CDE5124D}" dt="2023-05-07T18:04:06.828" v="20381"/>
          <ac:spMkLst>
            <pc:docMk/>
            <pc:sldMk cId="3795966898" sldId="267"/>
            <ac:spMk id="63" creationId="{053D79FA-9959-DC9B-AD5D-DAC4EDF9A224}"/>
          </ac:spMkLst>
        </pc:spChg>
        <pc:spChg chg="mod">
          <ac:chgData name="Joelle Brehm" userId="a518f54c-6985-42c0-8041-2bb16a414839" providerId="ADAL" clId="{7999C4A2-9ACD-4CB2-9DCD-52B9CDE5124D}" dt="2023-05-07T18:04:06.828" v="20380"/>
          <ac:spMkLst>
            <pc:docMk/>
            <pc:sldMk cId="3795966898" sldId="267"/>
            <ac:spMk id="65" creationId="{50F9D6DC-E276-FE03-B9BC-7046DB37B88B}"/>
          </ac:spMkLst>
        </pc:spChg>
        <pc:spChg chg="mod ord">
          <ac:chgData name="Joelle Brehm" userId="a518f54c-6985-42c0-8041-2bb16a414839" providerId="ADAL" clId="{7999C4A2-9ACD-4CB2-9DCD-52B9CDE5124D}" dt="2023-05-07T18:04:06.841" v="20389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04:06.841" v="20391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04:06.841" v="20393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04:06.850" v="20410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7999C4A2-9ACD-4CB2-9DCD-52B9CDE5124D}" dt="2023-05-07T18:04:06.844" v="20395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04:06.844" v="20397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04:06.845" v="20399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04:06.847" v="20403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4:06.845" v="20402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4:06.848" v="20405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04:06.849" v="20406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04:06.878" v="20418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03:12.260" v="18746"/>
          <ac:graphicFrameMkLst>
            <pc:docMk/>
            <pc:sldMk cId="3795966898" sldId="267"/>
            <ac:graphicFrameMk id="8" creationId="{E307D511-36D2-8CC3-B92A-421DCF825DD9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4:06.819" v="20351"/>
          <ac:graphicFrameMkLst>
            <pc:docMk/>
            <pc:sldMk cId="3795966898" sldId="267"/>
            <ac:graphicFrameMk id="9" creationId="{F21F9635-34A8-156E-ABCA-B882F771E083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4:06.845" v="20401"/>
          <ac:graphicFrameMkLst>
            <pc:docMk/>
            <pc:sldMk cId="3795966898" sldId="267"/>
            <ac:graphicFrameMk id="41" creationId="{2EA8EBF6-2D93-6C1D-83A9-460DBFF5D29B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4:01.345" v="19931"/>
          <ac:graphicFrameMkLst>
            <pc:docMk/>
            <pc:sldMk cId="3795966898" sldId="267"/>
            <ac:graphicFrameMk id="45" creationId="{29C1DF6B-8CC6-F6B3-7053-679DCDF7EE4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4:03.841" v="20117"/>
          <ac:graphicFrameMkLst>
            <pc:docMk/>
            <pc:sldMk cId="3795966898" sldId="267"/>
            <ac:graphicFrameMk id="47" creationId="{05722D38-503A-52B3-EFB7-65AB8E483531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4:06.777" v="20337"/>
          <ac:graphicFrameMkLst>
            <pc:docMk/>
            <pc:sldMk cId="3795966898" sldId="267"/>
            <ac:graphicFrameMk id="50" creationId="{A01F889A-9518-1586-44FE-608B64476E4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4:06.828" v="20375"/>
          <ac:graphicFrameMkLst>
            <pc:docMk/>
            <pc:sldMk cId="3795966898" sldId="267"/>
            <ac:graphicFrameMk id="52" creationId="{D14990ED-D19D-2323-48DF-7D0E05C51980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3:57.284" v="19770"/>
          <ac:graphicFrameMkLst>
            <pc:docMk/>
            <pc:sldMk cId="3795966898" sldId="267"/>
            <ac:graphicFrameMk id="59" creationId="{BA80EC7E-1981-F71D-C37C-878A63FEA65E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3:48.784" v="19115"/>
          <ac:graphicFrameMkLst>
            <pc:docMk/>
            <pc:sldMk cId="3795966898" sldId="267"/>
            <ac:graphicFrameMk id="66" creationId="{37897BE9-9616-527D-3CD8-455B49E171AD}"/>
          </ac:graphicFrameMkLst>
        </pc:graphicFrameChg>
        <pc:picChg chg="add mod ord">
          <ac:chgData name="Joelle Brehm" userId="a518f54c-6985-42c0-8041-2bb16a414839" providerId="ADAL" clId="{7999C4A2-9ACD-4CB2-9DCD-52B9CDE5124D}" dt="2023-05-07T18:04:06.819" v="20345"/>
          <ac:picMkLst>
            <pc:docMk/>
            <pc:sldMk cId="3795966898" sldId="267"/>
            <ac:picMk id="10" creationId="{0BA2803E-A39F-7667-A4DA-CB558610DF72}"/>
          </ac:picMkLst>
        </pc:picChg>
        <pc:picChg chg="del mod ord">
          <ac:chgData name="Joelle Brehm" userId="a518f54c-6985-42c0-8041-2bb16a414839" providerId="ADAL" clId="{7999C4A2-9ACD-4CB2-9DCD-52B9CDE5124D}" dt="2023-05-07T18:03:35.618" v="18912" actId="478"/>
          <ac:picMkLst>
            <pc:docMk/>
            <pc:sldMk cId="3795966898" sldId="267"/>
            <ac:picMk id="32" creationId="{9E555A42-F2B6-42E9-30CB-ACD986166E86}"/>
          </ac:picMkLst>
        </pc:picChg>
        <pc:picChg chg="mod ord">
          <ac:chgData name="Joelle Brehm" userId="a518f54c-6985-42c0-8041-2bb16a414839" providerId="ADAL" clId="{7999C4A2-9ACD-4CB2-9DCD-52B9CDE5124D}" dt="2023-05-07T18:04:06.849" v="20408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04:06.819" v="20349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05:25.379" v="22444"/>
        <pc:sldMkLst>
          <pc:docMk/>
          <pc:sldMk cId="622078465" sldId="269"/>
        </pc:sldMkLst>
        <pc:spChg chg="add del mod ord">
          <ac:chgData name="Joelle Brehm" userId="a518f54c-6985-42c0-8041-2bb16a414839" providerId="ADAL" clId="{7999C4A2-9ACD-4CB2-9DCD-52B9CDE5124D}" dt="2023-05-07T18:04:51.985" v="20781" actId="478"/>
          <ac:spMkLst>
            <pc:docMk/>
            <pc:sldMk cId="622078465" sldId="269"/>
            <ac:spMk id="2" creationId="{7BE55DC8-2AE4-F157-F7B2-3F8F9215AB8A}"/>
          </ac:spMkLst>
        </pc:spChg>
        <pc:spChg chg="mod ord">
          <ac:chgData name="Joelle Brehm" userId="a518f54c-6985-42c0-8041-2bb16a414839" providerId="ADAL" clId="{7999C4A2-9ACD-4CB2-9DCD-52B9CDE5124D}" dt="2023-05-07T18:05:25.353" v="22440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7999C4A2-9ACD-4CB2-9DCD-52B9CDE5124D}" dt="2023-05-07T18:04:31.149" v="20690"/>
          <ac:spMkLst>
            <pc:docMk/>
            <pc:sldMk cId="622078465" sldId="269"/>
            <ac:spMk id="5" creationId="{BE1AF087-34EE-0893-0F7F-C06CB2057D89}"/>
          </ac:spMkLst>
        </pc:spChg>
        <pc:spChg chg="mod ord">
          <ac:chgData name="Joelle Brehm" userId="a518f54c-6985-42c0-8041-2bb16a414839" providerId="ADAL" clId="{7999C4A2-9ACD-4CB2-9DCD-52B9CDE5124D}" dt="2023-05-07T18:05:25.307" v="22373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05:25.322" v="22388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05:25.320" v="22385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05:25.319" v="22384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05:25.316" v="22379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05:25.316" v="22382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05:25.318" v="22383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05:25.320" v="22386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05:25.315" v="22378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05:25.323" v="22389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05:25.316" v="22381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05:25.321" v="22387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05:25.316" v="22380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05:25.323" v="22391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05:25.325" v="22392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05:25.326" v="22393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05:25.326" v="22394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05:25.328" v="22396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05:25.328" v="22395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05:25.329" v="22397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05:25.330" v="22399"/>
          <ac:spMkLst>
            <pc:docMk/>
            <pc:sldMk cId="622078465" sldId="269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7999C4A2-9ACD-4CB2-9DCD-52B9CDE5124D}" dt="2023-05-07T18:05:25.340" v="22415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7999C4A2-9ACD-4CB2-9DCD-52B9CDE5124D}" dt="2023-05-07T18:05:25.340" v="22414"/>
          <ac:spMkLst>
            <pc:docMk/>
            <pc:sldMk cId="622078465" sldId="269"/>
            <ac:spMk id="34" creationId="{361A309D-582A-9EF2-AAA6-D0365E1E80AF}"/>
          </ac:spMkLst>
        </pc:spChg>
        <pc:spChg chg="add mod ord replST">
          <ac:chgData name="Joelle Brehm" userId="a518f54c-6985-42c0-8041-2bb16a414839" providerId="ADAL" clId="{7999C4A2-9ACD-4CB2-9DCD-52B9CDE5124D}" dt="2023-05-07T18:05:25.339" v="22413"/>
          <ac:spMkLst>
            <pc:docMk/>
            <pc:sldMk cId="622078465" sldId="269"/>
            <ac:spMk id="35" creationId="{FD3BF945-CDD8-17B2-D987-07967E77CB37}"/>
          </ac:spMkLst>
        </pc:spChg>
        <pc:spChg chg="add del mod modVis">
          <ac:chgData name="Joelle Brehm" userId="a518f54c-6985-42c0-8041-2bb16a414839" providerId="ADAL" clId="{7999C4A2-9ACD-4CB2-9DCD-52B9CDE5124D}" dt="2023-05-07T18:04:57.270" v="21335"/>
          <ac:spMkLst>
            <pc:docMk/>
            <pc:sldMk cId="622078465" sldId="269"/>
            <ac:spMk id="36" creationId="{5A9BF13C-D322-C2A7-940E-D2165D631BA6}"/>
          </ac:spMkLst>
        </pc:spChg>
        <pc:spChg chg="add del mod modVis">
          <ac:chgData name="Joelle Brehm" userId="a518f54c-6985-42c0-8041-2bb16a414839" providerId="ADAL" clId="{7999C4A2-9ACD-4CB2-9DCD-52B9CDE5124D}" dt="2023-05-07T18:05:00.883" v="21497"/>
          <ac:spMkLst>
            <pc:docMk/>
            <pc:sldMk cId="622078465" sldId="269"/>
            <ac:spMk id="38" creationId="{239F450E-DAF4-9398-A66A-32EB818DD500}"/>
          </ac:spMkLst>
        </pc:spChg>
        <pc:spChg chg="del mod ord">
          <ac:chgData name="Joelle Brehm" userId="a518f54c-6985-42c0-8041-2bb16a414839" providerId="ADAL" clId="{7999C4A2-9ACD-4CB2-9DCD-52B9CDE5124D}" dt="2023-05-07T18:05:09.237" v="22001"/>
          <ac:spMkLst>
            <pc:docMk/>
            <pc:sldMk cId="622078465" sldId="269"/>
            <ac:spMk id="39" creationId="{469D8615-ACD8-1D7E-36C6-A7743A6D955E}"/>
          </ac:spMkLst>
        </pc:spChg>
        <pc:spChg chg="add del mod modVis">
          <ac:chgData name="Joelle Brehm" userId="a518f54c-6985-42c0-8041-2bb16a414839" providerId="ADAL" clId="{7999C4A2-9ACD-4CB2-9DCD-52B9CDE5124D}" dt="2023-05-07T18:05:03.296" v="21712"/>
          <ac:spMkLst>
            <pc:docMk/>
            <pc:sldMk cId="622078465" sldId="269"/>
            <ac:spMk id="41" creationId="{9673459E-31D9-F75A-396A-7749310D9178}"/>
          </ac:spMkLst>
        </pc:spChg>
        <pc:spChg chg="add del mod modVis">
          <ac:chgData name="Joelle Brehm" userId="a518f54c-6985-42c0-8041-2bb16a414839" providerId="ADAL" clId="{7999C4A2-9ACD-4CB2-9DCD-52B9CDE5124D}" dt="2023-05-07T18:05:06.307" v="21926"/>
          <ac:spMkLst>
            <pc:docMk/>
            <pc:sldMk cId="622078465" sldId="269"/>
            <ac:spMk id="43" creationId="{7C6A87F7-F6AA-5114-862B-70067BCB4089}"/>
          </ac:spMkLst>
        </pc:spChg>
        <pc:spChg chg="add del mod modVis">
          <ac:chgData name="Joelle Brehm" userId="a518f54c-6985-42c0-8041-2bb16a414839" providerId="ADAL" clId="{7999C4A2-9ACD-4CB2-9DCD-52B9CDE5124D}" dt="2023-05-07T18:05:09.292" v="22084"/>
          <ac:spMkLst>
            <pc:docMk/>
            <pc:sldMk cId="622078465" sldId="269"/>
            <ac:spMk id="45" creationId="{8F6E6DDA-445E-B123-321E-B5DA60DF74E5}"/>
          </ac:spMkLst>
        </pc:spChg>
        <pc:spChg chg="add del mod modVis">
          <ac:chgData name="Joelle Brehm" userId="a518f54c-6985-42c0-8041-2bb16a414839" providerId="ADAL" clId="{7999C4A2-9ACD-4CB2-9DCD-52B9CDE5124D}" dt="2023-05-07T18:05:20.059" v="22341"/>
          <ac:spMkLst>
            <pc:docMk/>
            <pc:sldMk cId="622078465" sldId="269"/>
            <ac:spMk id="47" creationId="{8D01FABE-B76A-94A6-3242-1FABF6F3CA19}"/>
          </ac:spMkLst>
        </pc:spChg>
        <pc:spChg chg="mod ord">
          <ac:chgData name="Joelle Brehm" userId="a518f54c-6985-42c0-8041-2bb16a414839" providerId="ADAL" clId="{7999C4A2-9ACD-4CB2-9DCD-52B9CDE5124D}" dt="2023-05-07T18:05:25.352" v="22438"/>
          <ac:spMkLst>
            <pc:docMk/>
            <pc:sldMk cId="622078465" sldId="269"/>
            <ac:spMk id="58" creationId="{DE30E202-4F7F-4F3B-9EFE-7D4BC4CEE791}"/>
          </ac:spMkLst>
        </pc:spChg>
        <pc:spChg chg="del mod">
          <ac:chgData name="Joelle Brehm" userId="a518f54c-6985-42c0-8041-2bb16a414839" providerId="ADAL" clId="{7999C4A2-9ACD-4CB2-9DCD-52B9CDE5124D}" dt="2023-05-07T18:05:06.034" v="21715"/>
          <ac:spMkLst>
            <pc:docMk/>
            <pc:sldMk cId="622078465" sldId="269"/>
            <ac:spMk id="7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2" v="22403"/>
          <ac:spMkLst>
            <pc:docMk/>
            <pc:sldMk cId="622078465" sldId="269"/>
            <ac:spMk id="7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05:25.340" v="22417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05:25.340" v="22419"/>
          <ac:spMkLst>
            <pc:docMk/>
            <pc:sldMk cId="622078465" sldId="269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05:25.332" v="22402"/>
          <ac:spMkLst>
            <pc:docMk/>
            <pc:sldMk cId="622078465" sldId="269"/>
            <ac:spMk id="8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2" v="22406"/>
          <ac:spMkLst>
            <pc:docMk/>
            <pc:sldMk cId="622078465" sldId="269"/>
            <ac:spMk id="8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2" v="22405"/>
          <ac:spMkLst>
            <pc:docMk/>
            <pc:sldMk cId="622078465" sldId="269"/>
            <ac:spMk id="8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2" v="22404"/>
          <ac:spMkLst>
            <pc:docMk/>
            <pc:sldMk cId="622078465" sldId="269"/>
            <ac:spMk id="8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6" v="22409"/>
          <ac:spMkLst>
            <pc:docMk/>
            <pc:sldMk cId="622078465" sldId="269"/>
            <ac:spMk id="8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2" v="22407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2" v="22408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7" v="22410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38" v="22411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05:25.340" v="22421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05:25.340" v="22423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05:25.340" v="22425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05:25.346" v="22427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05:25.347" v="22430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47" v="22431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47" v="22432"/>
          <ac:spMkLst>
            <pc:docMk/>
            <pc:sldMk cId="622078465" sldId="269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5:25.347" v="22433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05:25.350" v="22434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05:25.379" v="22444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04:31.060" v="20605"/>
          <ac:graphicFrameMkLst>
            <pc:docMk/>
            <pc:sldMk cId="622078465" sldId="269"/>
            <ac:graphicFrameMk id="8" creationId="{F8D324ED-C178-00FF-5F22-A243F6FC0EDD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5:25.315" v="22377"/>
          <ac:graphicFrameMkLst>
            <pc:docMk/>
            <pc:sldMk cId="622078465" sldId="269"/>
            <ac:graphicFrameMk id="9" creationId="{8AE04661-13D7-6FF6-4920-F6BFFDA57877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5:19.953" v="22260"/>
          <ac:graphicFrameMkLst>
            <pc:docMk/>
            <pc:sldMk cId="622078465" sldId="269"/>
            <ac:graphicFrameMk id="33" creationId="{91B7C5B6-92AB-3029-55DC-4210C23D897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5:00.792" v="21413"/>
          <ac:graphicFrameMkLst>
            <pc:docMk/>
            <pc:sldMk cId="622078465" sldId="269"/>
            <ac:graphicFrameMk id="37" creationId="{80F6740C-1686-93D0-2BE0-504DF4B15D8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5:03.182" v="21606"/>
          <ac:graphicFrameMkLst>
            <pc:docMk/>
            <pc:sldMk cId="622078465" sldId="269"/>
            <ac:graphicFrameMk id="40" creationId="{5E33685A-94AF-452E-A093-68DDCBB0D9D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5:06.207" v="21843"/>
          <ac:graphicFrameMkLst>
            <pc:docMk/>
            <pc:sldMk cId="622078465" sldId="269"/>
            <ac:graphicFrameMk id="42" creationId="{137E5C88-8505-4320-6CE1-DBCE036C304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5:09.237" v="22003"/>
          <ac:graphicFrameMkLst>
            <pc:docMk/>
            <pc:sldMk cId="622078465" sldId="269"/>
            <ac:graphicFrameMk id="44" creationId="{387EB349-55E2-3D3F-3C5B-970A72A53BF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5:25.331" v="22401"/>
          <ac:graphicFrameMkLst>
            <pc:docMk/>
            <pc:sldMk cId="622078465" sldId="269"/>
            <ac:graphicFrameMk id="46" creationId="{8A22F668-D88F-2298-6F1A-C27ADBEDCF31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5:25.241" v="22363"/>
          <ac:graphicFrameMkLst>
            <pc:docMk/>
            <pc:sldMk cId="622078465" sldId="269"/>
            <ac:graphicFrameMk id="48" creationId="{BC7B017E-82EC-37D5-A1E1-B54DD208E875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5:25.347" v="22429"/>
          <ac:graphicFrameMkLst>
            <pc:docMk/>
            <pc:sldMk cId="622078465" sldId="269"/>
            <ac:graphicFrameMk id="49" creationId="{224DB085-E413-408B-6907-85FFBC5B06C2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4:57.185" v="21243"/>
          <ac:graphicFrameMkLst>
            <pc:docMk/>
            <pc:sldMk cId="622078465" sldId="269"/>
            <ac:graphicFrameMk id="50" creationId="{A1C2DAC7-B1FF-FF94-4BB3-73ACA860077F}"/>
          </ac:graphicFrameMkLst>
        </pc:graphicFrameChg>
        <pc:picChg chg="add mod ord">
          <ac:chgData name="Joelle Brehm" userId="a518f54c-6985-42c0-8041-2bb16a414839" providerId="ADAL" clId="{7999C4A2-9ACD-4CB2-9DCD-52B9CDE5124D}" dt="2023-05-07T18:05:25.307" v="22371"/>
          <ac:picMkLst>
            <pc:docMk/>
            <pc:sldMk cId="622078465" sldId="269"/>
            <ac:picMk id="10" creationId="{30273B19-9157-1B1D-55F1-89A8D82B95EA}"/>
          </ac:picMkLst>
        </pc:picChg>
        <pc:picChg chg="del mod ord">
          <ac:chgData name="Joelle Brehm" userId="a518f54c-6985-42c0-8041-2bb16a414839" providerId="ADAL" clId="{7999C4A2-9ACD-4CB2-9DCD-52B9CDE5124D}" dt="2023-05-07T18:04:46.477" v="20778" actId="478"/>
          <ac:picMkLst>
            <pc:docMk/>
            <pc:sldMk cId="622078465" sldId="269"/>
            <ac:picMk id="31" creationId="{D161615C-C538-866D-5045-58D5BF643150}"/>
          </ac:picMkLst>
        </pc:picChg>
        <pc:picChg chg="mod ord">
          <ac:chgData name="Joelle Brehm" userId="a518f54c-6985-42c0-8041-2bb16a414839" providerId="ADAL" clId="{7999C4A2-9ACD-4CB2-9DCD-52B9CDE5124D}" dt="2023-05-07T18:05:25.350" v="22436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05:25.307" v="22375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5:23.762" v="42244" actId="478"/>
        <pc:sldMkLst>
          <pc:docMk/>
          <pc:sldMk cId="1002023985" sldId="270"/>
        </pc:sldMkLst>
        <pc:spChg chg="mod ord">
          <ac:chgData name="Joelle Brehm" userId="a518f54c-6985-42c0-8041-2bb16a414839" providerId="ADAL" clId="{7999C4A2-9ACD-4CB2-9DCD-52B9CDE5124D}" dt="2023-05-07T18:25:13.822" v="42235"/>
          <ac:spMkLst>
            <pc:docMk/>
            <pc:sldMk cId="1002023985" sldId="270"/>
            <ac:spMk id="2" creationId="{2799481D-3313-41C1-9238-7B9AB0AAF857}"/>
          </ac:spMkLst>
        </pc:spChg>
        <pc:spChg chg="add del mod">
          <ac:chgData name="Joelle Brehm" userId="a518f54c-6985-42c0-8041-2bb16a414839" providerId="ADAL" clId="{7999C4A2-9ACD-4CB2-9DCD-52B9CDE5124D}" dt="2023-05-07T18:24:26.255" v="40562" actId="478"/>
          <ac:spMkLst>
            <pc:docMk/>
            <pc:sldMk cId="1002023985" sldId="270"/>
            <ac:spMk id="3" creationId="{68DC7346-9FF1-7E9A-54B3-579FAA45DF7C}"/>
          </ac:spMkLst>
        </pc:spChg>
        <pc:spChg chg="add del mod modVis">
          <ac:chgData name="Joelle Brehm" userId="a518f54c-6985-42c0-8041-2bb16a414839" providerId="ADAL" clId="{7999C4A2-9ACD-4CB2-9DCD-52B9CDE5124D}" dt="2023-05-07T18:24:33.164" v="40843"/>
          <ac:spMkLst>
            <pc:docMk/>
            <pc:sldMk cId="1002023985" sldId="270"/>
            <ac:spMk id="5" creationId="{1C4C5762-965B-BAE1-C44E-5DF2353C522D}"/>
          </ac:spMkLst>
        </pc:spChg>
        <pc:spChg chg="mod ord">
          <ac:chgData name="Joelle Brehm" userId="a518f54c-6985-42c0-8041-2bb16a414839" providerId="ADAL" clId="{7999C4A2-9ACD-4CB2-9DCD-52B9CDE5124D}" dt="2023-05-07T18:25:13.806" v="42150"/>
          <ac:spMkLst>
            <pc:docMk/>
            <pc:sldMk cId="1002023985" sldId="270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25:13.822" v="42208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7999C4A2-9ACD-4CB2-9DCD-52B9CDE5124D}" dt="2023-05-07T18:25:13.806" v="42161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5:13.806" v="42159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5:13.806" v="42157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5:13.806" v="42156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5:13.806" v="42158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5:13.806" v="42160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5:13.806" v="42155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5:13.806" v="42162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5:13.806" v="42163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5:13.806" v="42164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5:13.806" v="42165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5:13.806" v="42166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5:13.822" v="42168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5:13.822" v="42171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5:13.822" v="42169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5:13.822" v="42170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5:13.822" v="42175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5:13.822" v="42174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5:13.822" v="42177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5:13.822" v="42179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5:13.822" v="42200"/>
          <ac:spMkLst>
            <pc:docMk/>
            <pc:sldMk cId="1002023985" sldId="270"/>
            <ac:spMk id="31" creationId="{2B843E61-16B1-B2FE-A419-E688DD153EE9}"/>
          </ac:spMkLst>
        </pc:spChg>
        <pc:spChg chg="mod">
          <ac:chgData name="Joelle Brehm" userId="a518f54c-6985-42c0-8041-2bb16a414839" providerId="ADAL" clId="{7999C4A2-9ACD-4CB2-9DCD-52B9CDE5124D}" dt="2023-05-07T18:25:13.822" v="42199"/>
          <ac:spMkLst>
            <pc:docMk/>
            <pc:sldMk cId="1002023985" sldId="270"/>
            <ac:spMk id="32" creationId="{0BE92A1F-B2E2-867E-0B96-57FFDAFB5078}"/>
          </ac:spMkLst>
        </pc:spChg>
        <pc:spChg chg="mod">
          <ac:chgData name="Joelle Brehm" userId="a518f54c-6985-42c0-8041-2bb16a414839" providerId="ADAL" clId="{7999C4A2-9ACD-4CB2-9DCD-52B9CDE5124D}" dt="2023-05-07T18:25:13.822" v="42196"/>
          <ac:spMkLst>
            <pc:docMk/>
            <pc:sldMk cId="1002023985" sldId="270"/>
            <ac:spMk id="33" creationId="{F76D64DC-4154-E4CF-EF48-9A68CB6317E4}"/>
          </ac:spMkLst>
        </pc:spChg>
        <pc:spChg chg="mod">
          <ac:chgData name="Joelle Brehm" userId="a518f54c-6985-42c0-8041-2bb16a414839" providerId="ADAL" clId="{7999C4A2-9ACD-4CB2-9DCD-52B9CDE5124D}" dt="2023-05-07T18:25:13.822" v="42201"/>
          <ac:spMkLst>
            <pc:docMk/>
            <pc:sldMk cId="1002023985" sldId="270"/>
            <ac:spMk id="34" creationId="{9648527B-C461-9A7E-67C5-5AEE8C3C47B5}"/>
          </ac:spMkLst>
        </pc:spChg>
        <pc:spChg chg="mod">
          <ac:chgData name="Joelle Brehm" userId="a518f54c-6985-42c0-8041-2bb16a414839" providerId="ADAL" clId="{7999C4A2-9ACD-4CB2-9DCD-52B9CDE5124D}" dt="2023-05-07T18:25:13.822" v="42197"/>
          <ac:spMkLst>
            <pc:docMk/>
            <pc:sldMk cId="1002023985" sldId="270"/>
            <ac:spMk id="35" creationId="{3A6B1803-B9A1-DDD4-5DB0-ABDF3CF4E32A}"/>
          </ac:spMkLst>
        </pc:spChg>
        <pc:spChg chg="mod">
          <ac:chgData name="Joelle Brehm" userId="a518f54c-6985-42c0-8041-2bb16a414839" providerId="ADAL" clId="{7999C4A2-9ACD-4CB2-9DCD-52B9CDE5124D}" dt="2023-05-07T18:25:13.822" v="42203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7999C4A2-9ACD-4CB2-9DCD-52B9CDE5124D}" dt="2023-05-07T18:25:13.822" v="42173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7999C4A2-9ACD-4CB2-9DCD-52B9CDE5124D}" dt="2023-05-07T18:25:13.822" v="42202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7999C4A2-9ACD-4CB2-9DCD-52B9CDE5124D}" dt="2023-05-07T18:25:13.822" v="42204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7999C4A2-9ACD-4CB2-9DCD-52B9CDE5124D}" dt="2023-05-07T18:25:13.822" v="42189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7999C4A2-9ACD-4CB2-9DCD-52B9CDE5124D}" dt="2023-05-07T18:25:13.822" v="42188"/>
          <ac:spMkLst>
            <pc:docMk/>
            <pc:sldMk cId="1002023985" sldId="270"/>
            <ac:spMk id="41" creationId="{51DF5FF8-D483-FA48-6208-139CC6F687D3}"/>
          </ac:spMkLst>
        </pc:spChg>
        <pc:spChg chg="mod">
          <ac:chgData name="Joelle Brehm" userId="a518f54c-6985-42c0-8041-2bb16a414839" providerId="ADAL" clId="{7999C4A2-9ACD-4CB2-9DCD-52B9CDE5124D}" dt="2023-05-07T18:25:13.822" v="42205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7999C4A2-9ACD-4CB2-9DCD-52B9CDE5124D}" dt="2023-05-07T18:25:13.822" v="42207"/>
          <ac:spMkLst>
            <pc:docMk/>
            <pc:sldMk cId="1002023985" sldId="270"/>
            <ac:spMk id="43" creationId="{29357330-070C-17EC-0CAB-CAD445419341}"/>
          </ac:spMkLst>
        </pc:spChg>
        <pc:spChg chg="mod">
          <ac:chgData name="Joelle Brehm" userId="a518f54c-6985-42c0-8041-2bb16a414839" providerId="ADAL" clId="{7999C4A2-9ACD-4CB2-9DCD-52B9CDE5124D}" dt="2023-05-07T18:25:13.822" v="42206"/>
          <ac:spMkLst>
            <pc:docMk/>
            <pc:sldMk cId="1002023985" sldId="270"/>
            <ac:spMk id="44" creationId="{D21335E5-EBC4-9286-DD2D-7735A09D41EB}"/>
          </ac:spMkLst>
        </pc:spChg>
        <pc:spChg chg="add del mod modVis">
          <ac:chgData name="Joelle Brehm" userId="a518f54c-6985-42c0-8041-2bb16a414839" providerId="ADAL" clId="{7999C4A2-9ACD-4CB2-9DCD-52B9CDE5124D}" dt="2023-05-07T18:24:57.324" v="41157"/>
          <ac:spMkLst>
            <pc:docMk/>
            <pc:sldMk cId="1002023985" sldId="270"/>
            <ac:spMk id="47" creationId="{0742839E-6E2B-4704-F0E3-E3D263623824}"/>
          </ac:spMkLst>
        </pc:spChg>
        <pc:spChg chg="add mod replST">
          <ac:chgData name="Joelle Brehm" userId="a518f54c-6985-42c0-8041-2bb16a414839" providerId="ADAL" clId="{7999C4A2-9ACD-4CB2-9DCD-52B9CDE5124D}" dt="2023-05-07T18:25:13.822" v="42195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7999C4A2-9ACD-4CB2-9DCD-52B9CDE5124D}" dt="2023-05-07T18:25:13.822" v="42210"/>
          <ac:spMkLst>
            <pc:docMk/>
            <pc:sldMk cId="1002023985" sldId="270"/>
            <ac:spMk id="51" creationId="{9459FE82-DBC5-AAD1-46F4-768D76416103}"/>
          </ac:spMkLst>
        </pc:spChg>
        <pc:spChg chg="add mod replST">
          <ac:chgData name="Joelle Brehm" userId="a518f54c-6985-42c0-8041-2bb16a414839" providerId="ADAL" clId="{7999C4A2-9ACD-4CB2-9DCD-52B9CDE5124D}" dt="2023-05-07T18:25:13.822" v="42187"/>
          <ac:spMkLst>
            <pc:docMk/>
            <pc:sldMk cId="1002023985" sldId="270"/>
            <ac:spMk id="52" creationId="{CDAA8CD8-B796-5FFD-8D34-2773F7AB7F1D}"/>
          </ac:spMkLst>
        </pc:spChg>
        <pc:spChg chg="add del mod modVis">
          <ac:chgData name="Joelle Brehm" userId="a518f54c-6985-42c0-8041-2bb16a414839" providerId="ADAL" clId="{7999C4A2-9ACD-4CB2-9DCD-52B9CDE5124D}" dt="2023-05-07T18:25:04.784" v="41565"/>
          <ac:spMkLst>
            <pc:docMk/>
            <pc:sldMk cId="1002023985" sldId="270"/>
            <ac:spMk id="53" creationId="{C798EDDA-5AD7-B80F-2BA7-CEED20222FBD}"/>
          </ac:spMkLst>
        </pc:spChg>
        <pc:spChg chg="add del mod modVis">
          <ac:chgData name="Joelle Brehm" userId="a518f54c-6985-42c0-8041-2bb16a414839" providerId="ADAL" clId="{7999C4A2-9ACD-4CB2-9DCD-52B9CDE5124D}" dt="2023-05-07T18:25:08.632" v="41790"/>
          <ac:spMkLst>
            <pc:docMk/>
            <pc:sldMk cId="1002023985" sldId="270"/>
            <ac:spMk id="55" creationId="{06903B29-AEEE-8C2E-06E5-79FE85FFF6A5}"/>
          </ac:spMkLst>
        </pc:spChg>
        <pc:spChg chg="mod">
          <ac:chgData name="Joelle Brehm" userId="a518f54c-6985-42c0-8041-2bb16a414839" providerId="ADAL" clId="{7999C4A2-9ACD-4CB2-9DCD-52B9CDE5124D}" dt="2023-05-07T18:25:13.822" v="42209"/>
          <ac:spMkLst>
            <pc:docMk/>
            <pc:sldMk cId="1002023985" sldId="270"/>
            <ac:spMk id="56" creationId="{25954F1B-A0EF-892A-6914-029FB8F9549A}"/>
          </ac:spMkLst>
        </pc:spChg>
        <pc:spChg chg="add del mod modVis">
          <ac:chgData name="Joelle Brehm" userId="a518f54c-6985-42c0-8041-2bb16a414839" providerId="ADAL" clId="{7999C4A2-9ACD-4CB2-9DCD-52B9CDE5124D}" dt="2023-05-07T18:25:11.046" v="41984"/>
          <ac:spMkLst>
            <pc:docMk/>
            <pc:sldMk cId="1002023985" sldId="270"/>
            <ac:spMk id="59" creationId="{C731D42F-C5AC-F48E-3042-38F14680B15B}"/>
          </ac:spMkLst>
        </pc:spChg>
        <pc:spChg chg="mod">
          <ac:chgData name="Joelle Brehm" userId="a518f54c-6985-42c0-8041-2bb16a414839" providerId="ADAL" clId="{7999C4A2-9ACD-4CB2-9DCD-52B9CDE5124D}" dt="2023-05-07T18:25:13.822" v="42183"/>
          <ac:spMkLst>
            <pc:docMk/>
            <pc:sldMk cId="1002023985" sldId="270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25:13.838" v="42241"/>
          <ac:spMkLst>
            <pc:docMk/>
            <pc:sldMk cId="1002023985" sldId="270"/>
            <ac:spMk id="63" creationId="{BE2DA363-589A-2873-CA07-EE1C17A4CBCC}"/>
          </ac:spMkLst>
        </pc:spChg>
        <pc:spChg chg="mod">
          <ac:chgData name="Joelle Brehm" userId="a518f54c-6985-42c0-8041-2bb16a414839" providerId="ADAL" clId="{7999C4A2-9ACD-4CB2-9DCD-52B9CDE5124D}" dt="2023-05-07T18:25:13.822" v="42176"/>
          <ac:spMkLst>
            <pc:docMk/>
            <pc:sldMk cId="1002023985" sldId="270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25:13.822" v="42212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5:13.822" v="42214"/>
          <ac:spMkLst>
            <pc:docMk/>
            <pc:sldMk cId="1002023985" sldId="270"/>
            <ac:spMk id="79" creationId="{F1476AC4-694B-4D83-BFD8-8DCAA4BB1923}"/>
          </ac:spMkLst>
        </pc:spChg>
        <pc:spChg chg="del mod ord">
          <ac:chgData name="Joelle Brehm" userId="a518f54c-6985-42c0-8041-2bb16a414839" providerId="ADAL" clId="{7999C4A2-9ACD-4CB2-9DCD-52B9CDE5124D}" dt="2023-05-07T18:25:23.762" v="42244" actId="478"/>
          <ac:spMkLst>
            <pc:docMk/>
            <pc:sldMk cId="1002023985" sldId="270"/>
            <ac:spMk id="81" creationId="{67306508-F913-6F38-F7F2-993E9316BBDF}"/>
          </ac:spMkLst>
        </pc:spChg>
        <pc:spChg chg="del mod">
          <ac:chgData name="Joelle Brehm" userId="a518f54c-6985-42c0-8041-2bb16a414839" providerId="ADAL" clId="{7999C4A2-9ACD-4CB2-9DCD-52B9CDE5124D}" dt="2023-05-07T18:25:13.696" v="41988"/>
          <ac:spMkLst>
            <pc:docMk/>
            <pc:sldMk cId="1002023985" sldId="270"/>
            <ac:spMk id="83" creationId="{E6D1B6E5-8243-2581-42D8-3D268DA86459}"/>
          </ac:spMkLst>
        </pc:spChg>
        <pc:spChg chg="del mod">
          <ac:chgData name="Joelle Brehm" userId="a518f54c-6985-42c0-8041-2bb16a414839" providerId="ADAL" clId="{7999C4A2-9ACD-4CB2-9DCD-52B9CDE5124D}" dt="2023-05-07T18:25:13.696" v="41987"/>
          <ac:spMkLst>
            <pc:docMk/>
            <pc:sldMk cId="1002023985" sldId="270"/>
            <ac:spMk id="86" creationId="{F0FA155A-BB93-1A11-78CE-81C581E7CB4F}"/>
          </ac:spMkLst>
        </pc:spChg>
        <pc:spChg chg="mod">
          <ac:chgData name="Joelle Brehm" userId="a518f54c-6985-42c0-8041-2bb16a414839" providerId="ADAL" clId="{7999C4A2-9ACD-4CB2-9DCD-52B9CDE5124D}" dt="2023-05-07T18:25:13.822" v="42191"/>
          <ac:spMkLst>
            <pc:docMk/>
            <pc:sldMk cId="1002023985" sldId="270"/>
            <ac:spMk id="89" creationId="{6D983BDC-C0BC-2BD5-D968-D2AC07877107}"/>
          </ac:spMkLst>
        </pc:spChg>
        <pc:spChg chg="mod ord">
          <ac:chgData name="Joelle Brehm" userId="a518f54c-6985-42c0-8041-2bb16a414839" providerId="ADAL" clId="{7999C4A2-9ACD-4CB2-9DCD-52B9CDE5124D}" dt="2023-05-07T18:25:13.822" v="42216"/>
          <ac:spMkLst>
            <pc:docMk/>
            <pc:sldMk cId="1002023985" sldId="270"/>
            <ac:spMk id="100" creationId="{8B5667AB-609C-4AEA-83B3-24E395C8F420}"/>
          </ac:spMkLst>
        </pc:spChg>
        <pc:spChg chg="mod">
          <ac:chgData name="Joelle Brehm" userId="a518f54c-6985-42c0-8041-2bb16a414839" providerId="ADAL" clId="{7999C4A2-9ACD-4CB2-9DCD-52B9CDE5124D}" dt="2023-05-07T18:25:13.822" v="42190"/>
          <ac:spMkLst>
            <pc:docMk/>
            <pc:sldMk cId="1002023985" sldId="270"/>
            <ac:spMk id="101" creationId="{F2312A01-E526-A28E-B13E-4BBF0007EC5E}"/>
          </ac:spMkLst>
        </pc:spChg>
        <pc:spChg chg="mod">
          <ac:chgData name="Joelle Brehm" userId="a518f54c-6985-42c0-8041-2bb16a414839" providerId="ADAL" clId="{7999C4A2-9ACD-4CB2-9DCD-52B9CDE5124D}" dt="2023-05-07T18:25:13.822" v="42194"/>
          <ac:spMkLst>
            <pc:docMk/>
            <pc:sldMk cId="1002023985" sldId="270"/>
            <ac:spMk id="104" creationId="{0B26C638-FD44-BFF3-7C0D-E419A877AB19}"/>
          </ac:spMkLst>
        </pc:spChg>
        <pc:spChg chg="mod">
          <ac:chgData name="Joelle Brehm" userId="a518f54c-6985-42c0-8041-2bb16a414839" providerId="ADAL" clId="{7999C4A2-9ACD-4CB2-9DCD-52B9CDE5124D}" dt="2023-05-07T18:25:13.822" v="42192"/>
          <ac:spMkLst>
            <pc:docMk/>
            <pc:sldMk cId="1002023985" sldId="270"/>
            <ac:spMk id="105" creationId="{3A38D256-35D3-4CDF-DF0C-E105072D6FE7}"/>
          </ac:spMkLst>
        </pc:spChg>
        <pc:spChg chg="mod ord">
          <ac:chgData name="Joelle Brehm" userId="a518f54c-6985-42c0-8041-2bb16a414839" providerId="ADAL" clId="{7999C4A2-9ACD-4CB2-9DCD-52B9CDE5124D}" dt="2023-05-07T18:25:13.822" v="42218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5:13.822" v="42220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5:13.822" v="42222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5:13.822" v="42193"/>
          <ac:spMkLst>
            <pc:docMk/>
            <pc:sldMk cId="1002023985" sldId="270"/>
            <ac:spMk id="111" creationId="{182EC51E-240E-E991-6C1D-CEA66613C7A4}"/>
          </ac:spMkLst>
        </pc:spChg>
        <pc:spChg chg="mod">
          <ac:chgData name="Joelle Brehm" userId="a518f54c-6985-42c0-8041-2bb16a414839" providerId="ADAL" clId="{7999C4A2-9ACD-4CB2-9DCD-52B9CDE5124D}" dt="2023-05-07T18:25:13.822" v="42198"/>
          <ac:spMkLst>
            <pc:docMk/>
            <pc:sldMk cId="1002023985" sldId="270"/>
            <ac:spMk id="112" creationId="{6D6DD08F-D718-19E3-F51D-AAEF3B68183C}"/>
          </ac:spMkLst>
        </pc:spChg>
        <pc:spChg chg="mod">
          <ac:chgData name="Joelle Brehm" userId="a518f54c-6985-42c0-8041-2bb16a414839" providerId="ADAL" clId="{7999C4A2-9ACD-4CB2-9DCD-52B9CDE5124D}" dt="2023-05-07T18:25:13.822" v="42186"/>
          <ac:spMkLst>
            <pc:docMk/>
            <pc:sldMk cId="1002023985" sldId="270"/>
            <ac:spMk id="11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5:13.822" v="42184"/>
          <ac:spMkLst>
            <pc:docMk/>
            <pc:sldMk cId="1002023985" sldId="270"/>
            <ac:spMk id="117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5:13.822" v="42227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5:13.822" v="42225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5:13.822" v="42226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5:13.822" v="42228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25:13.822" v="42229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7999C4A2-9ACD-4CB2-9DCD-52B9CDE5124D}" dt="2023-05-07T18:25:13.822" v="42185"/>
          <ac:spMkLst>
            <pc:docMk/>
            <pc:sldMk cId="1002023985" sldId="270"/>
            <ac:spMk id="16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5:13.822" v="42182"/>
          <ac:spMkLst>
            <pc:docMk/>
            <pc:sldMk cId="1002023985" sldId="270"/>
            <ac:spMk id="171" creationId="{7CAA3B95-4C78-4122-BECA-B5FB0F3F3764}"/>
          </ac:spMkLst>
        </pc:spChg>
        <pc:graphicFrameChg chg="mod">
          <ac:chgData name="Joelle Brehm" userId="a518f54c-6985-42c0-8041-2bb16a414839" providerId="ADAL" clId="{7999C4A2-9ACD-4CB2-9DCD-52B9CDE5124D}" dt="2023-05-07T18:25:13.838" v="42243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5:13.806" v="42154"/>
          <ac:graphicFrameMkLst>
            <pc:docMk/>
            <pc:sldMk cId="1002023985" sldId="270"/>
            <ac:graphicFrameMk id="8" creationId="{BFA05196-EAEB-2E6C-03EA-333B7C34D8C4}"/>
          </ac:graphicFrameMkLst>
        </pc:graphicFrameChg>
        <pc:graphicFrameChg chg="del">
          <ac:chgData name="Joelle Brehm" userId="a518f54c-6985-42c0-8041-2bb16a414839" providerId="ADAL" clId="{7999C4A2-9ACD-4CB2-9DCD-52B9CDE5124D}" dt="2023-05-07T18:24:33.125" v="40736"/>
          <ac:graphicFrameMkLst>
            <pc:docMk/>
            <pc:sldMk cId="1002023985" sldId="270"/>
            <ac:graphicFrameMk id="45" creationId="{0114E801-DAA9-A32F-E8CD-B4B7C1C28EDE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5:13.822" v="42224"/>
          <ac:graphicFrameMkLst>
            <pc:docMk/>
            <pc:sldMk cId="1002023985" sldId="270"/>
            <ac:graphicFrameMk id="48" creationId="{9E436441-6929-8B6F-4D6E-8382CB1AD719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4:57.293" v="41056"/>
          <ac:graphicFrameMkLst>
            <pc:docMk/>
            <pc:sldMk cId="1002023985" sldId="270"/>
            <ac:graphicFrameMk id="49" creationId="{236BAAB5-E76D-44C1-14E4-1CAC2B4F0B8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5:08.585" v="41687"/>
          <ac:graphicFrameMkLst>
            <pc:docMk/>
            <pc:sldMk cId="1002023985" sldId="270"/>
            <ac:graphicFrameMk id="54" creationId="{0100A6E2-B469-8BCA-6091-D59957D1A03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5:10.991" v="41881"/>
          <ac:graphicFrameMkLst>
            <pc:docMk/>
            <pc:sldMk cId="1002023985" sldId="270"/>
            <ac:graphicFrameMk id="57" creationId="{EB52EE55-62D1-1A58-64F6-EFFBB454A7D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5:13.790" v="42140"/>
          <ac:graphicFrameMkLst>
            <pc:docMk/>
            <pc:sldMk cId="1002023985" sldId="270"/>
            <ac:graphicFrameMk id="60" creationId="{F3EC87B1-9280-2ECC-1C75-16B4C9FD682C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5:04.737" v="41462"/>
          <ac:graphicFrameMkLst>
            <pc:docMk/>
            <pc:sldMk cId="1002023985" sldId="270"/>
            <ac:graphicFrameMk id="61" creationId="{D062CFE9-8FDC-42D8-3C5D-6F69548AFE75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5:13.822" v="42181"/>
          <ac:graphicFrameMkLst>
            <pc:docMk/>
            <pc:sldMk cId="1002023985" sldId="270"/>
            <ac:graphicFrameMk id="64" creationId="{79E2CBEB-A107-9291-2868-B8A5F4AC43F6}"/>
          </ac:graphicFrameMkLst>
        </pc:graphicFrameChg>
        <pc:picChg chg="add mod ord">
          <ac:chgData name="Joelle Brehm" userId="a518f54c-6985-42c0-8041-2bb16a414839" providerId="ADAL" clId="{7999C4A2-9ACD-4CB2-9DCD-52B9CDE5124D}" dt="2023-05-07T18:25:13.806" v="42148"/>
          <ac:picMkLst>
            <pc:docMk/>
            <pc:sldMk cId="1002023985" sldId="270"/>
            <ac:picMk id="9" creationId="{21C214FA-D8B2-CD2F-F931-7E5EC7DC5CEF}"/>
          </ac:picMkLst>
        </pc:picChg>
        <pc:picChg chg="del mod ord">
          <ac:chgData name="Joelle Brehm" userId="a518f54c-6985-42c0-8041-2bb16a414839" providerId="ADAL" clId="{7999C4A2-9ACD-4CB2-9DCD-52B9CDE5124D}" dt="2023-05-07T18:24:48.488" v="40949" actId="478"/>
          <ac:picMkLst>
            <pc:docMk/>
            <pc:sldMk cId="1002023985" sldId="270"/>
            <ac:picMk id="46" creationId="{3C73A7E1-E0F0-D095-904B-33A59FAFB9E7}"/>
          </ac:picMkLst>
        </pc:picChg>
        <pc:picChg chg="mod ord">
          <ac:chgData name="Joelle Brehm" userId="a518f54c-6985-42c0-8041-2bb16a414839" providerId="ADAL" clId="{7999C4A2-9ACD-4CB2-9DCD-52B9CDE5124D}" dt="2023-05-07T18:25:13.822" v="42233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7999C4A2-9ACD-4CB2-9DCD-52B9CDE5124D}" dt="2023-05-07T18:25:13.822" v="42231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5:13.806" v="42152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07:51.329" v="26639"/>
        <pc:sldMkLst>
          <pc:docMk/>
          <pc:sldMk cId="2815334483" sldId="271"/>
        </pc:sldMkLst>
        <pc:spChg chg="add del mod">
          <ac:chgData name="Joelle Brehm" userId="a518f54c-6985-42c0-8041-2bb16a414839" providerId="ADAL" clId="{7999C4A2-9ACD-4CB2-9DCD-52B9CDE5124D}" dt="2023-05-07T18:05:42.692" v="22445" actId="478"/>
          <ac:spMkLst>
            <pc:docMk/>
            <pc:sldMk cId="2815334483" sldId="271"/>
            <ac:spMk id="2" creationId="{223FA513-6D94-0C49-F346-1C369A131BCD}"/>
          </ac:spMkLst>
        </pc:spChg>
        <pc:spChg chg="mod ord">
          <ac:chgData name="Joelle Brehm" userId="a518f54c-6985-42c0-8041-2bb16a414839" providerId="ADAL" clId="{7999C4A2-9ACD-4CB2-9DCD-52B9CDE5124D}" dt="2023-05-07T18:07:51.329" v="26635"/>
          <ac:spMkLst>
            <pc:docMk/>
            <pc:sldMk cId="2815334483" sldId="271"/>
            <ac:spMk id="3" creationId="{393FCF28-B518-473D-82EF-3DE322BE0405}"/>
          </ac:spMkLst>
        </pc:spChg>
        <pc:spChg chg="mod ord">
          <ac:chgData name="Joelle Brehm" userId="a518f54c-6985-42c0-8041-2bb16a414839" providerId="ADAL" clId="{7999C4A2-9ACD-4CB2-9DCD-52B9CDE5124D}" dt="2023-05-07T18:07:51.314" v="26570"/>
          <ac:spMkLst>
            <pc:docMk/>
            <pc:sldMk cId="2815334483" sldId="271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05:45.523" v="22700"/>
          <ac:spMkLst>
            <pc:docMk/>
            <pc:sldMk cId="2815334483" sldId="271"/>
            <ac:spMk id="8" creationId="{98BF5AFA-720C-E764-EA23-24F33B428ADD}"/>
          </ac:spMkLst>
        </pc:spChg>
        <pc:spChg chg="mod">
          <ac:chgData name="Joelle Brehm" userId="a518f54c-6985-42c0-8041-2bb16a414839" providerId="ADAL" clId="{7999C4A2-9ACD-4CB2-9DCD-52B9CDE5124D}" dt="2023-05-07T18:07:51.314" v="26601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7999C4A2-9ACD-4CB2-9DCD-52B9CDE5124D}" dt="2023-05-07T18:07:51.314" v="26581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07:51.314" v="26579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07:51.314" v="26575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07:51.314" v="26576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07:51.314" v="26578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07:51.314" v="26582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07:51.314" v="26580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07:51.314" v="26577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07:51.314" v="26583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07:51.314" v="26584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07:51.314" v="26585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07:51.314" v="26586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07:51.314" v="26588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07:51.314" v="26591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07:51.314" v="26589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07:51.314" v="26590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07:51.314" v="26593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07:51.314" v="26592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07:51.314" v="26594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07:51.314" v="26596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07:51.314" v="26602"/>
          <ac:spMkLst>
            <pc:docMk/>
            <pc:sldMk cId="2815334483" sldId="271"/>
            <ac:spMk id="31" creationId="{6BE24B84-EE94-3D2E-728D-88F2988B4658}"/>
          </ac:spMkLst>
        </pc:spChg>
        <pc:spChg chg="mod">
          <ac:chgData name="Joelle Brehm" userId="a518f54c-6985-42c0-8041-2bb16a414839" providerId="ADAL" clId="{7999C4A2-9ACD-4CB2-9DCD-52B9CDE5124D}" dt="2023-05-07T18:07:51.314" v="26600"/>
          <ac:spMkLst>
            <pc:docMk/>
            <pc:sldMk cId="2815334483" sldId="271"/>
            <ac:spMk id="33" creationId="{7F959949-4A68-1491-C284-14230CE75987}"/>
          </ac:spMkLst>
        </pc:spChg>
        <pc:spChg chg="mod">
          <ac:chgData name="Joelle Brehm" userId="a518f54c-6985-42c0-8041-2bb16a414839" providerId="ADAL" clId="{7999C4A2-9ACD-4CB2-9DCD-52B9CDE5124D}" dt="2023-05-07T18:07:51.314" v="26606"/>
          <ac:spMkLst>
            <pc:docMk/>
            <pc:sldMk cId="2815334483" sldId="271"/>
            <ac:spMk id="34" creationId="{316D5F01-433D-33E2-C79F-6FBFCD17CB7D}"/>
          </ac:spMkLst>
        </pc:spChg>
        <pc:spChg chg="mod">
          <ac:chgData name="Joelle Brehm" userId="a518f54c-6985-42c0-8041-2bb16a414839" providerId="ADAL" clId="{7999C4A2-9ACD-4CB2-9DCD-52B9CDE5124D}" dt="2023-05-07T18:07:51.314" v="26599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7999C4A2-9ACD-4CB2-9DCD-52B9CDE5124D}" dt="2023-05-07T18:07:51.314" v="26607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7999C4A2-9ACD-4CB2-9DCD-52B9CDE5124D}" dt="2023-05-07T18:07:51.314" v="26608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7999C4A2-9ACD-4CB2-9DCD-52B9CDE5124D}" dt="2023-05-07T18:07:51.329" v="26626"/>
          <ac:spMkLst>
            <pc:docMk/>
            <pc:sldMk cId="2815334483" sldId="271"/>
            <ac:spMk id="38" creationId="{CC5FA94A-B8E0-E7C9-DB9D-BB5C4E4406D1}"/>
          </ac:spMkLst>
        </pc:spChg>
        <pc:spChg chg="add mod replST">
          <ac:chgData name="Joelle Brehm" userId="a518f54c-6985-42c0-8041-2bb16a414839" providerId="ADAL" clId="{7999C4A2-9ACD-4CB2-9DCD-52B9CDE5124D}" dt="2023-05-07T18:07:51.329" v="26627"/>
          <ac:spMkLst>
            <pc:docMk/>
            <pc:sldMk cId="2815334483" sldId="271"/>
            <ac:spMk id="40" creationId="{B3CE3016-99B3-974F-1EC7-6BAAE2BADCD1}"/>
          </ac:spMkLst>
        </pc:spChg>
        <pc:spChg chg="mod">
          <ac:chgData name="Joelle Brehm" userId="a518f54c-6985-42c0-8041-2bb16a414839" providerId="ADAL" clId="{7999C4A2-9ACD-4CB2-9DCD-52B9CDE5124D}" dt="2023-05-07T18:07:51.314" v="26609"/>
          <ac:spMkLst>
            <pc:docMk/>
            <pc:sldMk cId="2815334483" sldId="271"/>
            <ac:spMk id="42" creationId="{6259DA9A-2854-0028-25DD-8E34BDEB2937}"/>
          </ac:spMkLst>
        </pc:spChg>
        <pc:spChg chg="add mod replST">
          <ac:chgData name="Joelle Brehm" userId="a518f54c-6985-42c0-8041-2bb16a414839" providerId="ADAL" clId="{7999C4A2-9ACD-4CB2-9DCD-52B9CDE5124D}" dt="2023-05-07T18:07:51.329" v="26628"/>
          <ac:spMkLst>
            <pc:docMk/>
            <pc:sldMk cId="2815334483" sldId="271"/>
            <ac:spMk id="43" creationId="{BEA60322-B850-D12E-7FCF-66BC91EC080A}"/>
          </ac:spMkLst>
        </pc:spChg>
        <pc:spChg chg="add mod replST">
          <ac:chgData name="Joelle Brehm" userId="a518f54c-6985-42c0-8041-2bb16a414839" providerId="ADAL" clId="{7999C4A2-9ACD-4CB2-9DCD-52B9CDE5124D}" dt="2023-05-07T18:07:51.329" v="26629"/>
          <ac:spMkLst>
            <pc:docMk/>
            <pc:sldMk cId="2815334483" sldId="271"/>
            <ac:spMk id="44" creationId="{CAF88ADA-38F8-27CD-7000-39BEF277AA3B}"/>
          </ac:spMkLst>
        </pc:spChg>
        <pc:spChg chg="add del mod modVis">
          <ac:chgData name="Joelle Brehm" userId="a518f54c-6985-42c0-8041-2bb16a414839" providerId="ADAL" clId="{7999C4A2-9ACD-4CB2-9DCD-52B9CDE5124D}" dt="2023-05-07T18:06:24.814" v="23136"/>
          <ac:spMkLst>
            <pc:docMk/>
            <pc:sldMk cId="2815334483" sldId="271"/>
            <ac:spMk id="45" creationId="{27873C82-55D5-26D0-662B-B8E5FC0A8D55}"/>
          </ac:spMkLst>
        </pc:spChg>
        <pc:spChg chg="add mod replST">
          <ac:chgData name="Joelle Brehm" userId="a518f54c-6985-42c0-8041-2bb16a414839" providerId="ADAL" clId="{7999C4A2-9ACD-4CB2-9DCD-52B9CDE5124D}" dt="2023-05-07T18:07:51.314" v="26610"/>
          <ac:spMkLst>
            <pc:docMk/>
            <pc:sldMk cId="2815334483" sldId="271"/>
            <ac:spMk id="48" creationId="{E51CFCE3-4E32-6059-9327-A1EFC827F040}"/>
          </ac:spMkLst>
        </pc:spChg>
        <pc:spChg chg="add del mod modVis">
          <ac:chgData name="Joelle Brehm" userId="a518f54c-6985-42c0-8041-2bb16a414839" providerId="ADAL" clId="{7999C4A2-9ACD-4CB2-9DCD-52B9CDE5124D}" dt="2023-05-07T18:06:38.236" v="23923"/>
          <ac:spMkLst>
            <pc:docMk/>
            <pc:sldMk cId="2815334483" sldId="271"/>
            <ac:spMk id="49" creationId="{5A8EFD55-BB5F-D9E5-ACF1-A184588366D9}"/>
          </ac:spMkLst>
        </pc:spChg>
        <pc:spChg chg="add del mod modVis">
          <ac:chgData name="Joelle Brehm" userId="a518f54c-6985-42c0-8041-2bb16a414839" providerId="ADAL" clId="{7999C4A2-9ACD-4CB2-9DCD-52B9CDE5124D}" dt="2023-05-07T18:06:43.329" v="24075"/>
          <ac:spMkLst>
            <pc:docMk/>
            <pc:sldMk cId="2815334483" sldId="271"/>
            <ac:spMk id="51" creationId="{C0726D5B-C055-9F74-85C6-C99EB31E0EB2}"/>
          </ac:spMkLst>
        </pc:spChg>
        <pc:spChg chg="add del mod modVis">
          <ac:chgData name="Joelle Brehm" userId="a518f54c-6985-42c0-8041-2bb16a414839" providerId="ADAL" clId="{7999C4A2-9ACD-4CB2-9DCD-52B9CDE5124D}" dt="2023-05-07T18:06:45.733" v="24340"/>
          <ac:spMkLst>
            <pc:docMk/>
            <pc:sldMk cId="2815334483" sldId="271"/>
            <ac:spMk id="54" creationId="{DC200943-FAFF-A3AC-9B4F-AA96CA66997E}"/>
          </ac:spMkLst>
        </pc:spChg>
        <pc:spChg chg="add del mod ord replST">
          <ac:chgData name="Joelle Brehm" userId="a518f54c-6985-42c0-8041-2bb16a414839" providerId="ADAL" clId="{7999C4A2-9ACD-4CB2-9DCD-52B9CDE5124D}" dt="2023-05-07T18:06:47.532" v="24542"/>
          <ac:spMkLst>
            <pc:docMk/>
            <pc:sldMk cId="2815334483" sldId="271"/>
            <ac:spMk id="55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06:47.665" v="24650"/>
          <ac:spMkLst>
            <pc:docMk/>
            <pc:sldMk cId="2815334483" sldId="271"/>
            <ac:spMk id="57" creationId="{AE0ADFE7-72DF-FE8E-6F53-8ACEF99E1D7A}"/>
          </ac:spMkLst>
        </pc:spChg>
        <pc:spChg chg="mod ord">
          <ac:chgData name="Joelle Brehm" userId="a518f54c-6985-42c0-8041-2bb16a414839" providerId="ADAL" clId="{7999C4A2-9ACD-4CB2-9DCD-52B9CDE5124D}" dt="2023-05-07T18:07:51.329" v="26633"/>
          <ac:spMkLst>
            <pc:docMk/>
            <pc:sldMk cId="2815334483" sldId="271"/>
            <ac:spMk id="58" creationId="{13D3C19C-081E-48C7-8BE2-5EF3E8A1DEEB}"/>
          </ac:spMkLst>
        </pc:spChg>
        <pc:spChg chg="mod">
          <ac:chgData name="Joelle Brehm" userId="a518f54c-6985-42c0-8041-2bb16a414839" providerId="ADAL" clId="{7999C4A2-9ACD-4CB2-9DCD-52B9CDE5124D}" dt="2023-05-07T18:07:51.314" v="26603"/>
          <ac:spMkLst>
            <pc:docMk/>
            <pc:sldMk cId="2815334483" sldId="271"/>
            <ac:spMk id="59" creationId="{560584A3-88F0-ED61-E66F-42217538E924}"/>
          </ac:spMkLst>
        </pc:spChg>
        <pc:spChg chg="add del mod ord replST">
          <ac:chgData name="Joelle Brehm" userId="a518f54c-6985-42c0-8041-2bb16a414839" providerId="ADAL" clId="{7999C4A2-9ACD-4CB2-9DCD-52B9CDE5124D}" dt="2023-05-07T18:06:50.342" v="24722"/>
          <ac:spMkLst>
            <pc:docMk/>
            <pc:sldMk cId="2815334483" sldId="271"/>
            <ac:spMk id="6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7:51.314" v="26605"/>
          <ac:spMkLst>
            <pc:docMk/>
            <pc:sldMk cId="2815334483" sldId="271"/>
            <ac:spMk id="61" creationId="{8EF73248-EE25-106D-5FF1-4042C3063FAC}"/>
          </ac:spMkLst>
        </pc:spChg>
        <pc:spChg chg="mod">
          <ac:chgData name="Joelle Brehm" userId="a518f54c-6985-42c0-8041-2bb16a414839" providerId="ADAL" clId="{7999C4A2-9ACD-4CB2-9DCD-52B9CDE5124D}" dt="2023-05-07T18:07:51.314" v="26604"/>
          <ac:spMkLst>
            <pc:docMk/>
            <pc:sldMk cId="2815334483" sldId="271"/>
            <ac:spMk id="63" creationId="{33CF73DD-CC51-6A85-BF30-50C708C42A82}"/>
          </ac:spMkLst>
        </pc:spChg>
        <pc:spChg chg="add del mod modVis">
          <ac:chgData name="Joelle Brehm" userId="a518f54c-6985-42c0-8041-2bb16a414839" providerId="ADAL" clId="{7999C4A2-9ACD-4CB2-9DCD-52B9CDE5124D}" dt="2023-05-07T18:06:50.373" v="24803"/>
          <ac:spMkLst>
            <pc:docMk/>
            <pc:sldMk cId="2815334483" sldId="271"/>
            <ac:spMk id="64" creationId="{8FED9329-2D53-1FED-FC2C-7BCEDEAE0327}"/>
          </ac:spMkLst>
        </pc:spChg>
        <pc:spChg chg="del mod">
          <ac:chgData name="Joelle Brehm" userId="a518f54c-6985-42c0-8041-2bb16a414839" providerId="ADAL" clId="{7999C4A2-9ACD-4CB2-9DCD-52B9CDE5124D}" dt="2023-05-07T18:06:47.119" v="24343"/>
          <ac:spMkLst>
            <pc:docMk/>
            <pc:sldMk cId="2815334483" sldId="271"/>
            <ac:spMk id="65" creationId="{F4DAFF0C-D2B4-CFC6-C50A-98EEB96DB309}"/>
          </ac:spMkLst>
        </pc:spChg>
        <pc:spChg chg="mod ord">
          <ac:chgData name="Joelle Brehm" userId="a518f54c-6985-42c0-8041-2bb16a414839" providerId="ADAL" clId="{7999C4A2-9ACD-4CB2-9DCD-52B9CDE5124D}" dt="2023-05-07T18:07:51.314" v="26612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07:51.329" v="26614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07:51.329" v="26616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07:51.329" v="26618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07:51.329" v="26620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07:51.329" v="26622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07:51.329" v="26625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07:51.329" v="26639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7:51.314" v="26574"/>
          <ac:graphicFrameMkLst>
            <pc:docMk/>
            <pc:sldMk cId="2815334483" sldId="271"/>
            <ac:graphicFrameMk id="9" creationId="{B391EBA5-D28E-CDA9-C327-5A9405C1E976}"/>
          </ac:graphicFrameMkLst>
        </pc:graphicFrameChg>
        <pc:graphicFrameChg chg="del">
          <ac:chgData name="Joelle Brehm" userId="a518f54c-6985-42c0-8041-2bb16a414839" providerId="ADAL" clId="{7999C4A2-9ACD-4CB2-9DCD-52B9CDE5124D}" dt="2023-05-07T18:05:45.414" v="22622"/>
          <ac:graphicFrameMkLst>
            <pc:docMk/>
            <pc:sldMk cId="2815334483" sldId="271"/>
            <ac:graphicFrameMk id="32" creationId="{F73B6206-4C8D-362B-6582-F814C59B6C7B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6:24.701" v="23057"/>
          <ac:graphicFrameMkLst>
            <pc:docMk/>
            <pc:sldMk cId="2815334483" sldId="271"/>
            <ac:graphicFrameMk id="41" creationId="{67D9D169-77FB-A93F-0681-A4472D6EFFA4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6:28.707" v="23158"/>
          <ac:graphicFrameMkLst>
            <pc:docMk/>
            <pc:sldMk cId="2815334483" sldId="271"/>
            <ac:graphicFrameMk id="46" creationId="{E8538BC5-8D8E-3C0F-5A5D-6B4D50EAAD7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7:51.282" v="26560"/>
          <ac:graphicFrameMkLst>
            <pc:docMk/>
            <pc:sldMk cId="2815334483" sldId="271"/>
            <ac:graphicFrameMk id="47" creationId="{79EF0B3D-523B-E3D7-4923-F4085DAE1AD8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6:43.240" v="23995"/>
          <ac:graphicFrameMkLst>
            <pc:docMk/>
            <pc:sldMk cId="2815334483" sldId="271"/>
            <ac:graphicFrameMk id="50" creationId="{BB4745A4-50E3-1176-B21F-0D87C6D21E1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6:45.607" v="24238"/>
          <ac:graphicFrameMkLst>
            <pc:docMk/>
            <pc:sldMk cId="2815334483" sldId="271"/>
            <ac:graphicFrameMk id="52" creationId="{6767AD5A-2BC2-04D5-AFB9-48B52E0AEA4D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6:38.116" v="23837"/>
          <ac:graphicFrameMkLst>
            <pc:docMk/>
            <pc:sldMk cId="2815334483" sldId="271"/>
            <ac:graphicFrameMk id="53" creationId="{72D68A39-71F7-02D5-79D6-D134FCCB693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6:47.532" v="24549"/>
          <ac:graphicFrameMkLst>
            <pc:docMk/>
            <pc:sldMk cId="2815334483" sldId="271"/>
            <ac:graphicFrameMk id="56" creationId="{062010CF-4A9C-56AD-1B91-FCACA28C345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6:50.342" v="24724"/>
          <ac:graphicFrameMkLst>
            <pc:docMk/>
            <pc:sldMk cId="2815334483" sldId="271"/>
            <ac:graphicFrameMk id="62" creationId="{68936A0F-FABC-E556-10A3-E6BB0C974BFD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7:51.314" v="26598"/>
          <ac:graphicFrameMkLst>
            <pc:docMk/>
            <pc:sldMk cId="2815334483" sldId="271"/>
            <ac:graphicFrameMk id="66" creationId="{AF5327B1-E91C-AAEE-EA22-E7EA70987587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7:51.329" v="26624"/>
          <ac:graphicFrameMkLst>
            <pc:docMk/>
            <pc:sldMk cId="2815334483" sldId="271"/>
            <ac:graphicFrameMk id="67" creationId="{67CB2410-CADF-A9D8-D235-4EDFB79812A7}"/>
          </ac:graphicFrameMkLst>
        </pc:graphicFrameChg>
        <pc:picChg chg="del mod ord">
          <ac:chgData name="Joelle Brehm" userId="a518f54c-6985-42c0-8041-2bb16a414839" providerId="ADAL" clId="{7999C4A2-9ACD-4CB2-9DCD-52B9CDE5124D}" dt="2023-05-07T18:05:57.921" v="22780" actId="478"/>
          <ac:picMkLst>
            <pc:docMk/>
            <pc:sldMk cId="2815334483" sldId="271"/>
            <ac:picMk id="5" creationId="{B397405B-0F84-F5FD-FBD3-4912562094ED}"/>
          </ac:picMkLst>
        </pc:picChg>
        <pc:picChg chg="add mod ord">
          <ac:chgData name="Joelle Brehm" userId="a518f54c-6985-42c0-8041-2bb16a414839" providerId="ADAL" clId="{7999C4A2-9ACD-4CB2-9DCD-52B9CDE5124D}" dt="2023-05-07T18:07:51.314" v="26568"/>
          <ac:picMkLst>
            <pc:docMk/>
            <pc:sldMk cId="2815334483" sldId="271"/>
            <ac:picMk id="39" creationId="{11432867-584A-5571-13EF-C4A133652A5D}"/>
          </ac:picMkLst>
        </pc:picChg>
        <pc:picChg chg="mod ord">
          <ac:chgData name="Joelle Brehm" userId="a518f54c-6985-42c0-8041-2bb16a414839" providerId="ADAL" clId="{7999C4A2-9ACD-4CB2-9DCD-52B9CDE5124D}" dt="2023-05-07T18:07:51.329" v="26631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07:51.314" v="26572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07:44.915" v="26540"/>
        <pc:sldMkLst>
          <pc:docMk/>
          <pc:sldMk cId="1407012127" sldId="272"/>
        </pc:sldMkLst>
        <pc:spChg chg="mod ord">
          <ac:chgData name="Joelle Brehm" userId="a518f54c-6985-42c0-8041-2bb16a414839" providerId="ADAL" clId="{7999C4A2-9ACD-4CB2-9DCD-52B9CDE5124D}" dt="2023-05-07T18:07:44.899" v="26534"/>
          <ac:spMkLst>
            <pc:docMk/>
            <pc:sldMk cId="1407012127" sldId="272"/>
            <ac:spMk id="2" creationId="{7B63279B-FBC7-4B7C-A9D5-69987BC864D5}"/>
          </ac:spMkLst>
        </pc:spChg>
        <pc:spChg chg="add del mod">
          <ac:chgData name="Joelle Brehm" userId="a518f54c-6985-42c0-8041-2bb16a414839" providerId="ADAL" clId="{7999C4A2-9ACD-4CB2-9DCD-52B9CDE5124D}" dt="2023-05-07T18:06:54.347" v="24806" actId="478"/>
          <ac:spMkLst>
            <pc:docMk/>
            <pc:sldMk cId="1407012127" sldId="272"/>
            <ac:spMk id="3" creationId="{DABD1B35-0B2E-76D3-3947-E3D5E93B25B0}"/>
          </ac:spMkLst>
        </pc:spChg>
        <pc:spChg chg="mod ord">
          <ac:chgData name="Joelle Brehm" userId="a518f54c-6985-42c0-8041-2bb16a414839" providerId="ADAL" clId="{7999C4A2-9ACD-4CB2-9DCD-52B9CDE5124D}" dt="2023-05-07T18:07:44.860" v="26469"/>
          <ac:spMkLst>
            <pc:docMk/>
            <pc:sldMk cId="1407012127" sldId="272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07:06.971" v="25060"/>
          <ac:spMkLst>
            <pc:docMk/>
            <pc:sldMk cId="1407012127" sldId="272"/>
            <ac:spMk id="8" creationId="{9D5A7008-E6C4-C916-1F2C-2C1AF59002FE}"/>
          </ac:spMkLst>
        </pc:spChg>
        <pc:spChg chg="mod">
          <ac:chgData name="Joelle Brehm" userId="a518f54c-6985-42c0-8041-2bb16a414839" providerId="ADAL" clId="{7999C4A2-9ACD-4CB2-9DCD-52B9CDE5124D}" dt="2023-05-07T18:07:44.880" v="26481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07:44.878" v="26478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07:44.879" v="26479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07:44.877" v="26475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07:44.877" v="26477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07:44.876" v="26474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07:44.879" v="26480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07:44.877" v="26476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07:44.880" v="26482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07:44.881" v="26483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07:44.881" v="26484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07:44.881" v="26485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07:44.881" v="26487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07:44.883" v="26488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07:44.883" v="26489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07:44.883" v="26490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07:44.883" v="26492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07:44.883" v="26491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07:44.883" v="26493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07:44.883" v="26495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07:44.883" v="26505"/>
          <ac:spMkLst>
            <pc:docMk/>
            <pc:sldMk cId="1407012127" sldId="272"/>
            <ac:spMk id="32" creationId="{99895A00-E6FD-8315-8545-8F5C97720D4E}"/>
          </ac:spMkLst>
        </pc:spChg>
        <pc:spChg chg="mod">
          <ac:chgData name="Joelle Brehm" userId="a518f54c-6985-42c0-8041-2bb16a414839" providerId="ADAL" clId="{7999C4A2-9ACD-4CB2-9DCD-52B9CDE5124D}" dt="2023-05-07T18:07:44.883" v="26504"/>
          <ac:spMkLst>
            <pc:docMk/>
            <pc:sldMk cId="1407012127" sldId="272"/>
            <ac:spMk id="33" creationId="{FA851268-0C57-C1F8-D85D-FE1413AC1777}"/>
          </ac:spMkLst>
        </pc:spChg>
        <pc:spChg chg="mod">
          <ac:chgData name="Joelle Brehm" userId="a518f54c-6985-42c0-8041-2bb16a414839" providerId="ADAL" clId="{7999C4A2-9ACD-4CB2-9DCD-52B9CDE5124D}" dt="2023-05-07T18:07:44.883" v="26503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7999C4A2-9ACD-4CB2-9DCD-52B9CDE5124D}" dt="2023-05-07T18:07:44.883" v="26506"/>
          <ac:spMkLst>
            <pc:docMk/>
            <pc:sldMk cId="1407012127" sldId="272"/>
            <ac:spMk id="35" creationId="{4B6310D6-23E5-0588-F042-388EAC57E1DA}"/>
          </ac:spMkLst>
        </pc:spChg>
        <pc:spChg chg="mod">
          <ac:chgData name="Joelle Brehm" userId="a518f54c-6985-42c0-8041-2bb16a414839" providerId="ADAL" clId="{7999C4A2-9ACD-4CB2-9DCD-52B9CDE5124D}" dt="2023-05-07T18:07:44.883" v="26502"/>
          <ac:spMkLst>
            <pc:docMk/>
            <pc:sldMk cId="1407012127" sldId="272"/>
            <ac:spMk id="36" creationId="{037FE80B-438D-9EB3-2953-BBBE4A06709F}"/>
          </ac:spMkLst>
        </pc:spChg>
        <pc:spChg chg="mod">
          <ac:chgData name="Joelle Brehm" userId="a518f54c-6985-42c0-8041-2bb16a414839" providerId="ADAL" clId="{7999C4A2-9ACD-4CB2-9DCD-52B9CDE5124D}" dt="2023-05-07T18:07:44.883" v="26507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7999C4A2-9ACD-4CB2-9DCD-52B9CDE5124D}" dt="2023-05-07T18:07:44.883" v="26508"/>
          <ac:spMkLst>
            <pc:docMk/>
            <pc:sldMk cId="1407012127" sldId="272"/>
            <ac:spMk id="38" creationId="{06BCD81C-D0C7-3723-E170-7B3605838E01}"/>
          </ac:spMkLst>
        </pc:spChg>
        <pc:spChg chg="add mod replST">
          <ac:chgData name="Joelle Brehm" userId="a518f54c-6985-42c0-8041-2bb16a414839" providerId="ADAL" clId="{7999C4A2-9ACD-4CB2-9DCD-52B9CDE5124D}" dt="2023-05-07T18:07:44.883" v="26500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7999C4A2-9ACD-4CB2-9DCD-52B9CDE5124D}" dt="2023-05-07T18:07:44.883" v="26509"/>
          <ac:spMkLst>
            <pc:docMk/>
            <pc:sldMk cId="1407012127" sldId="272"/>
            <ac:spMk id="41" creationId="{3B0A3A52-5D18-7245-58AE-791EE368F68D}"/>
          </ac:spMkLst>
        </pc:spChg>
        <pc:spChg chg="add del mod modVis">
          <ac:chgData name="Joelle Brehm" userId="a518f54c-6985-42c0-8041-2bb16a414839" providerId="ADAL" clId="{7999C4A2-9ACD-4CB2-9DCD-52B9CDE5124D}" dt="2023-05-07T18:07:30.631" v="25730"/>
          <ac:spMkLst>
            <pc:docMk/>
            <pc:sldMk cId="1407012127" sldId="272"/>
            <ac:spMk id="42" creationId="{877CF1CB-AC1D-0D9B-49AE-18752E2D8B6E}"/>
          </ac:spMkLst>
        </pc:spChg>
        <pc:spChg chg="add del mod modVis">
          <ac:chgData name="Joelle Brehm" userId="a518f54c-6985-42c0-8041-2bb16a414839" providerId="ADAL" clId="{7999C4A2-9ACD-4CB2-9DCD-52B9CDE5124D}" dt="2023-05-07T18:07:32.300" v="25935"/>
          <ac:spMkLst>
            <pc:docMk/>
            <pc:sldMk cId="1407012127" sldId="272"/>
            <ac:spMk id="44" creationId="{AF741C39-42C3-935C-0D60-06214CE679B7}"/>
          </ac:spMkLst>
        </pc:spChg>
        <pc:spChg chg="add del mod modVis">
          <ac:chgData name="Joelle Brehm" userId="a518f54c-6985-42c0-8041-2bb16a414839" providerId="ADAL" clId="{7999C4A2-9ACD-4CB2-9DCD-52B9CDE5124D}" dt="2023-05-07T18:07:34.081" v="26087"/>
          <ac:spMkLst>
            <pc:docMk/>
            <pc:sldMk cId="1407012127" sldId="272"/>
            <ac:spMk id="46" creationId="{4499A32E-37F1-AE25-85D8-463C5240512C}"/>
          </ac:spMkLst>
        </pc:spChg>
        <pc:spChg chg="add del mod modVis">
          <ac:chgData name="Joelle Brehm" userId="a518f54c-6985-42c0-8041-2bb16a414839" providerId="ADAL" clId="{7999C4A2-9ACD-4CB2-9DCD-52B9CDE5124D}" dt="2023-05-07T18:07:37.665" v="26281"/>
          <ac:spMkLst>
            <pc:docMk/>
            <pc:sldMk cId="1407012127" sldId="272"/>
            <ac:spMk id="48" creationId="{C9867F4B-5AFA-C4FA-E5A0-2E09CEDB0AC2}"/>
          </ac:spMkLst>
        </pc:spChg>
        <pc:spChg chg="add del mod modVis">
          <ac:chgData name="Joelle Brehm" userId="a518f54c-6985-42c0-8041-2bb16a414839" providerId="ADAL" clId="{7999C4A2-9ACD-4CB2-9DCD-52B9CDE5124D}" dt="2023-05-07T18:07:44.899" v="26538"/>
          <ac:spMkLst>
            <pc:docMk/>
            <pc:sldMk cId="1407012127" sldId="272"/>
            <ac:spMk id="50" creationId="{11997B24-E4CC-90C4-6CA1-360A43CC8297}"/>
          </ac:spMkLst>
        </pc:spChg>
        <pc:spChg chg="del mod">
          <ac:chgData name="Joelle Brehm" userId="a518f54c-6985-42c0-8041-2bb16a414839" providerId="ADAL" clId="{7999C4A2-9ACD-4CB2-9DCD-52B9CDE5124D}" dt="2023-05-07T18:07:37.522" v="26090"/>
          <ac:spMkLst>
            <pc:docMk/>
            <pc:sldMk cId="1407012127" sldId="272"/>
            <ac:spMk id="59" creationId="{A2FA92B1-F4FE-1473-7364-85DD470E49CA}"/>
          </ac:spMkLst>
        </pc:spChg>
        <pc:spChg chg="mod">
          <ac:chgData name="Joelle Brehm" userId="a518f54c-6985-42c0-8041-2bb16a414839" providerId="ADAL" clId="{7999C4A2-9ACD-4CB2-9DCD-52B9CDE5124D}" dt="2023-05-07T18:07:44.883" v="26501"/>
          <ac:spMkLst>
            <pc:docMk/>
            <pc:sldMk cId="1407012127" sldId="272"/>
            <ac:spMk id="61" creationId="{EEB0DA68-0A97-61DE-D48F-C5CBC82687DD}"/>
          </ac:spMkLst>
        </pc:spChg>
        <pc:spChg chg="mod">
          <ac:chgData name="Joelle Brehm" userId="a518f54c-6985-42c0-8041-2bb16a414839" providerId="ADAL" clId="{7999C4A2-9ACD-4CB2-9DCD-52B9CDE5124D}" dt="2023-05-07T18:07:44.883" v="26499"/>
          <ac:spMkLst>
            <pc:docMk/>
            <pc:sldMk cId="1407012127" sldId="272"/>
            <ac:spMk id="63" creationId="{4410528A-F952-D220-E23F-87D3A27CFBF7}"/>
          </ac:spMkLst>
        </pc:spChg>
        <pc:spChg chg="mod">
          <ac:chgData name="Joelle Brehm" userId="a518f54c-6985-42c0-8041-2bb16a414839" providerId="ADAL" clId="{7999C4A2-9ACD-4CB2-9DCD-52B9CDE5124D}" dt="2023-05-07T18:07:44.883" v="26498"/>
          <ac:spMkLst>
            <pc:docMk/>
            <pc:sldMk cId="1407012127" sldId="272"/>
            <ac:spMk id="70" creationId="{B6822296-A0C9-A6AA-362B-476083CFEED1}"/>
          </ac:spMkLst>
        </pc:spChg>
        <pc:spChg chg="mod ord">
          <ac:chgData name="Joelle Brehm" userId="a518f54c-6985-42c0-8041-2bb16a414839" providerId="ADAL" clId="{7999C4A2-9ACD-4CB2-9DCD-52B9CDE5124D}" dt="2023-05-07T18:07:44.899" v="26532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7999C4A2-9ACD-4CB2-9DCD-52B9CDE5124D}" dt="2023-05-07T18:07:44.883" v="26511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07:44.883" v="26513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07:44.883" v="26515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07:44.883" v="26517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07:44.883" v="26519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07:44.883" v="26521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07:44.899" v="26524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7:44.899" v="26525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7:44.899" v="26527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07:44.899" v="26526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07:44.899" v="26528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07:44.915" v="26540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7:44.876" v="26473"/>
          <ac:graphicFrameMkLst>
            <pc:docMk/>
            <pc:sldMk cId="1407012127" sldId="272"/>
            <ac:graphicFrameMk id="9" creationId="{DCFC0D19-9087-3F9E-76C2-AAB41CA2AB93}"/>
          </ac:graphicFrameMkLst>
        </pc:graphicFrameChg>
        <pc:graphicFrameChg chg="del">
          <ac:chgData name="Joelle Brehm" userId="a518f54c-6985-42c0-8041-2bb16a414839" providerId="ADAL" clId="{7999C4A2-9ACD-4CB2-9DCD-52B9CDE5124D}" dt="2023-05-07T18:07:06.858" v="24977"/>
          <ac:graphicFrameMkLst>
            <pc:docMk/>
            <pc:sldMk cId="1407012127" sldId="272"/>
            <ac:graphicFrameMk id="31" creationId="{E5700BC4-2DED-00C3-778F-C69E82C9C192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7:44.808" v="26459"/>
          <ac:graphicFrameMkLst>
            <pc:docMk/>
            <pc:sldMk cId="1407012127" sldId="272"/>
            <ac:graphicFrameMk id="40" creationId="{6C483B7F-8D46-BE4A-0951-9BCBB479E95B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7:32.163" v="25833"/>
          <ac:graphicFrameMkLst>
            <pc:docMk/>
            <pc:sldMk cId="1407012127" sldId="272"/>
            <ac:graphicFrameMk id="43" creationId="{F290D9D0-FC7C-66F3-491F-8F204FE58BC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7:34.034" v="26007"/>
          <ac:graphicFrameMkLst>
            <pc:docMk/>
            <pc:sldMk cId="1407012127" sldId="272"/>
            <ac:graphicFrameMk id="45" creationId="{7337E76E-EA97-C900-93F0-70F3A3B91F9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07:37.618" v="26202"/>
          <ac:graphicFrameMkLst>
            <pc:docMk/>
            <pc:sldMk cId="1407012127" sldId="272"/>
            <ac:graphicFrameMk id="47" creationId="{D6B7B5CA-F99A-3ACB-1C2A-7117ACC7EFA5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7:44.883" v="26497"/>
          <ac:graphicFrameMkLst>
            <pc:docMk/>
            <pc:sldMk cId="1407012127" sldId="272"/>
            <ac:graphicFrameMk id="49" creationId="{6FF54E1E-DD96-2AE3-5545-0C41F73AD817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07:30.543" v="25642"/>
          <ac:graphicFrameMkLst>
            <pc:docMk/>
            <pc:sldMk cId="1407012127" sldId="272"/>
            <ac:graphicFrameMk id="51" creationId="{954969D3-6774-3833-1F54-6AC1AD9160CA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07:44.899" v="26523"/>
          <ac:graphicFrameMkLst>
            <pc:docMk/>
            <pc:sldMk cId="1407012127" sldId="272"/>
            <ac:graphicFrameMk id="52" creationId="{9401D178-A66F-89C3-BB54-61F99CBC48D5}"/>
          </ac:graphicFrameMkLst>
        </pc:graphicFrameChg>
        <pc:picChg chg="del mod ord">
          <ac:chgData name="Joelle Brehm" userId="a518f54c-6985-42c0-8041-2bb16a414839" providerId="ADAL" clId="{7999C4A2-9ACD-4CB2-9DCD-52B9CDE5124D}" dt="2023-05-07T18:07:22.193" v="25150" actId="478"/>
          <ac:picMkLst>
            <pc:docMk/>
            <pc:sldMk cId="1407012127" sldId="272"/>
            <ac:picMk id="5" creationId="{75913A0D-8C29-80E5-BE0C-B9AC6E7D2918}"/>
          </ac:picMkLst>
        </pc:picChg>
        <pc:picChg chg="add mod ord">
          <ac:chgData name="Joelle Brehm" userId="a518f54c-6985-42c0-8041-2bb16a414839" providerId="ADAL" clId="{7999C4A2-9ACD-4CB2-9DCD-52B9CDE5124D}" dt="2023-05-07T18:07:44.860" v="26467"/>
          <ac:picMkLst>
            <pc:docMk/>
            <pc:sldMk cId="1407012127" sldId="272"/>
            <ac:picMk id="10" creationId="{E0200243-8BCF-6DDD-40A6-65A9C33163F9}"/>
          </ac:picMkLst>
        </pc:picChg>
        <pc:picChg chg="mod ord">
          <ac:chgData name="Joelle Brehm" userId="a518f54c-6985-42c0-8041-2bb16a414839" providerId="ADAL" clId="{7999C4A2-9ACD-4CB2-9DCD-52B9CDE5124D}" dt="2023-05-07T18:07:44.899" v="26530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07:44.860" v="26471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12:02.030" v="28344"/>
        <pc:sldMkLst>
          <pc:docMk/>
          <pc:sldMk cId="4005475890" sldId="273"/>
        </pc:sldMkLst>
        <pc:spChg chg="mod ord">
          <ac:chgData name="Joelle Brehm" userId="a518f54c-6985-42c0-8041-2bb16a414839" providerId="ADAL" clId="{7999C4A2-9ACD-4CB2-9DCD-52B9CDE5124D}" dt="2023-05-07T18:12:02.016" v="28338"/>
          <ac:spMkLst>
            <pc:docMk/>
            <pc:sldMk cId="4005475890" sldId="273"/>
            <ac:spMk id="2" creationId="{072E23F3-409C-46DC-8EB8-140BD200F8C6}"/>
          </ac:spMkLst>
        </pc:spChg>
        <pc:spChg chg="add del mod">
          <ac:chgData name="Joelle Brehm" userId="a518f54c-6985-42c0-8041-2bb16a414839" providerId="ADAL" clId="{7999C4A2-9ACD-4CB2-9DCD-52B9CDE5124D}" dt="2023-05-07T18:11:15.248" v="26640" actId="478"/>
          <ac:spMkLst>
            <pc:docMk/>
            <pc:sldMk cId="4005475890" sldId="273"/>
            <ac:spMk id="3" creationId="{AC090B1A-7D73-7632-38D3-18E1167392A5}"/>
          </ac:spMkLst>
        </pc:spChg>
        <pc:spChg chg="mod ord">
          <ac:chgData name="Joelle Brehm" userId="a518f54c-6985-42c0-8041-2bb16a414839" providerId="ADAL" clId="{7999C4A2-9ACD-4CB2-9DCD-52B9CDE5124D}" dt="2023-05-07T18:12:01.993" v="28273"/>
          <ac:spMkLst>
            <pc:docMk/>
            <pc:sldMk cId="4005475890" sldId="273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11:20.805" v="26904"/>
          <ac:spMkLst>
            <pc:docMk/>
            <pc:sldMk cId="4005475890" sldId="273"/>
            <ac:spMk id="8" creationId="{F0602FA7-E19D-A81E-F069-0D2811FF110D}"/>
          </ac:spMkLst>
        </pc:spChg>
        <pc:spChg chg="mod">
          <ac:chgData name="Joelle Brehm" userId="a518f54c-6985-42c0-8041-2bb16a414839" providerId="ADAL" clId="{7999C4A2-9ACD-4CB2-9DCD-52B9CDE5124D}" dt="2023-05-07T18:12:01.993" v="28280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12:01.993" v="28282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12:01.993" v="28284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12:01.993" v="28279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12:01.993" v="28281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12:01.993" v="28283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12:01.993" v="28285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12:01.993" v="28278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12:01.993" v="28286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12:01.993" v="28287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12:01.993" v="28288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12:01.993" v="28289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12:01.993" v="28291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12:01.993" v="28293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12:01.993" v="28292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12:01.993" v="28294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12:01.993" v="28296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12:01.993" v="28295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12:01.993" v="28297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12:02.009" v="28299"/>
          <ac:spMkLst>
            <pc:docMk/>
            <pc:sldMk cId="4005475890" sldId="273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7999C4A2-9ACD-4CB2-9DCD-52B9CDE5124D}" dt="2023-05-07T18:11:47.744" v="27230"/>
          <ac:spMkLst>
            <pc:docMk/>
            <pc:sldMk cId="4005475890" sldId="273"/>
            <ac:spMk id="32" creationId="{1B4C853F-4C8C-11B9-2D68-76CA22EFE387}"/>
          </ac:spMkLst>
        </pc:spChg>
        <pc:spChg chg="mod">
          <ac:chgData name="Joelle Brehm" userId="a518f54c-6985-42c0-8041-2bb16a414839" providerId="ADAL" clId="{7999C4A2-9ACD-4CB2-9DCD-52B9CDE5124D}" dt="2023-05-07T18:12:02.009" v="28312"/>
          <ac:spMkLst>
            <pc:docMk/>
            <pc:sldMk cId="4005475890" sldId="273"/>
            <ac:spMk id="34" creationId="{A2B9B97E-B334-BC21-89F0-0EE0D8109A92}"/>
          </ac:spMkLst>
        </pc:spChg>
        <pc:spChg chg="add mod replST">
          <ac:chgData name="Joelle Brehm" userId="a518f54c-6985-42c0-8041-2bb16a414839" providerId="ADAL" clId="{7999C4A2-9ACD-4CB2-9DCD-52B9CDE5124D}" dt="2023-05-07T18:12:02.009" v="28313"/>
          <ac:spMkLst>
            <pc:docMk/>
            <pc:sldMk cId="4005475890" sldId="273"/>
            <ac:spMk id="36" creationId="{2EDF94C4-61E5-066D-4CC5-2CF1F259F61A}"/>
          </ac:spMkLst>
        </pc:spChg>
        <pc:spChg chg="add del mod modVis">
          <ac:chgData name="Joelle Brehm" userId="a518f54c-6985-42c0-8041-2bb16a414839" providerId="ADAL" clId="{7999C4A2-9ACD-4CB2-9DCD-52B9CDE5124D}" dt="2023-05-07T18:11:52.548" v="27787"/>
          <ac:spMkLst>
            <pc:docMk/>
            <pc:sldMk cId="4005475890" sldId="273"/>
            <ac:spMk id="37" creationId="{4BD3B80A-587A-4D79-724A-3E1703418100}"/>
          </ac:spMkLst>
        </pc:spChg>
        <pc:spChg chg="add del mod modVis">
          <ac:chgData name="Joelle Brehm" userId="a518f54c-6985-42c0-8041-2bb16a414839" providerId="ADAL" clId="{7999C4A2-9ACD-4CB2-9DCD-52B9CDE5124D}" dt="2023-05-07T18:11:56.391" v="27992"/>
          <ac:spMkLst>
            <pc:docMk/>
            <pc:sldMk cId="4005475890" sldId="273"/>
            <ac:spMk id="39" creationId="{21731CD1-E63D-084E-50A7-FE58552663A2}"/>
          </ac:spMkLst>
        </pc:spChg>
        <pc:spChg chg="add del mod modVis">
          <ac:chgData name="Joelle Brehm" userId="a518f54c-6985-42c0-8041-2bb16a414839" providerId="ADAL" clId="{7999C4A2-9ACD-4CB2-9DCD-52B9CDE5124D}" dt="2023-05-07T18:11:59.128" v="28146"/>
          <ac:spMkLst>
            <pc:docMk/>
            <pc:sldMk cId="4005475890" sldId="273"/>
            <ac:spMk id="41" creationId="{CE9B176E-4762-AE82-3E19-BC5D50CDC43F}"/>
          </ac:spMkLst>
        </pc:spChg>
        <pc:spChg chg="add del mod modVis">
          <ac:chgData name="Joelle Brehm" userId="a518f54c-6985-42c0-8041-2bb16a414839" providerId="ADAL" clId="{7999C4A2-9ACD-4CB2-9DCD-52B9CDE5124D}" dt="2023-05-07T18:12:02.016" v="28342"/>
          <ac:spMkLst>
            <pc:docMk/>
            <pc:sldMk cId="4005475890" sldId="273"/>
            <ac:spMk id="43" creationId="{08A09032-224C-857B-44C3-0C9A91718391}"/>
          </ac:spMkLst>
        </pc:spChg>
        <pc:spChg chg="mod ord">
          <ac:chgData name="Joelle Brehm" userId="a518f54c-6985-42c0-8041-2bb16a414839" providerId="ADAL" clId="{7999C4A2-9ACD-4CB2-9DCD-52B9CDE5124D}" dt="2023-05-07T18:12:02.016" v="28336"/>
          <ac:spMkLst>
            <pc:docMk/>
            <pc:sldMk cId="4005475890" sldId="273"/>
            <ac:spMk id="58" creationId="{FEC487CB-3123-46A1-8350-8669839FA870}"/>
          </ac:spMkLst>
        </pc:spChg>
        <pc:spChg chg="del mod">
          <ac:chgData name="Joelle Brehm" userId="a518f54c-6985-42c0-8041-2bb16a414839" providerId="ADAL" clId="{7999C4A2-9ACD-4CB2-9DCD-52B9CDE5124D}" dt="2023-05-07T18:12:01.875" v="28149"/>
          <ac:spMkLst>
            <pc:docMk/>
            <pc:sldMk cId="4005475890" sldId="273"/>
            <ac:spMk id="7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06"/>
          <ac:spMkLst>
            <pc:docMk/>
            <pc:sldMk cId="4005475890" sldId="273"/>
            <ac:spMk id="7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07"/>
          <ac:spMkLst>
            <pc:docMk/>
            <pc:sldMk cId="4005475890" sldId="273"/>
            <ac:spMk id="7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04"/>
          <ac:spMkLst>
            <pc:docMk/>
            <pc:sldMk cId="4005475890" sldId="273"/>
            <ac:spMk id="7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12:02.016" v="28315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12:02.016" v="28317"/>
          <ac:spMkLst>
            <pc:docMk/>
            <pc:sldMk cId="4005475890" sldId="273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12:02.009" v="28308"/>
          <ac:spMkLst>
            <pc:docMk/>
            <pc:sldMk cId="4005475890" sldId="273"/>
            <ac:spMk id="8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02"/>
          <ac:spMkLst>
            <pc:docMk/>
            <pc:sldMk cId="4005475890" sldId="273"/>
            <ac:spMk id="8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09"/>
          <ac:spMkLst>
            <pc:docMk/>
            <pc:sldMk cId="4005475890" sldId="273"/>
            <ac:spMk id="8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03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10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11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09" v="28305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12:02.016" v="28319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12:02.016" v="28321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12:02.016" v="28323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12:02.016" v="28325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12:02.016" v="28329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16" v="28330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16" v="28332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2:02.016" v="28328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12:02.016" v="28331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12:02.030" v="28344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11:20.742" v="26819"/>
          <ac:graphicFrameMkLst>
            <pc:docMk/>
            <pc:sldMk cId="4005475890" sldId="273"/>
            <ac:graphicFrameMk id="9" creationId="{5907D17D-3C42-242E-5FA1-239F2D8DF8C2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2:01.993" v="28277"/>
          <ac:graphicFrameMkLst>
            <pc:docMk/>
            <pc:sldMk cId="4005475890" sldId="273"/>
            <ac:graphicFrameMk id="10" creationId="{24D20382-4DA8-DEEA-E2F0-6727F85B24AE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11:47.687" v="27151"/>
          <ac:graphicFrameMkLst>
            <pc:docMk/>
            <pc:sldMk cId="4005475890" sldId="273"/>
            <ac:graphicFrameMk id="33" creationId="{50D24ECC-AB1C-3C57-F88F-D9F929BF4EDB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2:02.016" v="28327"/>
          <ac:graphicFrameMkLst>
            <pc:docMk/>
            <pc:sldMk cId="4005475890" sldId="273"/>
            <ac:graphicFrameMk id="35" creationId="{7C370BF5-1C01-B2C0-DA44-C10F6A242C7B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1:56.344" v="27892"/>
          <ac:graphicFrameMkLst>
            <pc:docMk/>
            <pc:sldMk cId="4005475890" sldId="273"/>
            <ac:graphicFrameMk id="38" creationId="{8952037F-6640-B21C-0F5F-D7B55A2464E8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1:59.096" v="28066"/>
          <ac:graphicFrameMkLst>
            <pc:docMk/>
            <pc:sldMk cId="4005475890" sldId="273"/>
            <ac:graphicFrameMk id="40" creationId="{409D5FDC-8E65-F7C7-9C92-7C75FEDB77E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2:01.963" v="28263"/>
          <ac:graphicFrameMkLst>
            <pc:docMk/>
            <pc:sldMk cId="4005475890" sldId="273"/>
            <ac:graphicFrameMk id="42" creationId="{93D7C21D-F0BE-B5B9-8F29-D3D032D13EA0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2:02.009" v="28301"/>
          <ac:graphicFrameMkLst>
            <pc:docMk/>
            <pc:sldMk cId="4005475890" sldId="273"/>
            <ac:graphicFrameMk id="44" creationId="{5F3F3722-1079-5F18-3268-9B37A5544C00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11:52.501" v="27701"/>
          <ac:graphicFrameMkLst>
            <pc:docMk/>
            <pc:sldMk cId="4005475890" sldId="273"/>
            <ac:graphicFrameMk id="45" creationId="{AA0F336F-810A-8AEC-330E-3BCC170D74F6}"/>
          </ac:graphicFrameMkLst>
        </pc:graphicFrameChg>
        <pc:picChg chg="del mod ord">
          <ac:chgData name="Joelle Brehm" userId="a518f54c-6985-42c0-8041-2bb16a414839" providerId="ADAL" clId="{7999C4A2-9ACD-4CB2-9DCD-52B9CDE5124D}" dt="2023-05-07T18:11:40.926" v="26989" actId="478"/>
          <ac:picMkLst>
            <pc:docMk/>
            <pc:sldMk cId="4005475890" sldId="273"/>
            <ac:picMk id="5" creationId="{DAA79067-EEA2-CD8A-D7C1-43EA196510FD}"/>
          </ac:picMkLst>
        </pc:picChg>
        <pc:picChg chg="add mod ord">
          <ac:chgData name="Joelle Brehm" userId="a518f54c-6985-42c0-8041-2bb16a414839" providerId="ADAL" clId="{7999C4A2-9ACD-4CB2-9DCD-52B9CDE5124D}" dt="2023-05-07T18:12:01.993" v="28271"/>
          <ac:picMkLst>
            <pc:docMk/>
            <pc:sldMk cId="4005475890" sldId="273"/>
            <ac:picMk id="31" creationId="{EE488F33-94CD-11A0-0B42-2EE6002D1CC0}"/>
          </ac:picMkLst>
        </pc:picChg>
        <pc:picChg chg="mod ord">
          <ac:chgData name="Joelle Brehm" userId="a518f54c-6985-42c0-8041-2bb16a414839" providerId="ADAL" clId="{7999C4A2-9ACD-4CB2-9DCD-52B9CDE5124D}" dt="2023-05-07T18:12:02.016" v="28334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12:01.993" v="28275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15:19.564" v="30401"/>
        <pc:sldMkLst>
          <pc:docMk/>
          <pc:sldMk cId="3374649050" sldId="274"/>
        </pc:sldMkLst>
        <pc:spChg chg="mod ord">
          <ac:chgData name="Joelle Brehm" userId="a518f54c-6985-42c0-8041-2bb16a414839" providerId="ADAL" clId="{7999C4A2-9ACD-4CB2-9DCD-52B9CDE5124D}" dt="2023-05-07T18:15:19.548" v="30395"/>
          <ac:spMkLst>
            <pc:docMk/>
            <pc:sldMk cId="3374649050" sldId="274"/>
            <ac:spMk id="2" creationId="{5B9511BD-9A18-4BDB-8C3B-3627E48A258D}"/>
          </ac:spMkLst>
        </pc:spChg>
        <pc:spChg chg="add del mod">
          <ac:chgData name="Joelle Brehm" userId="a518f54c-6985-42c0-8041-2bb16a414839" providerId="ADAL" clId="{7999C4A2-9ACD-4CB2-9DCD-52B9CDE5124D}" dt="2023-05-07T18:12:19.167" v="28345" actId="478"/>
          <ac:spMkLst>
            <pc:docMk/>
            <pc:sldMk cId="3374649050" sldId="274"/>
            <ac:spMk id="3" creationId="{A7A33BEE-ECEF-377B-EEE4-D8E438464EAC}"/>
          </ac:spMkLst>
        </pc:spChg>
        <pc:spChg chg="add del mod modVis">
          <ac:chgData name="Joelle Brehm" userId="a518f54c-6985-42c0-8041-2bb16a414839" providerId="ADAL" clId="{7999C4A2-9ACD-4CB2-9DCD-52B9CDE5124D}" dt="2023-05-07T18:12:21.498" v="28605"/>
          <ac:spMkLst>
            <pc:docMk/>
            <pc:sldMk cId="3374649050" sldId="274"/>
            <ac:spMk id="5" creationId="{146C6DEE-07A0-350C-C383-51D89F7B266E}"/>
          </ac:spMkLst>
        </pc:spChg>
        <pc:spChg chg="mod ord">
          <ac:chgData name="Joelle Brehm" userId="a518f54c-6985-42c0-8041-2bb16a414839" providerId="ADAL" clId="{7999C4A2-9ACD-4CB2-9DCD-52B9CDE5124D}" dt="2023-05-07T18:15:19.532" v="30330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15:19.548" v="30341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15:19.548" v="30339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15:19.548" v="30337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15:19.548" v="30336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15:19.548" v="30338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15:19.548" v="30342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15:19.548" v="30340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15:19.548" v="30343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15:19.548" v="30344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15:19.548" v="30345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15:19.548" v="30346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15:19.532" v="30335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15:19.548" v="30348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15:19.548" v="30350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15:19.548" v="30349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15:19.548" v="30351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15:19.548" v="30354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15:19.548" v="30352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15:19.548" v="30353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15:19.548" v="30356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15:19.548" v="30369"/>
          <ac:spMkLst>
            <pc:docMk/>
            <pc:sldMk cId="3374649050" sldId="274"/>
            <ac:spMk id="33" creationId="{8A5C4479-0363-6F13-F887-8871FD03F34C}"/>
          </ac:spMkLst>
        </pc:spChg>
        <pc:spChg chg="add del mod modVis">
          <ac:chgData name="Joelle Brehm" userId="a518f54c-6985-42c0-8041-2bb16a414839" providerId="ADAL" clId="{7999C4A2-9ACD-4CB2-9DCD-52B9CDE5124D}" dt="2023-05-07T18:12:47.121" v="28930"/>
          <ac:spMkLst>
            <pc:docMk/>
            <pc:sldMk cId="3374649050" sldId="274"/>
            <ac:spMk id="34" creationId="{B600D7F2-0DEF-B098-6BB1-BAE4FC2D41E2}"/>
          </ac:spMkLst>
        </pc:spChg>
        <pc:spChg chg="add del mod modVis">
          <ac:chgData name="Joelle Brehm" userId="a518f54c-6985-42c0-8041-2bb16a414839" providerId="ADAL" clId="{7999C4A2-9ACD-4CB2-9DCD-52B9CDE5124D}" dt="2023-05-07T18:14:58.921" v="29072"/>
          <ac:spMkLst>
            <pc:docMk/>
            <pc:sldMk cId="3374649050" sldId="274"/>
            <ac:spMk id="36" creationId="{CF5D5D10-B819-87B5-895C-A90A112686AE}"/>
          </ac:spMkLst>
        </pc:spChg>
        <pc:spChg chg="add mod replST">
          <ac:chgData name="Joelle Brehm" userId="a518f54c-6985-42c0-8041-2bb16a414839" providerId="ADAL" clId="{7999C4A2-9ACD-4CB2-9DCD-52B9CDE5124D}" dt="2023-05-07T18:15:19.548" v="30370"/>
          <ac:spMkLst>
            <pc:docMk/>
            <pc:sldMk cId="3374649050" sldId="274"/>
            <ac:spMk id="38" creationId="{1995B1DD-126C-92BA-1668-3B87C2F5B1E5}"/>
          </ac:spMkLst>
        </pc:spChg>
        <pc:spChg chg="add del mod modVis">
          <ac:chgData name="Joelle Brehm" userId="a518f54c-6985-42c0-8041-2bb16a414839" providerId="ADAL" clId="{7999C4A2-9ACD-4CB2-9DCD-52B9CDE5124D}" dt="2023-05-07T18:15:04.862" v="29680"/>
          <ac:spMkLst>
            <pc:docMk/>
            <pc:sldMk cId="3374649050" sldId="274"/>
            <ac:spMk id="39" creationId="{6B2EBDFA-7AD7-4633-EBA6-4C4B86363176}"/>
          </ac:spMkLst>
        </pc:spChg>
        <pc:spChg chg="add del mod ord replST">
          <ac:chgData name="Joelle Brehm" userId="a518f54c-6985-42c0-8041-2bb16a414839" providerId="ADAL" clId="{7999C4A2-9ACD-4CB2-9DCD-52B9CDE5124D}" dt="2023-05-07T18:15:19.517" v="30318"/>
          <ac:spMkLst>
            <pc:docMk/>
            <pc:sldMk cId="3374649050" sldId="274"/>
            <ac:spMk id="40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15:07.909" v="29888"/>
          <ac:spMkLst>
            <pc:docMk/>
            <pc:sldMk cId="3374649050" sldId="274"/>
            <ac:spMk id="42" creationId="{1799527E-C754-A6F2-EC38-84BD170C14A1}"/>
          </ac:spMkLst>
        </pc:spChg>
        <pc:spChg chg="mod">
          <ac:chgData name="Joelle Brehm" userId="a518f54c-6985-42c0-8041-2bb16a414839" providerId="ADAL" clId="{7999C4A2-9ACD-4CB2-9DCD-52B9CDE5124D}" dt="2023-05-07T18:15:19.548" v="30386"/>
          <ac:spMkLst>
            <pc:docMk/>
            <pc:sldMk cId="3374649050" sldId="274"/>
            <ac:spMk id="43" creationId="{71A50278-0560-C951-1F18-CA11BF2F6494}"/>
          </ac:spMkLst>
        </pc:spChg>
        <pc:spChg chg="add del mod modVis">
          <ac:chgData name="Joelle Brehm" userId="a518f54c-6985-42c0-8041-2bb16a414839" providerId="ADAL" clId="{7999C4A2-9ACD-4CB2-9DCD-52B9CDE5124D}" dt="2023-05-07T18:15:12.592" v="30045"/>
          <ac:spMkLst>
            <pc:docMk/>
            <pc:sldMk cId="3374649050" sldId="274"/>
            <ac:spMk id="45" creationId="{3F26BD1F-FF23-41B4-125E-6E5DAB4EEEC2}"/>
          </ac:spMkLst>
        </pc:spChg>
        <pc:spChg chg="add del mod modVis">
          <ac:chgData name="Joelle Brehm" userId="a518f54c-6985-42c0-8041-2bb16a414839" providerId="ADAL" clId="{7999C4A2-9ACD-4CB2-9DCD-52B9CDE5124D}" dt="2023-05-07T18:15:15.308" v="30244"/>
          <ac:spMkLst>
            <pc:docMk/>
            <pc:sldMk cId="3374649050" sldId="274"/>
            <ac:spMk id="47" creationId="{4568B20A-6924-376E-FA68-46D4558B6BBB}"/>
          </ac:spMkLst>
        </pc:spChg>
        <pc:spChg chg="add del mod modVis">
          <ac:chgData name="Joelle Brehm" userId="a518f54c-6985-42c0-8041-2bb16a414839" providerId="ADAL" clId="{7999C4A2-9ACD-4CB2-9DCD-52B9CDE5124D}" dt="2023-05-07T18:15:19.548" v="30399"/>
          <ac:spMkLst>
            <pc:docMk/>
            <pc:sldMk cId="3374649050" sldId="274"/>
            <ac:spMk id="49" creationId="{B49D7C78-56D2-1FF8-14CA-2C20515E15E6}"/>
          </ac:spMkLst>
        </pc:spChg>
        <pc:spChg chg="mod ord">
          <ac:chgData name="Joelle Brehm" userId="a518f54c-6985-42c0-8041-2bb16a414839" providerId="ADAL" clId="{7999C4A2-9ACD-4CB2-9DCD-52B9CDE5124D}" dt="2023-05-07T18:15:19.548" v="30393"/>
          <ac:spMkLst>
            <pc:docMk/>
            <pc:sldMk cId="3374649050" sldId="274"/>
            <ac:spMk id="58" creationId="{5BBF118A-F952-4AA1-8B74-92A00B5F6171}"/>
          </ac:spMkLst>
        </pc:spChg>
        <pc:spChg chg="del mod">
          <ac:chgData name="Joelle Brehm" userId="a518f54c-6985-42c0-8041-2bb16a414839" providerId="ADAL" clId="{7999C4A2-9ACD-4CB2-9DCD-52B9CDE5124D}" dt="2023-05-07T18:15:15.165" v="30048"/>
          <ac:spMkLst>
            <pc:docMk/>
            <pc:sldMk cId="3374649050" sldId="274"/>
            <ac:spMk id="7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0"/>
          <ac:spMkLst>
            <pc:docMk/>
            <pc:sldMk cId="3374649050" sldId="274"/>
            <ac:spMk id="7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3"/>
          <ac:spMkLst>
            <pc:docMk/>
            <pc:sldMk cId="3374649050" sldId="274"/>
            <ac:spMk id="7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15:19.548" v="30372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15:19.548" v="30374"/>
          <ac:spMkLst>
            <pc:docMk/>
            <pc:sldMk cId="3374649050" sldId="274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15:19.548" v="30361"/>
          <ac:spMkLst>
            <pc:docMk/>
            <pc:sldMk cId="3374649050" sldId="274"/>
            <ac:spMk id="8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2"/>
          <ac:spMkLst>
            <pc:docMk/>
            <pc:sldMk cId="3374649050" sldId="274"/>
            <ac:spMk id="8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4"/>
          <ac:spMkLst>
            <pc:docMk/>
            <pc:sldMk cId="3374649050" sldId="274"/>
            <ac:spMk id="8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5"/>
          <ac:spMkLst>
            <pc:docMk/>
            <pc:sldMk cId="3374649050" sldId="274"/>
            <ac:spMk id="8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59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6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7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68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15:19.548" v="30376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15:19.548" v="30378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15:19.548" v="30380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15:19.548" v="30382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15:19.548" v="30387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89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5:19.548" v="30385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15:19.548" v="30388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15:19.564" v="30401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12:21.434" v="28520"/>
          <ac:graphicFrameMkLst>
            <pc:docMk/>
            <pc:sldMk cId="3374649050" sldId="274"/>
            <ac:graphicFrameMk id="8" creationId="{E95CC717-10FA-A63B-0C9A-05F0050454F3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5:19.532" v="30334"/>
          <ac:graphicFrameMkLst>
            <pc:docMk/>
            <pc:sldMk cId="3374649050" sldId="274"/>
            <ac:graphicFrameMk id="10" creationId="{B15CBB23-204F-920A-1842-5A6FC1C9134D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12:47.080" v="28851"/>
          <ac:graphicFrameMkLst>
            <pc:docMk/>
            <pc:sldMk cId="3374649050" sldId="274"/>
            <ac:graphicFrameMk id="31" creationId="{FD79DC49-9212-C064-1A44-FF51ED5C1591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4:58.864" v="28993"/>
          <ac:graphicFrameMkLst>
            <pc:docMk/>
            <pc:sldMk cId="3374649050" sldId="274"/>
            <ac:graphicFrameMk id="35" creationId="{8EBAEA53-FD05-F0F4-D94A-4A51B9ADF55F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5:19.548" v="30384"/>
          <ac:graphicFrameMkLst>
            <pc:docMk/>
            <pc:sldMk cId="3374649050" sldId="274"/>
            <ac:graphicFrameMk id="37" creationId="{776DFCBF-4CB9-1193-87BB-E9031EC95DE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5:07.829" v="29786"/>
          <ac:graphicFrameMkLst>
            <pc:docMk/>
            <pc:sldMk cId="3374649050" sldId="274"/>
            <ac:graphicFrameMk id="41" creationId="{2083E96D-28EA-D598-BA06-AB6DCFAA5B4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5:12.488" v="29963"/>
          <ac:graphicFrameMkLst>
            <pc:docMk/>
            <pc:sldMk cId="3374649050" sldId="274"/>
            <ac:graphicFrameMk id="44" creationId="{4A8C0334-5A83-99AC-8C21-1A08236390B4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5:15.260" v="30163"/>
          <ac:graphicFrameMkLst>
            <pc:docMk/>
            <pc:sldMk cId="3374649050" sldId="274"/>
            <ac:graphicFrameMk id="46" creationId="{8DB740B5-B5D0-EE71-A37E-89E86504B984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5:19.517" v="30320"/>
          <ac:graphicFrameMkLst>
            <pc:docMk/>
            <pc:sldMk cId="3374649050" sldId="274"/>
            <ac:graphicFrameMk id="48" creationId="{CBB34D25-1BBF-B238-41A1-D5830E9140F4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5:19.548" v="30358"/>
          <ac:graphicFrameMkLst>
            <pc:docMk/>
            <pc:sldMk cId="3374649050" sldId="274"/>
            <ac:graphicFrameMk id="50" creationId="{64C86CD2-075D-ECE9-DF8D-07A421DAACBC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15:04.819" v="29594"/>
          <ac:graphicFrameMkLst>
            <pc:docMk/>
            <pc:sldMk cId="3374649050" sldId="274"/>
            <ac:graphicFrameMk id="57" creationId="{BCE4CA70-499E-408A-A43C-33B1805E6DCC}"/>
          </ac:graphicFrameMkLst>
        </pc:graphicFrameChg>
        <pc:picChg chg="del mod ord">
          <ac:chgData name="Joelle Brehm" userId="a518f54c-6985-42c0-8041-2bb16a414839" providerId="ADAL" clId="{7999C4A2-9ACD-4CB2-9DCD-52B9CDE5124D}" dt="2023-05-07T18:12:40.240" v="28689" actId="478"/>
          <ac:picMkLst>
            <pc:docMk/>
            <pc:sldMk cId="3374649050" sldId="274"/>
            <ac:picMk id="9" creationId="{95AB9A29-F3B4-50C5-9BF8-B1CA78458DC9}"/>
          </ac:picMkLst>
        </pc:picChg>
        <pc:picChg chg="add mod ord">
          <ac:chgData name="Joelle Brehm" userId="a518f54c-6985-42c0-8041-2bb16a414839" providerId="ADAL" clId="{7999C4A2-9ACD-4CB2-9DCD-52B9CDE5124D}" dt="2023-05-07T18:15:19.532" v="30328"/>
          <ac:picMkLst>
            <pc:docMk/>
            <pc:sldMk cId="3374649050" sldId="274"/>
            <ac:picMk id="32" creationId="{19411738-029D-E26D-E12D-C26389B38804}"/>
          </ac:picMkLst>
        </pc:picChg>
        <pc:picChg chg="mod ord">
          <ac:chgData name="Joelle Brehm" userId="a518f54c-6985-42c0-8041-2bb16a414839" providerId="ADAL" clId="{7999C4A2-9ACD-4CB2-9DCD-52B9CDE5124D}" dt="2023-05-07T18:15:19.548" v="30391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15:19.532" v="30332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19:15.625" v="32298" actId="1038"/>
        <pc:sldMkLst>
          <pc:docMk/>
          <pc:sldMk cId="592117244" sldId="275"/>
        </pc:sldMkLst>
        <pc:spChg chg="add del mod">
          <ac:chgData name="Joelle Brehm" userId="a518f54c-6985-42c0-8041-2bb16a414839" providerId="ADAL" clId="{7999C4A2-9ACD-4CB2-9DCD-52B9CDE5124D}" dt="2023-05-07T18:15:42.320" v="30402" actId="478"/>
          <ac:spMkLst>
            <pc:docMk/>
            <pc:sldMk cId="592117244" sldId="275"/>
            <ac:spMk id="2" creationId="{372273F0-F939-70BE-EA88-88603C61BB7E}"/>
          </ac:spMkLst>
        </pc:spChg>
        <pc:spChg chg="mod ord">
          <ac:chgData name="Joelle Brehm" userId="a518f54c-6985-42c0-8041-2bb16a414839" providerId="ADAL" clId="{7999C4A2-9ACD-4CB2-9DCD-52B9CDE5124D}" dt="2023-05-07T18:17:05.141" v="32026"/>
          <ac:spMkLst>
            <pc:docMk/>
            <pc:sldMk cId="592117244" sldId="275"/>
            <ac:spMk id="3" creationId="{0C27DD68-4A51-4792-857F-F431DC7C99BB}"/>
          </ac:spMkLst>
        </pc:spChg>
        <pc:spChg chg="mod ord">
          <ac:chgData name="Joelle Brehm" userId="a518f54c-6985-42c0-8041-2bb16a414839" providerId="ADAL" clId="{7999C4A2-9ACD-4CB2-9DCD-52B9CDE5124D}" dt="2023-05-07T18:17:05.108" v="31961"/>
          <ac:spMkLst>
            <pc:docMk/>
            <pc:sldMk cId="592117244" sldId="275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15:59.810" v="30664"/>
          <ac:spMkLst>
            <pc:docMk/>
            <pc:sldMk cId="592117244" sldId="275"/>
            <ac:spMk id="8" creationId="{D50FE6F1-997D-3FCB-D594-08A2BCFB6CE6}"/>
          </ac:spMkLst>
        </pc:spChg>
        <pc:spChg chg="mod">
          <ac:chgData name="Joelle Brehm" userId="a518f54c-6985-42c0-8041-2bb16a414839" providerId="ADAL" clId="{7999C4A2-9ACD-4CB2-9DCD-52B9CDE5124D}" dt="2023-05-07T18:17:05.108" v="31967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17:05.108" v="31971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17:05.108" v="31974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17:05.108" v="31970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17:05.108" v="31968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17:05.108" v="31975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17:05.108" v="31966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17:05.108" v="31969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17:05.108" v="31973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17:05.108" v="31976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17:05.108" v="31977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17:05.108" v="31972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17:05.108" v="31979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17:05.108" v="31982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17:05.108" v="31980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17:05.108" v="31981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17:05.108" v="31985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17:05.108" v="31984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17:05.108" v="31983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17:05.108" v="31987"/>
          <ac:spMkLst>
            <pc:docMk/>
            <pc:sldMk cId="592117244" sldId="27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7999C4A2-9ACD-4CB2-9DCD-52B9CDE5124D}" dt="2023-05-07T18:16:51.708" v="31002"/>
          <ac:spMkLst>
            <pc:docMk/>
            <pc:sldMk cId="592117244" sldId="275"/>
            <ac:spMk id="32" creationId="{0FDB74AF-AA09-8ED4-F425-FBA52B7DFD72}"/>
          </ac:spMkLst>
        </pc:spChg>
        <pc:spChg chg="add del mod modVis">
          <ac:chgData name="Joelle Brehm" userId="a518f54c-6985-42c0-8041-2bb16a414839" providerId="ADAL" clId="{7999C4A2-9ACD-4CB2-9DCD-52B9CDE5124D}" dt="2023-05-07T18:16:57.988" v="31431"/>
          <ac:spMkLst>
            <pc:docMk/>
            <pc:sldMk cId="592117244" sldId="275"/>
            <ac:spMk id="35" creationId="{1E9C64C4-448A-6CF7-99B6-CA9DF561792F}"/>
          </ac:spMkLst>
        </pc:spChg>
        <pc:spChg chg="add mod replST">
          <ac:chgData name="Joelle Brehm" userId="a518f54c-6985-42c0-8041-2bb16a414839" providerId="ADAL" clId="{7999C4A2-9ACD-4CB2-9DCD-52B9CDE5124D}" dt="2023-05-07T18:17:05.125" v="32001"/>
          <ac:spMkLst>
            <pc:docMk/>
            <pc:sldMk cId="592117244" sldId="275"/>
            <ac:spMk id="37" creationId="{90FA8FF8-BF43-F8ED-7D69-4D34F348E5E1}"/>
          </ac:spMkLst>
        </pc:spChg>
        <pc:spChg chg="add del mod modVis">
          <ac:chgData name="Joelle Brehm" userId="a518f54c-6985-42c0-8041-2bb16a414839" providerId="ADAL" clId="{7999C4A2-9ACD-4CB2-9DCD-52B9CDE5124D}" dt="2023-05-07T18:17:00.440" v="31682"/>
          <ac:spMkLst>
            <pc:docMk/>
            <pc:sldMk cId="592117244" sldId="275"/>
            <ac:spMk id="38" creationId="{0E679EDA-17E1-CC3A-BA6C-FB4B2AC89CD6}"/>
          </ac:spMkLst>
        </pc:spChg>
        <pc:spChg chg="mod">
          <ac:chgData name="Joelle Brehm" userId="a518f54c-6985-42c0-8041-2bb16a414839" providerId="ADAL" clId="{7999C4A2-9ACD-4CB2-9DCD-52B9CDE5124D}" dt="2023-05-07T18:17:05.125" v="32000"/>
          <ac:spMkLst>
            <pc:docMk/>
            <pc:sldMk cId="592117244" sldId="275"/>
            <ac:spMk id="39" creationId="{1EFCB791-16E1-BC87-1C92-0DDD24DA7D5F}"/>
          </ac:spMkLst>
        </pc:spChg>
        <pc:spChg chg="add del mod modVis">
          <ac:chgData name="Joelle Brehm" userId="a518f54c-6985-42c0-8041-2bb16a414839" providerId="ADAL" clId="{7999C4A2-9ACD-4CB2-9DCD-52B9CDE5124D}" dt="2023-05-07T18:17:02.364" v="31836"/>
          <ac:spMkLst>
            <pc:docMk/>
            <pc:sldMk cId="592117244" sldId="275"/>
            <ac:spMk id="41" creationId="{DC028BA1-000C-070D-3AFC-8CEAB95AA58D}"/>
          </ac:spMkLst>
        </pc:spChg>
        <pc:spChg chg="add del mod modVis">
          <ac:chgData name="Joelle Brehm" userId="a518f54c-6985-42c0-8041-2bb16a414839" providerId="ADAL" clId="{7999C4A2-9ACD-4CB2-9DCD-52B9CDE5124D}" dt="2023-05-07T18:17:05.141" v="32030"/>
          <ac:spMkLst>
            <pc:docMk/>
            <pc:sldMk cId="592117244" sldId="275"/>
            <ac:spMk id="43" creationId="{1264ED9C-8022-EAF1-5C73-D781E3FAF178}"/>
          </ac:spMkLst>
        </pc:spChg>
        <pc:spChg chg="mod ord">
          <ac:chgData name="Joelle Brehm" userId="a518f54c-6985-42c0-8041-2bb16a414839" providerId="ADAL" clId="{7999C4A2-9ACD-4CB2-9DCD-52B9CDE5124D}" dt="2023-05-07T18:17:05.141" v="32024"/>
          <ac:spMkLst>
            <pc:docMk/>
            <pc:sldMk cId="592117244" sldId="275"/>
            <ac:spMk id="58" creationId="{E203E344-295B-447B-A55D-50D302A82D3F}"/>
          </ac:spMkLst>
        </pc:spChg>
        <pc:spChg chg="del mod">
          <ac:chgData name="Joelle Brehm" userId="a518f54c-6985-42c0-8041-2bb16a414839" providerId="ADAL" clId="{7999C4A2-9ACD-4CB2-9DCD-52B9CDE5124D}" dt="2023-05-07T18:17:04.892" v="31839"/>
          <ac:spMkLst>
            <pc:docMk/>
            <pc:sldMk cId="592117244" sldId="275"/>
            <ac:spMk id="7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4" v="31990"/>
          <ac:spMkLst>
            <pc:docMk/>
            <pc:sldMk cId="592117244" sldId="275"/>
            <ac:spMk id="7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17:05.125" v="32003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17:05.125" v="32005"/>
          <ac:spMkLst>
            <pc:docMk/>
            <pc:sldMk cId="592117244" sldId="275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17:05.125" v="31994"/>
          <ac:spMkLst>
            <pc:docMk/>
            <pc:sldMk cId="592117244" sldId="275"/>
            <ac:spMk id="8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5"/>
          <ac:spMkLst>
            <pc:docMk/>
            <pc:sldMk cId="592117244" sldId="275"/>
            <ac:spMk id="8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2"/>
          <ac:spMkLst>
            <pc:docMk/>
            <pc:sldMk cId="592117244" sldId="275"/>
            <ac:spMk id="8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3"/>
          <ac:spMkLst>
            <pc:docMk/>
            <pc:sldMk cId="592117244" sldId="275"/>
            <ac:spMk id="8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1"/>
          <ac:spMkLst>
            <pc:docMk/>
            <pc:sldMk cId="592117244" sldId="275"/>
            <ac:spMk id="8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6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7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8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1999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17:05.125" v="32007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17:05.125" v="32009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17:05.125" v="32011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17:05.125" v="32013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17:05.125" v="32019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2018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2016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17:05.125" v="32020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17:05.125" v="32017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17:05.158" v="32032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7:05.108" v="31965"/>
          <ac:graphicFrameMkLst>
            <pc:docMk/>
            <pc:sldMk cId="592117244" sldId="275"/>
            <ac:graphicFrameMk id="9" creationId="{D3FF4F29-0E0D-F5D1-289D-C6183DFD0799}"/>
          </ac:graphicFrameMkLst>
        </pc:graphicFrameChg>
        <pc:graphicFrameChg chg="del">
          <ac:chgData name="Joelle Brehm" userId="a518f54c-6985-42c0-8041-2bb16a414839" providerId="ADAL" clId="{7999C4A2-9ACD-4CB2-9DCD-52B9CDE5124D}" dt="2023-05-07T18:15:59.759" v="30581"/>
          <ac:graphicFrameMkLst>
            <pc:docMk/>
            <pc:sldMk cId="592117244" sldId="275"/>
            <ac:graphicFrameMk id="31" creationId="{347E4DBE-8F1F-8B18-9A94-C2FF89B392B7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16:51.660" v="30923"/>
          <ac:graphicFrameMkLst>
            <pc:docMk/>
            <pc:sldMk cId="592117244" sldId="275"/>
            <ac:graphicFrameMk id="33" creationId="{8200A75B-C065-7676-D2AA-46F9B121287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7:05.125" v="32015"/>
          <ac:graphicFrameMkLst>
            <pc:docMk/>
            <pc:sldMk cId="592117244" sldId="275"/>
            <ac:graphicFrameMk id="34" creationId="{51301D48-0FED-8FC3-6E6D-5CAF25ECDA5A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7:00.366" v="31582"/>
          <ac:graphicFrameMkLst>
            <pc:docMk/>
            <pc:sldMk cId="592117244" sldId="275"/>
            <ac:graphicFrameMk id="36" creationId="{6DD9D45C-8053-C0F6-D979-EC62DEC4124A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7:02.306" v="31756"/>
          <ac:graphicFrameMkLst>
            <pc:docMk/>
            <pc:sldMk cId="592117244" sldId="275"/>
            <ac:graphicFrameMk id="40" creationId="{A26D7DCC-5A09-1B22-2091-895810D8957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17:05.052" v="31951"/>
          <ac:graphicFrameMkLst>
            <pc:docMk/>
            <pc:sldMk cId="592117244" sldId="275"/>
            <ac:graphicFrameMk id="42" creationId="{38A8DDCF-6573-84FA-3CAF-A5047999020B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17:05.108" v="31989"/>
          <ac:graphicFrameMkLst>
            <pc:docMk/>
            <pc:sldMk cId="592117244" sldId="275"/>
            <ac:graphicFrameMk id="44" creationId="{9B61F21C-105A-301E-7E88-7B999114BED9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16:57.941" v="31346"/>
          <ac:graphicFrameMkLst>
            <pc:docMk/>
            <pc:sldMk cId="592117244" sldId="275"/>
            <ac:graphicFrameMk id="54" creationId="{0823E914-CD83-67D0-7E28-651322F9FE89}"/>
          </ac:graphicFrameMkLst>
        </pc:graphicFrameChg>
        <pc:picChg chg="add mod">
          <ac:chgData name="Joelle Brehm" userId="a518f54c-6985-42c0-8041-2bb16a414839" providerId="ADAL" clId="{7999C4A2-9ACD-4CB2-9DCD-52B9CDE5124D}" dt="2023-05-07T18:19:15.625" v="32298" actId="1038"/>
          <ac:picMkLst>
            <pc:docMk/>
            <pc:sldMk cId="592117244" sldId="275"/>
            <ac:picMk id="2" creationId="{6DEAC285-E54C-6584-AFB4-ECCC35A20947}"/>
          </ac:picMkLst>
        </pc:picChg>
        <pc:picChg chg="del mod ord">
          <ac:chgData name="Joelle Brehm" userId="a518f54c-6985-42c0-8041-2bb16a414839" providerId="ADAL" clId="{7999C4A2-9ACD-4CB2-9DCD-52B9CDE5124D}" dt="2023-05-07T18:16:12.033" v="30747" actId="478"/>
          <ac:picMkLst>
            <pc:docMk/>
            <pc:sldMk cId="592117244" sldId="275"/>
            <ac:picMk id="5" creationId="{3E9FEF53-A516-5944-5629-BCA069C905C5}"/>
          </ac:picMkLst>
        </pc:picChg>
        <pc:picChg chg="add del mod ord">
          <ac:chgData name="Joelle Brehm" userId="a518f54c-6985-42c0-8041-2bb16a414839" providerId="ADAL" clId="{7999C4A2-9ACD-4CB2-9DCD-52B9CDE5124D}" dt="2023-05-07T18:17:49.257" v="32291" actId="478"/>
          <ac:picMkLst>
            <pc:docMk/>
            <pc:sldMk cId="592117244" sldId="275"/>
            <ac:picMk id="10" creationId="{FB164F62-B262-610E-C285-7B78055E236D}"/>
          </ac:picMkLst>
        </pc:picChg>
        <pc:picChg chg="mod ord">
          <ac:chgData name="Joelle Brehm" userId="a518f54c-6985-42c0-8041-2bb16a414839" providerId="ADAL" clId="{7999C4A2-9ACD-4CB2-9DCD-52B9CDE5124D}" dt="2023-05-07T18:17:05.141" v="32022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17:05.108" v="31963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0:42.083" v="34680"/>
        <pc:sldMkLst>
          <pc:docMk/>
          <pc:sldMk cId="3358644479" sldId="276"/>
        </pc:sldMkLst>
        <pc:spChg chg="mod ord">
          <ac:chgData name="Joelle Brehm" userId="a518f54c-6985-42c0-8041-2bb16a414839" providerId="ADAL" clId="{7999C4A2-9ACD-4CB2-9DCD-52B9CDE5124D}" dt="2023-05-07T18:20:42.083" v="34676"/>
          <ac:spMkLst>
            <pc:docMk/>
            <pc:sldMk cId="3358644479" sldId="276"/>
            <ac:spMk id="2" creationId="{2688F805-F703-4FD1-AEE0-0F8E6A5589FE}"/>
          </ac:spMkLst>
        </pc:spChg>
        <pc:spChg chg="add del mod">
          <ac:chgData name="Joelle Brehm" userId="a518f54c-6985-42c0-8041-2bb16a414839" providerId="ADAL" clId="{7999C4A2-9ACD-4CB2-9DCD-52B9CDE5124D}" dt="2023-05-07T18:17:14.913" v="32034" actId="478"/>
          <ac:spMkLst>
            <pc:docMk/>
            <pc:sldMk cId="3358644479" sldId="276"/>
            <ac:spMk id="3" creationId="{F07F95CA-7502-3D68-18E8-5D0B9EDFD248}"/>
          </ac:spMkLst>
        </pc:spChg>
        <pc:spChg chg="mod ord">
          <ac:chgData name="Joelle Brehm" userId="a518f54c-6985-42c0-8041-2bb16a414839" providerId="ADAL" clId="{7999C4A2-9ACD-4CB2-9DCD-52B9CDE5124D}" dt="2023-05-07T18:20:42.067" v="34611"/>
          <ac:spMkLst>
            <pc:docMk/>
            <pc:sldMk cId="3358644479" sldId="276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19:45.065" v="32419"/>
          <ac:spMkLst>
            <pc:docMk/>
            <pc:sldMk cId="3358644479" sldId="276"/>
            <ac:spMk id="8" creationId="{1C6961EE-3745-7328-EEA1-D40FBF31D990}"/>
          </ac:spMkLst>
        </pc:spChg>
        <pc:spChg chg="add del mod modVis">
          <ac:chgData name="Joelle Brehm" userId="a518f54c-6985-42c0-8041-2bb16a414839" providerId="ADAL" clId="{7999C4A2-9ACD-4CB2-9DCD-52B9CDE5124D}" dt="2023-05-07T18:17:30.430" v="32285"/>
          <ac:spMkLst>
            <pc:docMk/>
            <pc:sldMk cId="3358644479" sldId="276"/>
            <ac:spMk id="8" creationId="{F146A06E-F3C5-8317-EAB0-8487E19CDC04}"/>
          </ac:spMkLst>
        </pc:spChg>
        <pc:spChg chg="add mod replST">
          <ac:chgData name="Joelle Brehm" userId="a518f54c-6985-42c0-8041-2bb16a414839" providerId="ADAL" clId="{7999C4A2-9ACD-4CB2-9DCD-52B9CDE5124D}" dt="2023-05-07T18:20:42.083" v="34651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7999C4A2-9ACD-4CB2-9DCD-52B9CDE5124D}" dt="2023-05-07T18:20:42.067" v="34621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0:42.067" v="34622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0:42.067" v="34617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0:42.067" v="34618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0:42.067" v="34620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0:42.067" v="34619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0:42.067" v="34616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0:42.067" v="34624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0:42.067" v="34625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0:42.067" v="34626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0:42.067" v="34627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0:42.067" v="34623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0:42.067" v="34629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0:42.067" v="34632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0:42.067" v="34630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0:42.067" v="34631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0:42.067" v="34633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0:42.067" v="34634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0:42.067" v="34635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0:42.067" v="34637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0:42.067" v="34646"/>
          <ac:spMkLst>
            <pc:docMk/>
            <pc:sldMk cId="3358644479" sldId="276"/>
            <ac:spMk id="31" creationId="{65EF0830-A1F0-A253-1BB2-8CDCFF5CECBB}"/>
          </ac:spMkLst>
        </pc:spChg>
        <pc:spChg chg="mod">
          <ac:chgData name="Joelle Brehm" userId="a518f54c-6985-42c0-8041-2bb16a414839" providerId="ADAL" clId="{7999C4A2-9ACD-4CB2-9DCD-52B9CDE5124D}" dt="2023-05-07T18:20:42.067" v="34642"/>
          <ac:spMkLst>
            <pc:docMk/>
            <pc:sldMk cId="3358644479" sldId="276"/>
            <ac:spMk id="32" creationId="{8D25BC14-41C5-8647-5CC0-BE12A57BA555}"/>
          </ac:spMkLst>
        </pc:spChg>
        <pc:spChg chg="mod">
          <ac:chgData name="Joelle Brehm" userId="a518f54c-6985-42c0-8041-2bb16a414839" providerId="ADAL" clId="{7999C4A2-9ACD-4CB2-9DCD-52B9CDE5124D}" dt="2023-05-07T18:20:42.067" v="34647"/>
          <ac:spMkLst>
            <pc:docMk/>
            <pc:sldMk cId="3358644479" sldId="276"/>
            <ac:spMk id="33" creationId="{F9C148ED-6941-E56C-2F19-150E6514366D}"/>
          </ac:spMkLst>
        </pc:spChg>
        <pc:spChg chg="mod">
          <ac:chgData name="Joelle Brehm" userId="a518f54c-6985-42c0-8041-2bb16a414839" providerId="ADAL" clId="{7999C4A2-9ACD-4CB2-9DCD-52B9CDE5124D}" dt="2023-05-07T18:20:42.067" v="34645"/>
          <ac:spMkLst>
            <pc:docMk/>
            <pc:sldMk cId="3358644479" sldId="276"/>
            <ac:spMk id="34" creationId="{2EC784B5-4DDF-6FD0-D462-50F110303F01}"/>
          </ac:spMkLst>
        </pc:spChg>
        <pc:spChg chg="mod">
          <ac:chgData name="Joelle Brehm" userId="a518f54c-6985-42c0-8041-2bb16a414839" providerId="ADAL" clId="{7999C4A2-9ACD-4CB2-9DCD-52B9CDE5124D}" dt="2023-05-07T18:20:42.067" v="34641"/>
          <ac:spMkLst>
            <pc:docMk/>
            <pc:sldMk cId="3358644479" sldId="276"/>
            <ac:spMk id="35" creationId="{F6E5A8F3-72AC-F44C-CACB-ED952FD27440}"/>
          </ac:spMkLst>
        </pc:spChg>
        <pc:spChg chg="add del mod modVis">
          <ac:chgData name="Joelle Brehm" userId="a518f54c-6985-42c0-8041-2bb16a414839" providerId="ADAL" clId="{7999C4A2-9ACD-4CB2-9DCD-52B9CDE5124D}" dt="2023-05-07T18:20:03.421" v="32989"/>
          <ac:spMkLst>
            <pc:docMk/>
            <pc:sldMk cId="3358644479" sldId="276"/>
            <ac:spMk id="36" creationId="{BB61F7D8-9EC9-1E1A-D31D-245D4375118B}"/>
          </ac:spMkLst>
        </pc:spChg>
        <pc:spChg chg="mod">
          <ac:chgData name="Joelle Brehm" userId="a518f54c-6985-42c0-8041-2bb16a414839" providerId="ADAL" clId="{7999C4A2-9ACD-4CB2-9DCD-52B9CDE5124D}" dt="2023-05-07T18:20:42.083" v="34649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7999C4A2-9ACD-4CB2-9DCD-52B9CDE5124D}" dt="2023-05-07T18:20:42.083" v="34648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7999C4A2-9ACD-4CB2-9DCD-52B9CDE5124D}" dt="2023-05-07T18:20:42.083" v="34669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7999C4A2-9ACD-4CB2-9DCD-52B9CDE5124D}" dt="2023-05-07T18:20:42.083" v="34666"/>
          <ac:spMkLst>
            <pc:docMk/>
            <pc:sldMk cId="3358644479" sldId="276"/>
            <ac:spMk id="40" creationId="{BF422452-141B-CCA7-F304-DD7C41C4B026}"/>
          </ac:spMkLst>
        </pc:spChg>
        <pc:spChg chg="add del mod modVis">
          <ac:chgData name="Joelle Brehm" userId="a518f54c-6985-42c0-8041-2bb16a414839" providerId="ADAL" clId="{7999C4A2-9ACD-4CB2-9DCD-52B9CDE5124D}" dt="2023-05-07T18:20:06.130" v="33187"/>
          <ac:spMkLst>
            <pc:docMk/>
            <pc:sldMk cId="3358644479" sldId="276"/>
            <ac:spMk id="42" creationId="{44A16FAA-60F3-F4FC-9494-7D9687458B87}"/>
          </ac:spMkLst>
        </pc:spChg>
        <pc:spChg chg="mod">
          <ac:chgData name="Joelle Brehm" userId="a518f54c-6985-42c0-8041-2bb16a414839" providerId="ADAL" clId="{7999C4A2-9ACD-4CB2-9DCD-52B9CDE5124D}" dt="2023-05-07T18:20:42.083" v="34650"/>
          <ac:spMkLst>
            <pc:docMk/>
            <pc:sldMk cId="3358644479" sldId="276"/>
            <ac:spMk id="44" creationId="{5C64EA04-B56C-CC91-D9A7-8AB0C80D5C79}"/>
          </ac:spMkLst>
        </pc:spChg>
        <pc:spChg chg="add del mod modVis">
          <ac:chgData name="Joelle Brehm" userId="a518f54c-6985-42c0-8041-2bb16a414839" providerId="ADAL" clId="{7999C4A2-9ACD-4CB2-9DCD-52B9CDE5124D}" dt="2023-05-07T18:20:10.432" v="33385"/>
          <ac:spMkLst>
            <pc:docMk/>
            <pc:sldMk cId="3358644479" sldId="276"/>
            <ac:spMk id="46" creationId="{20E18191-2D9A-F04C-07A3-9B0DDF6E18E9}"/>
          </ac:spMkLst>
        </pc:spChg>
        <pc:spChg chg="add del mod modVis">
          <ac:chgData name="Joelle Brehm" userId="a518f54c-6985-42c0-8041-2bb16a414839" providerId="ADAL" clId="{7999C4A2-9ACD-4CB2-9DCD-52B9CDE5124D}" dt="2023-05-07T18:20:12.089" v="33583"/>
          <ac:spMkLst>
            <pc:docMk/>
            <pc:sldMk cId="3358644479" sldId="276"/>
            <ac:spMk id="48" creationId="{AB0DF9E4-6029-E8B3-B5E0-069D51E8D578}"/>
          </ac:spMkLst>
        </pc:spChg>
        <pc:spChg chg="add del mod modVis">
          <ac:chgData name="Joelle Brehm" userId="a518f54c-6985-42c0-8041-2bb16a414839" providerId="ADAL" clId="{7999C4A2-9ACD-4CB2-9DCD-52B9CDE5124D}" dt="2023-05-07T18:20:14.891" v="33885"/>
          <ac:spMkLst>
            <pc:docMk/>
            <pc:sldMk cId="3358644479" sldId="276"/>
            <ac:spMk id="50" creationId="{3FD7C50C-0F18-DACD-FB36-800261DB42F0}"/>
          </ac:spMkLst>
        </pc:spChg>
        <pc:spChg chg="add del mod ord replST">
          <ac:chgData name="Joelle Brehm" userId="a518f54c-6985-42c0-8041-2bb16a414839" providerId="ADAL" clId="{7999C4A2-9ACD-4CB2-9DCD-52B9CDE5124D}" dt="2023-05-07T18:20:20.941" v="34111"/>
          <ac:spMkLst>
            <pc:docMk/>
            <pc:sldMk cId="3358644479" sldId="276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20:18.175" v="34043"/>
          <ac:spMkLst>
            <pc:docMk/>
            <pc:sldMk cId="3358644479" sldId="276"/>
            <ac:spMk id="53" creationId="{12E2C15B-BF36-9FF5-5AF9-8D6BF16488F7}"/>
          </ac:spMkLst>
        </pc:spChg>
        <pc:spChg chg="add del mod modVis">
          <ac:chgData name="Joelle Brehm" userId="a518f54c-6985-42c0-8041-2bb16a414839" providerId="ADAL" clId="{7999C4A2-9ACD-4CB2-9DCD-52B9CDE5124D}" dt="2023-05-07T18:20:20.972" v="34191"/>
          <ac:spMkLst>
            <pc:docMk/>
            <pc:sldMk cId="3358644479" sldId="276"/>
            <ac:spMk id="56" creationId="{8EDBA4E5-B9CF-5644-8FE6-CF1E172EB516}"/>
          </ac:spMkLst>
        </pc:spChg>
        <pc:spChg chg="mod ord">
          <ac:chgData name="Joelle Brehm" userId="a518f54c-6985-42c0-8041-2bb16a414839" providerId="ADAL" clId="{7999C4A2-9ACD-4CB2-9DCD-52B9CDE5124D}" dt="2023-05-07T18:20:42.083" v="34674"/>
          <ac:spMkLst>
            <pc:docMk/>
            <pc:sldMk cId="3358644479" sldId="276"/>
            <ac:spMk id="58" creationId="{0CB06D1E-8664-4C1B-9ACF-854D6C46B776}"/>
          </ac:spMkLst>
        </pc:spChg>
        <pc:spChg chg="add mod replST">
          <ac:chgData name="Joelle Brehm" userId="a518f54c-6985-42c0-8041-2bb16a414839" providerId="ADAL" clId="{7999C4A2-9ACD-4CB2-9DCD-52B9CDE5124D}" dt="2023-05-07T18:20:42.083" v="34670"/>
          <ac:spMkLst>
            <pc:docMk/>
            <pc:sldMk cId="3358644479" sldId="276"/>
            <ac:spMk id="59" creationId="{5164D3E0-C681-43D3-E345-132BB4AD109F}"/>
          </ac:spMkLst>
        </pc:spChg>
        <pc:spChg chg="del mod">
          <ac:chgData name="Joelle Brehm" userId="a518f54c-6985-42c0-8041-2bb16a414839" providerId="ADAL" clId="{7999C4A2-9ACD-4CB2-9DCD-52B9CDE5124D}" dt="2023-05-07T18:20:14.710" v="33586"/>
          <ac:spMkLst>
            <pc:docMk/>
            <pc:sldMk cId="3358644479" sldId="276"/>
            <ac:spMk id="60" creationId="{7D5B8F7E-E4E9-27B5-0DAE-F983ECF63AF3}"/>
          </ac:spMkLst>
        </pc:spChg>
        <pc:spChg chg="add del mod modVis">
          <ac:chgData name="Joelle Brehm" userId="a518f54c-6985-42c0-8041-2bb16a414839" providerId="ADAL" clId="{7999C4A2-9ACD-4CB2-9DCD-52B9CDE5124D}" dt="2023-05-07T18:20:35.174" v="34480"/>
          <ac:spMkLst>
            <pc:docMk/>
            <pc:sldMk cId="3358644479" sldId="276"/>
            <ac:spMk id="61" creationId="{3F9E9212-3A85-0CB4-4AE8-97DC4BF88565}"/>
          </ac:spMkLst>
        </pc:spChg>
        <pc:spChg chg="mod">
          <ac:chgData name="Joelle Brehm" userId="a518f54c-6985-42c0-8041-2bb16a414839" providerId="ADAL" clId="{7999C4A2-9ACD-4CB2-9DCD-52B9CDE5124D}" dt="2023-05-07T18:20:42.067" v="34644"/>
          <ac:spMkLst>
            <pc:docMk/>
            <pc:sldMk cId="3358644479" sldId="276"/>
            <ac:spMk id="63" creationId="{C1E0E01D-7EAC-93F2-5670-EC37A815A863}"/>
          </ac:spMkLst>
        </pc:spChg>
        <pc:spChg chg="mod">
          <ac:chgData name="Joelle Brehm" userId="a518f54c-6985-42c0-8041-2bb16a414839" providerId="ADAL" clId="{7999C4A2-9ACD-4CB2-9DCD-52B9CDE5124D}" dt="2023-05-07T18:20:42.067" v="34643"/>
          <ac:spMkLst>
            <pc:docMk/>
            <pc:sldMk cId="3358644479" sldId="276"/>
            <ac:spMk id="64" creationId="{4A72A5C3-DE7B-F940-0B50-F847F976F72F}"/>
          </ac:spMkLst>
        </pc:spChg>
        <pc:spChg chg="mod">
          <ac:chgData name="Joelle Brehm" userId="a518f54c-6985-42c0-8041-2bb16a414839" providerId="ADAL" clId="{7999C4A2-9ACD-4CB2-9DCD-52B9CDE5124D}" dt="2023-05-07T18:20:42.067" v="34640"/>
          <ac:spMkLst>
            <pc:docMk/>
            <pc:sldMk cId="3358644479" sldId="276"/>
            <ac:spMk id="72" creationId="{36005294-C8DA-1E60-8A2A-D3E7C73360FF}"/>
          </ac:spMkLst>
        </pc:spChg>
        <pc:spChg chg="mod ord">
          <ac:chgData name="Joelle Brehm" userId="a518f54c-6985-42c0-8041-2bb16a414839" providerId="ADAL" clId="{7999C4A2-9ACD-4CB2-9DCD-52B9CDE5124D}" dt="2023-05-07T18:20:42.083" v="34653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0:42.083" v="34655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20:42.083" v="34657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20:42.083" v="34659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0:42.083" v="34661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0:42.083" v="34663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0:42.083" v="34667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0:42.083" v="34668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7999C4A2-9ACD-4CB2-9DCD-52B9CDE5124D}" dt="2023-05-07T18:20:42.083" v="34680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0:42.067" v="34615"/>
          <ac:graphicFrameMkLst>
            <pc:docMk/>
            <pc:sldMk cId="3358644479" sldId="276"/>
            <ac:graphicFrameMk id="9" creationId="{3F667628-A457-CA47-21F2-2A9983DE7C2A}"/>
          </ac:graphicFrameMkLst>
        </pc:graphicFrameChg>
        <pc:graphicFrameChg chg="del">
          <ac:chgData name="Joelle Brehm" userId="a518f54c-6985-42c0-8041-2bb16a414839" providerId="ADAL" clId="{7999C4A2-9ACD-4CB2-9DCD-52B9CDE5124D}" dt="2023-05-07T18:17:30.342" v="32205"/>
          <ac:graphicFrameMkLst>
            <pc:docMk/>
            <pc:sldMk cId="3358644479" sldId="276"/>
            <ac:graphicFrameMk id="10" creationId="{4120EF14-0F12-C925-3E50-BA3B2BE4AA8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06.004" v="33088"/>
          <ac:graphicFrameMkLst>
            <pc:docMk/>
            <pc:sldMk cId="3358644479" sldId="276"/>
            <ac:graphicFrameMk id="41" creationId="{39C26A92-94BC-29C6-D265-3AEBC3D227A1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0:35.124" v="34401"/>
          <ac:graphicFrameMkLst>
            <pc:docMk/>
            <pc:sldMk cId="3358644479" sldId="276"/>
            <ac:graphicFrameMk id="43" creationId="{3E9276B8-235A-42BE-1BE7-B0F4EB792CC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10.339" v="33286"/>
          <ac:graphicFrameMkLst>
            <pc:docMk/>
            <pc:sldMk cId="3358644479" sldId="276"/>
            <ac:graphicFrameMk id="45" creationId="{52FA562D-1934-68EF-0174-D9023BB0928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12.042" v="33484"/>
          <ac:graphicFrameMkLst>
            <pc:docMk/>
            <pc:sldMk cId="3358644479" sldId="276"/>
            <ac:graphicFrameMk id="47" creationId="{7F566851-E030-7F1B-D85E-EDDDFEC1264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14.848" v="33785"/>
          <ac:graphicFrameMkLst>
            <pc:docMk/>
            <pc:sldMk cId="3358644479" sldId="276"/>
            <ac:graphicFrameMk id="49" creationId="{BC19AA3B-1659-F7F8-2916-30A2DD8743B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18.144" v="33963"/>
          <ac:graphicFrameMkLst>
            <pc:docMk/>
            <pc:sldMk cId="3358644479" sldId="276"/>
            <ac:graphicFrameMk id="52" creationId="{0197415C-817F-850A-AAD0-1E3935A55336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0:03.355" v="32908"/>
          <ac:graphicFrameMkLst>
            <pc:docMk/>
            <pc:sldMk cId="3358644479" sldId="276"/>
            <ac:graphicFrameMk id="54" creationId="{592AF5FE-9009-750F-C451-D6601B81E21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20.941" v="34113"/>
          <ac:graphicFrameMkLst>
            <pc:docMk/>
            <pc:sldMk cId="3358644479" sldId="276"/>
            <ac:graphicFrameMk id="55" creationId="{6E495BF9-C1ED-2F9B-A1C6-CA4D36AA9E1F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0:42.067" v="34639"/>
          <ac:graphicFrameMkLst>
            <pc:docMk/>
            <pc:sldMk cId="3358644479" sldId="276"/>
            <ac:graphicFrameMk id="57" creationId="{96366307-B1CE-848A-D771-D39EC384CB0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39.320" v="34502"/>
          <ac:graphicFrameMkLst>
            <pc:docMk/>
            <pc:sldMk cId="3358644479" sldId="276"/>
            <ac:graphicFrameMk id="62" creationId="{9FE90997-DFEB-0CA7-561A-DF808FD45A0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0:42.052" v="34601"/>
          <ac:graphicFrameMkLst>
            <pc:docMk/>
            <pc:sldMk cId="3358644479" sldId="276"/>
            <ac:graphicFrameMk id="65" creationId="{621113E2-BE11-4D99-23FB-4CAB761EFF3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0:42.083" v="34665"/>
          <ac:graphicFrameMkLst>
            <pc:docMk/>
            <pc:sldMk cId="3358644479" sldId="276"/>
            <ac:graphicFrameMk id="66" creationId="{85DE0A3D-C7C9-14C4-9C25-68CFFB14166F}"/>
          </ac:graphicFrameMkLst>
        </pc:graphicFrameChg>
        <pc:picChg chg="add mod ord">
          <ac:chgData name="Joelle Brehm" userId="a518f54c-6985-42c0-8041-2bb16a414839" providerId="ADAL" clId="{7999C4A2-9ACD-4CB2-9DCD-52B9CDE5124D}" dt="2023-05-07T18:20:42.067" v="34609"/>
          <ac:picMkLst>
            <pc:docMk/>
            <pc:sldMk cId="3358644479" sldId="276"/>
            <ac:picMk id="3" creationId="{10966DEA-B1AF-47D3-7443-8B6E238E59F1}"/>
          </ac:picMkLst>
        </pc:picChg>
        <pc:picChg chg="del mod ord">
          <ac:chgData name="Joelle Brehm" userId="a518f54c-6985-42c0-8041-2bb16a414839" providerId="ADAL" clId="{7999C4A2-9ACD-4CB2-9DCD-52B9CDE5124D}" dt="2023-05-07T18:19:46.621" v="32422" actId="478"/>
          <ac:picMkLst>
            <pc:docMk/>
            <pc:sldMk cId="3358644479" sldId="276"/>
            <ac:picMk id="5" creationId="{F14A97B0-7E61-BC6F-BE71-E2B8FA9671BB}"/>
          </ac:picMkLst>
        </pc:picChg>
        <pc:picChg chg="add del mod">
          <ac:chgData name="Joelle Brehm" userId="a518f54c-6985-42c0-8041-2bb16a414839" providerId="ADAL" clId="{7999C4A2-9ACD-4CB2-9DCD-52B9CDE5124D}" dt="2023-05-07T18:17:43.139" v="32290" actId="478"/>
          <ac:picMkLst>
            <pc:docMk/>
            <pc:sldMk cId="3358644479" sldId="276"/>
            <ac:picMk id="36" creationId="{11604B40-8506-7094-9AE1-5FFC5FBF592E}"/>
          </ac:picMkLst>
        </pc:picChg>
        <pc:picChg chg="mod ord">
          <ac:chgData name="Joelle Brehm" userId="a518f54c-6985-42c0-8041-2bb16a414839" providerId="ADAL" clId="{7999C4A2-9ACD-4CB2-9DCD-52B9CDE5124D}" dt="2023-05-07T18:20:42.083" v="34672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0:42.067" v="34613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1:49.174" v="36770"/>
        <pc:sldMkLst>
          <pc:docMk/>
          <pc:sldMk cId="1336352168" sldId="277"/>
        </pc:sldMkLst>
        <pc:spChg chg="mod ord">
          <ac:chgData name="Joelle Brehm" userId="a518f54c-6985-42c0-8041-2bb16a414839" providerId="ADAL" clId="{7999C4A2-9ACD-4CB2-9DCD-52B9CDE5124D}" dt="2023-05-07T18:21:49.174" v="36764"/>
          <ac:spMkLst>
            <pc:docMk/>
            <pc:sldMk cId="1336352168" sldId="277"/>
            <ac:spMk id="2" creationId="{92BF2826-0C6B-4A3A-89A1-7B17EE6A8135}"/>
          </ac:spMkLst>
        </pc:spChg>
        <pc:spChg chg="add del mod">
          <ac:chgData name="Joelle Brehm" userId="a518f54c-6985-42c0-8041-2bb16a414839" providerId="ADAL" clId="{7999C4A2-9ACD-4CB2-9DCD-52B9CDE5124D}" dt="2023-05-07T18:20:52.414" v="34681" actId="478"/>
          <ac:spMkLst>
            <pc:docMk/>
            <pc:sldMk cId="1336352168" sldId="277"/>
            <ac:spMk id="3" creationId="{6DBB5AB3-9818-F02B-681A-240483B202A9}"/>
          </ac:spMkLst>
        </pc:spChg>
        <pc:spChg chg="mod ord">
          <ac:chgData name="Joelle Brehm" userId="a518f54c-6985-42c0-8041-2bb16a414839" providerId="ADAL" clId="{7999C4A2-9ACD-4CB2-9DCD-52B9CDE5124D}" dt="2023-05-07T18:21:49.138" v="36699"/>
          <ac:spMkLst>
            <pc:docMk/>
            <pc:sldMk cId="1336352168" sldId="277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20:58.478" v="34941"/>
          <ac:spMkLst>
            <pc:docMk/>
            <pc:sldMk cId="1336352168" sldId="277"/>
            <ac:spMk id="8" creationId="{79D52745-F0E4-A663-909A-1DCB16870F24}"/>
          </ac:spMkLst>
        </pc:spChg>
        <pc:spChg chg="mod">
          <ac:chgData name="Joelle Brehm" userId="a518f54c-6985-42c0-8041-2bb16a414839" providerId="ADAL" clId="{7999C4A2-9ACD-4CB2-9DCD-52B9CDE5124D}" dt="2023-05-07T18:21:49.138" v="36710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1:49.138" v="36704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1:49.138" v="36708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1:49.138" v="36705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1:49.138" v="36707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1:49.138" v="36706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1:49.138" v="36709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1:49.138" v="36711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1:49.154" v="36712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1:49.154" v="36713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1:49.155" v="36714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1:49.155" v="36715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1:49.155" v="36717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1:49.155" v="36718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1:49.157" v="36719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1:49.157" v="36720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1:49.157" v="36722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1:49.157" v="36721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1:49.157" v="36723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1:49.157" v="36725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1:49.157" v="36729"/>
          <ac:spMkLst>
            <pc:docMk/>
            <pc:sldMk cId="1336352168" sldId="277"/>
            <ac:spMk id="31" creationId="{4A07E04C-1B9D-B1D4-ED08-6B67E4FD9CA7}"/>
          </ac:spMkLst>
        </pc:spChg>
        <pc:spChg chg="mod">
          <ac:chgData name="Joelle Brehm" userId="a518f54c-6985-42c0-8041-2bb16a414839" providerId="ADAL" clId="{7999C4A2-9ACD-4CB2-9DCD-52B9CDE5124D}" dt="2023-05-07T18:21:49.157" v="36733"/>
          <ac:spMkLst>
            <pc:docMk/>
            <pc:sldMk cId="1336352168" sldId="277"/>
            <ac:spMk id="33" creationId="{CBC56295-E0C4-1963-15A7-B869935D155D}"/>
          </ac:spMkLst>
        </pc:spChg>
        <pc:spChg chg="mod">
          <ac:chgData name="Joelle Brehm" userId="a518f54c-6985-42c0-8041-2bb16a414839" providerId="ADAL" clId="{7999C4A2-9ACD-4CB2-9DCD-52B9CDE5124D}" dt="2023-05-07T18:21:49.157" v="36728"/>
          <ac:spMkLst>
            <pc:docMk/>
            <pc:sldMk cId="1336352168" sldId="277"/>
            <ac:spMk id="34" creationId="{AC95B571-934C-3912-0ACC-4C3A108EC104}"/>
          </ac:spMkLst>
        </pc:spChg>
        <pc:spChg chg="mod">
          <ac:chgData name="Joelle Brehm" userId="a518f54c-6985-42c0-8041-2bb16a414839" providerId="ADAL" clId="{7999C4A2-9ACD-4CB2-9DCD-52B9CDE5124D}" dt="2023-05-07T18:21:49.157" v="36734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7999C4A2-9ACD-4CB2-9DCD-52B9CDE5124D}" dt="2023-05-07T18:21:49.157" v="36735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7999C4A2-9ACD-4CB2-9DCD-52B9CDE5124D}" dt="2023-05-07T18:21:49.157" v="36736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7999C4A2-9ACD-4CB2-9DCD-52B9CDE5124D}" dt="2023-05-07T18:21:49.157" v="36737"/>
          <ac:spMkLst>
            <pc:docMk/>
            <pc:sldMk cId="1336352168" sldId="277"/>
            <ac:spMk id="38" creationId="{E2D775AD-7211-8F23-E4F1-0A234FF1B7D9}"/>
          </ac:spMkLst>
        </pc:spChg>
        <pc:spChg chg="add mod replST">
          <ac:chgData name="Joelle Brehm" userId="a518f54c-6985-42c0-8041-2bb16a414839" providerId="ADAL" clId="{7999C4A2-9ACD-4CB2-9DCD-52B9CDE5124D}" dt="2023-05-07T18:21:49.157" v="36739"/>
          <ac:spMkLst>
            <pc:docMk/>
            <pc:sldMk cId="1336352168" sldId="277"/>
            <ac:spMk id="39" creationId="{92EB3DCF-E6D1-6016-64A0-043B49481C0C}"/>
          </ac:spMkLst>
        </pc:spChg>
        <pc:spChg chg="add del mod modVis">
          <ac:chgData name="Joelle Brehm" userId="a518f54c-6985-42c0-8041-2bb16a414839" providerId="ADAL" clId="{7999C4A2-9ACD-4CB2-9DCD-52B9CDE5124D}" dt="2023-05-07T18:21:30.150" v="35811"/>
          <ac:spMkLst>
            <pc:docMk/>
            <pc:sldMk cId="1336352168" sldId="277"/>
            <ac:spMk id="40" creationId="{F6C5C5D7-1EB1-4617-1818-926A4F99E25C}"/>
          </ac:spMkLst>
        </pc:spChg>
        <pc:spChg chg="add del mod ord replST">
          <ac:chgData name="Joelle Brehm" userId="a518f54c-6985-42c0-8041-2bb16a414839" providerId="ADAL" clId="{7999C4A2-9ACD-4CB2-9DCD-52B9CDE5124D}" dt="2023-05-07T18:21:39.501" v="36279"/>
          <ac:spMkLst>
            <pc:docMk/>
            <pc:sldMk cId="1336352168" sldId="277"/>
            <ac:spMk id="4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1:49.157" v="36738"/>
          <ac:spMkLst>
            <pc:docMk/>
            <pc:sldMk cId="1336352168" sldId="277"/>
            <ac:spMk id="43" creationId="{ECB6CDA6-E36A-D61A-929E-A4CF74A13872}"/>
          </ac:spMkLst>
        </pc:spChg>
        <pc:spChg chg="add del mod ord replST">
          <ac:chgData name="Joelle Brehm" userId="a518f54c-6985-42c0-8041-2bb16a414839" providerId="ADAL" clId="{7999C4A2-9ACD-4CB2-9DCD-52B9CDE5124D}" dt="2023-05-07T18:21:43.627" v="36458"/>
          <ac:spMkLst>
            <pc:docMk/>
            <pc:sldMk cId="1336352168" sldId="277"/>
            <ac:spMk id="44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21:32.536" v="35971"/>
          <ac:spMkLst>
            <pc:docMk/>
            <pc:sldMk cId="1336352168" sldId="277"/>
            <ac:spMk id="46" creationId="{E3F4D4DA-A9EE-728C-190C-771385B262A4}"/>
          </ac:spMkLst>
        </pc:spChg>
        <pc:spChg chg="add del mod modVis">
          <ac:chgData name="Joelle Brehm" userId="a518f54c-6985-42c0-8041-2bb16a414839" providerId="ADAL" clId="{7999C4A2-9ACD-4CB2-9DCD-52B9CDE5124D}" dt="2023-05-07T18:21:36.410" v="36182"/>
          <ac:spMkLst>
            <pc:docMk/>
            <pc:sldMk cId="1336352168" sldId="277"/>
            <ac:spMk id="48" creationId="{474F9ADA-2947-C3A1-F57B-FC4C1F19D245}"/>
          </ac:spMkLst>
        </pc:spChg>
        <pc:spChg chg="add del mod modVis">
          <ac:chgData name="Joelle Brehm" userId="a518f54c-6985-42c0-8041-2bb16a414839" providerId="ADAL" clId="{7999C4A2-9ACD-4CB2-9DCD-52B9CDE5124D}" dt="2023-05-07T18:21:39.581" v="36384"/>
          <ac:spMkLst>
            <pc:docMk/>
            <pc:sldMk cId="1336352168" sldId="277"/>
            <ac:spMk id="50" creationId="{E232CBF4-52D7-97B9-1F04-18219A8DD197}"/>
          </ac:spMkLst>
        </pc:spChg>
        <pc:spChg chg="add del mod modVis">
          <ac:chgData name="Joelle Brehm" userId="a518f54c-6985-42c0-8041-2bb16a414839" providerId="ADAL" clId="{7999C4A2-9ACD-4CB2-9DCD-52B9CDE5124D}" dt="2023-05-07T18:21:43.673" v="36539"/>
          <ac:spMkLst>
            <pc:docMk/>
            <pc:sldMk cId="1336352168" sldId="277"/>
            <ac:spMk id="52" creationId="{10B9EFA3-0D89-B828-772E-3B38A1D9BC4B}"/>
          </ac:spMkLst>
        </pc:spChg>
        <pc:spChg chg="add del mod modVis">
          <ac:chgData name="Joelle Brehm" userId="a518f54c-6985-42c0-8041-2bb16a414839" providerId="ADAL" clId="{7999C4A2-9ACD-4CB2-9DCD-52B9CDE5124D}" dt="2023-05-07T18:21:49.174" v="36768"/>
          <ac:spMkLst>
            <pc:docMk/>
            <pc:sldMk cId="1336352168" sldId="277"/>
            <ac:spMk id="54" creationId="{22694C3A-4F40-45E4-4597-17DB91ACB60A}"/>
          </ac:spMkLst>
        </pc:spChg>
        <pc:spChg chg="mod ord">
          <ac:chgData name="Joelle Brehm" userId="a518f54c-6985-42c0-8041-2bb16a414839" providerId="ADAL" clId="{7999C4A2-9ACD-4CB2-9DCD-52B9CDE5124D}" dt="2023-05-07T18:21:49.173" v="36762"/>
          <ac:spMkLst>
            <pc:docMk/>
            <pc:sldMk cId="1336352168" sldId="277"/>
            <ac:spMk id="58" creationId="{3378A65B-8FF4-4781-8563-6C0C79CE7E62}"/>
          </ac:spMkLst>
        </pc:spChg>
        <pc:spChg chg="mod">
          <ac:chgData name="Joelle Brehm" userId="a518f54c-6985-42c0-8041-2bb16a414839" providerId="ADAL" clId="{7999C4A2-9ACD-4CB2-9DCD-52B9CDE5124D}" dt="2023-05-07T18:21:49.157" v="36730"/>
          <ac:spMkLst>
            <pc:docMk/>
            <pc:sldMk cId="1336352168" sldId="277"/>
            <ac:spMk id="60" creationId="{7CF32AD0-385B-89C8-AB93-BDAD59C71EB4}"/>
          </ac:spMkLst>
        </pc:spChg>
        <pc:spChg chg="del mod">
          <ac:chgData name="Joelle Brehm" userId="a518f54c-6985-42c0-8041-2bb16a414839" providerId="ADAL" clId="{7999C4A2-9ACD-4CB2-9DCD-52B9CDE5124D}" dt="2023-05-07T18:21:39.388" v="36185"/>
          <ac:spMkLst>
            <pc:docMk/>
            <pc:sldMk cId="1336352168" sldId="277"/>
            <ac:spMk id="63" creationId="{615180B5-6725-814B-8CAE-FB6E1AA52977}"/>
          </ac:spMkLst>
        </pc:spChg>
        <pc:spChg chg="mod">
          <ac:chgData name="Joelle Brehm" userId="a518f54c-6985-42c0-8041-2bb16a414839" providerId="ADAL" clId="{7999C4A2-9ACD-4CB2-9DCD-52B9CDE5124D}" dt="2023-05-07T18:21:49.157" v="36731"/>
          <ac:spMkLst>
            <pc:docMk/>
            <pc:sldMk cId="1336352168" sldId="277"/>
            <ac:spMk id="65" creationId="{32C431CE-DCBE-F366-2531-99D6DD078066}"/>
          </ac:spMkLst>
        </pc:spChg>
        <pc:spChg chg="mod">
          <ac:chgData name="Joelle Brehm" userId="a518f54c-6985-42c0-8041-2bb16a414839" providerId="ADAL" clId="{7999C4A2-9ACD-4CB2-9DCD-52B9CDE5124D}" dt="2023-05-07T18:21:49.157" v="36732"/>
          <ac:spMkLst>
            <pc:docMk/>
            <pc:sldMk cId="1336352168" sldId="277"/>
            <ac:spMk id="69" creationId="{B717CD87-D6E9-303E-A9A2-A77F88A22D68}"/>
          </ac:spMkLst>
        </pc:spChg>
        <pc:spChg chg="mod ord">
          <ac:chgData name="Joelle Brehm" userId="a518f54c-6985-42c0-8041-2bb16a414839" providerId="ADAL" clId="{7999C4A2-9ACD-4CB2-9DCD-52B9CDE5124D}" dt="2023-05-07T18:21:49.157" v="36741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1:49.157" v="36743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21:49.157" v="36745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21:49.157" v="36747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1:49.157" v="36749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1:49.157" v="36751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1:49.157" v="36755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1:49.157" v="36754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1:49.157" v="36756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1:49.157" v="36757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21:49.157" v="36758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21:49.174" v="36770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1:49.138" v="36703"/>
          <ac:graphicFrameMkLst>
            <pc:docMk/>
            <pc:sldMk cId="1336352168" sldId="277"/>
            <ac:graphicFrameMk id="9" creationId="{EDD17D2D-6D9C-0910-1655-021EE204CCC9}"/>
          </ac:graphicFrameMkLst>
        </pc:graphicFrameChg>
        <pc:graphicFrameChg chg="del">
          <ac:chgData name="Joelle Brehm" userId="a518f54c-6985-42c0-8041-2bb16a414839" providerId="ADAL" clId="{7999C4A2-9ACD-4CB2-9DCD-52B9CDE5124D}" dt="2023-05-07T18:20:58.429" v="34858"/>
          <ac:graphicFrameMkLst>
            <pc:docMk/>
            <pc:sldMk cId="1336352168" sldId="277"/>
            <ac:graphicFrameMk id="32" creationId="{52B4E827-D7D9-D876-8F03-FFEFBC9F2F45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1:49.106" v="36689"/>
          <ac:graphicFrameMkLst>
            <pc:docMk/>
            <pc:sldMk cId="1336352168" sldId="277"/>
            <ac:graphicFrameMk id="42" creationId="{DDE248D5-8BBF-BA70-D4BB-918E8650A0AF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1:32.472" v="35887"/>
          <ac:graphicFrameMkLst>
            <pc:docMk/>
            <pc:sldMk cId="1336352168" sldId="277"/>
            <ac:graphicFrameMk id="45" creationId="{36BC1266-6853-3B5F-3851-00DFCD11DB4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1:36.313" v="36078"/>
          <ac:graphicFrameMkLst>
            <pc:docMk/>
            <pc:sldMk cId="1336352168" sldId="277"/>
            <ac:graphicFrameMk id="47" creationId="{B892138A-6396-AA07-6345-7151437E51F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1:39.517" v="36303"/>
          <ac:graphicFrameMkLst>
            <pc:docMk/>
            <pc:sldMk cId="1336352168" sldId="277"/>
            <ac:graphicFrameMk id="49" creationId="{70E20803-E4D0-6F26-5730-06F6DD9CE51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1:43.642" v="36460"/>
          <ac:graphicFrameMkLst>
            <pc:docMk/>
            <pc:sldMk cId="1336352168" sldId="277"/>
            <ac:graphicFrameMk id="51" creationId="{3C017FCF-1CFC-0888-A702-5B8C4B238327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1:49.157" v="36727"/>
          <ac:graphicFrameMkLst>
            <pc:docMk/>
            <pc:sldMk cId="1336352168" sldId="277"/>
            <ac:graphicFrameMk id="53" creationId="{3F502875-C07E-70EE-F322-CD0B2CBE02FB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1:49.157" v="36753"/>
          <ac:graphicFrameMkLst>
            <pc:docMk/>
            <pc:sldMk cId="1336352168" sldId="277"/>
            <ac:graphicFrameMk id="55" creationId="{E6DAD3D7-F76B-4FF6-DF9D-F2089F12EA5D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1:30.072" v="35721"/>
          <ac:graphicFrameMkLst>
            <pc:docMk/>
            <pc:sldMk cId="1336352168" sldId="277"/>
            <ac:graphicFrameMk id="57" creationId="{0B1245CC-273A-DE14-8EC2-EF88B02F6F72}"/>
          </ac:graphicFrameMkLst>
        </pc:graphicFrameChg>
        <pc:picChg chg="del mod ord">
          <ac:chgData name="Joelle Brehm" userId="a518f54c-6985-42c0-8041-2bb16a414839" providerId="ADAL" clId="{7999C4A2-9ACD-4CB2-9DCD-52B9CDE5124D}" dt="2023-05-07T18:21:21.155" v="35045" actId="478"/>
          <ac:picMkLst>
            <pc:docMk/>
            <pc:sldMk cId="1336352168" sldId="277"/>
            <ac:picMk id="5" creationId="{5F4C4356-10CB-305A-23CA-00F894C0AC8B}"/>
          </ac:picMkLst>
        </pc:picChg>
        <pc:picChg chg="add mod ord">
          <ac:chgData name="Joelle Brehm" userId="a518f54c-6985-42c0-8041-2bb16a414839" providerId="ADAL" clId="{7999C4A2-9ACD-4CB2-9DCD-52B9CDE5124D}" dt="2023-05-07T18:21:49.138" v="36697"/>
          <ac:picMkLst>
            <pc:docMk/>
            <pc:sldMk cId="1336352168" sldId="277"/>
            <ac:picMk id="10" creationId="{5F30E6B4-F5F0-41F1-1E4D-DEE9971AB331}"/>
          </ac:picMkLst>
        </pc:picChg>
        <pc:picChg chg="mod ord">
          <ac:chgData name="Joelle Brehm" userId="a518f54c-6985-42c0-8041-2bb16a414839" providerId="ADAL" clId="{7999C4A2-9ACD-4CB2-9DCD-52B9CDE5124D}" dt="2023-05-07T18:21:49.157" v="36760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1:49.138" v="36701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3:00.037" v="38586"/>
        <pc:sldMkLst>
          <pc:docMk/>
          <pc:sldMk cId="1379386497" sldId="278"/>
        </pc:sldMkLst>
        <pc:spChg chg="mod ord">
          <ac:chgData name="Joelle Brehm" userId="a518f54c-6985-42c0-8041-2bb16a414839" providerId="ADAL" clId="{7999C4A2-9ACD-4CB2-9DCD-52B9CDE5124D}" dt="2023-05-07T18:23:00.021" v="38580"/>
          <ac:spMkLst>
            <pc:docMk/>
            <pc:sldMk cId="1379386497" sldId="278"/>
            <ac:spMk id="2" creationId="{F45C2660-F634-4943-BD78-279946171050}"/>
          </ac:spMkLst>
        </pc:spChg>
        <pc:spChg chg="add del mod">
          <ac:chgData name="Joelle Brehm" userId="a518f54c-6985-42c0-8041-2bb16a414839" providerId="ADAL" clId="{7999C4A2-9ACD-4CB2-9DCD-52B9CDE5124D}" dt="2023-05-07T18:21:58.239" v="36771" actId="478"/>
          <ac:spMkLst>
            <pc:docMk/>
            <pc:sldMk cId="1379386497" sldId="278"/>
            <ac:spMk id="3" creationId="{F13DA597-49DE-231A-E78B-E60E7F219155}"/>
          </ac:spMkLst>
        </pc:spChg>
        <pc:spChg chg="mod ord">
          <ac:chgData name="Joelle Brehm" userId="a518f54c-6985-42c0-8041-2bb16a414839" providerId="ADAL" clId="{7999C4A2-9ACD-4CB2-9DCD-52B9CDE5124D}" dt="2023-05-07T18:23:00.011" v="38515"/>
          <ac:spMkLst>
            <pc:docMk/>
            <pc:sldMk cId="1379386497" sldId="278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22:04.772" v="37033"/>
          <ac:spMkLst>
            <pc:docMk/>
            <pc:sldMk cId="1379386497" sldId="278"/>
            <ac:spMk id="8" creationId="{9C1DF395-4A46-B4D2-4668-077D72D07701}"/>
          </ac:spMkLst>
        </pc:spChg>
        <pc:spChg chg="mod">
          <ac:chgData name="Joelle Brehm" userId="a518f54c-6985-42c0-8041-2bb16a414839" providerId="ADAL" clId="{7999C4A2-9ACD-4CB2-9DCD-52B9CDE5124D}" dt="2023-05-07T18:23:00.012" v="38520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3:00.014" v="38525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3:00.015" v="38526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3:00.012" v="38522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3:00.012" v="38521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3:00.012" v="38523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3:00.014" v="38524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3:00.015" v="38527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3:00.015" v="38528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3:00.015" v="38529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3:00.015" v="38530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3:00.015" v="38531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3:00.015" v="38533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3:00.015" v="38534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3:00.015" v="38535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3:00.015" v="38536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3:00.020" v="38539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3:00.015" v="38537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3:00.020" v="38538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3:00.021" v="38541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3:00.021" v="38549"/>
          <ac:spMkLst>
            <pc:docMk/>
            <pc:sldMk cId="1379386497" sldId="278"/>
            <ac:spMk id="31" creationId="{761920EE-DAF2-B98F-C8B3-EF7A215140D4}"/>
          </ac:spMkLst>
        </pc:spChg>
        <pc:spChg chg="mod">
          <ac:chgData name="Joelle Brehm" userId="a518f54c-6985-42c0-8041-2bb16a414839" providerId="ADAL" clId="{7999C4A2-9ACD-4CB2-9DCD-52B9CDE5124D}" dt="2023-05-07T18:23:00.021" v="38553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7999C4A2-9ACD-4CB2-9DCD-52B9CDE5124D}" dt="2023-05-07T18:23:00.021" v="38550"/>
          <ac:spMkLst>
            <pc:docMk/>
            <pc:sldMk cId="1379386497" sldId="278"/>
            <ac:spMk id="33" creationId="{EE1A50AB-3C6E-8AC0-42BD-B22810C4182F}"/>
          </ac:spMkLst>
        </pc:spChg>
        <pc:spChg chg="mod">
          <ac:chgData name="Joelle Brehm" userId="a518f54c-6985-42c0-8041-2bb16a414839" providerId="ADAL" clId="{7999C4A2-9ACD-4CB2-9DCD-52B9CDE5124D}" dt="2023-05-07T18:23:00.021" v="38548"/>
          <ac:spMkLst>
            <pc:docMk/>
            <pc:sldMk cId="1379386497" sldId="278"/>
            <ac:spMk id="34" creationId="{0B03BBFD-783A-B231-2FA9-DA2AD304A2F4}"/>
          </ac:spMkLst>
        </pc:spChg>
        <pc:spChg chg="mod">
          <ac:chgData name="Joelle Brehm" userId="a518f54c-6985-42c0-8041-2bb16a414839" providerId="ADAL" clId="{7999C4A2-9ACD-4CB2-9DCD-52B9CDE5124D}" dt="2023-05-07T18:23:00.021" v="38545"/>
          <ac:spMkLst>
            <pc:docMk/>
            <pc:sldMk cId="1379386497" sldId="278"/>
            <ac:spMk id="35" creationId="{F2CF5D67-71BE-8A59-E229-76C2662CAC06}"/>
          </ac:spMkLst>
        </pc:spChg>
        <pc:spChg chg="mod">
          <ac:chgData name="Joelle Brehm" userId="a518f54c-6985-42c0-8041-2bb16a414839" providerId="ADAL" clId="{7999C4A2-9ACD-4CB2-9DCD-52B9CDE5124D}" dt="2023-05-07T18:23:00.021" v="38552"/>
          <ac:spMkLst>
            <pc:docMk/>
            <pc:sldMk cId="1379386497" sldId="278"/>
            <ac:spMk id="37" creationId="{FC8B8426-BA51-69F5-3004-860C870C4B34}"/>
          </ac:spMkLst>
        </pc:spChg>
        <pc:spChg chg="add mod replST">
          <ac:chgData name="Joelle Brehm" userId="a518f54c-6985-42c0-8041-2bb16a414839" providerId="ADAL" clId="{7999C4A2-9ACD-4CB2-9DCD-52B9CDE5124D}" dt="2023-05-07T18:23:00.021" v="38571"/>
          <ac:spMkLst>
            <pc:docMk/>
            <pc:sldMk cId="1379386497" sldId="278"/>
            <ac:spMk id="38" creationId="{A2B38D9F-E0DE-893F-C86F-10A3F1C2BC81}"/>
          </ac:spMkLst>
        </pc:spChg>
        <pc:spChg chg="add mod replST">
          <ac:chgData name="Joelle Brehm" userId="a518f54c-6985-42c0-8041-2bb16a414839" providerId="ADAL" clId="{7999C4A2-9ACD-4CB2-9DCD-52B9CDE5124D}" dt="2023-05-07T18:23:00.021" v="38573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7999C4A2-9ACD-4CB2-9DCD-52B9CDE5124D}" dt="2023-05-07T18:23:00.021" v="38551"/>
          <ac:spMkLst>
            <pc:docMk/>
            <pc:sldMk cId="1379386497" sldId="278"/>
            <ac:spMk id="40" creationId="{19EAC242-0641-3DCA-CBDC-E602B8F0CB05}"/>
          </ac:spMkLst>
        </pc:spChg>
        <pc:spChg chg="add del mod modVis">
          <ac:chgData name="Joelle Brehm" userId="a518f54c-6985-42c0-8041-2bb16a414839" providerId="ADAL" clId="{7999C4A2-9ACD-4CB2-9DCD-52B9CDE5124D}" dt="2023-05-07T18:22:35.671" v="37403"/>
          <ac:spMkLst>
            <pc:docMk/>
            <pc:sldMk cId="1379386497" sldId="278"/>
            <ac:spMk id="41" creationId="{5885C3ED-266C-98D4-2383-F96357977D6F}"/>
          </ac:spMkLst>
        </pc:spChg>
        <pc:spChg chg="add mod replST">
          <ac:chgData name="Joelle Brehm" userId="a518f54c-6985-42c0-8041-2bb16a414839" providerId="ADAL" clId="{7999C4A2-9ACD-4CB2-9DCD-52B9CDE5124D}" dt="2023-05-07T18:23:00.021" v="38555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7999C4A2-9ACD-4CB2-9DCD-52B9CDE5124D}" dt="2023-05-07T18:23:00.021" v="38554"/>
          <ac:spMkLst>
            <pc:docMk/>
            <pc:sldMk cId="1379386497" sldId="278"/>
            <ac:spMk id="46" creationId="{86BD7409-404E-F355-254D-BE919727871E}"/>
          </ac:spMkLst>
        </pc:spChg>
        <pc:spChg chg="add del mod modVis">
          <ac:chgData name="Joelle Brehm" userId="a518f54c-6985-42c0-8041-2bb16a414839" providerId="ADAL" clId="{7999C4A2-9ACD-4CB2-9DCD-52B9CDE5124D}" dt="2023-05-07T18:22:47.925" v="38049"/>
          <ac:spMkLst>
            <pc:docMk/>
            <pc:sldMk cId="1379386497" sldId="278"/>
            <ac:spMk id="47" creationId="{4257BC90-A66B-CDBC-58A0-AEB777E8CB54}"/>
          </ac:spMkLst>
        </pc:spChg>
        <pc:spChg chg="add del mod modVis">
          <ac:chgData name="Joelle Brehm" userId="a518f54c-6985-42c0-8041-2bb16a414839" providerId="ADAL" clId="{7999C4A2-9ACD-4CB2-9DCD-52B9CDE5124D}" dt="2023-05-07T18:22:49.507" v="38246"/>
          <ac:spMkLst>
            <pc:docMk/>
            <pc:sldMk cId="1379386497" sldId="278"/>
            <ac:spMk id="49" creationId="{56C2F244-D89A-B6E3-23C9-C9D7B5E3E138}"/>
          </ac:spMkLst>
        </pc:spChg>
        <pc:spChg chg="add del mod modVis">
          <ac:chgData name="Joelle Brehm" userId="a518f54c-6985-42c0-8041-2bb16a414839" providerId="ADAL" clId="{7999C4A2-9ACD-4CB2-9DCD-52B9CDE5124D}" dt="2023-05-07T18:22:53.480" v="38394"/>
          <ac:spMkLst>
            <pc:docMk/>
            <pc:sldMk cId="1379386497" sldId="278"/>
            <ac:spMk id="51" creationId="{C32E78A2-DC60-AAF2-B335-2678FB9FA346}"/>
          </ac:spMkLst>
        </pc:spChg>
        <pc:spChg chg="add del mod modVis">
          <ac:chgData name="Joelle Brehm" userId="a518f54c-6985-42c0-8041-2bb16a414839" providerId="ADAL" clId="{7999C4A2-9ACD-4CB2-9DCD-52B9CDE5124D}" dt="2023-05-07T18:23:00.021" v="38584"/>
          <ac:spMkLst>
            <pc:docMk/>
            <pc:sldMk cId="1379386497" sldId="278"/>
            <ac:spMk id="53" creationId="{AA3935F3-CD02-8483-EED3-932354FC8066}"/>
          </ac:spMkLst>
        </pc:spChg>
        <pc:spChg chg="mod">
          <ac:chgData name="Joelle Brehm" userId="a518f54c-6985-42c0-8041-2bb16a414839" providerId="ADAL" clId="{7999C4A2-9ACD-4CB2-9DCD-52B9CDE5124D}" dt="2023-05-07T18:23:00.021" v="38546"/>
          <ac:spMkLst>
            <pc:docMk/>
            <pc:sldMk cId="1379386497" sldId="278"/>
            <ac:spMk id="57" creationId="{93482773-710D-ACB3-EB8D-7ED72E3C3487}"/>
          </ac:spMkLst>
        </pc:spChg>
        <pc:spChg chg="mod ord">
          <ac:chgData name="Joelle Brehm" userId="a518f54c-6985-42c0-8041-2bb16a414839" providerId="ADAL" clId="{7999C4A2-9ACD-4CB2-9DCD-52B9CDE5124D}" dt="2023-05-07T18:23:00.021" v="38578"/>
          <ac:spMkLst>
            <pc:docMk/>
            <pc:sldMk cId="1379386497" sldId="278"/>
            <ac:spMk id="58" creationId="{78B81F80-FD88-43AD-B1EA-9D49D321CFA2}"/>
          </ac:spMkLst>
        </pc:spChg>
        <pc:spChg chg="del mod">
          <ac:chgData name="Joelle Brehm" userId="a518f54c-6985-42c0-8041-2bb16a414839" providerId="ADAL" clId="{7999C4A2-9ACD-4CB2-9DCD-52B9CDE5124D}" dt="2023-05-07T18:22:59.914" v="38397"/>
          <ac:spMkLst>
            <pc:docMk/>
            <pc:sldMk cId="1379386497" sldId="278"/>
            <ac:spMk id="60" creationId="{5CA12E06-5A52-A6D7-2DF2-ED8FA6C1112C}"/>
          </ac:spMkLst>
        </pc:spChg>
        <pc:spChg chg="mod">
          <ac:chgData name="Joelle Brehm" userId="a518f54c-6985-42c0-8041-2bb16a414839" providerId="ADAL" clId="{7999C4A2-9ACD-4CB2-9DCD-52B9CDE5124D}" dt="2023-05-07T18:23:00.021" v="38547"/>
          <ac:spMkLst>
            <pc:docMk/>
            <pc:sldMk cId="1379386497" sldId="278"/>
            <ac:spMk id="68" creationId="{F5EDCF76-2D64-25EA-0D65-38D74867760B}"/>
          </ac:spMkLst>
        </pc:spChg>
        <pc:spChg chg="mod">
          <ac:chgData name="Joelle Brehm" userId="a518f54c-6985-42c0-8041-2bb16a414839" providerId="ADAL" clId="{7999C4A2-9ACD-4CB2-9DCD-52B9CDE5124D}" dt="2023-05-07T18:23:00.021" v="38544"/>
          <ac:spMkLst>
            <pc:docMk/>
            <pc:sldMk cId="1379386497" sldId="278"/>
            <ac:spMk id="71" creationId="{14F28137-9E3D-2F2F-FB1A-431750CB3ADD}"/>
          </ac:spMkLst>
        </pc:spChg>
        <pc:spChg chg="mod ord">
          <ac:chgData name="Joelle Brehm" userId="a518f54c-6985-42c0-8041-2bb16a414839" providerId="ADAL" clId="{7999C4A2-9ACD-4CB2-9DCD-52B9CDE5124D}" dt="2023-05-07T18:23:00.021" v="38557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3:00.021" v="38559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23:00.021" v="38561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23:00.021" v="38563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3:00.021" v="38565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3:00.021" v="38567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3:00.021" v="38572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3:00.021" v="38574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3:00.021" v="38570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7999C4A2-9ACD-4CB2-9DCD-52B9CDE5124D}" dt="2023-05-07T18:23:00.037" v="38586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3:00.012" v="38519"/>
          <ac:graphicFrameMkLst>
            <pc:docMk/>
            <pc:sldMk cId="1379386497" sldId="278"/>
            <ac:graphicFrameMk id="9" creationId="{E71202F0-1680-E8C7-FBE8-4B88C0A1976B}"/>
          </ac:graphicFrameMkLst>
        </pc:graphicFrameChg>
        <pc:graphicFrameChg chg="del">
          <ac:chgData name="Joelle Brehm" userId="a518f54c-6985-42c0-8041-2bb16a414839" providerId="ADAL" clId="{7999C4A2-9ACD-4CB2-9DCD-52B9CDE5124D}" dt="2023-05-07T18:22:04.693" v="36950"/>
          <ac:graphicFrameMkLst>
            <pc:docMk/>
            <pc:sldMk cId="1379386497" sldId="278"/>
            <ac:graphicFrameMk id="36" creationId="{B61EF58E-1868-36BA-141E-A6465227EFB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2:42.249" v="37425"/>
          <ac:graphicFrameMkLst>
            <pc:docMk/>
            <pc:sldMk cId="1379386497" sldId="278"/>
            <ac:graphicFrameMk id="42" creationId="{02148E80-A77E-A3F5-AFF8-7E7343BECC0D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3:00.021" v="38569"/>
          <ac:graphicFrameMkLst>
            <pc:docMk/>
            <pc:sldMk cId="1379386497" sldId="278"/>
            <ac:graphicFrameMk id="43" creationId="{026EEA44-4C05-E64A-7952-CA4B748B2179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2:35.624" v="37324"/>
          <ac:graphicFrameMkLst>
            <pc:docMk/>
            <pc:sldMk cId="1379386497" sldId="278"/>
            <ac:graphicFrameMk id="45" creationId="{EC4437B1-346D-94B7-11DE-07A038F309E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2:49.460" v="38148"/>
          <ac:graphicFrameMkLst>
            <pc:docMk/>
            <pc:sldMk cId="1379386497" sldId="278"/>
            <ac:graphicFrameMk id="48" creationId="{11006E39-AC04-B241-231E-45B2225201D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2:53.447" v="38314"/>
          <ac:graphicFrameMkLst>
            <pc:docMk/>
            <pc:sldMk cId="1379386497" sldId="278"/>
            <ac:graphicFrameMk id="50" creationId="{6B688E72-BC27-B9CB-9C28-0D35E3A94394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2:59.978" v="38505"/>
          <ac:graphicFrameMkLst>
            <pc:docMk/>
            <pc:sldMk cId="1379386497" sldId="278"/>
            <ac:graphicFrameMk id="52" creationId="{97A9C73D-2F96-E966-B6DE-1D57CDDEAD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3:00.021" v="38543"/>
          <ac:graphicFrameMkLst>
            <pc:docMk/>
            <pc:sldMk cId="1379386497" sldId="278"/>
            <ac:graphicFrameMk id="54" creationId="{FF94D624-499C-FD43-047F-141285678F4E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2:47.894" v="37965"/>
          <ac:graphicFrameMkLst>
            <pc:docMk/>
            <pc:sldMk cId="1379386497" sldId="278"/>
            <ac:graphicFrameMk id="91" creationId="{9FE0CC03-E25B-FE6F-4FD7-A5B089BF759F}"/>
          </ac:graphicFrameMkLst>
        </pc:graphicFrameChg>
        <pc:picChg chg="del mod ord">
          <ac:chgData name="Joelle Brehm" userId="a518f54c-6985-42c0-8041-2bb16a414839" providerId="ADAL" clId="{7999C4A2-9ACD-4CB2-9DCD-52B9CDE5124D}" dt="2023-05-07T18:22:26.452" v="37148" actId="478"/>
          <ac:picMkLst>
            <pc:docMk/>
            <pc:sldMk cId="1379386497" sldId="278"/>
            <ac:picMk id="5" creationId="{46F737A1-DF86-9965-A768-30A100721D25}"/>
          </ac:picMkLst>
        </pc:picChg>
        <pc:picChg chg="add mod ord">
          <ac:chgData name="Joelle Brehm" userId="a518f54c-6985-42c0-8041-2bb16a414839" providerId="ADAL" clId="{7999C4A2-9ACD-4CB2-9DCD-52B9CDE5124D}" dt="2023-05-07T18:23:00.010" v="38513"/>
          <ac:picMkLst>
            <pc:docMk/>
            <pc:sldMk cId="1379386497" sldId="278"/>
            <ac:picMk id="10" creationId="{65EC1ABB-C245-46D1-26AA-E6D8D3A4B1EA}"/>
          </ac:picMkLst>
        </pc:picChg>
        <pc:picChg chg="mod ord">
          <ac:chgData name="Joelle Brehm" userId="a518f54c-6985-42c0-8041-2bb16a414839" providerId="ADAL" clId="{7999C4A2-9ACD-4CB2-9DCD-52B9CDE5124D}" dt="2023-05-07T18:23:00.021" v="38576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3:00.012" v="38517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4:05.035" v="40561"/>
        <pc:sldMkLst>
          <pc:docMk/>
          <pc:sldMk cId="1917659360" sldId="279"/>
        </pc:sldMkLst>
        <pc:spChg chg="add del mod">
          <ac:chgData name="Joelle Brehm" userId="a518f54c-6985-42c0-8041-2bb16a414839" providerId="ADAL" clId="{7999C4A2-9ACD-4CB2-9DCD-52B9CDE5124D}" dt="2023-05-07T18:23:05.972" v="38587" actId="478"/>
          <ac:spMkLst>
            <pc:docMk/>
            <pc:sldMk cId="1917659360" sldId="279"/>
            <ac:spMk id="2" creationId="{8F210969-DE24-9080-DDC6-85C5D01AAD0C}"/>
          </ac:spMkLst>
        </pc:spChg>
        <pc:spChg chg="mod ord">
          <ac:chgData name="Joelle Brehm" userId="a518f54c-6985-42c0-8041-2bb16a414839" providerId="ADAL" clId="{7999C4A2-9ACD-4CB2-9DCD-52B9CDE5124D}" dt="2023-05-07T18:24:05.035" v="40555"/>
          <ac:spMkLst>
            <pc:docMk/>
            <pc:sldMk cId="1917659360" sldId="279"/>
            <ac:spMk id="3" creationId="{406BB448-665A-4F87-A867-B3E81CDBD2E8}"/>
          </ac:spMkLst>
        </pc:spChg>
        <pc:spChg chg="mod ord">
          <ac:chgData name="Joelle Brehm" userId="a518f54c-6985-42c0-8041-2bb16a414839" providerId="ADAL" clId="{7999C4A2-9ACD-4CB2-9DCD-52B9CDE5124D}" dt="2023-05-07T18:24:05.019" v="40490"/>
          <ac:spMkLst>
            <pc:docMk/>
            <pc:sldMk cId="1917659360" sldId="27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7999C4A2-9ACD-4CB2-9DCD-52B9CDE5124D}" dt="2023-05-07T18:23:15.111" v="38851"/>
          <ac:spMkLst>
            <pc:docMk/>
            <pc:sldMk cId="1917659360" sldId="279"/>
            <ac:spMk id="8" creationId="{F5238590-415E-0273-B4ED-B915C7D26E9A}"/>
          </ac:spMkLst>
        </pc:spChg>
        <pc:spChg chg="mod">
          <ac:chgData name="Joelle Brehm" userId="a518f54c-6985-42c0-8041-2bb16a414839" providerId="ADAL" clId="{7999C4A2-9ACD-4CB2-9DCD-52B9CDE5124D}" dt="2023-05-07T18:24:05.019" v="40519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7999C4A2-9ACD-4CB2-9DCD-52B9CDE5124D}" dt="2023-05-07T18:24:05.019" v="40496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4:05.019" v="40498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4:05.019" v="40499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4:05.019" v="40495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4:05.019" v="40497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4:05.019" v="40501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4:05.019" v="40502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4:05.019" v="40500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4:05.019" v="40503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4:05.019" v="40504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4:05.019" v="40505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4:05.019" v="40506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4:05.019" v="40508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4:05.019" v="40510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4:05.019" v="40509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4:05.019" v="40511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4:05.019" v="40513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4:05.019" v="40512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4:05.019" v="40514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4:05.019" v="40516"/>
          <ac:spMkLst>
            <pc:docMk/>
            <pc:sldMk cId="1917659360" sldId="279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4:05.019" v="40526"/>
          <ac:spMkLst>
            <pc:docMk/>
            <pc:sldMk cId="1917659360" sldId="279"/>
            <ac:spMk id="31" creationId="{F093A4C8-6E18-05C7-7E72-289C39311345}"/>
          </ac:spMkLst>
        </pc:spChg>
        <pc:spChg chg="mod">
          <ac:chgData name="Joelle Brehm" userId="a518f54c-6985-42c0-8041-2bb16a414839" providerId="ADAL" clId="{7999C4A2-9ACD-4CB2-9DCD-52B9CDE5124D}" dt="2023-05-07T18:24:05.019" v="40524"/>
          <ac:spMkLst>
            <pc:docMk/>
            <pc:sldMk cId="1917659360" sldId="279"/>
            <ac:spMk id="33" creationId="{EF1BE76E-3513-F867-5535-98776D038363}"/>
          </ac:spMkLst>
        </pc:spChg>
        <pc:spChg chg="mod">
          <ac:chgData name="Joelle Brehm" userId="a518f54c-6985-42c0-8041-2bb16a414839" providerId="ADAL" clId="{7999C4A2-9ACD-4CB2-9DCD-52B9CDE5124D}" dt="2023-05-07T18:24:05.019" v="40525"/>
          <ac:spMkLst>
            <pc:docMk/>
            <pc:sldMk cId="1917659360" sldId="279"/>
            <ac:spMk id="34" creationId="{3E8DCD8F-C1DE-43F0-D54C-AEB157F6432C}"/>
          </ac:spMkLst>
        </pc:spChg>
        <pc:spChg chg="mod">
          <ac:chgData name="Joelle Brehm" userId="a518f54c-6985-42c0-8041-2bb16a414839" providerId="ADAL" clId="{7999C4A2-9ACD-4CB2-9DCD-52B9CDE5124D}" dt="2023-05-07T18:24:05.019" v="40520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7999C4A2-9ACD-4CB2-9DCD-52B9CDE5124D}" dt="2023-05-07T18:24:05.019" v="40527"/>
          <ac:spMkLst>
            <pc:docMk/>
            <pc:sldMk cId="1917659360" sldId="279"/>
            <ac:spMk id="36" creationId="{1DD7BBF4-6C80-7EAE-8C4B-809D66ECE570}"/>
          </ac:spMkLst>
        </pc:spChg>
        <pc:spChg chg="add mod replST">
          <ac:chgData name="Joelle Brehm" userId="a518f54c-6985-42c0-8041-2bb16a414839" providerId="ADAL" clId="{7999C4A2-9ACD-4CB2-9DCD-52B9CDE5124D}" dt="2023-05-07T18:24:05.019" v="40530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7999C4A2-9ACD-4CB2-9DCD-52B9CDE5124D}" dt="2023-05-07T18:24:05.019" v="40529"/>
          <ac:spMkLst>
            <pc:docMk/>
            <pc:sldMk cId="1917659360" sldId="279"/>
            <ac:spMk id="40" creationId="{5B5D62FB-4106-E270-7394-CAB5E92F046A}"/>
          </ac:spMkLst>
        </pc:spChg>
        <pc:spChg chg="add del mod modVis">
          <ac:chgData name="Joelle Brehm" userId="a518f54c-6985-42c0-8041-2bb16a414839" providerId="ADAL" clId="{7999C4A2-9ACD-4CB2-9DCD-52B9CDE5124D}" dt="2023-05-07T18:23:44.302" v="39581"/>
          <ac:spMkLst>
            <pc:docMk/>
            <pc:sldMk cId="1917659360" sldId="279"/>
            <ac:spMk id="41" creationId="{D14129B0-1CED-8E64-845C-6A2EBE5380F0}"/>
          </ac:spMkLst>
        </pc:spChg>
        <pc:spChg chg="add del mod modVis">
          <ac:chgData name="Joelle Brehm" userId="a518f54c-6985-42c0-8041-2bb16a414839" providerId="ADAL" clId="{7999C4A2-9ACD-4CB2-9DCD-52B9CDE5124D}" dt="2023-05-07T18:23:47.493" v="39733"/>
          <ac:spMkLst>
            <pc:docMk/>
            <pc:sldMk cId="1917659360" sldId="279"/>
            <ac:spMk id="43" creationId="{FA2559C6-8084-5FD4-A285-DC81D9D469E2}"/>
          </ac:spMkLst>
        </pc:spChg>
        <pc:spChg chg="mod">
          <ac:chgData name="Joelle Brehm" userId="a518f54c-6985-42c0-8041-2bb16a414839" providerId="ADAL" clId="{7999C4A2-9ACD-4CB2-9DCD-52B9CDE5124D}" dt="2023-05-07T18:24:05.019" v="40528"/>
          <ac:spMkLst>
            <pc:docMk/>
            <pc:sldMk cId="1917659360" sldId="279"/>
            <ac:spMk id="44" creationId="{6D0C749E-E8C8-88F8-DDE8-851FCBBEB3E2}"/>
          </ac:spMkLst>
        </pc:spChg>
        <pc:spChg chg="add del mod modVis">
          <ac:chgData name="Joelle Brehm" userId="a518f54c-6985-42c0-8041-2bb16a414839" providerId="ADAL" clId="{7999C4A2-9ACD-4CB2-9DCD-52B9CDE5124D}" dt="2023-05-07T18:23:50.945" v="39883"/>
          <ac:spMkLst>
            <pc:docMk/>
            <pc:sldMk cId="1917659360" sldId="279"/>
            <ac:spMk id="46" creationId="{0EA11F31-D69E-3F29-B5DD-2B6D89A1B6B5}"/>
          </ac:spMkLst>
        </pc:spChg>
        <pc:spChg chg="add del mod modVis">
          <ac:chgData name="Joelle Brehm" userId="a518f54c-6985-42c0-8041-2bb16a414839" providerId="ADAL" clId="{7999C4A2-9ACD-4CB2-9DCD-52B9CDE5124D}" dt="2023-05-07T18:23:53.594" v="40191"/>
          <ac:spMkLst>
            <pc:docMk/>
            <pc:sldMk cId="1917659360" sldId="279"/>
            <ac:spMk id="48" creationId="{2490A5B9-A028-34DE-9D75-5547AF39ABAB}"/>
          </ac:spMkLst>
        </pc:spChg>
        <pc:spChg chg="add del mod ord replST">
          <ac:chgData name="Joelle Brehm" userId="a518f54c-6985-42c0-8041-2bb16a414839" providerId="ADAL" clId="{7999C4A2-9ACD-4CB2-9DCD-52B9CDE5124D}" dt="2023-05-07T18:24:04.988" v="40478"/>
          <ac:spMkLst>
            <pc:docMk/>
            <pc:sldMk cId="1917659360" sldId="279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24:00.841" v="40408"/>
          <ac:spMkLst>
            <pc:docMk/>
            <pc:sldMk cId="1917659360" sldId="279"/>
            <ac:spMk id="52" creationId="{6DFE1A31-4679-9A8B-5BC0-2E1886B8D29A}"/>
          </ac:spMkLst>
        </pc:spChg>
        <pc:spChg chg="add del mod modVis">
          <ac:chgData name="Joelle Brehm" userId="a518f54c-6985-42c0-8041-2bb16a414839" providerId="ADAL" clId="{7999C4A2-9ACD-4CB2-9DCD-52B9CDE5124D}" dt="2023-05-07T18:24:05.035" v="40559"/>
          <ac:spMkLst>
            <pc:docMk/>
            <pc:sldMk cId="1917659360" sldId="279"/>
            <ac:spMk id="54" creationId="{7EB52A27-67CE-6B34-C52B-70D8C7D86CDF}"/>
          </ac:spMkLst>
        </pc:spChg>
        <pc:spChg chg="mod ord">
          <ac:chgData name="Joelle Brehm" userId="a518f54c-6985-42c0-8041-2bb16a414839" providerId="ADAL" clId="{7999C4A2-9ACD-4CB2-9DCD-52B9CDE5124D}" dt="2023-05-07T18:24:05.019" v="40553"/>
          <ac:spMkLst>
            <pc:docMk/>
            <pc:sldMk cId="1917659360" sldId="279"/>
            <ac:spMk id="58" creationId="{C2B29D16-5A5D-43B3-B972-0B57287E081A}"/>
          </ac:spMkLst>
        </pc:spChg>
        <pc:spChg chg="del mod">
          <ac:chgData name="Joelle Brehm" userId="a518f54c-6985-42c0-8041-2bb16a414839" providerId="ADAL" clId="{7999C4A2-9ACD-4CB2-9DCD-52B9CDE5124D}" dt="2023-05-07T18:23:53.248" v="39886"/>
          <ac:spMkLst>
            <pc:docMk/>
            <pc:sldMk cId="1917659360" sldId="279"/>
            <ac:spMk id="59" creationId="{69E400BE-9E06-1424-9F73-0C7A855B2D2C}"/>
          </ac:spMkLst>
        </pc:spChg>
        <pc:spChg chg="mod">
          <ac:chgData name="Joelle Brehm" userId="a518f54c-6985-42c0-8041-2bb16a414839" providerId="ADAL" clId="{7999C4A2-9ACD-4CB2-9DCD-52B9CDE5124D}" dt="2023-05-07T18:24:05.019" v="40522"/>
          <ac:spMkLst>
            <pc:docMk/>
            <pc:sldMk cId="1917659360" sldId="279"/>
            <ac:spMk id="61" creationId="{89FB0A14-984F-7070-9E9C-AC635E68F43F}"/>
          </ac:spMkLst>
        </pc:spChg>
        <pc:spChg chg="mod">
          <ac:chgData name="Joelle Brehm" userId="a518f54c-6985-42c0-8041-2bb16a414839" providerId="ADAL" clId="{7999C4A2-9ACD-4CB2-9DCD-52B9CDE5124D}" dt="2023-05-07T18:24:05.019" v="40523"/>
          <ac:spMkLst>
            <pc:docMk/>
            <pc:sldMk cId="1917659360" sldId="279"/>
            <ac:spMk id="64" creationId="{35C83473-CEFE-97B3-BB93-6F7EECC70D9C}"/>
          </ac:spMkLst>
        </pc:spChg>
        <pc:spChg chg="mod">
          <ac:chgData name="Joelle Brehm" userId="a518f54c-6985-42c0-8041-2bb16a414839" providerId="ADAL" clId="{7999C4A2-9ACD-4CB2-9DCD-52B9CDE5124D}" dt="2023-05-07T18:24:05.019" v="40521"/>
          <ac:spMkLst>
            <pc:docMk/>
            <pc:sldMk cId="1917659360" sldId="279"/>
            <ac:spMk id="68" creationId="{172D3C4E-809D-7E4B-644C-D1FADA170FF0}"/>
          </ac:spMkLst>
        </pc:spChg>
        <pc:spChg chg="mod ord">
          <ac:chgData name="Joelle Brehm" userId="a518f54c-6985-42c0-8041-2bb16a414839" providerId="ADAL" clId="{7999C4A2-9ACD-4CB2-9DCD-52B9CDE5124D}" dt="2023-05-07T18:24:05.019" v="40532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4:05.019" v="40534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24:05.019" v="40536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24:05.019" v="40538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4:05.019" v="40540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4:05.019" v="40542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4:05.019" v="40548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4:05.019" v="40549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4:05.019" v="40545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4:05.019" v="40547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24:05.019" v="40546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24:05.035" v="40561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4:05.019" v="40494"/>
          <ac:graphicFrameMkLst>
            <pc:docMk/>
            <pc:sldMk cId="1917659360" sldId="279"/>
            <ac:graphicFrameMk id="9" creationId="{FE00B440-BDE1-BADF-A6C2-6A09C094DE74}"/>
          </ac:graphicFrameMkLst>
        </pc:graphicFrameChg>
        <pc:graphicFrameChg chg="del">
          <ac:chgData name="Joelle Brehm" userId="a518f54c-6985-42c0-8041-2bb16a414839" providerId="ADAL" clId="{7999C4A2-9ACD-4CB2-9DCD-52B9CDE5124D}" dt="2023-05-07T18:23:15.064" v="38770"/>
          <ac:graphicFrameMkLst>
            <pc:docMk/>
            <pc:sldMk cId="1917659360" sldId="279"/>
            <ac:graphicFrameMk id="37" creationId="{C6D3E1FA-EFCD-A616-AF45-260A6A295A58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4:00.793" v="40327"/>
          <ac:graphicFrameMkLst>
            <pc:docMk/>
            <pc:sldMk cId="1917659360" sldId="279"/>
            <ac:graphicFrameMk id="39" creationId="{9621C3D0-AC3D-5FC9-DFC2-E543A7F6B22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3:47.454" v="39653"/>
          <ac:graphicFrameMkLst>
            <pc:docMk/>
            <pc:sldMk cId="1917659360" sldId="279"/>
            <ac:graphicFrameMk id="42" creationId="{5B3E041F-D0A4-FE00-7D40-A88F06FB5F28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3:50.844" v="39803"/>
          <ac:graphicFrameMkLst>
            <pc:docMk/>
            <pc:sldMk cId="1917659360" sldId="279"/>
            <ac:graphicFrameMk id="45" creationId="{5F845EA8-80BD-EC31-52F4-EA2625EBFEF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3:53.482" v="40088"/>
          <ac:graphicFrameMkLst>
            <pc:docMk/>
            <pc:sldMk cId="1917659360" sldId="279"/>
            <ac:graphicFrameMk id="47" creationId="{FFAF97A4-E309-E36F-6A7E-283A5241B238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4:04.988" v="40480"/>
          <ac:graphicFrameMkLst>
            <pc:docMk/>
            <pc:sldMk cId="1917659360" sldId="279"/>
            <ac:graphicFrameMk id="50" creationId="{2DD64CB3-45D0-2661-24B0-90DBA5FEBFAB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3:44.238" v="39493"/>
          <ac:graphicFrameMkLst>
            <pc:docMk/>
            <pc:sldMk cId="1917659360" sldId="279"/>
            <ac:graphicFrameMk id="51" creationId="{CDA9C83F-4945-0A04-5D67-E5164EE15088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4:05.019" v="40544"/>
          <ac:graphicFrameMkLst>
            <pc:docMk/>
            <pc:sldMk cId="1917659360" sldId="279"/>
            <ac:graphicFrameMk id="53" creationId="{C481CBD8-1048-6D07-8F28-3BFA0E5DBD47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4:05.019" v="40518"/>
          <ac:graphicFrameMkLst>
            <pc:docMk/>
            <pc:sldMk cId="1917659360" sldId="279"/>
            <ac:graphicFrameMk id="55" creationId="{8A01C037-FBC6-F148-3D36-B94843C2D6BE}"/>
          </ac:graphicFrameMkLst>
        </pc:graphicFrameChg>
        <pc:picChg chg="del mod ord">
          <ac:chgData name="Joelle Brehm" userId="a518f54c-6985-42c0-8041-2bb16a414839" providerId="ADAL" clId="{7999C4A2-9ACD-4CB2-9DCD-52B9CDE5124D}" dt="2023-05-07T18:23:37.552" v="38943" actId="478"/>
          <ac:picMkLst>
            <pc:docMk/>
            <pc:sldMk cId="1917659360" sldId="279"/>
            <ac:picMk id="5" creationId="{1F20883B-C06A-3C93-68A0-96B079717CEE}"/>
          </ac:picMkLst>
        </pc:picChg>
        <pc:picChg chg="add mod ord">
          <ac:chgData name="Joelle Brehm" userId="a518f54c-6985-42c0-8041-2bb16a414839" providerId="ADAL" clId="{7999C4A2-9ACD-4CB2-9DCD-52B9CDE5124D}" dt="2023-05-07T18:24:05.019" v="40488"/>
          <ac:picMkLst>
            <pc:docMk/>
            <pc:sldMk cId="1917659360" sldId="279"/>
            <ac:picMk id="32" creationId="{419580CC-B47A-0C2F-818C-AB0540B520DB}"/>
          </ac:picMkLst>
        </pc:picChg>
        <pc:picChg chg="mod ord">
          <ac:chgData name="Joelle Brehm" userId="a518f54c-6985-42c0-8041-2bb16a414839" providerId="ADAL" clId="{7999C4A2-9ACD-4CB2-9DCD-52B9CDE5124D}" dt="2023-05-07T18:24:05.019" v="40551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4:05.019" v="40492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6:19.573" v="43969"/>
        <pc:sldMkLst>
          <pc:docMk/>
          <pc:sldMk cId="168389892" sldId="281"/>
        </pc:sldMkLst>
        <pc:spChg chg="mod ord">
          <ac:chgData name="Joelle Brehm" userId="a518f54c-6985-42c0-8041-2bb16a414839" providerId="ADAL" clId="{7999C4A2-9ACD-4CB2-9DCD-52B9CDE5124D}" dt="2023-05-07T18:26:19.557" v="43963"/>
          <ac:spMkLst>
            <pc:docMk/>
            <pc:sldMk cId="168389892" sldId="281"/>
            <ac:spMk id="2" creationId="{113280EF-7092-46F4-B9C0-9ADB445F51A4}"/>
          </ac:spMkLst>
        </pc:spChg>
        <pc:spChg chg="add del mod">
          <ac:chgData name="Joelle Brehm" userId="a518f54c-6985-42c0-8041-2bb16a414839" providerId="ADAL" clId="{7999C4A2-9ACD-4CB2-9DCD-52B9CDE5124D}" dt="2023-05-07T18:25:35.413" v="42245" actId="478"/>
          <ac:spMkLst>
            <pc:docMk/>
            <pc:sldMk cId="168389892" sldId="281"/>
            <ac:spMk id="3" creationId="{25F97673-234C-BA4C-77CB-22F0D48832F5}"/>
          </ac:spMkLst>
        </pc:spChg>
        <pc:spChg chg="add del mod modVis">
          <ac:chgData name="Joelle Brehm" userId="a518f54c-6985-42c0-8041-2bb16a414839" providerId="ADAL" clId="{7999C4A2-9ACD-4CB2-9DCD-52B9CDE5124D}" dt="2023-05-07T18:25:38.934" v="42536"/>
          <ac:spMkLst>
            <pc:docMk/>
            <pc:sldMk cId="168389892" sldId="281"/>
            <ac:spMk id="5" creationId="{76836EFF-AEE0-A92F-1ABD-C562113F7209}"/>
          </ac:spMkLst>
        </pc:spChg>
        <pc:spChg chg="mod ord">
          <ac:chgData name="Joelle Brehm" userId="a518f54c-6985-42c0-8041-2bb16a414839" providerId="ADAL" clId="{7999C4A2-9ACD-4CB2-9DCD-52B9CDE5124D}" dt="2023-05-07T18:26:19.540" v="43876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26:19.557" v="43935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7999C4A2-9ACD-4CB2-9DCD-52B9CDE5124D}" dt="2023-05-07T18:26:19.540" v="43883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6:19.540" v="43881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6:19.540" v="43882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6:19.540" v="43885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6:19.540" v="43884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6:19.540" v="43886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6:19.540" v="43887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6:19.540" v="43888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6:19.540" v="43889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6:19.540" v="43890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6:19.540" v="43891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6:19.540" v="43892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6:19.540" v="43894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6:19.540" v="43896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6:19.540" v="43895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6:19.540" v="43897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6:19.540" v="43901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6:19.540" v="43900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6:19.540" v="43902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6:19.540" v="43905"/>
          <ac:spMkLst>
            <pc:docMk/>
            <pc:sldMk cId="168389892" sldId="281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6:19.557" v="43924"/>
          <ac:spMkLst>
            <pc:docMk/>
            <pc:sldMk cId="168389892" sldId="281"/>
            <ac:spMk id="31" creationId="{711541B8-27AE-44A5-8FC9-D12E6804FB92}"/>
          </ac:spMkLst>
        </pc:spChg>
        <pc:spChg chg="mod">
          <ac:chgData name="Joelle Brehm" userId="a518f54c-6985-42c0-8041-2bb16a414839" providerId="ADAL" clId="{7999C4A2-9ACD-4CB2-9DCD-52B9CDE5124D}" dt="2023-05-07T18:26:19.557" v="43923"/>
          <ac:spMkLst>
            <pc:docMk/>
            <pc:sldMk cId="168389892" sldId="281"/>
            <ac:spMk id="32" creationId="{267D9261-1F00-B849-706B-361467A439F9}"/>
          </ac:spMkLst>
        </pc:spChg>
        <pc:spChg chg="mod">
          <ac:chgData name="Joelle Brehm" userId="a518f54c-6985-42c0-8041-2bb16a414839" providerId="ADAL" clId="{7999C4A2-9ACD-4CB2-9DCD-52B9CDE5124D}" dt="2023-05-07T18:26:19.557" v="43930"/>
          <ac:spMkLst>
            <pc:docMk/>
            <pc:sldMk cId="168389892" sldId="281"/>
            <ac:spMk id="33" creationId="{B1E9DD7B-A017-14DB-FDC5-572B2A809BD1}"/>
          </ac:spMkLst>
        </pc:spChg>
        <pc:spChg chg="mod">
          <ac:chgData name="Joelle Brehm" userId="a518f54c-6985-42c0-8041-2bb16a414839" providerId="ADAL" clId="{7999C4A2-9ACD-4CB2-9DCD-52B9CDE5124D}" dt="2023-05-07T18:26:19.557" v="43926"/>
          <ac:spMkLst>
            <pc:docMk/>
            <pc:sldMk cId="168389892" sldId="281"/>
            <ac:spMk id="34" creationId="{A3449709-B02E-77EF-4F6F-B47BC234DA54}"/>
          </ac:spMkLst>
        </pc:spChg>
        <pc:spChg chg="mod">
          <ac:chgData name="Joelle Brehm" userId="a518f54c-6985-42c0-8041-2bb16a414839" providerId="ADAL" clId="{7999C4A2-9ACD-4CB2-9DCD-52B9CDE5124D}" dt="2023-05-07T18:26:19.557" v="43925"/>
          <ac:spMkLst>
            <pc:docMk/>
            <pc:sldMk cId="168389892" sldId="281"/>
            <ac:spMk id="35" creationId="{0B484CBC-5CE9-D383-6E19-BF1B45083FAC}"/>
          </ac:spMkLst>
        </pc:spChg>
        <pc:spChg chg="mod">
          <ac:chgData name="Joelle Brehm" userId="a518f54c-6985-42c0-8041-2bb16a414839" providerId="ADAL" clId="{7999C4A2-9ACD-4CB2-9DCD-52B9CDE5124D}" dt="2023-05-07T18:26:19.557" v="43928"/>
          <ac:spMkLst>
            <pc:docMk/>
            <pc:sldMk cId="168389892" sldId="281"/>
            <ac:spMk id="36" creationId="{36968B59-7E4B-5916-DE24-FBEDF12C1E49}"/>
          </ac:spMkLst>
        </pc:spChg>
        <pc:spChg chg="mod ord">
          <ac:chgData name="Joelle Brehm" userId="a518f54c-6985-42c0-8041-2bb16a414839" providerId="ADAL" clId="{7999C4A2-9ACD-4CB2-9DCD-52B9CDE5124D}" dt="2023-05-07T18:26:19.540" v="43899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7999C4A2-9ACD-4CB2-9DCD-52B9CDE5124D}" dt="2023-05-07T18:26:19.557" v="43927"/>
          <ac:spMkLst>
            <pc:docMk/>
            <pc:sldMk cId="168389892" sldId="281"/>
            <ac:spMk id="38" creationId="{33D6C8F4-21B6-9786-940E-4D86B2714801}"/>
          </ac:spMkLst>
        </pc:spChg>
        <pc:spChg chg="mod">
          <ac:chgData name="Joelle Brehm" userId="a518f54c-6985-42c0-8041-2bb16a414839" providerId="ADAL" clId="{7999C4A2-9ACD-4CB2-9DCD-52B9CDE5124D}" dt="2023-05-07T18:26:19.557" v="43933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7999C4A2-9ACD-4CB2-9DCD-52B9CDE5124D}" dt="2023-05-07T18:26:19.540" v="43916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7999C4A2-9ACD-4CB2-9DCD-52B9CDE5124D}" dt="2023-05-07T18:26:19.557" v="43931"/>
          <ac:spMkLst>
            <pc:docMk/>
            <pc:sldMk cId="168389892" sldId="281"/>
            <ac:spMk id="41" creationId="{FDBDB5F4-8253-DAFB-C27E-59BA58987D05}"/>
          </ac:spMkLst>
        </pc:spChg>
        <pc:spChg chg="mod">
          <ac:chgData name="Joelle Brehm" userId="a518f54c-6985-42c0-8041-2bb16a414839" providerId="ADAL" clId="{7999C4A2-9ACD-4CB2-9DCD-52B9CDE5124D}" dt="2023-05-07T18:26:19.557" v="43929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7999C4A2-9ACD-4CB2-9DCD-52B9CDE5124D}" dt="2023-05-07T18:26:19.557" v="43934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7999C4A2-9ACD-4CB2-9DCD-52B9CDE5124D}" dt="2023-05-07T18:26:19.540" v="43912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6:19.540" v="43909"/>
          <ac:spMkLst>
            <pc:docMk/>
            <pc:sldMk cId="168389892" sldId="281"/>
            <ac:spMk id="4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6:19.540" v="43913"/>
          <ac:spMkLst>
            <pc:docMk/>
            <pc:sldMk cId="168389892" sldId="281"/>
            <ac:spMk id="4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6:19.540" v="43914"/>
          <ac:spMkLst>
            <pc:docMk/>
            <pc:sldMk cId="168389892" sldId="281"/>
            <ac:spMk id="47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6:19.557" v="43932"/>
          <ac:spMkLst>
            <pc:docMk/>
            <pc:sldMk cId="168389892" sldId="281"/>
            <ac:spMk id="48" creationId="{D7C724F5-3AF0-C1C4-489C-1D5CE45F0FB0}"/>
          </ac:spMkLst>
        </pc:spChg>
        <pc:spChg chg="mod">
          <ac:chgData name="Joelle Brehm" userId="a518f54c-6985-42c0-8041-2bb16a414839" providerId="ADAL" clId="{7999C4A2-9ACD-4CB2-9DCD-52B9CDE5124D}" dt="2023-05-07T18:26:19.540" v="43910"/>
          <ac:spMkLst>
            <pc:docMk/>
            <pc:sldMk cId="168389892" sldId="281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26:04.699" v="42881"/>
          <ac:spMkLst>
            <pc:docMk/>
            <pc:sldMk cId="168389892" sldId="281"/>
            <ac:spMk id="52" creationId="{1F92BF11-BDC6-EE43-3B14-88357B2371A4}"/>
          </ac:spMkLst>
        </pc:spChg>
        <pc:spChg chg="mod">
          <ac:chgData name="Joelle Brehm" userId="a518f54c-6985-42c0-8041-2bb16a414839" providerId="ADAL" clId="{7999C4A2-9ACD-4CB2-9DCD-52B9CDE5124D}" dt="2023-05-07T18:26:19.557" v="43937"/>
          <ac:spMkLst>
            <pc:docMk/>
            <pc:sldMk cId="168389892" sldId="281"/>
            <ac:spMk id="54" creationId="{622603CE-58AD-807F-F76A-AA9426112C20}"/>
          </ac:spMkLst>
        </pc:spChg>
        <pc:spChg chg="mod">
          <ac:chgData name="Joelle Brehm" userId="a518f54c-6985-42c0-8041-2bb16a414839" providerId="ADAL" clId="{7999C4A2-9ACD-4CB2-9DCD-52B9CDE5124D}" dt="2023-05-07T18:26:19.557" v="43936"/>
          <ac:spMkLst>
            <pc:docMk/>
            <pc:sldMk cId="168389892" sldId="281"/>
            <ac:spMk id="56" creationId="{02188EDD-C1DA-07E7-1AAB-44DEAB4B37E6}"/>
          </ac:spMkLst>
        </pc:spChg>
        <pc:spChg chg="add mod replST">
          <ac:chgData name="Joelle Brehm" userId="a518f54c-6985-42c0-8041-2bb16a414839" providerId="ADAL" clId="{7999C4A2-9ACD-4CB2-9DCD-52B9CDE5124D}" dt="2023-05-07T18:26:19.540" v="43918"/>
          <ac:spMkLst>
            <pc:docMk/>
            <pc:sldMk cId="168389892" sldId="281"/>
            <ac:spMk id="57" creationId="{C5C40907-46F2-01D7-4DFC-21E722FD6F82}"/>
          </ac:spMkLst>
        </pc:spChg>
        <pc:spChg chg="add del mod modVis">
          <ac:chgData name="Joelle Brehm" userId="a518f54c-6985-42c0-8041-2bb16a414839" providerId="ADAL" clId="{7999C4A2-9ACD-4CB2-9DCD-52B9CDE5124D}" dt="2023-05-07T18:26:11.247" v="43264"/>
          <ac:spMkLst>
            <pc:docMk/>
            <pc:sldMk cId="168389892" sldId="281"/>
            <ac:spMk id="58" creationId="{142A19F5-3772-2579-3D23-F35CA9ED02B1}"/>
          </ac:spMkLst>
        </pc:spChg>
        <pc:spChg chg="add mod replST">
          <ac:chgData name="Joelle Brehm" userId="a518f54c-6985-42c0-8041-2bb16a414839" providerId="ADAL" clId="{7999C4A2-9ACD-4CB2-9DCD-52B9CDE5124D}" dt="2023-05-07T18:26:19.557" v="43938"/>
          <ac:spMkLst>
            <pc:docMk/>
            <pc:sldMk cId="168389892" sldId="281"/>
            <ac:spMk id="60" creationId="{E2CCABD6-E3A5-2DEA-E763-1A50AC421FC3}"/>
          </ac:spMkLst>
        </pc:spChg>
        <pc:spChg chg="add del mod modVis">
          <ac:chgData name="Joelle Brehm" userId="a518f54c-6985-42c0-8041-2bb16a414839" providerId="ADAL" clId="{7999C4A2-9ACD-4CB2-9DCD-52B9CDE5124D}" dt="2023-05-07T18:26:14.423" v="43508"/>
          <ac:spMkLst>
            <pc:docMk/>
            <pc:sldMk cId="168389892" sldId="281"/>
            <ac:spMk id="61" creationId="{F795FAFC-4F65-6450-39D8-1F1ACE1DCE4F}"/>
          </ac:spMkLst>
        </pc:spChg>
        <pc:spChg chg="add del mod modVis">
          <ac:chgData name="Joelle Brehm" userId="a518f54c-6985-42c0-8041-2bb16a414839" providerId="ADAL" clId="{7999C4A2-9ACD-4CB2-9DCD-52B9CDE5124D}" dt="2023-05-07T18:26:17.337" v="43706"/>
          <ac:spMkLst>
            <pc:docMk/>
            <pc:sldMk cId="168389892" sldId="281"/>
            <ac:spMk id="63" creationId="{BAFBE65B-92C6-70D4-E751-3E04FFE7ADEA}"/>
          </ac:spMkLst>
        </pc:spChg>
        <pc:spChg chg="add del mod modVis">
          <ac:chgData name="Joelle Brehm" userId="a518f54c-6985-42c0-8041-2bb16a414839" providerId="ADAL" clId="{7999C4A2-9ACD-4CB2-9DCD-52B9CDE5124D}" dt="2023-05-07T18:26:19.557" v="43967"/>
          <ac:spMkLst>
            <pc:docMk/>
            <pc:sldMk cId="168389892" sldId="281"/>
            <ac:spMk id="65" creationId="{3CB3BB81-57B6-A38A-6A10-A0FD5761FE0B}"/>
          </ac:spMkLst>
        </pc:spChg>
        <pc:spChg chg="mod">
          <ac:chgData name="Joelle Brehm" userId="a518f54c-6985-42c0-8041-2bb16a414839" providerId="ADAL" clId="{7999C4A2-9ACD-4CB2-9DCD-52B9CDE5124D}" dt="2023-05-07T18:26:19.540" v="43903"/>
          <ac:spMkLst>
            <pc:docMk/>
            <pc:sldMk cId="168389892" sldId="281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26:19.557" v="43940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6:19.557" v="43942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26:19.540" v="43917"/>
          <ac:spMkLst>
            <pc:docMk/>
            <pc:sldMk cId="168389892" sldId="281"/>
            <ac:spMk id="80" creationId="{A9EF3557-4ADA-B46D-607F-719093F6BE9E}"/>
          </ac:spMkLst>
        </pc:spChg>
        <pc:spChg chg="del mod">
          <ac:chgData name="Joelle Brehm" userId="a518f54c-6985-42c0-8041-2bb16a414839" providerId="ADAL" clId="{7999C4A2-9ACD-4CB2-9DCD-52B9CDE5124D}" dt="2023-05-07T18:26:19.422" v="43710"/>
          <ac:spMkLst>
            <pc:docMk/>
            <pc:sldMk cId="168389892" sldId="281"/>
            <ac:spMk id="83" creationId="{D7B108A6-9A40-CBB4-2D36-F285FD1F386A}"/>
          </ac:spMkLst>
        </pc:spChg>
        <pc:spChg chg="mod">
          <ac:chgData name="Joelle Brehm" userId="a518f54c-6985-42c0-8041-2bb16a414839" providerId="ADAL" clId="{7999C4A2-9ACD-4CB2-9DCD-52B9CDE5124D}" dt="2023-05-07T18:26:19.556" v="43919"/>
          <ac:spMkLst>
            <pc:docMk/>
            <pc:sldMk cId="168389892" sldId="281"/>
            <ac:spMk id="84" creationId="{6A72EA4B-080B-599A-474B-DEB3E2490940}"/>
          </ac:spMkLst>
        </pc:spChg>
        <pc:spChg chg="mod">
          <ac:chgData name="Joelle Brehm" userId="a518f54c-6985-42c0-8041-2bb16a414839" providerId="ADAL" clId="{7999C4A2-9ACD-4CB2-9DCD-52B9CDE5124D}" dt="2023-05-07T18:26:19.556" v="43920"/>
          <ac:spMkLst>
            <pc:docMk/>
            <pc:sldMk cId="168389892" sldId="281"/>
            <ac:spMk id="85" creationId="{DF87CD30-2B02-58E3-EBCD-F3BF3794739E}"/>
          </ac:spMkLst>
        </pc:spChg>
        <pc:spChg chg="mod">
          <ac:chgData name="Joelle Brehm" userId="a518f54c-6985-42c0-8041-2bb16a414839" providerId="ADAL" clId="{7999C4A2-9ACD-4CB2-9DCD-52B9CDE5124D}" dt="2023-05-07T18:26:19.540" v="43908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26:19.557" v="43944"/>
          <ac:spMkLst>
            <pc:docMk/>
            <pc:sldMk cId="168389892" sldId="281"/>
            <ac:spMk id="100" creationId="{8B5667AB-609C-4AEA-83B3-24E395C8F420}"/>
          </ac:spMkLst>
        </pc:spChg>
        <pc:spChg chg="mod">
          <ac:chgData name="Joelle Brehm" userId="a518f54c-6985-42c0-8041-2bb16a414839" providerId="ADAL" clId="{7999C4A2-9ACD-4CB2-9DCD-52B9CDE5124D}" dt="2023-05-07T18:26:19.540" v="43911"/>
          <ac:spMkLst>
            <pc:docMk/>
            <pc:sldMk cId="168389892" sldId="281"/>
            <ac:spMk id="101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8:26:19.422" v="43709"/>
          <ac:spMkLst>
            <pc:docMk/>
            <pc:sldMk cId="168389892" sldId="281"/>
            <ac:spMk id="102" creationId="{12624011-642C-2DDE-4D95-F58DBE359CA9}"/>
          </ac:spMkLst>
        </pc:spChg>
        <pc:spChg chg="mod">
          <ac:chgData name="Joelle Brehm" userId="a518f54c-6985-42c0-8041-2bb16a414839" providerId="ADAL" clId="{7999C4A2-9ACD-4CB2-9DCD-52B9CDE5124D}" dt="2023-05-07T18:26:19.540" v="43915"/>
          <ac:spMkLst>
            <pc:docMk/>
            <pc:sldMk cId="168389892" sldId="281"/>
            <ac:spMk id="107" creationId="{2C0F3D91-8280-5B6C-3F0D-3BA8A2B7F58D}"/>
          </ac:spMkLst>
        </pc:spChg>
        <pc:spChg chg="mod ord">
          <ac:chgData name="Joelle Brehm" userId="a518f54c-6985-42c0-8041-2bb16a414839" providerId="ADAL" clId="{7999C4A2-9ACD-4CB2-9DCD-52B9CDE5124D}" dt="2023-05-07T18:26:19.557" v="43946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6:19.557" v="43948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6:19.557" v="43950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6:19.557" v="43922"/>
          <ac:spMkLst>
            <pc:docMk/>
            <pc:sldMk cId="168389892" sldId="281"/>
            <ac:spMk id="111" creationId="{F322459F-CC51-9478-D518-8430E52F3C72}"/>
          </ac:spMkLst>
        </pc:spChg>
        <pc:spChg chg="mod">
          <ac:chgData name="Joelle Brehm" userId="a518f54c-6985-42c0-8041-2bb16a414839" providerId="ADAL" clId="{7999C4A2-9ACD-4CB2-9DCD-52B9CDE5124D}" dt="2023-05-07T18:26:19.556" v="43921"/>
          <ac:spMkLst>
            <pc:docMk/>
            <pc:sldMk cId="168389892" sldId="281"/>
            <ac:spMk id="113" creationId="{8044FD4D-AA73-D843-176B-2B2326E5F341}"/>
          </ac:spMkLst>
        </pc:spChg>
        <pc:spChg chg="mod">
          <ac:chgData name="Joelle Brehm" userId="a518f54c-6985-42c0-8041-2bb16a414839" providerId="ADAL" clId="{7999C4A2-9ACD-4CB2-9DCD-52B9CDE5124D}" dt="2023-05-07T18:26:19.557" v="43953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6:19.557" v="43955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6:19.557" v="43956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6:19.557" v="43954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26:19.557" v="43957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26:19.573" v="43969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6:19.540" v="43880"/>
          <ac:graphicFrameMkLst>
            <pc:docMk/>
            <pc:sldMk cId="168389892" sldId="281"/>
            <ac:graphicFrameMk id="8" creationId="{65297D9A-5CAE-32A9-276E-D5B1EE89A34E}"/>
          </ac:graphicFrameMkLst>
        </pc:graphicFrameChg>
        <pc:graphicFrameChg chg="del">
          <ac:chgData name="Joelle Brehm" userId="a518f54c-6985-42c0-8041-2bb16a414839" providerId="ADAL" clId="{7999C4A2-9ACD-4CB2-9DCD-52B9CDE5124D}" dt="2023-05-07T18:25:38.884" v="42429"/>
          <ac:graphicFrameMkLst>
            <pc:docMk/>
            <pc:sldMk cId="168389892" sldId="281"/>
            <ac:graphicFrameMk id="49" creationId="{E7F47BBE-50F9-98D0-010D-4CC7507743F2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6:04.618" v="42780"/>
          <ac:graphicFrameMkLst>
            <pc:docMk/>
            <pc:sldMk cId="168389892" sldId="281"/>
            <ac:graphicFrameMk id="53" creationId="{424DEC2C-67A8-D40B-4390-0B382A3995FA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6:19.557" v="43952"/>
          <ac:graphicFrameMkLst>
            <pc:docMk/>
            <pc:sldMk cId="168389892" sldId="281"/>
            <ac:graphicFrameMk id="55" creationId="{CE29D6B0-AF5B-924E-83F1-088DB40178D1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6:14.360" v="43405"/>
          <ac:graphicFrameMkLst>
            <pc:docMk/>
            <pc:sldMk cId="168389892" sldId="281"/>
            <ac:graphicFrameMk id="59" creationId="{4343A4A6-8196-0204-3E9F-EA66BA3B694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6:17.274" v="43603"/>
          <ac:graphicFrameMkLst>
            <pc:docMk/>
            <pc:sldMk cId="168389892" sldId="281"/>
            <ac:graphicFrameMk id="62" creationId="{279C9A40-82F3-35D6-838B-7C4E34A678FA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6:19.509" v="43866"/>
          <ac:graphicFrameMkLst>
            <pc:docMk/>
            <pc:sldMk cId="168389892" sldId="281"/>
            <ac:graphicFrameMk id="64" creationId="{8A63DB35-6FCC-35BA-CE8D-C47D8192FECA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6:19.540" v="43907"/>
          <ac:graphicFrameMkLst>
            <pc:docMk/>
            <pc:sldMk cId="168389892" sldId="281"/>
            <ac:graphicFrameMk id="66" creationId="{94395BEC-ED48-2D22-24A0-C230E46B2FB2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6:11.140" v="43162"/>
          <ac:graphicFrameMkLst>
            <pc:docMk/>
            <pc:sldMk cId="168389892" sldId="281"/>
            <ac:graphicFrameMk id="67" creationId="{5E8575BC-7B9A-9A96-3B50-81702125EE56}"/>
          </ac:graphicFrameMkLst>
        </pc:graphicFrameChg>
        <pc:picChg chg="add mod ord">
          <ac:chgData name="Joelle Brehm" userId="a518f54c-6985-42c0-8041-2bb16a414839" providerId="ADAL" clId="{7999C4A2-9ACD-4CB2-9DCD-52B9CDE5124D}" dt="2023-05-07T18:26:19.540" v="43874"/>
          <ac:picMkLst>
            <pc:docMk/>
            <pc:sldMk cId="168389892" sldId="281"/>
            <ac:picMk id="9" creationId="{353F4E72-F543-854D-437E-3EF72E997A68}"/>
          </ac:picMkLst>
        </pc:picChg>
        <pc:picChg chg="del mod ord">
          <ac:chgData name="Joelle Brehm" userId="a518f54c-6985-42c0-8041-2bb16a414839" providerId="ADAL" clId="{7999C4A2-9ACD-4CB2-9DCD-52B9CDE5124D}" dt="2023-05-07T18:25:56.331" v="42645" actId="478"/>
          <ac:picMkLst>
            <pc:docMk/>
            <pc:sldMk cId="168389892" sldId="281"/>
            <ac:picMk id="51" creationId="{434027D8-D74C-3C08-6B48-0822FEE25943}"/>
          </ac:picMkLst>
        </pc:picChg>
        <pc:picChg chg="mod ord">
          <ac:chgData name="Joelle Brehm" userId="a518f54c-6985-42c0-8041-2bb16a414839" providerId="ADAL" clId="{7999C4A2-9ACD-4CB2-9DCD-52B9CDE5124D}" dt="2023-05-07T18:26:19.557" v="43961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7999C4A2-9ACD-4CB2-9DCD-52B9CDE5124D}" dt="2023-05-07T18:26:19.557" v="43959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6:19.540" v="43878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7:22.008" v="45981"/>
        <pc:sldMkLst>
          <pc:docMk/>
          <pc:sldMk cId="3564961532" sldId="282"/>
        </pc:sldMkLst>
        <pc:spChg chg="mod ord">
          <ac:chgData name="Joelle Brehm" userId="a518f54c-6985-42c0-8041-2bb16a414839" providerId="ADAL" clId="{7999C4A2-9ACD-4CB2-9DCD-52B9CDE5124D}" dt="2023-05-07T18:27:21.992" v="45975"/>
          <ac:spMkLst>
            <pc:docMk/>
            <pc:sldMk cId="3564961532" sldId="282"/>
            <ac:spMk id="2" creationId="{D4513B5B-A8C4-4146-9B42-032BB78B09F2}"/>
          </ac:spMkLst>
        </pc:spChg>
        <pc:spChg chg="add del mod">
          <ac:chgData name="Joelle Brehm" userId="a518f54c-6985-42c0-8041-2bb16a414839" providerId="ADAL" clId="{7999C4A2-9ACD-4CB2-9DCD-52B9CDE5124D}" dt="2023-05-07T18:26:31.048" v="43970" actId="478"/>
          <ac:spMkLst>
            <pc:docMk/>
            <pc:sldMk cId="3564961532" sldId="282"/>
            <ac:spMk id="3" creationId="{A00FB964-49F6-4365-A5D7-A0CAC7D4067D}"/>
          </ac:spMkLst>
        </pc:spChg>
        <pc:spChg chg="add del mod modVis">
          <ac:chgData name="Joelle Brehm" userId="a518f54c-6985-42c0-8041-2bb16a414839" providerId="ADAL" clId="{7999C4A2-9ACD-4CB2-9DCD-52B9CDE5124D}" dt="2023-05-07T18:26:34.833" v="44252"/>
          <ac:spMkLst>
            <pc:docMk/>
            <pc:sldMk cId="3564961532" sldId="282"/>
            <ac:spMk id="5" creationId="{30F8DAD5-B578-DBBD-8618-E70275C2A546}"/>
          </ac:spMkLst>
        </pc:spChg>
        <pc:spChg chg="mod ord">
          <ac:chgData name="Joelle Brehm" userId="a518f54c-6985-42c0-8041-2bb16a414839" providerId="ADAL" clId="{7999C4A2-9ACD-4CB2-9DCD-52B9CDE5124D}" dt="2023-05-07T18:27:21.976" v="45885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27:21.992" v="4594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7999C4A2-9ACD-4CB2-9DCD-52B9CDE5124D}" dt="2023-05-07T18:27:21.976" v="45896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7:21.976" v="45892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7:21.976" v="45894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7:21.976" v="45890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7:21.976" v="45891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7:21.976" v="45893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7:21.976" v="45895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7:21.976" v="45897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7:21.976" v="45898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7:21.976" v="45899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7:21.976" v="45900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7:21.976" v="45901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7:21.976" v="45903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7:21.976" v="45906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7:21.976" v="45905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7:21.976" v="45904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7:21.976" v="45911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7:21.976" v="45910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7:21.976" v="45909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7:21.976" v="45914"/>
          <ac:spMkLst>
            <pc:docMk/>
            <pc:sldMk cId="3564961532" sldId="282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7:21.976" v="45937"/>
          <ac:spMkLst>
            <pc:docMk/>
            <pc:sldMk cId="3564961532" sldId="282"/>
            <ac:spMk id="31" creationId="{A6492FB9-8592-6D5F-05A0-3C55A9F0B290}"/>
          </ac:spMkLst>
        </pc:spChg>
        <pc:spChg chg="mod">
          <ac:chgData name="Joelle Brehm" userId="a518f54c-6985-42c0-8041-2bb16a414839" providerId="ADAL" clId="{7999C4A2-9ACD-4CB2-9DCD-52B9CDE5124D}" dt="2023-05-07T18:27:21.976" v="45931"/>
          <ac:spMkLst>
            <pc:docMk/>
            <pc:sldMk cId="3564961532" sldId="282"/>
            <ac:spMk id="32" creationId="{C76CF01D-E5C9-5360-86BE-563950D79635}"/>
          </ac:spMkLst>
        </pc:spChg>
        <pc:spChg chg="mod">
          <ac:chgData name="Joelle Brehm" userId="a518f54c-6985-42c0-8041-2bb16a414839" providerId="ADAL" clId="{7999C4A2-9ACD-4CB2-9DCD-52B9CDE5124D}" dt="2023-05-07T18:27:21.992" v="45945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7999C4A2-9ACD-4CB2-9DCD-52B9CDE5124D}" dt="2023-05-07T18:27:21.992" v="45939"/>
          <ac:spMkLst>
            <pc:docMk/>
            <pc:sldMk cId="3564961532" sldId="282"/>
            <ac:spMk id="34" creationId="{AE868296-AA73-04E8-5729-F60A467F8321}"/>
          </ac:spMkLst>
        </pc:spChg>
        <pc:spChg chg="mod">
          <ac:chgData name="Joelle Brehm" userId="a518f54c-6985-42c0-8041-2bb16a414839" providerId="ADAL" clId="{7999C4A2-9ACD-4CB2-9DCD-52B9CDE5124D}" dt="2023-05-07T18:27:21.976" v="45938"/>
          <ac:spMkLst>
            <pc:docMk/>
            <pc:sldMk cId="3564961532" sldId="282"/>
            <ac:spMk id="35" creationId="{08798804-7117-7252-16D9-FFE107CEB4CE}"/>
          </ac:spMkLst>
        </pc:spChg>
        <pc:spChg chg="mod">
          <ac:chgData name="Joelle Brehm" userId="a518f54c-6985-42c0-8041-2bb16a414839" providerId="ADAL" clId="{7999C4A2-9ACD-4CB2-9DCD-52B9CDE5124D}" dt="2023-05-07T18:27:21.976" v="45935"/>
          <ac:spMkLst>
            <pc:docMk/>
            <pc:sldMk cId="3564961532" sldId="282"/>
            <ac:spMk id="36" creationId="{D6260AD9-4FAC-BBE1-577F-7BE5C67AAFB3}"/>
          </ac:spMkLst>
        </pc:spChg>
        <pc:spChg chg="mod ord">
          <ac:chgData name="Joelle Brehm" userId="a518f54c-6985-42c0-8041-2bb16a414839" providerId="ADAL" clId="{7999C4A2-9ACD-4CB2-9DCD-52B9CDE5124D}" dt="2023-05-07T18:27:21.976" v="45908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7999C4A2-9ACD-4CB2-9DCD-52B9CDE5124D}" dt="2023-05-07T18:27:21.976" v="45930"/>
          <ac:spMkLst>
            <pc:docMk/>
            <pc:sldMk cId="3564961532" sldId="282"/>
            <ac:spMk id="38" creationId="{1026F8B0-CCCC-40FF-9D5D-1CD95ABD906A}"/>
          </ac:spMkLst>
        </pc:spChg>
        <pc:spChg chg="mod">
          <ac:chgData name="Joelle Brehm" userId="a518f54c-6985-42c0-8041-2bb16a414839" providerId="ADAL" clId="{7999C4A2-9ACD-4CB2-9DCD-52B9CDE5124D}" dt="2023-05-07T18:27:21.992" v="45941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7999C4A2-9ACD-4CB2-9DCD-52B9CDE5124D}" dt="2023-05-07T18:27:21.992" v="45943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7999C4A2-9ACD-4CB2-9DCD-52B9CDE5124D}" dt="2023-05-07T18:27:21.992" v="45942"/>
          <ac:spMkLst>
            <pc:docMk/>
            <pc:sldMk cId="3564961532" sldId="282"/>
            <ac:spMk id="42" creationId="{029DF0F0-1819-B6C9-E910-A68F2546536E}"/>
          </ac:spMkLst>
        </pc:spChg>
        <pc:spChg chg="mod">
          <ac:chgData name="Joelle Brehm" userId="a518f54c-6985-42c0-8041-2bb16a414839" providerId="ADAL" clId="{7999C4A2-9ACD-4CB2-9DCD-52B9CDE5124D}" dt="2023-05-07T18:27:21.992" v="45940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7999C4A2-9ACD-4CB2-9DCD-52B9CDE5124D}" dt="2023-05-07T18:27:21.976" v="45929"/>
          <ac:spMkLst>
            <pc:docMk/>
            <pc:sldMk cId="3564961532" sldId="282"/>
            <ac:spMk id="44" creationId="{1F6C7A4E-3741-C604-E97F-BC7B1D2FF004}"/>
          </ac:spMkLst>
        </pc:spChg>
        <pc:spChg chg="mod">
          <ac:chgData name="Joelle Brehm" userId="a518f54c-6985-42c0-8041-2bb16a414839" providerId="ADAL" clId="{7999C4A2-9ACD-4CB2-9DCD-52B9CDE5124D}" dt="2023-05-07T18:27:21.992" v="45944"/>
          <ac:spMkLst>
            <pc:docMk/>
            <pc:sldMk cId="3564961532" sldId="282"/>
            <ac:spMk id="45" creationId="{13402A60-D873-7DF2-943A-0976851061CD}"/>
          </ac:spMkLst>
        </pc:spChg>
        <pc:spChg chg="mod">
          <ac:chgData name="Joelle Brehm" userId="a518f54c-6985-42c0-8041-2bb16a414839" providerId="ADAL" clId="{7999C4A2-9ACD-4CB2-9DCD-52B9CDE5124D}" dt="2023-05-07T18:27:21.976" v="45922"/>
          <ac:spMkLst>
            <pc:docMk/>
            <pc:sldMk cId="3564961532" sldId="282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8:26:58.476" v="44630"/>
          <ac:spMkLst>
            <pc:docMk/>
            <pc:sldMk cId="3564961532" sldId="282"/>
            <ac:spMk id="48" creationId="{7B00CF02-2CD7-D68C-99DA-4521D0F54D14}"/>
          </ac:spMkLst>
        </pc:spChg>
        <pc:spChg chg="mod">
          <ac:chgData name="Joelle Brehm" userId="a518f54c-6985-42c0-8041-2bb16a414839" providerId="ADAL" clId="{7999C4A2-9ACD-4CB2-9DCD-52B9CDE5124D}" dt="2023-05-07T18:27:21.992" v="45948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7999C4A2-9ACD-4CB2-9DCD-52B9CDE5124D}" dt="2023-05-07T18:27:21.992" v="45947"/>
          <ac:spMkLst>
            <pc:docMk/>
            <pc:sldMk cId="3564961532" sldId="282"/>
            <ac:spMk id="52" creationId="{A260D228-2161-2454-3FCB-CF937873361D}"/>
          </ac:spMkLst>
        </pc:spChg>
        <pc:spChg chg="add mod replST">
          <ac:chgData name="Joelle Brehm" userId="a518f54c-6985-42c0-8041-2bb16a414839" providerId="ADAL" clId="{7999C4A2-9ACD-4CB2-9DCD-52B9CDE5124D}" dt="2023-05-07T18:27:21.992" v="45949"/>
          <ac:spMkLst>
            <pc:docMk/>
            <pc:sldMk cId="3564961532" sldId="282"/>
            <ac:spMk id="53" creationId="{38705BBC-1969-2802-06B0-A9451DCAD493}"/>
          </ac:spMkLst>
        </pc:spChg>
        <pc:spChg chg="add del mod modVis">
          <ac:chgData name="Joelle Brehm" userId="a518f54c-6985-42c0-8041-2bb16a414839" providerId="ADAL" clId="{7999C4A2-9ACD-4CB2-9DCD-52B9CDE5124D}" dt="2023-05-07T18:27:03.197" v="45031"/>
          <ac:spMkLst>
            <pc:docMk/>
            <pc:sldMk cId="3564961532" sldId="282"/>
            <ac:spMk id="54" creationId="{C9B23BED-C2BB-9207-D975-BFBBC019563A}"/>
          </ac:spMkLst>
        </pc:spChg>
        <pc:spChg chg="add mod replST">
          <ac:chgData name="Joelle Brehm" userId="a518f54c-6985-42c0-8041-2bb16a414839" providerId="ADAL" clId="{7999C4A2-9ACD-4CB2-9DCD-52B9CDE5124D}" dt="2023-05-07T18:27:21.992" v="45950"/>
          <ac:spMkLst>
            <pc:docMk/>
            <pc:sldMk cId="3564961532" sldId="282"/>
            <ac:spMk id="56" creationId="{524D0E2B-EC88-5451-10B4-9BAED81D2D7E}"/>
          </ac:spMkLst>
        </pc:spChg>
        <pc:spChg chg="add del mod modVis">
          <ac:chgData name="Joelle Brehm" userId="a518f54c-6985-42c0-8041-2bb16a414839" providerId="ADAL" clId="{7999C4A2-9ACD-4CB2-9DCD-52B9CDE5124D}" dt="2023-05-07T18:27:05.950" v="45287"/>
          <ac:spMkLst>
            <pc:docMk/>
            <pc:sldMk cId="3564961532" sldId="282"/>
            <ac:spMk id="57" creationId="{D6A84559-3BA2-AD12-842A-3A832F2C2D82}"/>
          </ac:spMkLst>
        </pc:spChg>
        <pc:spChg chg="add del mod modVis">
          <ac:chgData name="Joelle Brehm" userId="a518f54c-6985-42c0-8041-2bb16a414839" providerId="ADAL" clId="{7999C4A2-9ACD-4CB2-9DCD-52B9CDE5124D}" dt="2023-05-07T18:27:10.704" v="45497"/>
          <ac:spMkLst>
            <pc:docMk/>
            <pc:sldMk cId="3564961532" sldId="282"/>
            <ac:spMk id="59" creationId="{7A30F89E-29E0-09B4-4642-D7ADEDBE5B62}"/>
          </ac:spMkLst>
        </pc:spChg>
        <pc:spChg chg="add del mod modVis">
          <ac:chgData name="Joelle Brehm" userId="a518f54c-6985-42c0-8041-2bb16a414839" providerId="ADAL" clId="{7999C4A2-9ACD-4CB2-9DCD-52B9CDE5124D}" dt="2023-05-07T18:27:18.873" v="45770"/>
          <ac:spMkLst>
            <pc:docMk/>
            <pc:sldMk cId="3564961532" sldId="282"/>
            <ac:spMk id="61" creationId="{283453FA-2ED3-8D88-95D4-05600DB18EBA}"/>
          </ac:spMkLst>
        </pc:spChg>
        <pc:spChg chg="add del mod modVis">
          <ac:chgData name="Joelle Brehm" userId="a518f54c-6985-42c0-8041-2bb16a414839" providerId="ADAL" clId="{7999C4A2-9ACD-4CB2-9DCD-52B9CDE5124D}" dt="2023-05-07T18:27:21.992" v="45979"/>
          <ac:spMkLst>
            <pc:docMk/>
            <pc:sldMk cId="3564961532" sldId="282"/>
            <ac:spMk id="63" creationId="{78A6C448-DD01-9BAD-2607-BF3A1FB79D9F}"/>
          </ac:spMkLst>
        </pc:spChg>
        <pc:spChg chg="mod">
          <ac:chgData name="Joelle Brehm" userId="a518f54c-6985-42c0-8041-2bb16a414839" providerId="ADAL" clId="{7999C4A2-9ACD-4CB2-9DCD-52B9CDE5124D}" dt="2023-05-07T18:27:21.976" v="45912"/>
          <ac:spMkLst>
            <pc:docMk/>
            <pc:sldMk cId="3564961532" sldId="282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27:21.992" v="45952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7:21.992" v="45954"/>
          <ac:spMkLst>
            <pc:docMk/>
            <pc:sldMk cId="3564961532" sldId="282"/>
            <ac:spMk id="79" creationId="{F1476AC4-694B-4D83-BFD8-8DCAA4BB1923}"/>
          </ac:spMkLst>
        </pc:spChg>
        <pc:spChg chg="del mod">
          <ac:chgData name="Joelle Brehm" userId="a518f54c-6985-42c0-8041-2bb16a414839" providerId="ADAL" clId="{7999C4A2-9ACD-4CB2-9DCD-52B9CDE5124D}" dt="2023-05-07T18:27:18.734" v="45501"/>
          <ac:spMkLst>
            <pc:docMk/>
            <pc:sldMk cId="3564961532" sldId="282"/>
            <ac:spMk id="82" creationId="{19310893-5EAB-23A3-092D-74F988D049EB}"/>
          </ac:spMkLst>
        </pc:spChg>
        <pc:spChg chg="del mod">
          <ac:chgData name="Joelle Brehm" userId="a518f54c-6985-42c0-8041-2bb16a414839" providerId="ADAL" clId="{7999C4A2-9ACD-4CB2-9DCD-52B9CDE5124D}" dt="2023-05-07T18:27:18.734" v="45500"/>
          <ac:spMkLst>
            <pc:docMk/>
            <pc:sldMk cId="3564961532" sldId="282"/>
            <ac:spMk id="83" creationId="{7D7A5BC3-8C00-0F27-C68C-FD0C3C1DD505}"/>
          </ac:spMkLst>
        </pc:spChg>
        <pc:spChg chg="mod">
          <ac:chgData name="Joelle Brehm" userId="a518f54c-6985-42c0-8041-2bb16a414839" providerId="ADAL" clId="{7999C4A2-9ACD-4CB2-9DCD-52B9CDE5124D}" dt="2023-05-07T18:27:21.976" v="45934"/>
          <ac:spMkLst>
            <pc:docMk/>
            <pc:sldMk cId="3564961532" sldId="282"/>
            <ac:spMk id="84" creationId="{11B23473-C052-79F4-4F5E-9BF338FBA3A9}"/>
          </ac:spMkLst>
        </pc:spChg>
        <pc:spChg chg="mod">
          <ac:chgData name="Joelle Brehm" userId="a518f54c-6985-42c0-8041-2bb16a414839" providerId="ADAL" clId="{7999C4A2-9ACD-4CB2-9DCD-52B9CDE5124D}" dt="2023-05-07T18:27:21.976" v="45933"/>
          <ac:spMkLst>
            <pc:docMk/>
            <pc:sldMk cId="3564961532" sldId="282"/>
            <ac:spMk id="86" creationId="{D8AFA2D7-4D06-FAAC-0564-E43E7ECFA485}"/>
          </ac:spMkLst>
        </pc:spChg>
        <pc:spChg chg="mod ord">
          <ac:chgData name="Joelle Brehm" userId="a518f54c-6985-42c0-8041-2bb16a414839" providerId="ADAL" clId="{7999C4A2-9ACD-4CB2-9DCD-52B9CDE5124D}" dt="2023-05-07T18:27:21.992" v="45973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7999C4A2-9ACD-4CB2-9DCD-52B9CDE5124D}" dt="2023-05-07T18:27:21.976" v="45921"/>
          <ac:spMkLst>
            <pc:docMk/>
            <pc:sldMk cId="3564961532" sldId="282"/>
            <ac:spMk id="97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76" v="45919"/>
          <ac:spMkLst>
            <pc:docMk/>
            <pc:sldMk cId="3564961532" sldId="282"/>
            <ac:spMk id="99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27:21.992" v="45956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7999C4A2-9ACD-4CB2-9DCD-52B9CDE5124D}" dt="2023-05-07T18:27:21.976" v="45927"/>
          <ac:spMkLst>
            <pc:docMk/>
            <pc:sldMk cId="3564961532" sldId="282"/>
            <ac:spMk id="101" creationId="{CA49844E-B86F-8C90-638C-8AF7950485A4}"/>
          </ac:spMkLst>
        </pc:spChg>
        <pc:spChg chg="mod">
          <ac:chgData name="Joelle Brehm" userId="a518f54c-6985-42c0-8041-2bb16a414839" providerId="ADAL" clId="{7999C4A2-9ACD-4CB2-9DCD-52B9CDE5124D}" dt="2023-05-07T18:27:21.976" v="45926"/>
          <ac:spMkLst>
            <pc:docMk/>
            <pc:sldMk cId="3564961532" sldId="282"/>
            <ac:spMk id="10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76" v="45917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8:27:21.992" v="45958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7:21.992" v="45960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7:21.992" v="45962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7:21.976" v="45928"/>
          <ac:spMkLst>
            <pc:docMk/>
            <pc:sldMk cId="3564961532" sldId="282"/>
            <ac:spMk id="112" creationId="{68F1D3ED-F4B0-C696-164B-09DBF31508C0}"/>
          </ac:spMkLst>
        </pc:spChg>
        <pc:spChg chg="mod">
          <ac:chgData name="Joelle Brehm" userId="a518f54c-6985-42c0-8041-2bb16a414839" providerId="ADAL" clId="{7999C4A2-9ACD-4CB2-9DCD-52B9CDE5124D}" dt="2023-05-07T18:27:21.976" v="45932"/>
          <ac:spMkLst>
            <pc:docMk/>
            <pc:sldMk cId="3564961532" sldId="282"/>
            <ac:spMk id="113" creationId="{65C41EB1-3BE2-44DE-AA6A-7B54A13E4D17}"/>
          </ac:spMkLst>
        </pc:spChg>
        <pc:spChg chg="mod">
          <ac:chgData name="Joelle Brehm" userId="a518f54c-6985-42c0-8041-2bb16a414839" providerId="ADAL" clId="{7999C4A2-9ACD-4CB2-9DCD-52B9CDE5124D}" dt="2023-05-07T18:27:21.976" v="45936"/>
          <ac:spMkLst>
            <pc:docMk/>
            <pc:sldMk cId="3564961532" sldId="282"/>
            <ac:spMk id="115" creationId="{55632136-075D-51AA-E04E-F07B6A30E0C3}"/>
          </ac:spMkLst>
        </pc:spChg>
        <pc:spChg chg="mod">
          <ac:chgData name="Joelle Brehm" userId="a518f54c-6985-42c0-8041-2bb16a414839" providerId="ADAL" clId="{7999C4A2-9ACD-4CB2-9DCD-52B9CDE5124D}" dt="2023-05-07T18:27:21.976" v="45923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76" v="45920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76" v="45918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76" v="45925"/>
          <ac:spMkLst>
            <pc:docMk/>
            <pc:sldMk cId="3564961532" sldId="282"/>
            <ac:spMk id="12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76" v="45924"/>
          <ac:spMkLst>
            <pc:docMk/>
            <pc:sldMk cId="3564961532" sldId="282"/>
            <ac:spMk id="12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92" v="45965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92" v="45966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92" v="45967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7:21.992" v="45969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27:21.992" v="45968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27:22.008" v="45981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7:21.976" v="45889"/>
          <ac:graphicFrameMkLst>
            <pc:docMk/>
            <pc:sldMk cId="3564961532" sldId="282"/>
            <ac:graphicFrameMk id="8" creationId="{ECC5F486-3584-9004-4557-816FE1D9BBAE}"/>
          </ac:graphicFrameMkLst>
        </pc:graphicFrameChg>
        <pc:graphicFrameChg chg="del">
          <ac:chgData name="Joelle Brehm" userId="a518f54c-6985-42c0-8041-2bb16a414839" providerId="ADAL" clId="{7999C4A2-9ACD-4CB2-9DCD-52B9CDE5124D}" dt="2023-05-07T18:26:34.715" v="44142"/>
          <ac:graphicFrameMkLst>
            <pc:docMk/>
            <pc:sldMk cId="3564961532" sldId="282"/>
            <ac:graphicFrameMk id="39" creationId="{DCB8DC73-F7C9-5224-B9EB-85387FF9150B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6:58.412" v="44526"/>
          <ac:graphicFrameMkLst>
            <pc:docMk/>
            <pc:sldMk cId="3564961532" sldId="282"/>
            <ac:graphicFrameMk id="49" creationId="{4408F51E-977E-7097-6EE2-DE634E040C55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7:21.992" v="45964"/>
          <ac:graphicFrameMkLst>
            <pc:docMk/>
            <pc:sldMk cId="3564961532" sldId="282"/>
            <ac:graphicFrameMk id="51" creationId="{4FA6AFC1-72CC-4CF3-7806-8B2C064E189C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7:05.907" v="45181"/>
          <ac:graphicFrameMkLst>
            <pc:docMk/>
            <pc:sldMk cId="3564961532" sldId="282"/>
            <ac:graphicFrameMk id="55" creationId="{28F59A77-C05A-0B36-C1A1-F21FB99C982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7:10.656" v="45391"/>
          <ac:graphicFrameMkLst>
            <pc:docMk/>
            <pc:sldMk cId="3564961532" sldId="282"/>
            <ac:graphicFrameMk id="58" creationId="{8F97859B-89D9-1F8C-3E06-8F2FAFB4DCE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7:18.826" v="45666"/>
          <ac:graphicFrameMkLst>
            <pc:docMk/>
            <pc:sldMk cId="3564961532" sldId="282"/>
            <ac:graphicFrameMk id="60" creationId="{D748FFCD-04C1-FEC8-F463-B7B5CFC0260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7:21.945" v="45875"/>
          <ac:graphicFrameMkLst>
            <pc:docMk/>
            <pc:sldMk cId="3564961532" sldId="282"/>
            <ac:graphicFrameMk id="62" creationId="{A287A6D6-482B-6B2C-D600-3C9082E388C5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7:21.976" v="45916"/>
          <ac:graphicFrameMkLst>
            <pc:docMk/>
            <pc:sldMk cId="3564961532" sldId="282"/>
            <ac:graphicFrameMk id="64" creationId="{679FE8AA-3F48-B14A-5F64-F8CB7161A134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7:03.150" v="44926"/>
          <ac:graphicFrameMkLst>
            <pc:docMk/>
            <pc:sldMk cId="3564961532" sldId="282"/>
            <ac:graphicFrameMk id="71" creationId="{8DF7092E-EEC7-4600-06E5-33574F5B7A33}"/>
          </ac:graphicFrameMkLst>
        </pc:graphicFrameChg>
        <pc:picChg chg="add mod ord">
          <ac:chgData name="Joelle Brehm" userId="a518f54c-6985-42c0-8041-2bb16a414839" providerId="ADAL" clId="{7999C4A2-9ACD-4CB2-9DCD-52B9CDE5124D}" dt="2023-05-07T18:27:21.976" v="45883"/>
          <ac:picMkLst>
            <pc:docMk/>
            <pc:sldMk cId="3564961532" sldId="282"/>
            <ac:picMk id="9" creationId="{53C3F106-76F8-FF9F-CFE0-23A3E98E9B5E}"/>
          </ac:picMkLst>
        </pc:picChg>
        <pc:picChg chg="del mod ord">
          <ac:chgData name="Joelle Brehm" userId="a518f54c-6985-42c0-8041-2bb16a414839" providerId="ADAL" clId="{7999C4A2-9ACD-4CB2-9DCD-52B9CDE5124D}" dt="2023-05-07T18:26:48.525" v="44363" actId="478"/>
          <ac:picMkLst>
            <pc:docMk/>
            <pc:sldMk cId="3564961532" sldId="282"/>
            <ac:picMk id="46" creationId="{4F334406-6E2D-2A2A-E5DC-9DD2C5F00214}"/>
          </ac:picMkLst>
        </pc:picChg>
        <pc:picChg chg="mod ord">
          <ac:chgData name="Joelle Brehm" userId="a518f54c-6985-42c0-8041-2bb16a414839" providerId="ADAL" clId="{7999C4A2-9ACD-4CB2-9DCD-52B9CDE5124D}" dt="2023-05-07T18:27:21.992" v="45971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7:21.976" v="45887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8:30.894" v="48284"/>
        <pc:sldMkLst>
          <pc:docMk/>
          <pc:sldMk cId="2958919186" sldId="284"/>
        </pc:sldMkLst>
        <pc:spChg chg="mod ord">
          <ac:chgData name="Joelle Brehm" userId="a518f54c-6985-42c0-8041-2bb16a414839" providerId="ADAL" clId="{7999C4A2-9ACD-4CB2-9DCD-52B9CDE5124D}" dt="2023-05-07T18:28:30.877" v="48278"/>
          <ac:spMkLst>
            <pc:docMk/>
            <pc:sldMk cId="2958919186" sldId="284"/>
            <ac:spMk id="2" creationId="{E0BBFF4A-7EEF-43CB-94FA-0BDC45C7239C}"/>
          </ac:spMkLst>
        </pc:spChg>
        <pc:spChg chg="add del mod">
          <ac:chgData name="Joelle Brehm" userId="a518f54c-6985-42c0-8041-2bb16a414839" providerId="ADAL" clId="{7999C4A2-9ACD-4CB2-9DCD-52B9CDE5124D}" dt="2023-05-07T18:27:33.822" v="45982" actId="478"/>
          <ac:spMkLst>
            <pc:docMk/>
            <pc:sldMk cId="2958919186" sldId="284"/>
            <ac:spMk id="3" creationId="{597F679B-1E95-B73A-DB06-6512E7166DA5}"/>
          </ac:spMkLst>
        </pc:spChg>
        <pc:spChg chg="add del mod modVis">
          <ac:chgData name="Joelle Brehm" userId="a518f54c-6985-42c0-8041-2bb16a414839" providerId="ADAL" clId="{7999C4A2-9ACD-4CB2-9DCD-52B9CDE5124D}" dt="2023-05-07T18:27:39.525" v="46260"/>
          <ac:spMkLst>
            <pc:docMk/>
            <pc:sldMk cId="2958919186" sldId="284"/>
            <ac:spMk id="5" creationId="{91887218-7EFF-B802-0B5E-FD3E8FED5D04}"/>
          </ac:spMkLst>
        </pc:spChg>
        <pc:spChg chg="mod ord">
          <ac:chgData name="Joelle Brehm" userId="a518f54c-6985-42c0-8041-2bb16a414839" providerId="ADAL" clId="{7999C4A2-9ACD-4CB2-9DCD-52B9CDE5124D}" dt="2023-05-07T18:28:30.848" v="48194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28:30.877" v="48242"/>
          <ac:spMkLst>
            <pc:docMk/>
            <pc:sldMk cId="2958919186" sldId="284"/>
            <ac:spMk id="9" creationId="{581018D9-D474-E6D8-4FB0-2F2B587E2BA8}"/>
          </ac:spMkLst>
        </pc:spChg>
        <pc:spChg chg="mod">
          <ac:chgData name="Joelle Brehm" userId="a518f54c-6985-42c0-8041-2bb16a414839" providerId="ADAL" clId="{7999C4A2-9ACD-4CB2-9DCD-52B9CDE5124D}" dt="2023-05-07T18:28:30.864" v="48206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8:30.864" v="48202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8:30.864" v="48203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8:30.864" v="48200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8:30.864" v="48201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8:30.864" v="48205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8:30.864" v="48204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8:30.864" v="48199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8:30.864" v="48207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8:30.864" v="48208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8:30.864" v="48209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8:30.864" v="48210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8:30.864" v="48212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8:30.864" v="48217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8:30.864" v="48213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8:30.864" v="48216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8:30.864" v="48220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8:30.864" v="48219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8:30.864" v="48221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8:30.864" v="48223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8:30.864" v="48230"/>
          <ac:spMkLst>
            <pc:docMk/>
            <pc:sldMk cId="2958919186" sldId="284"/>
            <ac:spMk id="31" creationId="{125088B1-BC05-E61C-E778-A5953B0A5CC9}"/>
          </ac:spMkLst>
        </pc:spChg>
        <pc:spChg chg="mod">
          <ac:chgData name="Joelle Brehm" userId="a518f54c-6985-42c0-8041-2bb16a414839" providerId="ADAL" clId="{7999C4A2-9ACD-4CB2-9DCD-52B9CDE5124D}" dt="2023-05-07T18:28:30.877" v="48241"/>
          <ac:spMkLst>
            <pc:docMk/>
            <pc:sldMk cId="2958919186" sldId="284"/>
            <ac:spMk id="32" creationId="{7DC518E0-B6F8-2016-02E9-5BDCE98B8BD2}"/>
          </ac:spMkLst>
        </pc:spChg>
        <pc:spChg chg="mod">
          <ac:chgData name="Joelle Brehm" userId="a518f54c-6985-42c0-8041-2bb16a414839" providerId="ADAL" clId="{7999C4A2-9ACD-4CB2-9DCD-52B9CDE5124D}" dt="2023-05-07T18:28:30.877" v="48250"/>
          <ac:spMkLst>
            <pc:docMk/>
            <pc:sldMk cId="2958919186" sldId="284"/>
            <ac:spMk id="33" creationId="{4B94C134-301E-FFE0-B344-351A0F3A058C}"/>
          </ac:spMkLst>
        </pc:spChg>
        <pc:spChg chg="mod">
          <ac:chgData name="Joelle Brehm" userId="a518f54c-6985-42c0-8041-2bb16a414839" providerId="ADAL" clId="{7999C4A2-9ACD-4CB2-9DCD-52B9CDE5124D}" dt="2023-05-07T18:28:30.877" v="48245"/>
          <ac:spMkLst>
            <pc:docMk/>
            <pc:sldMk cId="2958919186" sldId="284"/>
            <ac:spMk id="34" creationId="{1D083AF9-5BB6-268F-E100-556C500563FF}"/>
          </ac:spMkLst>
        </pc:spChg>
        <pc:spChg chg="mod">
          <ac:chgData name="Joelle Brehm" userId="a518f54c-6985-42c0-8041-2bb16a414839" providerId="ADAL" clId="{7999C4A2-9ACD-4CB2-9DCD-52B9CDE5124D}" dt="2023-05-07T18:28:30.864" v="48240"/>
          <ac:spMkLst>
            <pc:docMk/>
            <pc:sldMk cId="2958919186" sldId="284"/>
            <ac:spMk id="35" creationId="{CCB6D4E8-4FEE-67A7-4C47-E83C2C523E98}"/>
          </ac:spMkLst>
        </pc:spChg>
        <pc:spChg chg="mod">
          <ac:chgData name="Joelle Brehm" userId="a518f54c-6985-42c0-8041-2bb16a414839" providerId="ADAL" clId="{7999C4A2-9ACD-4CB2-9DCD-52B9CDE5124D}" dt="2023-05-07T18:28:30.877" v="48244"/>
          <ac:spMkLst>
            <pc:docMk/>
            <pc:sldMk cId="2958919186" sldId="284"/>
            <ac:spMk id="36" creationId="{2B31A95E-66FE-6A51-6096-E25DEE4F6185}"/>
          </ac:spMkLst>
        </pc:spChg>
        <pc:spChg chg="mod ord">
          <ac:chgData name="Joelle Brehm" userId="a518f54c-6985-42c0-8041-2bb16a414839" providerId="ADAL" clId="{7999C4A2-9ACD-4CB2-9DCD-52B9CDE5124D}" dt="2023-05-07T18:28:30.864" v="48215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7999C4A2-9ACD-4CB2-9DCD-52B9CDE5124D}" dt="2023-05-07T18:28:30.877" v="48248"/>
          <ac:spMkLst>
            <pc:docMk/>
            <pc:sldMk cId="2958919186" sldId="284"/>
            <ac:spMk id="38" creationId="{64FE4593-24F9-360D-B61A-345C6A72C704}"/>
          </ac:spMkLst>
        </pc:spChg>
        <pc:spChg chg="mod">
          <ac:chgData name="Joelle Brehm" userId="a518f54c-6985-42c0-8041-2bb16a414839" providerId="ADAL" clId="{7999C4A2-9ACD-4CB2-9DCD-52B9CDE5124D}" dt="2023-05-07T18:28:30.864" v="48239"/>
          <ac:spMkLst>
            <pc:docMk/>
            <pc:sldMk cId="2958919186" sldId="284"/>
            <ac:spMk id="39" creationId="{F91A3A97-9514-6870-9E95-5ED2A350A37A}"/>
          </ac:spMkLst>
        </pc:spChg>
        <pc:spChg chg="mod">
          <ac:chgData name="Joelle Brehm" userId="a518f54c-6985-42c0-8041-2bb16a414839" providerId="ADAL" clId="{7999C4A2-9ACD-4CB2-9DCD-52B9CDE5124D}" dt="2023-05-07T18:28:30.864" v="48234"/>
          <ac:spMkLst>
            <pc:docMk/>
            <pc:sldMk cId="2958919186" sldId="284"/>
            <ac:spMk id="40" creationId="{65B69A5C-0F9E-A4F4-3815-34C5AD49C7B7}"/>
          </ac:spMkLst>
        </pc:spChg>
        <pc:spChg chg="mod ord">
          <ac:chgData name="Joelle Brehm" userId="a518f54c-6985-42c0-8041-2bb16a414839" providerId="ADAL" clId="{7999C4A2-9ACD-4CB2-9DCD-52B9CDE5124D}" dt="2023-05-07T18:28:30.877" v="48251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7999C4A2-9ACD-4CB2-9DCD-52B9CDE5124D}" dt="2023-05-07T18:28:30.877" v="48247"/>
          <ac:spMkLst>
            <pc:docMk/>
            <pc:sldMk cId="2958919186" sldId="284"/>
            <ac:spMk id="43" creationId="{37188F03-F6CA-EE9D-F6C7-47E8CCD42E86}"/>
          </ac:spMkLst>
        </pc:spChg>
        <pc:spChg chg="mod">
          <ac:chgData name="Joelle Brehm" userId="a518f54c-6985-42c0-8041-2bb16a414839" providerId="ADAL" clId="{7999C4A2-9ACD-4CB2-9DCD-52B9CDE5124D}" dt="2023-05-07T18:28:30.864" v="48228"/>
          <ac:spMkLst>
            <pc:docMk/>
            <pc:sldMk cId="2958919186" sldId="284"/>
            <ac:spMk id="4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8:30.864" v="48232"/>
          <ac:spMkLst>
            <pc:docMk/>
            <pc:sldMk cId="2958919186" sldId="284"/>
            <ac:spMk id="45" creationId="{BA6D2150-ACED-DB3B-247D-B1C7D75594BC}"/>
          </ac:spMkLst>
        </pc:spChg>
        <pc:spChg chg="mod">
          <ac:chgData name="Joelle Brehm" userId="a518f54c-6985-42c0-8041-2bb16a414839" providerId="ADAL" clId="{7999C4A2-9ACD-4CB2-9DCD-52B9CDE5124D}" dt="2023-05-07T18:28:30.877" v="48249"/>
          <ac:spMkLst>
            <pc:docMk/>
            <pc:sldMk cId="2958919186" sldId="284"/>
            <ac:spMk id="46" creationId="{57979B6E-92A7-E2CD-D125-48728C290A15}"/>
          </ac:spMkLst>
        </pc:spChg>
        <pc:spChg chg="mod">
          <ac:chgData name="Joelle Brehm" userId="a518f54c-6985-42c0-8041-2bb16a414839" providerId="ADAL" clId="{7999C4A2-9ACD-4CB2-9DCD-52B9CDE5124D}" dt="2023-05-07T18:28:30.864" v="48226"/>
          <ac:spMkLst>
            <pc:docMk/>
            <pc:sldMk cId="2958919186" sldId="284"/>
            <ac:spMk id="48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8:30.864" v="48229"/>
          <ac:spMkLst>
            <pc:docMk/>
            <pc:sldMk cId="2958919186" sldId="284"/>
            <ac:spMk id="49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8:28:10.875" v="46694"/>
          <ac:spMkLst>
            <pc:docMk/>
            <pc:sldMk cId="2958919186" sldId="284"/>
            <ac:spMk id="50" creationId="{C33035E0-6105-65D6-0981-75008EFA8DAC}"/>
          </ac:spMkLst>
        </pc:spChg>
        <pc:spChg chg="mod">
          <ac:chgData name="Joelle Brehm" userId="a518f54c-6985-42c0-8041-2bb16a414839" providerId="ADAL" clId="{7999C4A2-9ACD-4CB2-9DCD-52B9CDE5124D}" dt="2023-05-07T18:28:30.877" v="48243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7999C4A2-9ACD-4CB2-9DCD-52B9CDE5124D}" dt="2023-05-07T18:28:30.877" v="48252"/>
          <ac:spMkLst>
            <pc:docMk/>
            <pc:sldMk cId="2958919186" sldId="284"/>
            <ac:spMk id="53" creationId="{7BFBA14E-9C06-1228-89A6-C1CD785143C9}"/>
          </ac:spMkLst>
        </pc:spChg>
        <pc:spChg chg="add del mod modVis">
          <ac:chgData name="Joelle Brehm" userId="a518f54c-6985-42c0-8041-2bb16a414839" providerId="ADAL" clId="{7999C4A2-9ACD-4CB2-9DCD-52B9CDE5124D}" dt="2023-05-07T18:28:10.337" v="46691"/>
          <ac:spMkLst>
            <pc:docMk/>
            <pc:sldMk cId="2958919186" sldId="284"/>
            <ac:spMk id="54" creationId="{E15AFE6B-B628-EC12-3413-AA93EFFDC45D}"/>
          </ac:spMkLst>
        </pc:spChg>
        <pc:spChg chg="add del mod modVis">
          <ac:chgData name="Joelle Brehm" userId="a518f54c-6985-42c0-8041-2bb16a414839" providerId="ADAL" clId="{7999C4A2-9ACD-4CB2-9DCD-52B9CDE5124D}" dt="2023-05-07T18:28:11.317" v="46998"/>
          <ac:spMkLst>
            <pc:docMk/>
            <pc:sldMk cId="2958919186" sldId="284"/>
            <ac:spMk id="56" creationId="{42C36FCC-6649-107B-A11E-787D131F4EC0}"/>
          </ac:spMkLst>
        </pc:spChg>
        <pc:spChg chg="add del mod modVis">
          <ac:chgData name="Joelle Brehm" userId="a518f54c-6985-42c0-8041-2bb16a414839" providerId="ADAL" clId="{7999C4A2-9ACD-4CB2-9DCD-52B9CDE5124D}" dt="2023-05-07T18:28:15.406" v="47198"/>
          <ac:spMkLst>
            <pc:docMk/>
            <pc:sldMk cId="2958919186" sldId="284"/>
            <ac:spMk id="58" creationId="{8F4804BE-2BB5-272C-5BAA-ED4C4120BA84}"/>
          </ac:spMkLst>
        </pc:spChg>
        <pc:spChg chg="add mod replST">
          <ac:chgData name="Joelle Brehm" userId="a518f54c-6985-42c0-8041-2bb16a414839" providerId="ADAL" clId="{7999C4A2-9ACD-4CB2-9DCD-52B9CDE5124D}" dt="2023-05-07T18:28:30.877" v="48253"/>
          <ac:spMkLst>
            <pc:docMk/>
            <pc:sldMk cId="2958919186" sldId="284"/>
            <ac:spMk id="60" creationId="{8759D603-88B6-A9D6-C425-741AE5AD2811}"/>
          </ac:spMkLst>
        </pc:spChg>
        <pc:spChg chg="add mod replST">
          <ac:chgData name="Joelle Brehm" userId="a518f54c-6985-42c0-8041-2bb16a414839" providerId="ADAL" clId="{7999C4A2-9ACD-4CB2-9DCD-52B9CDE5124D}" dt="2023-05-07T18:28:30.877" v="48246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7999C4A2-9ACD-4CB2-9DCD-52B9CDE5124D}" dt="2023-05-07T18:28:23.265" v="47605"/>
          <ac:spMkLst>
            <pc:docMk/>
            <pc:sldMk cId="2958919186" sldId="284"/>
            <ac:spMk id="62" creationId="{B5F5D1C9-1CF4-0358-97BE-0FE80C962C6E}"/>
          </ac:spMkLst>
        </pc:spChg>
        <pc:spChg chg="add del mod modVis">
          <ac:chgData name="Joelle Brehm" userId="a518f54c-6985-42c0-8041-2bb16a414839" providerId="ADAL" clId="{7999C4A2-9ACD-4CB2-9DCD-52B9CDE5124D}" dt="2023-05-07T18:28:25.517" v="47829"/>
          <ac:spMkLst>
            <pc:docMk/>
            <pc:sldMk cId="2958919186" sldId="284"/>
            <ac:spMk id="64" creationId="{CAF6B47D-5A4B-4AE1-9D3C-47509073FD95}"/>
          </ac:spMkLst>
        </pc:spChg>
        <pc:spChg chg="add del mod modVis">
          <ac:chgData name="Joelle Brehm" userId="a518f54c-6985-42c0-8041-2bb16a414839" providerId="ADAL" clId="{7999C4A2-9ACD-4CB2-9DCD-52B9CDE5124D}" dt="2023-05-07T18:28:28.037" v="48022"/>
          <ac:spMkLst>
            <pc:docMk/>
            <pc:sldMk cId="2958919186" sldId="284"/>
            <ac:spMk id="66" creationId="{993C51AE-DFA6-2628-C996-C7E9AA91D720}"/>
          </ac:spMkLst>
        </pc:spChg>
        <pc:spChg chg="add del mod modVis">
          <ac:chgData name="Joelle Brehm" userId="a518f54c-6985-42c0-8041-2bb16a414839" providerId="ADAL" clId="{7999C4A2-9ACD-4CB2-9DCD-52B9CDE5124D}" dt="2023-05-07T18:28:30.877" v="48282"/>
          <ac:spMkLst>
            <pc:docMk/>
            <pc:sldMk cId="2958919186" sldId="284"/>
            <ac:spMk id="69" creationId="{598CC2AE-DF54-F88A-27C9-BA97C2D1D294}"/>
          </ac:spMkLst>
        </pc:spChg>
        <pc:spChg chg="mod">
          <ac:chgData name="Joelle Brehm" userId="a518f54c-6985-42c0-8041-2bb16a414839" providerId="ADAL" clId="{7999C4A2-9ACD-4CB2-9DCD-52B9CDE5124D}" dt="2023-05-07T18:28:30.864" v="48218"/>
          <ac:spMkLst>
            <pc:docMk/>
            <pc:sldMk cId="2958919186" sldId="284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28:30.877" v="48255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8:30.877" v="48257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28:30.864" v="48235"/>
          <ac:spMkLst>
            <pc:docMk/>
            <pc:sldMk cId="2958919186" sldId="284"/>
            <ac:spMk id="82" creationId="{D0FB41CE-B063-FC26-F0E9-5E969ACF47CC}"/>
          </ac:spMkLst>
        </pc:spChg>
        <pc:spChg chg="mod">
          <ac:chgData name="Joelle Brehm" userId="a518f54c-6985-42c0-8041-2bb16a414839" providerId="ADAL" clId="{7999C4A2-9ACD-4CB2-9DCD-52B9CDE5124D}" dt="2023-05-07T18:28:30.864" v="48231"/>
          <ac:spMkLst>
            <pc:docMk/>
            <pc:sldMk cId="2958919186" sldId="284"/>
            <ac:spMk id="83" creationId="{EA63F43F-85DF-7D70-A4E9-252904465732}"/>
          </ac:spMkLst>
        </pc:spChg>
        <pc:spChg chg="mod">
          <ac:chgData name="Joelle Brehm" userId="a518f54c-6985-42c0-8041-2bb16a414839" providerId="ADAL" clId="{7999C4A2-9ACD-4CB2-9DCD-52B9CDE5124D}" dt="2023-05-07T18:28:30.864" v="48237"/>
          <ac:spMkLst>
            <pc:docMk/>
            <pc:sldMk cId="2958919186" sldId="284"/>
            <ac:spMk id="86" creationId="{57AED195-9646-E4FC-A746-94013BA36DA2}"/>
          </ac:spMkLst>
        </pc:spChg>
        <pc:spChg chg="mod">
          <ac:chgData name="Joelle Brehm" userId="a518f54c-6985-42c0-8041-2bb16a414839" providerId="ADAL" clId="{7999C4A2-9ACD-4CB2-9DCD-52B9CDE5124D}" dt="2023-05-07T18:28:30.864" v="48236"/>
          <ac:spMkLst>
            <pc:docMk/>
            <pc:sldMk cId="2958919186" sldId="284"/>
            <ac:spMk id="88" creationId="{5F98D601-14D7-936B-BE59-08CA04ED6681}"/>
          </ac:spMkLst>
        </pc:spChg>
        <pc:spChg chg="mod">
          <ac:chgData name="Joelle Brehm" userId="a518f54c-6985-42c0-8041-2bb16a414839" providerId="ADAL" clId="{7999C4A2-9ACD-4CB2-9DCD-52B9CDE5124D}" dt="2023-05-07T18:28:30.864" v="48233"/>
          <ac:spMkLst>
            <pc:docMk/>
            <pc:sldMk cId="2958919186" sldId="284"/>
            <ac:spMk id="89" creationId="{6FE8F8C9-1796-37A4-4BF3-536F80614899}"/>
          </ac:spMkLst>
        </pc:spChg>
        <pc:spChg chg="mod ord">
          <ac:chgData name="Joelle Brehm" userId="a518f54c-6985-42c0-8041-2bb16a414839" providerId="ADAL" clId="{7999C4A2-9ACD-4CB2-9DCD-52B9CDE5124D}" dt="2023-05-07T18:28:30.877" v="48276"/>
          <ac:spMkLst>
            <pc:docMk/>
            <pc:sldMk cId="2958919186" sldId="284"/>
            <ac:spMk id="91" creationId="{3415D765-4D00-4167-8446-C78684E6A375}"/>
          </ac:spMkLst>
        </pc:spChg>
        <pc:spChg chg="del mod">
          <ac:chgData name="Joelle Brehm" userId="a518f54c-6985-42c0-8041-2bb16a414839" providerId="ADAL" clId="{7999C4A2-9ACD-4CB2-9DCD-52B9CDE5124D}" dt="2023-05-07T18:28:30.721" v="48026"/>
          <ac:spMkLst>
            <pc:docMk/>
            <pc:sldMk cId="2958919186" sldId="284"/>
            <ac:spMk id="97" creationId="{DCEC1FF3-52CD-7C76-838F-55B7D0A32114}"/>
          </ac:spMkLst>
        </pc:spChg>
        <pc:spChg chg="mod ord">
          <ac:chgData name="Joelle Brehm" userId="a518f54c-6985-42c0-8041-2bb16a414839" providerId="ADAL" clId="{7999C4A2-9ACD-4CB2-9DCD-52B9CDE5124D}" dt="2023-05-07T18:28:30.877" v="48259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28:30.877" v="48261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8:30.877" v="48263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8:30.877" v="48265"/>
          <ac:spMkLst>
            <pc:docMk/>
            <pc:sldMk cId="2958919186" sldId="284"/>
            <ac:spMk id="110" creationId="{76D5A471-E342-4112-9B61-678EA0C3F282}"/>
          </ac:spMkLst>
        </pc:spChg>
        <pc:spChg chg="del mod">
          <ac:chgData name="Joelle Brehm" userId="a518f54c-6985-42c0-8041-2bb16a414839" providerId="ADAL" clId="{7999C4A2-9ACD-4CB2-9DCD-52B9CDE5124D}" dt="2023-05-07T18:28:30.721" v="48025"/>
          <ac:spMkLst>
            <pc:docMk/>
            <pc:sldMk cId="2958919186" sldId="284"/>
            <ac:spMk id="114" creationId="{997686A5-C4CD-5560-CC25-1710F7D6FE37}"/>
          </ac:spMkLst>
        </pc:spChg>
        <pc:spChg chg="mod">
          <ac:chgData name="Joelle Brehm" userId="a518f54c-6985-42c0-8041-2bb16a414839" providerId="ADAL" clId="{7999C4A2-9ACD-4CB2-9DCD-52B9CDE5124D}" dt="2023-05-07T18:28:30.864" v="48238"/>
          <ac:spMkLst>
            <pc:docMk/>
            <pc:sldMk cId="2958919186" sldId="284"/>
            <ac:spMk id="115" creationId="{CDC3C9AC-C6D8-BD1E-C18E-7E0760B6F0EA}"/>
          </ac:spMkLst>
        </pc:spChg>
        <pc:spChg chg="mod">
          <ac:chgData name="Joelle Brehm" userId="a518f54c-6985-42c0-8041-2bb16a414839" providerId="ADAL" clId="{7999C4A2-9ACD-4CB2-9DCD-52B9CDE5124D}" dt="2023-05-07T18:28:30.877" v="48269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8:30.877" v="48270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8:30.877" v="48268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8:30.877" v="48272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28:30.877" v="48271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7999C4A2-9ACD-4CB2-9DCD-52B9CDE5124D}" dt="2023-05-07T18:28:30.864" v="48227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7999C4A2-9ACD-4CB2-9DCD-52B9CDE5124D}" dt="2023-05-07T18:28:30.894" v="48284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8:30.864" v="48198"/>
          <ac:graphicFrameMkLst>
            <pc:docMk/>
            <pc:sldMk cId="2958919186" sldId="284"/>
            <ac:graphicFrameMk id="8" creationId="{55F63674-1165-F745-3DAB-EAF304A56955}"/>
          </ac:graphicFrameMkLst>
        </pc:graphicFrameChg>
        <pc:graphicFrameChg chg="del">
          <ac:chgData name="Joelle Brehm" userId="a518f54c-6985-42c0-8041-2bb16a414839" providerId="ADAL" clId="{7999C4A2-9ACD-4CB2-9DCD-52B9CDE5124D}" dt="2023-05-07T18:27:39.478" v="46158"/>
          <ac:graphicFrameMkLst>
            <pc:docMk/>
            <pc:sldMk cId="2958919186" sldId="284"/>
            <ac:graphicFrameMk id="42" creationId="{12B1017E-E2DE-4811-619D-187804ED0DA8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8:10.256" v="46592"/>
          <ac:graphicFrameMkLst>
            <pc:docMk/>
            <pc:sldMk cId="2958919186" sldId="284"/>
            <ac:graphicFrameMk id="51" creationId="{D5D4440B-C727-1EB3-E576-F8CFEC49B9D8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8:11.242" v="46900"/>
          <ac:graphicFrameMkLst>
            <pc:docMk/>
            <pc:sldMk cId="2958919186" sldId="284"/>
            <ac:graphicFrameMk id="55" creationId="{C1DC40B4-C6CE-2D61-754F-956FCBA32B4B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8:15.318" v="47100"/>
          <ac:graphicFrameMkLst>
            <pc:docMk/>
            <pc:sldMk cId="2958919186" sldId="284"/>
            <ac:graphicFrameMk id="57" creationId="{2EEBB85C-5D87-5F8A-ED14-C5AB4CD511B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8:30.877" v="48267"/>
          <ac:graphicFrameMkLst>
            <pc:docMk/>
            <pc:sldMk cId="2958919186" sldId="284"/>
            <ac:graphicFrameMk id="59" creationId="{632F5D80-8C95-78F8-8A28-516585CC026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8:25.442" v="47728"/>
          <ac:graphicFrameMkLst>
            <pc:docMk/>
            <pc:sldMk cId="2958919186" sldId="284"/>
            <ac:graphicFrameMk id="63" creationId="{F9DAA806-1D42-196E-0388-B4B32073817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8:27.973" v="47921"/>
          <ac:graphicFrameMkLst>
            <pc:docMk/>
            <pc:sldMk cId="2958919186" sldId="284"/>
            <ac:graphicFrameMk id="65" creationId="{C3D6BFF6-94F3-08FD-27C9-7FFC2802E8E1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8:23.201" v="47504"/>
          <ac:graphicFrameMkLst>
            <pc:docMk/>
            <pc:sldMk cId="2958919186" sldId="284"/>
            <ac:graphicFrameMk id="67" creationId="{18045588-75DF-9AAE-02BE-B8932EC9270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8:30.833" v="48184"/>
          <ac:graphicFrameMkLst>
            <pc:docMk/>
            <pc:sldMk cId="2958919186" sldId="284"/>
            <ac:graphicFrameMk id="68" creationId="{A9545851-C6F0-EDB3-9C3F-653F0808124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8:30.864" v="48225"/>
          <ac:graphicFrameMkLst>
            <pc:docMk/>
            <pc:sldMk cId="2958919186" sldId="284"/>
            <ac:graphicFrameMk id="70" creationId="{1E94B327-8E01-9840-F9E1-1197F4FDBB52}"/>
          </ac:graphicFrameMkLst>
        </pc:graphicFrameChg>
        <pc:picChg chg="add mod ord">
          <ac:chgData name="Joelle Brehm" userId="a518f54c-6985-42c0-8041-2bb16a414839" providerId="ADAL" clId="{7999C4A2-9ACD-4CB2-9DCD-52B9CDE5124D}" dt="2023-05-07T18:28:30.848" v="48192"/>
          <ac:picMkLst>
            <pc:docMk/>
            <pc:sldMk cId="2958919186" sldId="284"/>
            <ac:picMk id="10" creationId="{AF382D01-C9F5-BD94-9824-8B33D641307F}"/>
          </ac:picMkLst>
        </pc:picChg>
        <pc:picChg chg="del mod ord">
          <ac:chgData name="Joelle Brehm" userId="a518f54c-6985-42c0-8041-2bb16a414839" providerId="ADAL" clId="{7999C4A2-9ACD-4CB2-9DCD-52B9CDE5124D}" dt="2023-05-07T18:27:59.524" v="46363" actId="478"/>
          <ac:picMkLst>
            <pc:docMk/>
            <pc:sldMk cId="2958919186" sldId="284"/>
            <ac:picMk id="47" creationId="{0BD33AC8-4ACF-0A30-57B9-9C7A7EA5F49D}"/>
          </ac:picMkLst>
        </pc:picChg>
        <pc:picChg chg="mod ord">
          <ac:chgData name="Joelle Brehm" userId="a518f54c-6985-42c0-8041-2bb16a414839" providerId="ADAL" clId="{7999C4A2-9ACD-4CB2-9DCD-52B9CDE5124D}" dt="2023-05-07T18:28:30.877" v="48274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8:30.864" v="48196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29:21.942" v="50007"/>
        <pc:sldMkLst>
          <pc:docMk/>
          <pc:sldMk cId="3959601197" sldId="285"/>
        </pc:sldMkLst>
        <pc:spChg chg="mod ord">
          <ac:chgData name="Joelle Brehm" userId="a518f54c-6985-42c0-8041-2bb16a414839" providerId="ADAL" clId="{7999C4A2-9ACD-4CB2-9DCD-52B9CDE5124D}" dt="2023-05-07T18:29:21.937" v="50001"/>
          <ac:spMkLst>
            <pc:docMk/>
            <pc:sldMk cId="3959601197" sldId="285"/>
            <ac:spMk id="2" creationId="{834E3642-3BF8-4D50-9A2A-9ADF91017D8B}"/>
          </ac:spMkLst>
        </pc:spChg>
        <pc:spChg chg="add del mod">
          <ac:chgData name="Joelle Brehm" userId="a518f54c-6985-42c0-8041-2bb16a414839" providerId="ADAL" clId="{7999C4A2-9ACD-4CB2-9DCD-52B9CDE5124D}" dt="2023-05-07T18:28:40.479" v="48285" actId="478"/>
          <ac:spMkLst>
            <pc:docMk/>
            <pc:sldMk cId="3959601197" sldId="285"/>
            <ac:spMk id="3" creationId="{385CAF3F-36E7-A54B-0FF7-8446240BE238}"/>
          </ac:spMkLst>
        </pc:spChg>
        <pc:spChg chg="add del mod modVis">
          <ac:chgData name="Joelle Brehm" userId="a518f54c-6985-42c0-8041-2bb16a414839" providerId="ADAL" clId="{7999C4A2-9ACD-4CB2-9DCD-52B9CDE5124D}" dt="2023-05-07T18:28:43.213" v="48549"/>
          <ac:spMkLst>
            <pc:docMk/>
            <pc:sldMk cId="3959601197" sldId="285"/>
            <ac:spMk id="5" creationId="{F36B0293-3FB4-B0F0-A427-0905BC38C089}"/>
          </ac:spMkLst>
        </pc:spChg>
        <pc:spChg chg="mod ord">
          <ac:chgData name="Joelle Brehm" userId="a518f54c-6985-42c0-8041-2bb16a414839" providerId="ADAL" clId="{7999C4A2-9ACD-4CB2-9DCD-52B9CDE5124D}" dt="2023-05-07T18:29:21.916" v="49933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29:21.931" v="49974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7999C4A2-9ACD-4CB2-9DCD-52B9CDE5124D}" dt="2023-05-07T18:29:21.916" v="49939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29:21.921" v="49943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29:21.916" v="49940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29:21.916" v="49938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29:21.920" v="49941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29:21.921" v="49944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29:21.921" v="49945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29:21.921" v="49942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29:21.922" v="49946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29:21.922" v="49947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29:21.923" v="49948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29:21.923" v="49949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29:21.923" v="49951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29:21.923" v="49954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29:21.923" v="49956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29:21.923" v="49955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29:21.923" v="49958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29:21.923" v="49957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29:21.923" v="49959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29:21.923" v="49962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29:21.931" v="49973"/>
          <ac:spMkLst>
            <pc:docMk/>
            <pc:sldMk cId="3959601197" sldId="285"/>
            <ac:spMk id="31" creationId="{9D8A59E9-C471-9618-6B0F-F3E414CCD2A7}"/>
          </ac:spMkLst>
        </pc:spChg>
        <pc:spChg chg="mod">
          <ac:chgData name="Joelle Brehm" userId="a518f54c-6985-42c0-8041-2bb16a414839" providerId="ADAL" clId="{7999C4A2-9ACD-4CB2-9DCD-52B9CDE5124D}" dt="2023-05-07T18:29:21.923" v="49965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7999C4A2-9ACD-4CB2-9DCD-52B9CDE5124D}" dt="2023-05-07T18:29:21.930" v="49971"/>
          <ac:spMkLst>
            <pc:docMk/>
            <pc:sldMk cId="3959601197" sldId="285"/>
            <ac:spMk id="33" creationId="{C5132F62-12DF-25F1-3C35-C772E0E4C2D8}"/>
          </ac:spMkLst>
        </pc:spChg>
        <pc:spChg chg="mod">
          <ac:chgData name="Joelle Brehm" userId="a518f54c-6985-42c0-8041-2bb16a414839" providerId="ADAL" clId="{7999C4A2-9ACD-4CB2-9DCD-52B9CDE5124D}" dt="2023-05-07T18:29:21.923" v="49966"/>
          <ac:spMkLst>
            <pc:docMk/>
            <pc:sldMk cId="3959601197" sldId="285"/>
            <ac:spMk id="34" creationId="{7296A792-C9A5-603D-0DFE-510144F74B20}"/>
          </ac:spMkLst>
        </pc:spChg>
        <pc:spChg chg="mod">
          <ac:chgData name="Joelle Brehm" userId="a518f54c-6985-42c0-8041-2bb16a414839" providerId="ADAL" clId="{7999C4A2-9ACD-4CB2-9DCD-52B9CDE5124D}" dt="2023-05-07T18:29:21.932" v="49975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7999C4A2-9ACD-4CB2-9DCD-52B9CDE5124D}" dt="2023-05-07T18:29:21.923" v="49953"/>
          <ac:spMkLst>
            <pc:docMk/>
            <pc:sldMk cId="3959601197" sldId="285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7999C4A2-9ACD-4CB2-9DCD-52B9CDE5124D}" dt="2023-05-07T18:29:08.785" v="48893"/>
          <ac:spMkLst>
            <pc:docMk/>
            <pc:sldMk cId="3959601197" sldId="285"/>
            <ac:spMk id="39" creationId="{ECF1EC4B-6CBD-E49C-FDEF-DC6D979D758C}"/>
          </ac:spMkLst>
        </pc:spChg>
        <pc:spChg chg="add mod replST">
          <ac:chgData name="Joelle Brehm" userId="a518f54c-6985-42c0-8041-2bb16a414839" providerId="ADAL" clId="{7999C4A2-9ACD-4CB2-9DCD-52B9CDE5124D}" dt="2023-05-07T18:29:21.923" v="49967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7999C4A2-9ACD-4CB2-9DCD-52B9CDE5124D}" dt="2023-05-07T18:29:21.932" v="49976"/>
          <ac:spMkLst>
            <pc:docMk/>
            <pc:sldMk cId="3959601197" sldId="285"/>
            <ac:spMk id="43" creationId="{7A0654C5-E72A-A91E-A2D8-90D96122F7D7}"/>
          </ac:spMkLst>
        </pc:spChg>
        <pc:spChg chg="add del mod modVis">
          <ac:chgData name="Joelle Brehm" userId="a518f54c-6985-42c0-8041-2bb16a414839" providerId="ADAL" clId="{7999C4A2-9ACD-4CB2-9DCD-52B9CDE5124D}" dt="2023-05-07T18:29:14.635" v="49487"/>
          <ac:spMkLst>
            <pc:docMk/>
            <pc:sldMk cId="3959601197" sldId="285"/>
            <ac:spMk id="44" creationId="{DC5B0316-2B35-C573-8D70-68A3EF7B19CA}"/>
          </ac:spMkLst>
        </pc:spChg>
        <pc:spChg chg="mod">
          <ac:chgData name="Joelle Brehm" userId="a518f54c-6985-42c0-8041-2bb16a414839" providerId="ADAL" clId="{7999C4A2-9ACD-4CB2-9DCD-52B9CDE5124D}" dt="2023-05-07T18:29:21.923" v="49969"/>
          <ac:spMkLst>
            <pc:docMk/>
            <pc:sldMk cId="3959601197" sldId="285"/>
            <ac:spMk id="45" creationId="{C0C2677E-B02A-A9FD-C32D-94A1D148E0A5}"/>
          </ac:spMkLst>
        </pc:spChg>
        <pc:spChg chg="add del mod modVis">
          <ac:chgData name="Joelle Brehm" userId="a518f54c-6985-42c0-8041-2bb16a414839" providerId="ADAL" clId="{7999C4A2-9ACD-4CB2-9DCD-52B9CDE5124D}" dt="2023-05-07T18:29:16.944" v="49645"/>
          <ac:spMkLst>
            <pc:docMk/>
            <pc:sldMk cId="3959601197" sldId="285"/>
            <ac:spMk id="47" creationId="{6B3DC7FA-9A31-B636-4BD1-4483727D24FB}"/>
          </ac:spMkLst>
        </pc:spChg>
        <pc:spChg chg="add del mod modVis">
          <ac:chgData name="Joelle Brehm" userId="a518f54c-6985-42c0-8041-2bb16a414839" providerId="ADAL" clId="{7999C4A2-9ACD-4CB2-9DCD-52B9CDE5124D}" dt="2023-05-07T18:29:19.421" v="49805"/>
          <ac:spMkLst>
            <pc:docMk/>
            <pc:sldMk cId="3959601197" sldId="285"/>
            <ac:spMk id="49" creationId="{0D8D2579-927F-F056-3731-DDAC0A1D5DC1}"/>
          </ac:spMkLst>
        </pc:spChg>
        <pc:spChg chg="add del mod modVis">
          <ac:chgData name="Joelle Brehm" userId="a518f54c-6985-42c0-8041-2bb16a414839" providerId="ADAL" clId="{7999C4A2-9ACD-4CB2-9DCD-52B9CDE5124D}" dt="2023-05-07T18:29:21.937" v="50005"/>
          <ac:spMkLst>
            <pc:docMk/>
            <pc:sldMk cId="3959601197" sldId="285"/>
            <ac:spMk id="51" creationId="{9C84A5A7-9A52-9C11-0F25-93949F38D3B9}"/>
          </ac:spMkLst>
        </pc:spChg>
        <pc:spChg chg="del mod">
          <ac:chgData name="Joelle Brehm" userId="a518f54c-6985-42c0-8041-2bb16a414839" providerId="ADAL" clId="{7999C4A2-9ACD-4CB2-9DCD-52B9CDE5124D}" dt="2023-05-07T18:29:21.775" v="49808"/>
          <ac:spMkLst>
            <pc:docMk/>
            <pc:sldMk cId="3959601197" sldId="285"/>
            <ac:spMk id="61" creationId="{413D3DF9-2BB9-B642-EE27-FACC1DECF9D1}"/>
          </ac:spMkLst>
        </pc:spChg>
        <pc:spChg chg="mod">
          <ac:chgData name="Joelle Brehm" userId="a518f54c-6985-42c0-8041-2bb16a414839" providerId="ADAL" clId="{7999C4A2-9ACD-4CB2-9DCD-52B9CDE5124D}" dt="2023-05-07T18:29:21.923" v="49968"/>
          <ac:spMkLst>
            <pc:docMk/>
            <pc:sldMk cId="3959601197" sldId="285"/>
            <ac:spMk id="62" creationId="{9A7B675A-F1D5-5C86-528A-F9A5A685D8F4}"/>
          </ac:spMkLst>
        </pc:spChg>
        <pc:spChg chg="mod">
          <ac:chgData name="Joelle Brehm" userId="a518f54c-6985-42c0-8041-2bb16a414839" providerId="ADAL" clId="{7999C4A2-9ACD-4CB2-9DCD-52B9CDE5124D}" dt="2023-05-07T18:29:21.930" v="49970"/>
          <ac:spMkLst>
            <pc:docMk/>
            <pc:sldMk cId="3959601197" sldId="285"/>
            <ac:spMk id="65" creationId="{1502E1FD-2F2B-2E4B-A0D1-76C34AFFCCA4}"/>
          </ac:spMkLst>
        </pc:spChg>
        <pc:spChg chg="mod">
          <ac:chgData name="Joelle Brehm" userId="a518f54c-6985-42c0-8041-2bb16a414839" providerId="ADAL" clId="{7999C4A2-9ACD-4CB2-9DCD-52B9CDE5124D}" dt="2023-05-07T18:29:21.930" v="49972"/>
          <ac:spMkLst>
            <pc:docMk/>
            <pc:sldMk cId="3959601197" sldId="285"/>
            <ac:spMk id="68" creationId="{DEFABF45-FA4F-8FCA-5A28-35602D22E667}"/>
          </ac:spMkLst>
        </pc:spChg>
        <pc:spChg chg="mod">
          <ac:chgData name="Joelle Brehm" userId="a518f54c-6985-42c0-8041-2bb16a414839" providerId="ADAL" clId="{7999C4A2-9ACD-4CB2-9DCD-52B9CDE5124D}" dt="2023-05-07T18:29:21.923" v="49960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29:21.932" v="49978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29:21.932" v="49980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29:21.937" v="49999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7999C4A2-9ACD-4CB2-9DCD-52B9CDE5124D}" dt="2023-05-07T18:29:21.932" v="49982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29:21.932" v="49984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29:21.932" v="49986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29:21.932" v="49988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29:21.936" v="49992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9:21.936" v="49991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9:21.937" v="49993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29:21.937" v="49994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29:21.937" v="49995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29:21.942" v="50007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9:21.916" v="49937"/>
          <ac:graphicFrameMkLst>
            <pc:docMk/>
            <pc:sldMk cId="3959601197" sldId="285"/>
            <ac:graphicFrameMk id="8" creationId="{A03C769B-02E3-4B02-F4B2-AE8119D19A72}"/>
          </ac:graphicFrameMkLst>
        </pc:graphicFrameChg>
        <pc:graphicFrameChg chg="del">
          <ac:chgData name="Joelle Brehm" userId="a518f54c-6985-42c0-8041-2bb16a414839" providerId="ADAL" clId="{7999C4A2-9ACD-4CB2-9DCD-52B9CDE5124D}" dt="2023-05-07T18:28:43.132" v="48463"/>
          <ac:graphicFrameMkLst>
            <pc:docMk/>
            <pc:sldMk cId="3959601197" sldId="285"/>
            <ac:graphicFrameMk id="36" creationId="{B32248CD-09A0-5C36-3447-18A61A35706E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9:21.936" v="49990"/>
          <ac:graphicFrameMkLst>
            <pc:docMk/>
            <pc:sldMk cId="3959601197" sldId="285"/>
            <ac:graphicFrameMk id="40" creationId="{DF33484B-5D4A-0993-52B8-CFCA8830E7F6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9:08.737" v="48811"/>
          <ac:graphicFrameMkLst>
            <pc:docMk/>
            <pc:sldMk cId="3959601197" sldId="285"/>
            <ac:graphicFrameMk id="41" creationId="{91997C7A-3564-9635-8A4B-83044DEF284F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9:16.896" v="49562"/>
          <ac:graphicFrameMkLst>
            <pc:docMk/>
            <pc:sldMk cId="3959601197" sldId="285"/>
            <ac:graphicFrameMk id="46" creationId="{A8BBF5C8-E55B-31F5-AE35-FC0D6C1FD47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9:19.374" v="49722"/>
          <ac:graphicFrameMkLst>
            <pc:docMk/>
            <pc:sldMk cId="3959601197" sldId="285"/>
            <ac:graphicFrameMk id="48" creationId="{70653603-3658-305D-186A-7912A2B1111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29:21.885" v="49923"/>
          <ac:graphicFrameMkLst>
            <pc:docMk/>
            <pc:sldMk cId="3959601197" sldId="285"/>
            <ac:graphicFrameMk id="50" creationId="{7425035C-AB93-B193-B58F-51F421175A03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29:21.923" v="49964"/>
          <ac:graphicFrameMkLst>
            <pc:docMk/>
            <pc:sldMk cId="3959601197" sldId="285"/>
            <ac:graphicFrameMk id="52" creationId="{FEB7069D-8571-9F1C-90EF-FF53DC29C7ED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29:14.589" v="49396"/>
          <ac:graphicFrameMkLst>
            <pc:docMk/>
            <pc:sldMk cId="3959601197" sldId="285"/>
            <ac:graphicFrameMk id="56" creationId="{712659B8-4897-4549-9E90-DB0D50947A9E}"/>
          </ac:graphicFrameMkLst>
        </pc:graphicFrameChg>
        <pc:picChg chg="add mod ord">
          <ac:chgData name="Joelle Brehm" userId="a518f54c-6985-42c0-8041-2bb16a414839" providerId="ADAL" clId="{7999C4A2-9ACD-4CB2-9DCD-52B9CDE5124D}" dt="2023-05-07T18:29:21.916" v="49931"/>
          <ac:picMkLst>
            <pc:docMk/>
            <pc:sldMk cId="3959601197" sldId="285"/>
            <ac:picMk id="10" creationId="{93738B24-31AB-AC0A-C92E-06E019214997}"/>
          </ac:picMkLst>
        </pc:picChg>
        <pc:picChg chg="del mod ord">
          <ac:chgData name="Joelle Brehm" userId="a518f54c-6985-42c0-8041-2bb16a414839" providerId="ADAL" clId="{7999C4A2-9ACD-4CB2-9DCD-52B9CDE5124D}" dt="2023-05-07T18:29:00.562" v="48648" actId="478"/>
          <ac:picMkLst>
            <pc:docMk/>
            <pc:sldMk cId="3959601197" sldId="285"/>
            <ac:picMk id="38" creationId="{19B37E08-B1BA-336B-0E0E-0B1EE7E40B62}"/>
          </ac:picMkLst>
        </pc:picChg>
        <pc:picChg chg="mod ord">
          <ac:chgData name="Joelle Brehm" userId="a518f54c-6985-42c0-8041-2bb16a414839" providerId="ADAL" clId="{7999C4A2-9ACD-4CB2-9DCD-52B9CDE5124D}" dt="2023-05-07T18:29:21.937" v="49997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29:21.916" v="49935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30:55.474" v="51547"/>
        <pc:sldMkLst>
          <pc:docMk/>
          <pc:sldMk cId="3093897313" sldId="286"/>
        </pc:sldMkLst>
        <pc:spChg chg="mod ord">
          <ac:chgData name="Joelle Brehm" userId="a518f54c-6985-42c0-8041-2bb16a414839" providerId="ADAL" clId="{7999C4A2-9ACD-4CB2-9DCD-52B9CDE5124D}" dt="2023-05-07T18:30:55.458" v="51541"/>
          <ac:spMkLst>
            <pc:docMk/>
            <pc:sldMk cId="3093897313" sldId="286"/>
            <ac:spMk id="2" creationId="{F7E4C1AF-4B86-49C2-BCE8-3BD8367EC27A}"/>
          </ac:spMkLst>
        </pc:spChg>
        <pc:spChg chg="add del mod">
          <ac:chgData name="Joelle Brehm" userId="a518f54c-6985-42c0-8041-2bb16a414839" providerId="ADAL" clId="{7999C4A2-9ACD-4CB2-9DCD-52B9CDE5124D}" dt="2023-05-07T18:30:12.634" v="50008" actId="478"/>
          <ac:spMkLst>
            <pc:docMk/>
            <pc:sldMk cId="3093897313" sldId="286"/>
            <ac:spMk id="3" creationId="{B2680687-094F-173B-7523-0854E77949DC}"/>
          </ac:spMkLst>
        </pc:spChg>
        <pc:spChg chg="add del mod modVis">
          <ac:chgData name="Joelle Brehm" userId="a518f54c-6985-42c0-8041-2bb16a414839" providerId="ADAL" clId="{7999C4A2-9ACD-4CB2-9DCD-52B9CDE5124D}" dt="2023-05-07T18:30:18.875" v="50264"/>
          <ac:spMkLst>
            <pc:docMk/>
            <pc:sldMk cId="3093897313" sldId="286"/>
            <ac:spMk id="5" creationId="{C6152839-44FA-5C8D-2A56-AB10E99ECF6D}"/>
          </ac:spMkLst>
        </pc:spChg>
        <pc:spChg chg="mod ord">
          <ac:chgData name="Joelle Brehm" userId="a518f54c-6985-42c0-8041-2bb16a414839" providerId="ADAL" clId="{7999C4A2-9ACD-4CB2-9DCD-52B9CDE5124D}" dt="2023-05-07T18:30:55.441" v="51473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30:55.441" v="51514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7999C4A2-9ACD-4CB2-9DCD-52B9CDE5124D}" dt="2023-05-07T18:30:55.441" v="51484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30:55.441" v="51483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30:55.441" v="51482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30:55.441" v="51480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30:55.441" v="51479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30:55.441" v="51486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30:55.441" v="51485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30:55.441" v="51481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30:55.441" v="51487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30:55.441" v="51478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30:55.441" v="51488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30:55.441" v="51489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30:55.441" v="51491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30:55.441" v="51492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30:55.441" v="51493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30:55.441" v="51494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30:55.441" v="51499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30:55.441" v="51497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30:55.441" v="51498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30:55.441" v="51502"/>
          <ac:spMkLst>
            <pc:docMk/>
            <pc:sldMk cId="3093897313" sldId="286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30:55.441" v="51505"/>
          <ac:spMkLst>
            <pc:docMk/>
            <pc:sldMk cId="3093897313" sldId="286"/>
            <ac:spMk id="31" creationId="{D74F390C-8EAC-8563-0D4D-5C8848394552}"/>
          </ac:spMkLst>
        </pc:spChg>
        <pc:spChg chg="mod">
          <ac:chgData name="Joelle Brehm" userId="a518f54c-6985-42c0-8041-2bb16a414839" providerId="ADAL" clId="{7999C4A2-9ACD-4CB2-9DCD-52B9CDE5124D}" dt="2023-05-07T18:30:55.441" v="51507"/>
          <ac:spMkLst>
            <pc:docMk/>
            <pc:sldMk cId="3093897313" sldId="286"/>
            <ac:spMk id="32" creationId="{5F8F84C4-6A6C-C5DC-AE29-77E5B4E909D7}"/>
          </ac:spMkLst>
        </pc:spChg>
        <pc:spChg chg="mod">
          <ac:chgData name="Joelle Brehm" userId="a518f54c-6985-42c0-8041-2bb16a414839" providerId="ADAL" clId="{7999C4A2-9ACD-4CB2-9DCD-52B9CDE5124D}" dt="2023-05-07T18:30:55.441" v="51512"/>
          <ac:spMkLst>
            <pc:docMk/>
            <pc:sldMk cId="3093897313" sldId="286"/>
            <ac:spMk id="33" creationId="{1334CF39-A6F8-7069-C022-3F7175A20401}"/>
          </ac:spMkLst>
        </pc:spChg>
        <pc:spChg chg="mod">
          <ac:chgData name="Joelle Brehm" userId="a518f54c-6985-42c0-8041-2bb16a414839" providerId="ADAL" clId="{7999C4A2-9ACD-4CB2-9DCD-52B9CDE5124D}" dt="2023-05-07T18:30:55.441" v="51510"/>
          <ac:spMkLst>
            <pc:docMk/>
            <pc:sldMk cId="3093897313" sldId="286"/>
            <ac:spMk id="34" creationId="{99F86B53-3C14-F4B7-5920-953490F3E4CD}"/>
          </ac:spMkLst>
        </pc:spChg>
        <pc:spChg chg="mod">
          <ac:chgData name="Joelle Brehm" userId="a518f54c-6985-42c0-8041-2bb16a414839" providerId="ADAL" clId="{7999C4A2-9ACD-4CB2-9DCD-52B9CDE5124D}" dt="2023-05-07T18:30:55.441" v="51513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7999C4A2-9ACD-4CB2-9DCD-52B9CDE5124D}" dt="2023-05-07T18:30:55.441" v="51496"/>
          <ac:spMkLst>
            <pc:docMk/>
            <pc:sldMk cId="3093897313" sldId="286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7999C4A2-9ACD-4CB2-9DCD-52B9CDE5124D}" dt="2023-05-07T18:30:43.450" v="50627"/>
          <ac:spMkLst>
            <pc:docMk/>
            <pc:sldMk cId="3093897313" sldId="286"/>
            <ac:spMk id="39" creationId="{0FBFDBF9-931F-3B70-DA30-3DB1F6F9B617}"/>
          </ac:spMkLst>
        </pc:spChg>
        <pc:spChg chg="mod">
          <ac:chgData name="Joelle Brehm" userId="a518f54c-6985-42c0-8041-2bb16a414839" providerId="ADAL" clId="{7999C4A2-9ACD-4CB2-9DCD-52B9CDE5124D}" dt="2023-05-07T18:30:55.441" v="51511"/>
          <ac:spMkLst>
            <pc:docMk/>
            <pc:sldMk cId="3093897313" sldId="286"/>
            <ac:spMk id="40" creationId="{C9855917-BD95-0D5A-6B07-14EBAD7B2828}"/>
          </ac:spMkLst>
        </pc:spChg>
        <pc:spChg chg="mod">
          <ac:chgData name="Joelle Brehm" userId="a518f54c-6985-42c0-8041-2bb16a414839" providerId="ADAL" clId="{7999C4A2-9ACD-4CB2-9DCD-52B9CDE5124D}" dt="2023-05-07T18:30:55.441" v="51515"/>
          <ac:spMkLst>
            <pc:docMk/>
            <pc:sldMk cId="3093897313" sldId="286"/>
            <ac:spMk id="42" creationId="{D859979A-C7CC-20E7-C4CA-F18D382485A8}"/>
          </ac:spMkLst>
        </pc:spChg>
        <pc:spChg chg="add mod replST">
          <ac:chgData name="Joelle Brehm" userId="a518f54c-6985-42c0-8041-2bb16a414839" providerId="ADAL" clId="{7999C4A2-9ACD-4CB2-9DCD-52B9CDE5124D}" dt="2023-05-07T18:30:55.441" v="51516"/>
          <ac:spMkLst>
            <pc:docMk/>
            <pc:sldMk cId="3093897313" sldId="286"/>
            <ac:spMk id="44" creationId="{725B225B-D384-EFBB-722A-58317FBB47BF}"/>
          </ac:spMkLst>
        </pc:spChg>
        <pc:spChg chg="add del mod modVis">
          <ac:chgData name="Joelle Brehm" userId="a518f54c-6985-42c0-8041-2bb16a414839" providerId="ADAL" clId="{7999C4A2-9ACD-4CB2-9DCD-52B9CDE5124D}" dt="2023-05-07T18:30:49.602" v="51136"/>
          <ac:spMkLst>
            <pc:docMk/>
            <pc:sldMk cId="3093897313" sldId="286"/>
            <ac:spMk id="45" creationId="{A08E60BC-850B-A7C2-7A68-61701B0AA25A}"/>
          </ac:spMkLst>
        </pc:spChg>
        <pc:spChg chg="add del mod modVis">
          <ac:chgData name="Joelle Brehm" userId="a518f54c-6985-42c0-8041-2bb16a414839" providerId="ADAL" clId="{7999C4A2-9ACD-4CB2-9DCD-52B9CDE5124D}" dt="2023-05-07T18:30:52.773" v="51347"/>
          <ac:spMkLst>
            <pc:docMk/>
            <pc:sldMk cId="3093897313" sldId="286"/>
            <ac:spMk id="47" creationId="{F3A97673-62E1-7F17-3562-16A11848EF2A}"/>
          </ac:spMkLst>
        </pc:spChg>
        <pc:spChg chg="add del mod modVis">
          <ac:chgData name="Joelle Brehm" userId="a518f54c-6985-42c0-8041-2bb16a414839" providerId="ADAL" clId="{7999C4A2-9ACD-4CB2-9DCD-52B9CDE5124D}" dt="2023-05-07T18:30:55.458" v="51545"/>
          <ac:spMkLst>
            <pc:docMk/>
            <pc:sldMk cId="3093897313" sldId="286"/>
            <ac:spMk id="49" creationId="{81FB3A7E-5E52-EA5F-F06E-0C6B06D00585}"/>
          </ac:spMkLst>
        </pc:spChg>
        <pc:spChg chg="del mod">
          <ac:chgData name="Joelle Brehm" userId="a518f54c-6985-42c0-8041-2bb16a414839" providerId="ADAL" clId="{7999C4A2-9ACD-4CB2-9DCD-52B9CDE5124D}" dt="2023-05-07T18:30:55.299" v="51350"/>
          <ac:spMkLst>
            <pc:docMk/>
            <pc:sldMk cId="3093897313" sldId="286"/>
            <ac:spMk id="61" creationId="{8AE58059-5FBF-9F8C-9004-DF3C57531AE0}"/>
          </ac:spMkLst>
        </pc:spChg>
        <pc:spChg chg="mod">
          <ac:chgData name="Joelle Brehm" userId="a518f54c-6985-42c0-8041-2bb16a414839" providerId="ADAL" clId="{7999C4A2-9ACD-4CB2-9DCD-52B9CDE5124D}" dt="2023-05-07T18:30:55.441" v="51506"/>
          <ac:spMkLst>
            <pc:docMk/>
            <pc:sldMk cId="3093897313" sldId="286"/>
            <ac:spMk id="62" creationId="{2F881654-2CD6-1559-8CE0-D050D9915BCB}"/>
          </ac:spMkLst>
        </pc:spChg>
        <pc:spChg chg="mod">
          <ac:chgData name="Joelle Brehm" userId="a518f54c-6985-42c0-8041-2bb16a414839" providerId="ADAL" clId="{7999C4A2-9ACD-4CB2-9DCD-52B9CDE5124D}" dt="2023-05-07T18:30:55.441" v="51509"/>
          <ac:spMkLst>
            <pc:docMk/>
            <pc:sldMk cId="3093897313" sldId="286"/>
            <ac:spMk id="66" creationId="{D24BFD29-661B-4491-5975-FE849427D9EF}"/>
          </ac:spMkLst>
        </pc:spChg>
        <pc:spChg chg="mod">
          <ac:chgData name="Joelle Brehm" userId="a518f54c-6985-42c0-8041-2bb16a414839" providerId="ADAL" clId="{7999C4A2-9ACD-4CB2-9DCD-52B9CDE5124D}" dt="2023-05-07T18:30:55.441" v="51508"/>
          <ac:spMkLst>
            <pc:docMk/>
            <pc:sldMk cId="3093897313" sldId="286"/>
            <ac:spMk id="69" creationId="{E0A21F3E-CAC2-F1DA-B8CE-98C7E55D5258}"/>
          </ac:spMkLst>
        </pc:spChg>
        <pc:spChg chg="mod">
          <ac:chgData name="Joelle Brehm" userId="a518f54c-6985-42c0-8041-2bb16a414839" providerId="ADAL" clId="{7999C4A2-9ACD-4CB2-9DCD-52B9CDE5124D}" dt="2023-05-07T18:30:55.441" v="51500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30:55.441" v="51518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30:55.441" v="51520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30:55.458" v="51539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7999C4A2-9ACD-4CB2-9DCD-52B9CDE5124D}" dt="2023-05-07T18:30:55.441" v="51522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30:55.457" v="51524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30:55.458" v="51526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30:55.458" v="51528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30:55.458" v="51531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0:55.458" v="51532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0:55.458" v="51535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0:55.458" v="51534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30:55.458" v="51533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30:55.474" v="51547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0:55.441" v="51477"/>
          <ac:graphicFrameMkLst>
            <pc:docMk/>
            <pc:sldMk cId="3093897313" sldId="286"/>
            <ac:graphicFrameMk id="8" creationId="{5D36739F-CEE7-CE3C-1834-08A847D6147F}"/>
          </ac:graphicFrameMkLst>
        </pc:graphicFrameChg>
        <pc:graphicFrameChg chg="del">
          <ac:chgData name="Joelle Brehm" userId="a518f54c-6985-42c0-8041-2bb16a414839" providerId="ADAL" clId="{7999C4A2-9ACD-4CB2-9DCD-52B9CDE5124D}" dt="2023-05-07T18:30:18.796" v="50178"/>
          <ac:graphicFrameMkLst>
            <pc:docMk/>
            <pc:sldMk cId="3093897313" sldId="286"/>
            <ac:graphicFrameMk id="35" creationId="{23740CA5-A45C-7C1A-84CC-30F8D235C754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0:43.365" v="50545"/>
          <ac:graphicFrameMkLst>
            <pc:docMk/>
            <pc:sldMk cId="3093897313" sldId="286"/>
            <ac:graphicFrameMk id="41" creationId="{D239072E-52A2-949E-72B5-64CFEC0CF330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0:55.458" v="51530"/>
          <ac:graphicFrameMkLst>
            <pc:docMk/>
            <pc:sldMk cId="3093897313" sldId="286"/>
            <ac:graphicFrameMk id="43" creationId="{BA218739-AEFE-8230-9DA8-456B38FA25A8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0:52.668" v="51240"/>
          <ac:graphicFrameMkLst>
            <pc:docMk/>
            <pc:sldMk cId="3093897313" sldId="286"/>
            <ac:graphicFrameMk id="46" creationId="{363663A7-7F5C-5670-0859-7D131C2D846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0:55.409" v="51463"/>
          <ac:graphicFrameMkLst>
            <pc:docMk/>
            <pc:sldMk cId="3093897313" sldId="286"/>
            <ac:graphicFrameMk id="48" creationId="{CBE34842-4C59-D957-00E1-0136CB1BA6E2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0:55.441" v="51504"/>
          <ac:graphicFrameMkLst>
            <pc:docMk/>
            <pc:sldMk cId="3093897313" sldId="286"/>
            <ac:graphicFrameMk id="50" creationId="{7D52E32D-ABED-048F-AB4D-FFFDB86A662B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0:49.555" v="51029"/>
          <ac:graphicFrameMkLst>
            <pc:docMk/>
            <pc:sldMk cId="3093897313" sldId="286"/>
            <ac:graphicFrameMk id="65" creationId="{8AEBA161-2036-980E-AE0C-13F8726DF2B6}"/>
          </ac:graphicFrameMkLst>
        </pc:graphicFrameChg>
        <pc:picChg chg="add mod ord">
          <ac:chgData name="Joelle Brehm" userId="a518f54c-6985-42c0-8041-2bb16a414839" providerId="ADAL" clId="{7999C4A2-9ACD-4CB2-9DCD-52B9CDE5124D}" dt="2023-05-07T18:30:55.441" v="51471"/>
          <ac:picMkLst>
            <pc:docMk/>
            <pc:sldMk cId="3093897313" sldId="286"/>
            <ac:picMk id="9" creationId="{CFFC98E2-2080-F00D-88E9-93B310C9481B}"/>
          </ac:picMkLst>
        </pc:picChg>
        <pc:picChg chg="del mod ord">
          <ac:chgData name="Joelle Brehm" userId="a518f54c-6985-42c0-8041-2bb16a414839" providerId="ADAL" clId="{7999C4A2-9ACD-4CB2-9DCD-52B9CDE5124D}" dt="2023-05-07T18:30:34.156" v="50355" actId="478"/>
          <ac:picMkLst>
            <pc:docMk/>
            <pc:sldMk cId="3093897313" sldId="286"/>
            <ac:picMk id="38" creationId="{EB48BBE7-9214-BFC8-E53E-91408B62D8BE}"/>
          </ac:picMkLst>
        </pc:picChg>
        <pc:picChg chg="mod ord">
          <ac:chgData name="Joelle Brehm" userId="a518f54c-6985-42c0-8041-2bb16a414839" providerId="ADAL" clId="{7999C4A2-9ACD-4CB2-9DCD-52B9CDE5124D}" dt="2023-05-07T18:30:55.458" v="51537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30:55.441" v="51475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31:51.289" v="53267" actId="478"/>
        <pc:sldMkLst>
          <pc:docMk/>
          <pc:sldMk cId="1459118046" sldId="288"/>
        </pc:sldMkLst>
        <pc:spChg chg="mod ord">
          <ac:chgData name="Joelle Brehm" userId="a518f54c-6985-42c0-8041-2bb16a414839" providerId="ADAL" clId="{7999C4A2-9ACD-4CB2-9DCD-52B9CDE5124D}" dt="2023-05-07T18:31:46.938" v="53228"/>
          <ac:spMkLst>
            <pc:docMk/>
            <pc:sldMk cId="1459118046" sldId="288"/>
            <ac:spMk id="2" creationId="{845E990D-F1AA-419F-97F0-12FFB2CEF6D1}"/>
          </ac:spMkLst>
        </pc:spChg>
        <pc:spChg chg="add del mod">
          <ac:chgData name="Joelle Brehm" userId="a518f54c-6985-42c0-8041-2bb16a414839" providerId="ADAL" clId="{7999C4A2-9ACD-4CB2-9DCD-52B9CDE5124D}" dt="2023-05-07T18:31:04.082" v="51548" actId="478"/>
          <ac:spMkLst>
            <pc:docMk/>
            <pc:sldMk cId="1459118046" sldId="288"/>
            <ac:spMk id="3" creationId="{7DB811B0-517A-5525-34DD-D95E0299342C}"/>
          </ac:spMkLst>
        </pc:spChg>
        <pc:spChg chg="add del mod modVis">
          <ac:chgData name="Joelle Brehm" userId="a518f54c-6985-42c0-8041-2bb16a414839" providerId="ADAL" clId="{7999C4A2-9ACD-4CB2-9DCD-52B9CDE5124D}" dt="2023-05-07T18:31:11.757" v="51814"/>
          <ac:spMkLst>
            <pc:docMk/>
            <pc:sldMk cId="1459118046" sldId="288"/>
            <ac:spMk id="5" creationId="{007A99A9-B0AC-763D-FBAF-EADE814D79B7}"/>
          </ac:spMkLst>
        </pc:spChg>
        <pc:spChg chg="mod ord">
          <ac:chgData name="Joelle Brehm" userId="a518f54c-6985-42c0-8041-2bb16a414839" providerId="ADAL" clId="{7999C4A2-9ACD-4CB2-9DCD-52B9CDE5124D}" dt="2023-05-07T18:31:46.922" v="53190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31:46.922" v="53201"/>
          <ac:spMkLst>
            <pc:docMk/>
            <pc:sldMk cId="1459118046" sldId="288"/>
            <ac:spMk id="8" creationId="{76022A0B-4CC0-BD01-B601-16975F52FDC8}"/>
          </ac:spMkLst>
        </pc:spChg>
        <pc:spChg chg="mod">
          <ac:chgData name="Joelle Brehm" userId="a518f54c-6985-42c0-8041-2bb16a414839" providerId="ADAL" clId="{7999C4A2-9ACD-4CB2-9DCD-52B9CDE5124D}" dt="2023-05-07T18:31:46.922" v="53202"/>
          <ac:spMkLst>
            <pc:docMk/>
            <pc:sldMk cId="1459118046" sldId="288"/>
            <ac:spMk id="11" creationId="{DC53A836-E5C3-0006-CBB8-57FCA1C2DBA6}"/>
          </ac:spMkLst>
        </pc:spChg>
        <pc:spChg chg="mod">
          <ac:chgData name="Joelle Brehm" userId="a518f54c-6985-42c0-8041-2bb16a414839" providerId="ADAL" clId="{7999C4A2-9ACD-4CB2-9DCD-52B9CDE5124D}" dt="2023-05-07T18:31:46.938" v="53204"/>
          <ac:spMkLst>
            <pc:docMk/>
            <pc:sldMk cId="1459118046" sldId="288"/>
            <ac:spMk id="13" creationId="{3F6C20EF-E32A-5D01-E3DC-3079317054CC}"/>
          </ac:spMkLst>
        </pc:spChg>
        <pc:spChg chg="mod">
          <ac:chgData name="Joelle Brehm" userId="a518f54c-6985-42c0-8041-2bb16a414839" providerId="ADAL" clId="{7999C4A2-9ACD-4CB2-9DCD-52B9CDE5124D}" dt="2023-05-07T18:31:46.938" v="53206"/>
          <ac:spMkLst>
            <pc:docMk/>
            <pc:sldMk cId="1459118046" sldId="288"/>
            <ac:spMk id="14" creationId="{25D946D5-9986-579D-41E4-6C10E6C340A5}"/>
          </ac:spMkLst>
        </pc:spChg>
        <pc:spChg chg="mod">
          <ac:chgData name="Joelle Brehm" userId="a518f54c-6985-42c0-8041-2bb16a414839" providerId="ADAL" clId="{7999C4A2-9ACD-4CB2-9DCD-52B9CDE5124D}" dt="2023-05-07T18:31:46.938" v="53208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7999C4A2-9ACD-4CB2-9DCD-52B9CDE5124D}" dt="2023-05-07T18:31:46.938" v="53205"/>
          <ac:spMkLst>
            <pc:docMk/>
            <pc:sldMk cId="1459118046" sldId="288"/>
            <ac:spMk id="17" creationId="{DBE0A1F6-A1CF-2057-B929-F159E2F0790D}"/>
          </ac:spMkLst>
        </pc:spChg>
        <pc:spChg chg="add del mod modVis">
          <ac:chgData name="Joelle Brehm" userId="a518f54c-6985-42c0-8041-2bb16a414839" providerId="ADAL" clId="{7999C4A2-9ACD-4CB2-9DCD-52B9CDE5124D}" dt="2023-05-07T18:31:32.270" v="52150"/>
          <ac:spMkLst>
            <pc:docMk/>
            <pc:sldMk cId="1459118046" sldId="288"/>
            <ac:spMk id="18" creationId="{0E84CC7B-875C-55D6-71F3-A9529CED66C9}"/>
          </ac:spMkLst>
        </pc:spChg>
        <pc:spChg chg="mod">
          <ac:chgData name="Joelle Brehm" userId="a518f54c-6985-42c0-8041-2bb16a414839" providerId="ADAL" clId="{7999C4A2-9ACD-4CB2-9DCD-52B9CDE5124D}" dt="2023-05-07T18:31:46.938" v="53207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7999C4A2-9ACD-4CB2-9DCD-52B9CDE5124D}" dt="2023-05-07T18:31:46.938" v="53209"/>
          <ac:spMkLst>
            <pc:docMk/>
            <pc:sldMk cId="1459118046" sldId="288"/>
            <ac:spMk id="21" creationId="{693CD003-5CC2-D30E-1431-FA729AD817E1}"/>
          </ac:spMkLst>
        </pc:spChg>
        <pc:spChg chg="mod ord">
          <ac:chgData name="Joelle Brehm" userId="a518f54c-6985-42c0-8041-2bb16a414839" providerId="ADAL" clId="{7999C4A2-9ACD-4CB2-9DCD-52B9CDE5124D}" dt="2023-05-07T18:31:46.922" v="53194"/>
          <ac:spMkLst>
            <pc:docMk/>
            <pc:sldMk cId="1459118046" sldId="288"/>
            <ac:spMk id="23" creationId="{4F66D543-1212-4042-AA81-691C8D2FF42C}"/>
          </ac:spMkLst>
        </pc:spChg>
        <pc:spChg chg="add mod replST">
          <ac:chgData name="Joelle Brehm" userId="a518f54c-6985-42c0-8041-2bb16a414839" providerId="ADAL" clId="{7999C4A2-9ACD-4CB2-9DCD-52B9CDE5124D}" dt="2023-05-07T18:31:46.938" v="53210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7999C4A2-9ACD-4CB2-9DCD-52B9CDE5124D}" dt="2023-05-07T18:31:39.161" v="52740"/>
          <ac:spMkLst>
            <pc:docMk/>
            <pc:sldMk cId="1459118046" sldId="288"/>
            <ac:spMk id="25" creationId="{C4F6D15F-5935-6D09-7F9F-C6534B9E1894}"/>
          </ac:spMkLst>
        </pc:spChg>
        <pc:spChg chg="add del mod modVis">
          <ac:chgData name="Joelle Brehm" userId="a518f54c-6985-42c0-8041-2bb16a414839" providerId="ADAL" clId="{7999C4A2-9ACD-4CB2-9DCD-52B9CDE5124D}" dt="2023-05-07T18:31:41.328" v="52900"/>
          <ac:spMkLst>
            <pc:docMk/>
            <pc:sldMk cId="1459118046" sldId="288"/>
            <ac:spMk id="27" creationId="{F3CD46DA-B3F7-7049-0341-57B8C0225A70}"/>
          </ac:spMkLst>
        </pc:spChg>
        <pc:spChg chg="add del mod modVis">
          <ac:chgData name="Joelle Brehm" userId="a518f54c-6985-42c0-8041-2bb16a414839" providerId="ADAL" clId="{7999C4A2-9ACD-4CB2-9DCD-52B9CDE5124D}" dt="2023-05-07T18:31:44.276" v="53062"/>
          <ac:spMkLst>
            <pc:docMk/>
            <pc:sldMk cId="1459118046" sldId="288"/>
            <ac:spMk id="29" creationId="{2D93C9FB-14F4-42A1-38BC-7DAFF3850D68}"/>
          </ac:spMkLst>
        </pc:spChg>
        <pc:spChg chg="mod ord">
          <ac:chgData name="Joelle Brehm" userId="a518f54c-6985-42c0-8041-2bb16a414839" providerId="ADAL" clId="{7999C4A2-9ACD-4CB2-9DCD-52B9CDE5124D}" dt="2023-05-07T18:31:46.922" v="53196"/>
          <ac:spMkLst>
            <pc:docMk/>
            <pc:sldMk cId="1459118046" sldId="288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7999C4A2-9ACD-4CB2-9DCD-52B9CDE5124D}" dt="2023-05-07T18:31:46.938" v="53264"/>
          <ac:spMkLst>
            <pc:docMk/>
            <pc:sldMk cId="1459118046" sldId="288"/>
            <ac:spMk id="33" creationId="{A5A7BB1D-4A2F-2F0D-C50C-2174DBDA6D76}"/>
          </ac:spMkLst>
        </pc:spChg>
        <pc:spChg chg="del mod ord">
          <ac:chgData name="Joelle Brehm" userId="a518f54c-6985-42c0-8041-2bb16a414839" providerId="ADAL" clId="{7999C4A2-9ACD-4CB2-9DCD-52B9CDE5124D}" dt="2023-05-07T18:31:51.289" v="53267" actId="478"/>
          <ac:spMkLst>
            <pc:docMk/>
            <pc:sldMk cId="1459118046" sldId="288"/>
            <ac:spMk id="44" creationId="{B880ED30-CD6D-497B-971D-5892F03B584E}"/>
          </ac:spMkLst>
        </pc:spChg>
        <pc:spChg chg="del mod">
          <ac:chgData name="Joelle Brehm" userId="a518f54c-6985-42c0-8041-2bb16a414839" providerId="ADAL" clId="{7999C4A2-9ACD-4CB2-9DCD-52B9CDE5124D}" dt="2023-05-07T18:31:46.827" v="53065"/>
          <ac:spMkLst>
            <pc:docMk/>
            <pc:sldMk cId="1459118046" sldId="288"/>
            <ac:spMk id="62" creationId="{D2E99242-DCBB-5A94-E6DB-0FB4430C524F}"/>
          </ac:spMkLst>
        </pc:spChg>
        <pc:spChg chg="mod">
          <ac:chgData name="Joelle Brehm" userId="a518f54c-6985-42c0-8041-2bb16a414839" providerId="ADAL" clId="{7999C4A2-9ACD-4CB2-9DCD-52B9CDE5124D}" dt="2023-05-07T18:31:46.922" v="53199"/>
          <ac:spMkLst>
            <pc:docMk/>
            <pc:sldMk cId="1459118046" sldId="288"/>
            <ac:spMk id="63" creationId="{8693B3C9-C216-EFA0-1967-9BD95AA1C83E}"/>
          </ac:spMkLst>
        </pc:spChg>
        <pc:spChg chg="mod">
          <ac:chgData name="Joelle Brehm" userId="a518f54c-6985-42c0-8041-2bb16a414839" providerId="ADAL" clId="{7999C4A2-9ACD-4CB2-9DCD-52B9CDE5124D}" dt="2023-05-07T18:31:46.922" v="53203"/>
          <ac:spMkLst>
            <pc:docMk/>
            <pc:sldMk cId="1459118046" sldId="288"/>
            <ac:spMk id="67" creationId="{32D86967-F5B6-9936-B498-1283DDCD5BD7}"/>
          </ac:spMkLst>
        </pc:spChg>
        <pc:spChg chg="mod">
          <ac:chgData name="Joelle Brehm" userId="a518f54c-6985-42c0-8041-2bb16a414839" providerId="ADAL" clId="{7999C4A2-9ACD-4CB2-9DCD-52B9CDE5124D}" dt="2023-05-07T18:31:46.922" v="53200"/>
          <ac:spMkLst>
            <pc:docMk/>
            <pc:sldMk cId="1459118046" sldId="288"/>
            <ac:spMk id="69" creationId="{E3515AE7-81C8-44F5-EAE8-D82D93DDACD6}"/>
          </ac:spMkLst>
        </pc:spChg>
        <pc:spChg chg="mod ord">
          <ac:chgData name="Joelle Brehm" userId="a518f54c-6985-42c0-8041-2bb16a414839" providerId="ADAL" clId="{7999C4A2-9ACD-4CB2-9DCD-52B9CDE5124D}" dt="2023-05-07T18:31:46.938" v="53212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31:46.938" v="53214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31:46.938" v="53244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7999C4A2-9ACD-4CB2-9DCD-52B9CDE5124D}" dt="2023-05-07T18:31:46.938" v="53233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7999C4A2-9ACD-4CB2-9DCD-52B9CDE5124D}" dt="2023-05-07T18:31:46.938" v="53226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7999C4A2-9ACD-4CB2-9DCD-52B9CDE5124D}" dt="2023-05-07T18:31:46.938" v="53237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7999C4A2-9ACD-4CB2-9DCD-52B9CDE5124D}" dt="2023-05-07T18:31:46.938" v="53234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7999C4A2-9ACD-4CB2-9DCD-52B9CDE5124D}" dt="2023-05-07T18:31:46.938" v="53239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7999C4A2-9ACD-4CB2-9DCD-52B9CDE5124D}" dt="2023-05-07T18:31:46.938" v="53216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7999C4A2-9ACD-4CB2-9DCD-52B9CDE5124D}" dt="2023-05-07T18:31:46.938" v="53235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7999C4A2-9ACD-4CB2-9DCD-52B9CDE5124D}" dt="2023-05-07T18:31:46.938" v="53236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7999C4A2-9ACD-4CB2-9DCD-52B9CDE5124D}" dt="2023-05-07T18:31:46.938" v="53240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7999C4A2-9ACD-4CB2-9DCD-52B9CDE5124D}" dt="2023-05-07T18:31:46.938" v="53238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7999C4A2-9ACD-4CB2-9DCD-52B9CDE5124D}" dt="2023-05-07T18:31:46.938" v="53241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7999C4A2-9ACD-4CB2-9DCD-52B9CDE5124D}" dt="2023-05-07T18:31:46.938" v="53242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7999C4A2-9ACD-4CB2-9DCD-52B9CDE5124D}" dt="2023-05-07T18:31:46.938" v="53243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7999C4A2-9ACD-4CB2-9DCD-52B9CDE5124D}" dt="2023-05-07T18:31:46.938" v="53218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31:46.938" v="53220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31:46.938" v="53222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31:46.938" v="53245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7999C4A2-9ACD-4CB2-9DCD-52B9CDE5124D}" dt="2023-05-07T18:31:46.938" v="53246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7999C4A2-9ACD-4CB2-9DCD-52B9CDE5124D}" dt="2023-05-07T18:31:46.938" v="53247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7999C4A2-9ACD-4CB2-9DCD-52B9CDE5124D}" dt="2023-05-07T18:31:46.938" v="53249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7999C4A2-9ACD-4CB2-9DCD-52B9CDE5124D}" dt="2023-05-07T18:31:46.938" v="53250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7999C4A2-9ACD-4CB2-9DCD-52B9CDE5124D}" dt="2023-05-07T18:31:46.938" v="53253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7999C4A2-9ACD-4CB2-9DCD-52B9CDE5124D}" dt="2023-05-07T18:31:46.938" v="53251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7999C4A2-9ACD-4CB2-9DCD-52B9CDE5124D}" dt="2023-05-07T18:31:46.938" v="53252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7999C4A2-9ACD-4CB2-9DCD-52B9CDE5124D}" dt="2023-05-07T18:31:46.938" v="53259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7999C4A2-9ACD-4CB2-9DCD-52B9CDE5124D}" dt="2023-05-07T18:31:46.938" v="53256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7999C4A2-9ACD-4CB2-9DCD-52B9CDE5124D}" dt="2023-05-07T18:31:46.938" v="53257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7999C4A2-9ACD-4CB2-9DCD-52B9CDE5124D}" dt="2023-05-07T18:31:46.938" v="53258"/>
          <ac:spMkLst>
            <pc:docMk/>
            <pc:sldMk cId="1459118046" sldId="288"/>
            <ac:spMk id="179" creationId="{2DB7AD78-1CB7-4520-A137-CDF9BD645C94}"/>
          </ac:spMkLst>
        </pc:spChg>
        <pc:spChg chg="mod">
          <ac:chgData name="Joelle Brehm" userId="a518f54c-6985-42c0-8041-2bb16a414839" providerId="ADAL" clId="{7999C4A2-9ACD-4CB2-9DCD-52B9CDE5124D}" dt="2023-05-07T18:31:46.938" v="53260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7999C4A2-9ACD-4CB2-9DCD-52B9CDE5124D}" dt="2023-05-07T18:31:46.952" v="53266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31:11.697" v="51728"/>
          <ac:graphicFrameMkLst>
            <pc:docMk/>
            <pc:sldMk cId="1459118046" sldId="288"/>
            <ac:graphicFrameMk id="9" creationId="{0DCFDD46-6947-9FC3-8C86-6D4F52D8344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1:46.938" v="53232"/>
          <ac:graphicFrameMkLst>
            <pc:docMk/>
            <pc:sldMk cId="1459118046" sldId="288"/>
            <ac:graphicFrameMk id="10" creationId="{EC5A87D1-B670-7BC0-8451-44CFFF581359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1:32.223" v="52066"/>
          <ac:graphicFrameMkLst>
            <pc:docMk/>
            <pc:sldMk cId="1459118046" sldId="288"/>
            <ac:graphicFrameMk id="20" creationId="{D88B2201-F178-814F-606F-BD62F2FC33C7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1:46.938" v="53255"/>
          <ac:graphicFrameMkLst>
            <pc:docMk/>
            <pc:sldMk cId="1459118046" sldId="288"/>
            <ac:graphicFrameMk id="22" creationId="{C6E583B8-413B-2AFB-FB10-BE6846C1F1A3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1:41.262" v="52815"/>
          <ac:graphicFrameMkLst>
            <pc:docMk/>
            <pc:sldMk cId="1459118046" sldId="288"/>
            <ac:graphicFrameMk id="26" creationId="{E3B2CF1B-BCC9-122A-0B94-11897DF76CEF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1:44.230" v="52977"/>
          <ac:graphicFrameMkLst>
            <pc:docMk/>
            <pc:sldMk cId="1459118046" sldId="288"/>
            <ac:graphicFrameMk id="28" creationId="{EBF6AD29-D202-71D4-1245-9213B874CE46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1:39.113" v="52649"/>
          <ac:graphicFrameMkLst>
            <pc:docMk/>
            <pc:sldMk cId="1459118046" sldId="288"/>
            <ac:graphicFrameMk id="31" creationId="{55216D35-42A7-1267-F73C-4D6DA949F68B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1:46.898" v="53180"/>
          <ac:graphicFrameMkLst>
            <pc:docMk/>
            <pc:sldMk cId="1459118046" sldId="288"/>
            <ac:graphicFrameMk id="32" creationId="{CCEF1AF7-4744-139A-ADB1-DB8B7738D87E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1:46.922" v="53198"/>
          <ac:graphicFrameMkLst>
            <pc:docMk/>
            <pc:sldMk cId="1459118046" sldId="288"/>
            <ac:graphicFrameMk id="34" creationId="{4C0BDA67-1ED9-FCCC-FEDB-98C0B0396A1F}"/>
          </ac:graphicFrameMkLst>
        </pc:graphicFrameChg>
        <pc:picChg chg="add mod ord">
          <ac:chgData name="Joelle Brehm" userId="a518f54c-6985-42c0-8041-2bb16a414839" providerId="ADAL" clId="{7999C4A2-9ACD-4CB2-9DCD-52B9CDE5124D}" dt="2023-05-07T18:31:46.922" v="53188"/>
          <ac:picMkLst>
            <pc:docMk/>
            <pc:sldMk cId="1459118046" sldId="288"/>
            <ac:picMk id="12" creationId="{A97A80C1-A348-E7D4-4676-7D151C3A8D34}"/>
          </ac:picMkLst>
        </pc:picChg>
        <pc:picChg chg="del mod ord">
          <ac:chgData name="Joelle Brehm" userId="a518f54c-6985-42c0-8041-2bb16a414839" providerId="ADAL" clId="{7999C4A2-9ACD-4CB2-9DCD-52B9CDE5124D}" dt="2023-05-07T18:31:24.638" v="51903" actId="478"/>
          <ac:picMkLst>
            <pc:docMk/>
            <pc:sldMk cId="1459118046" sldId="288"/>
            <ac:picMk id="15" creationId="{657B17BE-E82D-6CC5-DCAF-341AB3E73F96}"/>
          </ac:picMkLst>
        </pc:picChg>
        <pc:picChg chg="mod ord">
          <ac:chgData name="Joelle Brehm" userId="a518f54c-6985-42c0-8041-2bb16a414839" providerId="ADAL" clId="{7999C4A2-9ACD-4CB2-9DCD-52B9CDE5124D}" dt="2023-05-07T18:31:46.938" v="53224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31:46.922" v="53192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32:47.937" v="55062"/>
        <pc:sldMkLst>
          <pc:docMk/>
          <pc:sldMk cId="10849840" sldId="290"/>
        </pc:sldMkLst>
        <pc:spChg chg="add del mod">
          <ac:chgData name="Joelle Brehm" userId="a518f54c-6985-42c0-8041-2bb16a414839" providerId="ADAL" clId="{7999C4A2-9ACD-4CB2-9DCD-52B9CDE5124D}" dt="2023-05-07T18:32:00.335" v="53268" actId="478"/>
          <ac:spMkLst>
            <pc:docMk/>
            <pc:sldMk cId="10849840" sldId="290"/>
            <ac:spMk id="2" creationId="{0BD2ADC7-94B9-21E0-3C93-C08218ED70C8}"/>
          </ac:spMkLst>
        </pc:spChg>
        <pc:spChg chg="mod ord">
          <ac:chgData name="Joelle Brehm" userId="a518f54c-6985-42c0-8041-2bb16a414839" providerId="ADAL" clId="{7999C4A2-9ACD-4CB2-9DCD-52B9CDE5124D}" dt="2023-05-07T18:32:47.922" v="55056"/>
          <ac:spMkLst>
            <pc:docMk/>
            <pc:sldMk cId="10849840" sldId="290"/>
            <ac:spMk id="3" creationId="{FEC2577F-AB16-4713-8FC2-F4589EF3DD34}"/>
          </ac:spMkLst>
        </pc:spChg>
        <pc:spChg chg="add del mod modVis">
          <ac:chgData name="Joelle Brehm" userId="a518f54c-6985-42c0-8041-2bb16a414839" providerId="ADAL" clId="{7999C4A2-9ACD-4CB2-9DCD-52B9CDE5124D}" dt="2023-05-07T18:32:03.585" v="53530"/>
          <ac:spMkLst>
            <pc:docMk/>
            <pc:sldMk cId="10849840" sldId="290"/>
            <ac:spMk id="5" creationId="{D51676FD-5714-9C9E-4F19-8B35E0097ADF}"/>
          </ac:spMkLst>
        </pc:spChg>
        <pc:spChg chg="mod ord">
          <ac:chgData name="Joelle Brehm" userId="a518f54c-6985-42c0-8041-2bb16a414839" providerId="ADAL" clId="{7999C4A2-9ACD-4CB2-9DCD-52B9CDE5124D}" dt="2023-05-07T18:32:47.898" v="54988"/>
          <ac:spMkLst>
            <pc:docMk/>
            <pc:sldMk cId="10849840" sldId="290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32:47.905" v="54997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32:47.905" v="54996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32:47.906" v="54998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32:47.898" v="54995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32:47.898" v="54994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32:47.906" v="54999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32:47.898" v="54993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32:47.906" v="55000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32:47.906" v="55001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32:47.906" v="55002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32:47.906" v="55003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32:47.906" v="55004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32:47.906" v="55006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32:47.906" v="55007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32:47.906" v="55008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32:47.906" v="55011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32:47.906" v="55015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32:47.906" v="55013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32:47.906" v="55014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32:47.906" v="55017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32:47.906" v="55022"/>
          <ac:spMkLst>
            <pc:docMk/>
            <pc:sldMk cId="10849840" sldId="290"/>
            <ac:spMk id="31" creationId="{7AB81A3E-9DE7-CB71-14B7-5B53FD3178AE}"/>
          </ac:spMkLst>
        </pc:spChg>
        <pc:spChg chg="mod">
          <ac:chgData name="Joelle Brehm" userId="a518f54c-6985-42c0-8041-2bb16a414839" providerId="ADAL" clId="{7999C4A2-9ACD-4CB2-9DCD-52B9CDE5124D}" dt="2023-05-07T18:32:47.906" v="55025"/>
          <ac:spMkLst>
            <pc:docMk/>
            <pc:sldMk cId="10849840" sldId="290"/>
            <ac:spMk id="32" creationId="{47DE593B-1A30-2341-AF40-57CA8B07E1EE}"/>
          </ac:spMkLst>
        </pc:spChg>
        <pc:spChg chg="mod">
          <ac:chgData name="Joelle Brehm" userId="a518f54c-6985-42c0-8041-2bb16a414839" providerId="ADAL" clId="{7999C4A2-9ACD-4CB2-9DCD-52B9CDE5124D}" dt="2023-05-07T18:32:47.906" v="55027"/>
          <ac:spMkLst>
            <pc:docMk/>
            <pc:sldMk cId="10849840" sldId="290"/>
            <ac:spMk id="34" creationId="{2324DD3B-E106-01D1-4B12-42A8E001839F}"/>
          </ac:spMkLst>
        </pc:spChg>
        <pc:spChg chg="mod">
          <ac:chgData name="Joelle Brehm" userId="a518f54c-6985-42c0-8041-2bb16a414839" providerId="ADAL" clId="{7999C4A2-9ACD-4CB2-9DCD-52B9CDE5124D}" dt="2023-05-07T18:32:47.906" v="55026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7999C4A2-9ACD-4CB2-9DCD-52B9CDE5124D}" dt="2023-05-07T18:32:47.906" v="55028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7999C4A2-9ACD-4CB2-9DCD-52B9CDE5124D}" dt="2023-05-07T18:32:47.906" v="55010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7999C4A2-9ACD-4CB2-9DCD-52B9CDE5124D}" dt="2023-05-07T18:32:47.906" v="55029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7999C4A2-9ACD-4CB2-9DCD-52B9CDE5124D}" dt="2023-05-07T18:32:47.906" v="55030"/>
          <ac:spMkLst>
            <pc:docMk/>
            <pc:sldMk cId="10849840" sldId="290"/>
            <ac:spMk id="39" creationId="{810C784D-B902-D4A3-E0DE-5483A97F9C49}"/>
          </ac:spMkLst>
        </pc:spChg>
        <pc:spChg chg="add del mod modVis">
          <ac:chgData name="Joelle Brehm" userId="a518f54c-6985-42c0-8041-2bb16a414839" providerId="ADAL" clId="{7999C4A2-9ACD-4CB2-9DCD-52B9CDE5124D}" dt="2023-05-07T18:32:27.428" v="53880"/>
          <ac:spMkLst>
            <pc:docMk/>
            <pc:sldMk cId="10849840" sldId="290"/>
            <ac:spMk id="40" creationId="{8D3D9E42-4F6F-05F7-E88B-AF646AED6460}"/>
          </ac:spMkLst>
        </pc:spChg>
        <pc:spChg chg="add del mod modVis">
          <ac:chgData name="Joelle Brehm" userId="a518f54c-6985-42c0-8041-2bb16a414839" providerId="ADAL" clId="{7999C4A2-9ACD-4CB2-9DCD-52B9CDE5124D}" dt="2023-05-07T18:32:33.952" v="54026"/>
          <ac:spMkLst>
            <pc:docMk/>
            <pc:sldMk cId="10849840" sldId="290"/>
            <ac:spMk id="42" creationId="{7F3FAECE-E3DC-62AB-B2C1-A5E3C214CFF2}"/>
          </ac:spMkLst>
        </pc:spChg>
        <pc:spChg chg="mod">
          <ac:chgData name="Joelle Brehm" userId="a518f54c-6985-42c0-8041-2bb16a414839" providerId="ADAL" clId="{7999C4A2-9ACD-4CB2-9DCD-52B9CDE5124D}" dt="2023-05-07T18:32:47.906" v="55021"/>
          <ac:spMkLst>
            <pc:docMk/>
            <pc:sldMk cId="10849840" sldId="290"/>
            <ac:spMk id="44" creationId="{16E8BB2B-0284-4130-9494-7152E71E09E4}"/>
          </ac:spMkLst>
        </pc:spChg>
        <pc:spChg chg="add mod replST">
          <ac:chgData name="Joelle Brehm" userId="a518f54c-6985-42c0-8041-2bb16a414839" providerId="ADAL" clId="{7999C4A2-9ACD-4CB2-9DCD-52B9CDE5124D}" dt="2023-05-07T18:32:47.922" v="55031"/>
          <ac:spMkLst>
            <pc:docMk/>
            <pc:sldMk cId="10849840" sldId="290"/>
            <ac:spMk id="46" creationId="{3E1C433A-5376-E641-B9A1-4367058A9B7F}"/>
          </ac:spMkLst>
        </pc:spChg>
        <pc:spChg chg="add del mod modVis">
          <ac:chgData name="Joelle Brehm" userId="a518f54c-6985-42c0-8041-2bb16a414839" providerId="ADAL" clId="{7999C4A2-9ACD-4CB2-9DCD-52B9CDE5124D}" dt="2023-05-07T18:32:39.817" v="54554"/>
          <ac:spMkLst>
            <pc:docMk/>
            <pc:sldMk cId="10849840" sldId="290"/>
            <ac:spMk id="47" creationId="{3D21812F-5D23-6830-870B-60E95549C9F5}"/>
          </ac:spMkLst>
        </pc:spChg>
        <pc:spChg chg="add del mod modVis">
          <ac:chgData name="Joelle Brehm" userId="a518f54c-6985-42c0-8041-2bb16a414839" providerId="ADAL" clId="{7999C4A2-9ACD-4CB2-9DCD-52B9CDE5124D}" dt="2023-05-07T18:32:42.937" v="54708"/>
          <ac:spMkLst>
            <pc:docMk/>
            <pc:sldMk cId="10849840" sldId="290"/>
            <ac:spMk id="49" creationId="{9D0C3897-8F40-587A-2866-C98579555B1C}"/>
          </ac:spMkLst>
        </pc:spChg>
        <pc:spChg chg="add del mod modVis">
          <ac:chgData name="Joelle Brehm" userId="a518f54c-6985-42c0-8041-2bb16a414839" providerId="ADAL" clId="{7999C4A2-9ACD-4CB2-9DCD-52B9CDE5124D}" dt="2023-05-07T18:32:44.878" v="54864"/>
          <ac:spMkLst>
            <pc:docMk/>
            <pc:sldMk cId="10849840" sldId="290"/>
            <ac:spMk id="51" creationId="{2F79B7A5-B15F-E745-BF07-C925BC3B922F}"/>
          </ac:spMkLst>
        </pc:spChg>
        <pc:spChg chg="add del mod modVis">
          <ac:chgData name="Joelle Brehm" userId="a518f54c-6985-42c0-8041-2bb16a414839" providerId="ADAL" clId="{7999C4A2-9ACD-4CB2-9DCD-52B9CDE5124D}" dt="2023-05-07T18:32:47.922" v="55060"/>
          <ac:spMkLst>
            <pc:docMk/>
            <pc:sldMk cId="10849840" sldId="290"/>
            <ac:spMk id="53" creationId="{DEAEA17F-C426-17CF-B944-48BA14725CEA}"/>
          </ac:spMkLst>
        </pc:spChg>
        <pc:spChg chg="mod ord">
          <ac:chgData name="Joelle Brehm" userId="a518f54c-6985-42c0-8041-2bb16a414839" providerId="ADAL" clId="{7999C4A2-9ACD-4CB2-9DCD-52B9CDE5124D}" dt="2023-05-07T18:32:47.922" v="55054"/>
          <ac:spMkLst>
            <pc:docMk/>
            <pc:sldMk cId="10849840" sldId="290"/>
            <ac:spMk id="60" creationId="{AB5689A7-20F6-4DF1-88AE-FB8557333BFB}"/>
          </ac:spMkLst>
        </pc:spChg>
        <pc:spChg chg="del mod">
          <ac:chgData name="Joelle Brehm" userId="a518f54c-6985-42c0-8041-2bb16a414839" providerId="ADAL" clId="{7999C4A2-9ACD-4CB2-9DCD-52B9CDE5124D}" dt="2023-05-07T18:32:47.720" v="54867"/>
          <ac:spMkLst>
            <pc:docMk/>
            <pc:sldMk cId="10849840" sldId="290"/>
            <ac:spMk id="61" creationId="{3ACD04C9-F6B8-9087-156C-ADD519261300}"/>
          </ac:spMkLst>
        </pc:spChg>
        <pc:spChg chg="mod">
          <ac:chgData name="Joelle Brehm" userId="a518f54c-6985-42c0-8041-2bb16a414839" providerId="ADAL" clId="{7999C4A2-9ACD-4CB2-9DCD-52B9CDE5124D}" dt="2023-05-07T18:32:47.906" v="55024"/>
          <ac:spMkLst>
            <pc:docMk/>
            <pc:sldMk cId="10849840" sldId="290"/>
            <ac:spMk id="65" creationId="{08A8FFCA-5E7A-95C9-8AC6-A7A03935606F}"/>
          </ac:spMkLst>
        </pc:spChg>
        <pc:spChg chg="mod">
          <ac:chgData name="Joelle Brehm" userId="a518f54c-6985-42c0-8041-2bb16a414839" providerId="ADAL" clId="{7999C4A2-9ACD-4CB2-9DCD-52B9CDE5124D}" dt="2023-05-07T18:32:47.906" v="55020"/>
          <ac:spMkLst>
            <pc:docMk/>
            <pc:sldMk cId="10849840" sldId="290"/>
            <ac:spMk id="71" creationId="{AFA698B7-287C-7ADA-5B16-273A59634E79}"/>
          </ac:spMkLst>
        </pc:spChg>
        <pc:spChg chg="mod">
          <ac:chgData name="Joelle Brehm" userId="a518f54c-6985-42c0-8041-2bb16a414839" providerId="ADAL" clId="{7999C4A2-9ACD-4CB2-9DCD-52B9CDE5124D}" dt="2023-05-07T18:32:47.906" v="55012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32:47.922" v="55033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32:47.922" v="55035"/>
          <ac:spMkLst>
            <pc:docMk/>
            <pc:sldMk cId="10849840" sldId="290"/>
            <ac:spMk id="79" creationId="{F1476AC4-694B-4D83-BFD8-8DCAA4BB1923}"/>
          </ac:spMkLst>
        </pc:spChg>
        <pc:spChg chg="mod">
          <ac:chgData name="Joelle Brehm" userId="a518f54c-6985-42c0-8041-2bb16a414839" providerId="ADAL" clId="{7999C4A2-9ACD-4CB2-9DCD-52B9CDE5124D}" dt="2023-05-07T18:32:47.906" v="55023"/>
          <ac:spMkLst>
            <pc:docMk/>
            <pc:sldMk cId="10849840" sldId="290"/>
            <ac:spMk id="81" creationId="{8ED9272B-C38D-5DC6-0AD3-B7478B52DBBD}"/>
          </ac:spMkLst>
        </pc:spChg>
        <pc:spChg chg="mod ord">
          <ac:chgData name="Joelle Brehm" userId="a518f54c-6985-42c0-8041-2bb16a414839" providerId="ADAL" clId="{7999C4A2-9ACD-4CB2-9DCD-52B9CDE5124D}" dt="2023-05-07T18:32:47.922" v="55037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32:47.922" v="55039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32:47.922" v="55041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32:47.922" v="55043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32:47.922" v="55047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2:47.922" v="55046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2:47.922" v="55048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2:47.922" v="55049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32:47.922" v="55050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32:47.937" v="55062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32:03.522" v="53446"/>
          <ac:graphicFrameMkLst>
            <pc:docMk/>
            <pc:sldMk cId="10849840" sldId="290"/>
            <ac:graphicFrameMk id="8" creationId="{1A91C7A0-A3D1-4A66-444E-48B98024C0ED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2:47.898" v="54992"/>
          <ac:graphicFrameMkLst>
            <pc:docMk/>
            <pc:sldMk cId="10849840" sldId="290"/>
            <ac:graphicFrameMk id="9" creationId="{20B3C904-4885-AD98-18DF-8257D7E264E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2:33.871" v="53944"/>
          <ac:graphicFrameMkLst>
            <pc:docMk/>
            <pc:sldMk cId="10849840" sldId="290"/>
            <ac:graphicFrameMk id="41" creationId="{BBD8853F-680A-E92F-1A54-BA538C7C4087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2:27.321" v="53798"/>
          <ac:graphicFrameMkLst>
            <pc:docMk/>
            <pc:sldMk cId="10849840" sldId="290"/>
            <ac:graphicFrameMk id="43" creationId="{B1A90C2B-6F14-78F6-8504-4213CA068198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2:47.922" v="55045"/>
          <ac:graphicFrameMkLst>
            <pc:docMk/>
            <pc:sldMk cId="10849840" sldId="290"/>
            <ac:graphicFrameMk id="45" creationId="{911620A5-F84D-0679-0BA1-FE3C0D93654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2:42.871" v="54625"/>
          <ac:graphicFrameMkLst>
            <pc:docMk/>
            <pc:sldMk cId="10849840" sldId="290"/>
            <ac:graphicFrameMk id="48" creationId="{DA4A1D97-BCB1-76FA-64A9-28959932D44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2:44.779" v="54781"/>
          <ac:graphicFrameMkLst>
            <pc:docMk/>
            <pc:sldMk cId="10849840" sldId="290"/>
            <ac:graphicFrameMk id="50" creationId="{58DEE2B2-7B58-22DC-9D4E-606CAE2B5ED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2:47.845" v="54978"/>
          <ac:graphicFrameMkLst>
            <pc:docMk/>
            <pc:sldMk cId="10849840" sldId="290"/>
            <ac:graphicFrameMk id="52" creationId="{4FE72213-8399-5809-564F-E8E8B9376D6A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2:47.906" v="55019"/>
          <ac:graphicFrameMkLst>
            <pc:docMk/>
            <pc:sldMk cId="10849840" sldId="290"/>
            <ac:graphicFrameMk id="54" creationId="{A0BC5DCC-EE8C-40F1-4981-6EA6549CDF10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2:39.718" v="54465"/>
          <ac:graphicFrameMkLst>
            <pc:docMk/>
            <pc:sldMk cId="10849840" sldId="290"/>
            <ac:graphicFrameMk id="56" creationId="{36669206-E591-BF9B-544F-CC11C63ADD96}"/>
          </ac:graphicFrameMkLst>
        </pc:graphicFrameChg>
        <pc:picChg chg="del mod ord">
          <ac:chgData name="Joelle Brehm" userId="a518f54c-6985-42c0-8041-2bb16a414839" providerId="ADAL" clId="{7999C4A2-9ACD-4CB2-9DCD-52B9CDE5124D}" dt="2023-05-07T18:32:19.825" v="53623" actId="478"/>
          <ac:picMkLst>
            <pc:docMk/>
            <pc:sldMk cId="10849840" sldId="290"/>
            <ac:picMk id="10" creationId="{57DEB7E1-E124-D8CC-85FF-04574B160E0F}"/>
          </ac:picMkLst>
        </pc:picChg>
        <pc:picChg chg="add mod ord">
          <ac:chgData name="Joelle Brehm" userId="a518f54c-6985-42c0-8041-2bb16a414839" providerId="ADAL" clId="{7999C4A2-9ACD-4CB2-9DCD-52B9CDE5124D}" dt="2023-05-07T18:32:47.898" v="54986"/>
          <ac:picMkLst>
            <pc:docMk/>
            <pc:sldMk cId="10849840" sldId="290"/>
            <ac:picMk id="33" creationId="{77A48385-2D94-004F-6CA5-2C36C987E210}"/>
          </ac:picMkLst>
        </pc:picChg>
        <pc:picChg chg="mod ord">
          <ac:chgData name="Joelle Brehm" userId="a518f54c-6985-42c0-8041-2bb16a414839" providerId="ADAL" clId="{7999C4A2-9ACD-4CB2-9DCD-52B9CDE5124D}" dt="2023-05-07T18:32:47.922" v="55052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32:47.898" v="54990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34:36.737" v="58653"/>
        <pc:sldMkLst>
          <pc:docMk/>
          <pc:sldMk cId="996393659" sldId="291"/>
        </pc:sldMkLst>
        <pc:spChg chg="mod ord">
          <ac:chgData name="Joelle Brehm" userId="a518f54c-6985-42c0-8041-2bb16a414839" providerId="ADAL" clId="{7999C4A2-9ACD-4CB2-9DCD-52B9CDE5124D}" dt="2023-05-07T18:34:36.720" v="58647"/>
          <ac:spMkLst>
            <pc:docMk/>
            <pc:sldMk cId="996393659" sldId="291"/>
            <ac:spMk id="2" creationId="{903BD9AC-C420-4F19-B1D1-731DE7D9A596}"/>
          </ac:spMkLst>
        </pc:spChg>
        <pc:spChg chg="add del mod">
          <ac:chgData name="Joelle Brehm" userId="a518f54c-6985-42c0-8041-2bb16a414839" providerId="ADAL" clId="{7999C4A2-9ACD-4CB2-9DCD-52B9CDE5124D}" dt="2023-05-07T18:33:51.354" v="56839" actId="478"/>
          <ac:spMkLst>
            <pc:docMk/>
            <pc:sldMk cId="996393659" sldId="291"/>
            <ac:spMk id="3" creationId="{B4F24826-C229-873E-DEE4-5CA6F5AD1B4C}"/>
          </ac:spMkLst>
        </pc:spChg>
        <pc:spChg chg="add del mod modVis">
          <ac:chgData name="Joelle Brehm" userId="a518f54c-6985-42c0-8041-2bb16a414839" providerId="ADAL" clId="{7999C4A2-9ACD-4CB2-9DCD-52B9CDE5124D}" dt="2023-05-07T18:33:57.749" v="57101"/>
          <ac:spMkLst>
            <pc:docMk/>
            <pc:sldMk cId="996393659" sldId="291"/>
            <ac:spMk id="5" creationId="{94CFD69E-EA44-0686-808C-AFFFA5F3D299}"/>
          </ac:spMkLst>
        </pc:spChg>
        <pc:spChg chg="mod ord">
          <ac:chgData name="Joelle Brehm" userId="a518f54c-6985-42c0-8041-2bb16a414839" providerId="ADAL" clId="{7999C4A2-9ACD-4CB2-9DCD-52B9CDE5124D}" dt="2023-05-07T18:34:36.705" v="58579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34:36.720" v="58590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34:36.720" v="58584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34:36.720" v="58588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34:36.720" v="58585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34:36.720" v="58587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34:36.720" v="58586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34:36.720" v="58589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34:36.720" v="58591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34:36.720" v="58592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34:36.720" v="58593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34:36.720" v="58594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34:36.720" v="58595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34:36.720" v="58597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34:36.720" v="58602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34:36.720" v="58601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34:36.720" v="58600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34:36.720" v="58605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34:36.720" v="58603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34:36.720" v="58604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34:36.720" v="58608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34:36.720" v="58615"/>
          <ac:spMkLst>
            <pc:docMk/>
            <pc:sldMk cId="996393659" sldId="291"/>
            <ac:spMk id="31" creationId="{18F84874-BF1C-CE57-E4F7-12A82924407E}"/>
          </ac:spMkLst>
        </pc:spChg>
        <pc:spChg chg="mod">
          <ac:chgData name="Joelle Brehm" userId="a518f54c-6985-42c0-8041-2bb16a414839" providerId="ADAL" clId="{7999C4A2-9ACD-4CB2-9DCD-52B9CDE5124D}" dt="2023-05-07T18:34:36.720" v="58616"/>
          <ac:spMkLst>
            <pc:docMk/>
            <pc:sldMk cId="996393659" sldId="291"/>
            <ac:spMk id="33" creationId="{7F65E50F-0922-5AA2-A553-47A66BCD0434}"/>
          </ac:spMkLst>
        </pc:spChg>
        <pc:spChg chg="mod">
          <ac:chgData name="Joelle Brehm" userId="a518f54c-6985-42c0-8041-2bb16a414839" providerId="ADAL" clId="{7999C4A2-9ACD-4CB2-9DCD-52B9CDE5124D}" dt="2023-05-07T18:34:36.720" v="58617"/>
          <ac:spMkLst>
            <pc:docMk/>
            <pc:sldMk cId="996393659" sldId="291"/>
            <ac:spMk id="34" creationId="{93CE5F4B-80AA-6CF5-D97D-0127CD5DB126}"/>
          </ac:spMkLst>
        </pc:spChg>
        <pc:spChg chg="mod">
          <ac:chgData name="Joelle Brehm" userId="a518f54c-6985-42c0-8041-2bb16a414839" providerId="ADAL" clId="{7999C4A2-9ACD-4CB2-9DCD-52B9CDE5124D}" dt="2023-05-07T18:34:36.720" v="58618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7999C4A2-9ACD-4CB2-9DCD-52B9CDE5124D}" dt="2023-05-07T18:34:36.720" v="58619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7999C4A2-9ACD-4CB2-9DCD-52B9CDE5124D}" dt="2023-05-07T18:34:36.720" v="58599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7999C4A2-9ACD-4CB2-9DCD-52B9CDE5124D}" dt="2023-05-07T18:34:36.720" v="58620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7999C4A2-9ACD-4CB2-9DCD-52B9CDE5124D}" dt="2023-05-07T18:34:36.720" v="58612"/>
          <ac:spMkLst>
            <pc:docMk/>
            <pc:sldMk cId="996393659" sldId="291"/>
            <ac:spMk id="39" creationId="{63684D46-546D-B41E-0863-73E06E68A018}"/>
          </ac:spMkLst>
        </pc:spChg>
        <pc:spChg chg="add del mod modVis">
          <ac:chgData name="Joelle Brehm" userId="a518f54c-6985-42c0-8041-2bb16a414839" providerId="ADAL" clId="{7999C4A2-9ACD-4CB2-9DCD-52B9CDE5124D}" dt="2023-05-07T18:34:24.231" v="57454"/>
          <ac:spMkLst>
            <pc:docMk/>
            <pc:sldMk cId="996393659" sldId="291"/>
            <ac:spMk id="40" creationId="{D8CE6B6D-EC9C-579D-B0C6-73E2D83D6647}"/>
          </ac:spMkLst>
        </pc:spChg>
        <pc:spChg chg="mod">
          <ac:chgData name="Joelle Brehm" userId="a518f54c-6985-42c0-8041-2bb16a414839" providerId="ADAL" clId="{7999C4A2-9ACD-4CB2-9DCD-52B9CDE5124D}" dt="2023-05-07T18:34:36.720" v="58621"/>
          <ac:spMkLst>
            <pc:docMk/>
            <pc:sldMk cId="996393659" sldId="291"/>
            <ac:spMk id="42" creationId="{165CFD82-DBAB-71C3-50A2-9207D199C08E}"/>
          </ac:spMkLst>
        </pc:spChg>
        <pc:spChg chg="add mod replST">
          <ac:chgData name="Joelle Brehm" userId="a518f54c-6985-42c0-8041-2bb16a414839" providerId="ADAL" clId="{7999C4A2-9ACD-4CB2-9DCD-52B9CDE5124D}" dt="2023-05-07T18:34:36.720" v="58622"/>
          <ac:spMkLst>
            <pc:docMk/>
            <pc:sldMk cId="996393659" sldId="291"/>
            <ac:spMk id="44" creationId="{DFD20995-23FA-9A59-8153-A2DE50612FF0}"/>
          </ac:spMkLst>
        </pc:spChg>
        <pc:spChg chg="add del mod modVis">
          <ac:chgData name="Joelle Brehm" userId="a518f54c-6985-42c0-8041-2bb16a414839" providerId="ADAL" clId="{7999C4A2-9ACD-4CB2-9DCD-52B9CDE5124D}" dt="2023-05-07T18:34:30.449" v="58094"/>
          <ac:spMkLst>
            <pc:docMk/>
            <pc:sldMk cId="996393659" sldId="291"/>
            <ac:spMk id="45" creationId="{C55A71EC-3F82-2F7B-286F-2AB6C2A95E7D}"/>
          </ac:spMkLst>
        </pc:spChg>
        <pc:spChg chg="add del mod modVis">
          <ac:chgData name="Joelle Brehm" userId="a518f54c-6985-42c0-8041-2bb16a414839" providerId="ADAL" clId="{7999C4A2-9ACD-4CB2-9DCD-52B9CDE5124D}" dt="2023-05-07T18:34:31.639" v="58301"/>
          <ac:spMkLst>
            <pc:docMk/>
            <pc:sldMk cId="996393659" sldId="291"/>
            <ac:spMk id="47" creationId="{D1331842-58F1-A6B0-8269-9A50E5FE647B}"/>
          </ac:spMkLst>
        </pc:spChg>
        <pc:spChg chg="add del mod modVis">
          <ac:chgData name="Joelle Brehm" userId="a518f54c-6985-42c0-8041-2bb16a414839" providerId="ADAL" clId="{7999C4A2-9ACD-4CB2-9DCD-52B9CDE5124D}" dt="2023-05-07T18:34:34.512" v="58455"/>
          <ac:spMkLst>
            <pc:docMk/>
            <pc:sldMk cId="996393659" sldId="291"/>
            <ac:spMk id="49" creationId="{F38D846F-F83D-137E-F25D-4BA2E7A8BC4A}"/>
          </ac:spMkLst>
        </pc:spChg>
        <pc:spChg chg="add del mod modVis">
          <ac:chgData name="Joelle Brehm" userId="a518f54c-6985-42c0-8041-2bb16a414839" providerId="ADAL" clId="{7999C4A2-9ACD-4CB2-9DCD-52B9CDE5124D}" dt="2023-05-07T18:34:36.720" v="58651"/>
          <ac:spMkLst>
            <pc:docMk/>
            <pc:sldMk cId="996393659" sldId="291"/>
            <ac:spMk id="51" creationId="{A09F6900-4BE2-1C16-71CF-6D8B8D359FA4}"/>
          </ac:spMkLst>
        </pc:spChg>
        <pc:spChg chg="mod">
          <ac:chgData name="Joelle Brehm" userId="a518f54c-6985-42c0-8041-2bb16a414839" providerId="ADAL" clId="{7999C4A2-9ACD-4CB2-9DCD-52B9CDE5124D}" dt="2023-05-07T18:34:36.720" v="58614"/>
          <ac:spMkLst>
            <pc:docMk/>
            <pc:sldMk cId="996393659" sldId="291"/>
            <ac:spMk id="61" creationId="{56C6AB84-0FCB-25CD-7CE5-0CC56CF7CBC2}"/>
          </ac:spMkLst>
        </pc:spChg>
        <pc:spChg chg="del mod">
          <ac:chgData name="Joelle Brehm" userId="a518f54c-6985-42c0-8041-2bb16a414839" providerId="ADAL" clId="{7999C4A2-9ACD-4CB2-9DCD-52B9CDE5124D}" dt="2023-05-07T18:34:36.621" v="58458"/>
          <ac:spMkLst>
            <pc:docMk/>
            <pc:sldMk cId="996393659" sldId="291"/>
            <ac:spMk id="63" creationId="{A1D043ED-9D0A-512A-E8D2-BFCBD2C810AA}"/>
          </ac:spMkLst>
        </pc:spChg>
        <pc:spChg chg="mod">
          <ac:chgData name="Joelle Brehm" userId="a518f54c-6985-42c0-8041-2bb16a414839" providerId="ADAL" clId="{7999C4A2-9ACD-4CB2-9DCD-52B9CDE5124D}" dt="2023-05-07T18:34:36.720" v="58613"/>
          <ac:spMkLst>
            <pc:docMk/>
            <pc:sldMk cId="996393659" sldId="291"/>
            <ac:spMk id="65" creationId="{E10362A7-9270-C772-78D4-2D35EE58F409}"/>
          </ac:spMkLst>
        </pc:spChg>
        <pc:spChg chg="mod">
          <ac:chgData name="Joelle Brehm" userId="a518f54c-6985-42c0-8041-2bb16a414839" providerId="ADAL" clId="{7999C4A2-9ACD-4CB2-9DCD-52B9CDE5124D}" dt="2023-05-07T18:34:36.720" v="58611"/>
          <ac:spMkLst>
            <pc:docMk/>
            <pc:sldMk cId="996393659" sldId="291"/>
            <ac:spMk id="67" creationId="{E8964985-DC27-BEA5-4249-CD30EFCD5B61}"/>
          </ac:spMkLst>
        </pc:spChg>
        <pc:spChg chg="mod">
          <ac:chgData name="Joelle Brehm" userId="a518f54c-6985-42c0-8041-2bb16a414839" providerId="ADAL" clId="{7999C4A2-9ACD-4CB2-9DCD-52B9CDE5124D}" dt="2023-05-07T18:34:36.720" v="58606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34:36.720" v="58624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34:36.720" v="58626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34:36.720" v="58645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7999C4A2-9ACD-4CB2-9DCD-52B9CDE5124D}" dt="2023-05-07T18:34:36.720" v="58628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34:36.720" v="58630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34:36.720" v="58632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34:36.720" v="58634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34:36.720" v="58637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4:36.720" v="58640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4:36.720" v="58639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4:36.720" v="58641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34:36.720" v="58638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34:36.737" v="58653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33:57.702" v="57017"/>
          <ac:graphicFrameMkLst>
            <pc:docMk/>
            <pc:sldMk cId="996393659" sldId="291"/>
            <ac:graphicFrameMk id="8" creationId="{25233BBD-9703-6240-CAA4-B1FBF071D37D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4:36.720" v="58583"/>
          <ac:graphicFrameMkLst>
            <pc:docMk/>
            <pc:sldMk cId="996393659" sldId="291"/>
            <ac:graphicFrameMk id="9" creationId="{5EABE3D8-CFE8-65D4-D88F-A42E1AC2C806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4:24.184" v="57372"/>
          <ac:graphicFrameMkLst>
            <pc:docMk/>
            <pc:sldMk cId="996393659" sldId="291"/>
            <ac:graphicFrameMk id="41" creationId="{163201D1-014A-6F68-C4E8-F9163536BA5C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4:36.720" v="58636"/>
          <ac:graphicFrameMkLst>
            <pc:docMk/>
            <pc:sldMk cId="996393659" sldId="291"/>
            <ac:graphicFrameMk id="43" creationId="{E6CA8659-4636-433F-24D6-CC36D31023D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4:31.569" v="58196"/>
          <ac:graphicFrameMkLst>
            <pc:docMk/>
            <pc:sldMk cId="996393659" sldId="291"/>
            <ac:graphicFrameMk id="46" creationId="{A56A6D93-2AEA-8E2D-2F60-FE639141B75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4:34.434" v="58372"/>
          <ac:graphicFrameMkLst>
            <pc:docMk/>
            <pc:sldMk cId="996393659" sldId="291"/>
            <ac:graphicFrameMk id="48" creationId="{1C168F14-F81F-B206-3D0A-0053611FD26F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4:36.689" v="58569"/>
          <ac:graphicFrameMkLst>
            <pc:docMk/>
            <pc:sldMk cId="996393659" sldId="291"/>
            <ac:graphicFrameMk id="50" creationId="{F2730037-91AA-551F-6FB2-D3B37D00254C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4:30.370" v="57989"/>
          <ac:graphicFrameMkLst>
            <pc:docMk/>
            <pc:sldMk cId="996393659" sldId="291"/>
            <ac:graphicFrameMk id="52" creationId="{34B13BEA-CDC3-ABC4-FB8B-F846E1F0A346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4:36.720" v="58610"/>
          <ac:graphicFrameMkLst>
            <pc:docMk/>
            <pc:sldMk cId="996393659" sldId="291"/>
            <ac:graphicFrameMk id="53" creationId="{B25AFC1E-C30C-AE20-BEB3-CF5EA8AF7FC4}"/>
          </ac:graphicFrameMkLst>
        </pc:graphicFrameChg>
        <pc:picChg chg="add mod ord">
          <ac:chgData name="Joelle Brehm" userId="a518f54c-6985-42c0-8041-2bb16a414839" providerId="ADAL" clId="{7999C4A2-9ACD-4CB2-9DCD-52B9CDE5124D}" dt="2023-05-07T18:34:36.705" v="58577"/>
          <ac:picMkLst>
            <pc:docMk/>
            <pc:sldMk cId="996393659" sldId="291"/>
            <ac:picMk id="10" creationId="{862EDCB7-6126-06D3-15F1-E9A01C52D770}"/>
          </ac:picMkLst>
        </pc:picChg>
        <pc:picChg chg="del mod ord">
          <ac:chgData name="Joelle Brehm" userId="a518f54c-6985-42c0-8041-2bb16a414839" providerId="ADAL" clId="{7999C4A2-9ACD-4CB2-9DCD-52B9CDE5124D}" dt="2023-05-07T18:34:12.643" v="57196" actId="478"/>
          <ac:picMkLst>
            <pc:docMk/>
            <pc:sldMk cId="996393659" sldId="291"/>
            <ac:picMk id="32" creationId="{453D57ED-F90C-9B4C-F608-35F50604A1D6}"/>
          </ac:picMkLst>
        </pc:picChg>
        <pc:picChg chg="mod ord">
          <ac:chgData name="Joelle Brehm" userId="a518f54c-6985-42c0-8041-2bb16a414839" providerId="ADAL" clId="{7999C4A2-9ACD-4CB2-9DCD-52B9CDE5124D}" dt="2023-05-07T18:34:36.720" v="58643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34:36.720" v="58581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7T18:33:42.610" v="56838"/>
        <pc:sldMkLst>
          <pc:docMk/>
          <pc:sldMk cId="3635637425" sldId="292"/>
        </pc:sldMkLst>
        <pc:spChg chg="mod ord">
          <ac:chgData name="Joelle Brehm" userId="a518f54c-6985-42c0-8041-2bb16a414839" providerId="ADAL" clId="{7999C4A2-9ACD-4CB2-9DCD-52B9CDE5124D}" dt="2023-05-07T18:33:42.603" v="56832"/>
          <ac:spMkLst>
            <pc:docMk/>
            <pc:sldMk cId="3635637425" sldId="292"/>
            <ac:spMk id="2" creationId="{9445A78E-5217-4459-B540-57B5B2359A2E}"/>
          </ac:spMkLst>
        </pc:spChg>
        <pc:spChg chg="add del mod">
          <ac:chgData name="Joelle Brehm" userId="a518f54c-6985-42c0-8041-2bb16a414839" providerId="ADAL" clId="{7999C4A2-9ACD-4CB2-9DCD-52B9CDE5124D}" dt="2023-05-07T18:32:59.044" v="55063" actId="478"/>
          <ac:spMkLst>
            <pc:docMk/>
            <pc:sldMk cId="3635637425" sldId="292"/>
            <ac:spMk id="3" creationId="{45D91D65-7237-9902-0F85-57A6DCFCBBED}"/>
          </ac:spMkLst>
        </pc:spChg>
        <pc:spChg chg="add del mod modVis">
          <ac:chgData name="Joelle Brehm" userId="a518f54c-6985-42c0-8041-2bb16a414839" providerId="ADAL" clId="{7999C4A2-9ACD-4CB2-9DCD-52B9CDE5124D}" dt="2023-05-07T18:33:01.474" v="55329"/>
          <ac:spMkLst>
            <pc:docMk/>
            <pc:sldMk cId="3635637425" sldId="292"/>
            <ac:spMk id="5" creationId="{03038D4D-F0B4-F391-FD2D-2144A7939F0D}"/>
          </ac:spMkLst>
        </pc:spChg>
        <pc:spChg chg="mod ord">
          <ac:chgData name="Joelle Brehm" userId="a518f54c-6985-42c0-8041-2bb16a414839" providerId="ADAL" clId="{7999C4A2-9ACD-4CB2-9DCD-52B9CDE5124D}" dt="2023-05-07T18:33:42.583" v="56764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7999C4A2-9ACD-4CB2-9DCD-52B9CDE5124D}" dt="2023-05-07T18:33:42.583" v="56772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7999C4A2-9ACD-4CB2-9DCD-52B9CDE5124D}" dt="2023-05-07T18:33:42.595" v="56774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7999C4A2-9ACD-4CB2-9DCD-52B9CDE5124D}" dt="2023-05-07T18:33:42.595" v="56775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7999C4A2-9ACD-4CB2-9DCD-52B9CDE5124D}" dt="2023-05-07T18:33:42.583" v="56771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7999C4A2-9ACD-4CB2-9DCD-52B9CDE5124D}" dt="2023-05-07T18:33:42.583" v="56773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7999C4A2-9ACD-4CB2-9DCD-52B9CDE5124D}" dt="2023-05-07T18:33:42.583" v="56770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7999C4A2-9ACD-4CB2-9DCD-52B9CDE5124D}" dt="2023-05-07T18:33:42.595" v="56776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7999C4A2-9ACD-4CB2-9DCD-52B9CDE5124D}" dt="2023-05-07T18:33:42.595" v="56777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7999C4A2-9ACD-4CB2-9DCD-52B9CDE5124D}" dt="2023-05-07T18:33:42.595" v="56778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7999C4A2-9ACD-4CB2-9DCD-52B9CDE5124D}" dt="2023-05-07T18:33:42.595" v="56779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7999C4A2-9ACD-4CB2-9DCD-52B9CDE5124D}" dt="2023-05-07T18:33:42.595" v="56780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7999C4A2-9ACD-4CB2-9DCD-52B9CDE5124D}" dt="2023-05-07T18:33:42.583" v="56769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7999C4A2-9ACD-4CB2-9DCD-52B9CDE5124D}" dt="2023-05-07T18:33:42.595" v="56782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7999C4A2-9ACD-4CB2-9DCD-52B9CDE5124D}" dt="2023-05-07T18:33:42.595" v="56785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7999C4A2-9ACD-4CB2-9DCD-52B9CDE5124D}" dt="2023-05-07T18:33:42.595" v="56783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7999C4A2-9ACD-4CB2-9DCD-52B9CDE5124D}" dt="2023-05-07T18:33:42.595" v="56784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7999C4A2-9ACD-4CB2-9DCD-52B9CDE5124D}" dt="2023-05-07T18:33:42.595" v="56789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7999C4A2-9ACD-4CB2-9DCD-52B9CDE5124D}" dt="2023-05-07T18:33:42.595" v="56788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7999C4A2-9ACD-4CB2-9DCD-52B9CDE5124D}" dt="2023-05-07T18:33:42.595" v="56791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7999C4A2-9ACD-4CB2-9DCD-52B9CDE5124D}" dt="2023-05-07T18:33:42.595" v="56793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7999C4A2-9ACD-4CB2-9DCD-52B9CDE5124D}" dt="2023-05-07T18:33:42.595" v="56804"/>
          <ac:spMkLst>
            <pc:docMk/>
            <pc:sldMk cId="3635637425" sldId="292"/>
            <ac:spMk id="31" creationId="{75814527-E466-B01B-1983-40ECB343B6BF}"/>
          </ac:spMkLst>
        </pc:spChg>
        <pc:spChg chg="mod">
          <ac:chgData name="Joelle Brehm" userId="a518f54c-6985-42c0-8041-2bb16a414839" providerId="ADAL" clId="{7999C4A2-9ACD-4CB2-9DCD-52B9CDE5124D}" dt="2023-05-07T18:33:42.595" v="56798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7999C4A2-9ACD-4CB2-9DCD-52B9CDE5124D}" dt="2023-05-07T18:33:42.595" v="56803"/>
          <ac:spMkLst>
            <pc:docMk/>
            <pc:sldMk cId="3635637425" sldId="292"/>
            <ac:spMk id="33" creationId="{3D97C813-EA7E-2516-68C7-9A8F0022EEB9}"/>
          </ac:spMkLst>
        </pc:spChg>
        <pc:spChg chg="mod">
          <ac:chgData name="Joelle Brehm" userId="a518f54c-6985-42c0-8041-2bb16a414839" providerId="ADAL" clId="{7999C4A2-9ACD-4CB2-9DCD-52B9CDE5124D}" dt="2023-05-07T18:33:42.595" v="56801"/>
          <ac:spMkLst>
            <pc:docMk/>
            <pc:sldMk cId="3635637425" sldId="292"/>
            <ac:spMk id="34" creationId="{2D56DCBB-CAC0-D3CA-B5B2-D6B7B1E4A4D6}"/>
          </ac:spMkLst>
        </pc:spChg>
        <pc:spChg chg="mod">
          <ac:chgData name="Joelle Brehm" userId="a518f54c-6985-42c0-8041-2bb16a414839" providerId="ADAL" clId="{7999C4A2-9ACD-4CB2-9DCD-52B9CDE5124D}" dt="2023-05-07T18:33:42.595" v="56806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7999C4A2-9ACD-4CB2-9DCD-52B9CDE5124D}" dt="2023-05-07T18:33:42.595" v="56787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7999C4A2-9ACD-4CB2-9DCD-52B9CDE5124D}" dt="2023-05-07T18:33:42.595" v="56799"/>
          <ac:spMkLst>
            <pc:docMk/>
            <pc:sldMk cId="3635637425" sldId="292"/>
            <ac:spMk id="38" creationId="{3FFCD1FD-A1E7-E0E9-3B0A-272DB96B6E85}"/>
          </ac:spMkLst>
        </pc:spChg>
        <pc:spChg chg="add del mod modVis">
          <ac:chgData name="Joelle Brehm" userId="a518f54c-6985-42c0-8041-2bb16a414839" providerId="ADAL" clId="{7999C4A2-9ACD-4CB2-9DCD-52B9CDE5124D}" dt="2023-05-07T18:33:21.836" v="55666"/>
          <ac:spMkLst>
            <pc:docMk/>
            <pc:sldMk cId="3635637425" sldId="292"/>
            <ac:spMk id="39" creationId="{764D31B3-DDC2-8163-2207-2DCE9BA42D30}"/>
          </ac:spMkLst>
        </pc:spChg>
        <pc:spChg chg="add del mod modVis">
          <ac:chgData name="Joelle Brehm" userId="a518f54c-6985-42c0-8041-2bb16a414839" providerId="ADAL" clId="{7999C4A2-9ACD-4CB2-9DCD-52B9CDE5124D}" dt="2023-05-07T18:33:29.070" v="55812"/>
          <ac:spMkLst>
            <pc:docMk/>
            <pc:sldMk cId="3635637425" sldId="292"/>
            <ac:spMk id="41" creationId="{E30D35AF-8FBF-CECF-35C5-E423028A8CCC}"/>
          </ac:spMkLst>
        </pc:spChg>
        <pc:spChg chg="mod">
          <ac:chgData name="Joelle Brehm" userId="a518f54c-6985-42c0-8041-2bb16a414839" providerId="ADAL" clId="{7999C4A2-9ACD-4CB2-9DCD-52B9CDE5124D}" dt="2023-05-07T18:33:42.595" v="56805"/>
          <ac:spMkLst>
            <pc:docMk/>
            <pc:sldMk cId="3635637425" sldId="292"/>
            <ac:spMk id="42" creationId="{668AF5D9-4E8D-2E4B-2079-072182484759}"/>
          </ac:spMkLst>
        </pc:spChg>
        <pc:spChg chg="mod">
          <ac:chgData name="Joelle Brehm" userId="a518f54c-6985-42c0-8041-2bb16a414839" providerId="ADAL" clId="{7999C4A2-9ACD-4CB2-9DCD-52B9CDE5124D}" dt="2023-05-07T18:33:42.595" v="56796"/>
          <ac:spMkLst>
            <pc:docMk/>
            <pc:sldMk cId="3635637425" sldId="292"/>
            <ac:spMk id="44" creationId="{97D91EEA-F173-6276-F6D8-9287A845E3A2}"/>
          </ac:spMkLst>
        </pc:spChg>
        <pc:spChg chg="add mod replST">
          <ac:chgData name="Joelle Brehm" userId="a518f54c-6985-42c0-8041-2bb16a414839" providerId="ADAL" clId="{7999C4A2-9ACD-4CB2-9DCD-52B9CDE5124D}" dt="2023-05-07T18:33:42.595" v="56807"/>
          <ac:spMkLst>
            <pc:docMk/>
            <pc:sldMk cId="3635637425" sldId="292"/>
            <ac:spMk id="46" creationId="{38D3D6F2-A854-D543-7C6D-CB3894DB11AC}"/>
          </ac:spMkLst>
        </pc:spChg>
        <pc:spChg chg="add del mod modVis">
          <ac:chgData name="Joelle Brehm" userId="a518f54c-6985-42c0-8041-2bb16a414839" providerId="ADAL" clId="{7999C4A2-9ACD-4CB2-9DCD-52B9CDE5124D}" dt="2023-05-07T18:33:34.430" v="56336"/>
          <ac:spMkLst>
            <pc:docMk/>
            <pc:sldMk cId="3635637425" sldId="292"/>
            <ac:spMk id="47" creationId="{7670D477-047B-77C2-3613-BBC13F01FEB1}"/>
          </ac:spMkLst>
        </pc:spChg>
        <pc:spChg chg="add del mod modVis">
          <ac:chgData name="Joelle Brehm" userId="a518f54c-6985-42c0-8041-2bb16a414839" providerId="ADAL" clId="{7999C4A2-9ACD-4CB2-9DCD-52B9CDE5124D}" dt="2023-05-07T18:33:36.154" v="56488"/>
          <ac:spMkLst>
            <pc:docMk/>
            <pc:sldMk cId="3635637425" sldId="292"/>
            <ac:spMk id="49" creationId="{9F280BA9-E44B-6E52-E005-AA48B6856F7C}"/>
          </ac:spMkLst>
        </pc:spChg>
        <pc:spChg chg="add del mod modVis">
          <ac:chgData name="Joelle Brehm" userId="a518f54c-6985-42c0-8041-2bb16a414839" providerId="ADAL" clId="{7999C4A2-9ACD-4CB2-9DCD-52B9CDE5124D}" dt="2023-05-07T18:33:39.777" v="56642"/>
          <ac:spMkLst>
            <pc:docMk/>
            <pc:sldMk cId="3635637425" sldId="292"/>
            <ac:spMk id="51" creationId="{AFAC9727-9E33-6673-99DE-2A47ABE40C90}"/>
          </ac:spMkLst>
        </pc:spChg>
        <pc:spChg chg="add del mod modVis">
          <ac:chgData name="Joelle Brehm" userId="a518f54c-6985-42c0-8041-2bb16a414839" providerId="ADAL" clId="{7999C4A2-9ACD-4CB2-9DCD-52B9CDE5124D}" dt="2023-05-07T18:33:42.603" v="56836"/>
          <ac:spMkLst>
            <pc:docMk/>
            <pc:sldMk cId="3635637425" sldId="292"/>
            <ac:spMk id="53" creationId="{006485E1-A53B-F953-D7AE-931ED2CC693B}"/>
          </ac:spMkLst>
        </pc:spChg>
        <pc:spChg chg="mod ord">
          <ac:chgData name="Joelle Brehm" userId="a518f54c-6985-42c0-8041-2bb16a414839" providerId="ADAL" clId="{7999C4A2-9ACD-4CB2-9DCD-52B9CDE5124D}" dt="2023-05-07T18:33:42.603" v="56830"/>
          <ac:spMkLst>
            <pc:docMk/>
            <pc:sldMk cId="3635637425" sldId="292"/>
            <ac:spMk id="60" creationId="{8AFF754E-1785-41DB-892C-A30765DCA565}"/>
          </ac:spMkLst>
        </pc:spChg>
        <pc:spChg chg="mod">
          <ac:chgData name="Joelle Brehm" userId="a518f54c-6985-42c0-8041-2bb16a414839" providerId="ADAL" clId="{7999C4A2-9ACD-4CB2-9DCD-52B9CDE5124D}" dt="2023-05-07T18:33:42.595" v="56797"/>
          <ac:spMkLst>
            <pc:docMk/>
            <pc:sldMk cId="3635637425" sldId="292"/>
            <ac:spMk id="63" creationId="{347B7B45-3D7E-B955-9F3A-45A4F5B4DF16}"/>
          </ac:spMkLst>
        </pc:spChg>
        <pc:spChg chg="del mod">
          <ac:chgData name="Joelle Brehm" userId="a518f54c-6985-42c0-8041-2bb16a414839" providerId="ADAL" clId="{7999C4A2-9ACD-4CB2-9DCD-52B9CDE5124D}" dt="2023-05-07T18:33:42.487" v="56645"/>
          <ac:spMkLst>
            <pc:docMk/>
            <pc:sldMk cId="3635637425" sldId="292"/>
            <ac:spMk id="66" creationId="{236DE3DD-1628-6F5B-1C64-EFCB83460FB3}"/>
          </ac:spMkLst>
        </pc:spChg>
        <pc:spChg chg="mod">
          <ac:chgData name="Joelle Brehm" userId="a518f54c-6985-42c0-8041-2bb16a414839" providerId="ADAL" clId="{7999C4A2-9ACD-4CB2-9DCD-52B9CDE5124D}" dt="2023-05-07T18:33:42.595" v="56800"/>
          <ac:spMkLst>
            <pc:docMk/>
            <pc:sldMk cId="3635637425" sldId="292"/>
            <ac:spMk id="69" creationId="{8C9D4DEA-D518-B2DC-CBFE-885271E371BE}"/>
          </ac:spMkLst>
        </pc:spChg>
        <pc:spChg chg="mod">
          <ac:chgData name="Joelle Brehm" userId="a518f54c-6985-42c0-8041-2bb16a414839" providerId="ADAL" clId="{7999C4A2-9ACD-4CB2-9DCD-52B9CDE5124D}" dt="2023-05-07T18:33:42.595" v="56802"/>
          <ac:spMkLst>
            <pc:docMk/>
            <pc:sldMk cId="3635637425" sldId="292"/>
            <ac:spMk id="70" creationId="{11E248BC-BF48-30A1-6494-256B48A0B38F}"/>
          </ac:spMkLst>
        </pc:spChg>
        <pc:spChg chg="mod">
          <ac:chgData name="Joelle Brehm" userId="a518f54c-6985-42c0-8041-2bb16a414839" providerId="ADAL" clId="{7999C4A2-9ACD-4CB2-9DCD-52B9CDE5124D}" dt="2023-05-07T18:33:42.595" v="56790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7999C4A2-9ACD-4CB2-9DCD-52B9CDE5124D}" dt="2023-05-07T18:33:42.595" v="56809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7999C4A2-9ACD-4CB2-9DCD-52B9CDE5124D}" dt="2023-05-07T18:33:42.603" v="56811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7999C4A2-9ACD-4CB2-9DCD-52B9CDE5124D}" dt="2023-05-07T18:33:42.603" v="56813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7999C4A2-9ACD-4CB2-9DCD-52B9CDE5124D}" dt="2023-05-07T18:33:42.603" v="56815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7999C4A2-9ACD-4CB2-9DCD-52B9CDE5124D}" dt="2023-05-07T18:33:42.603" v="56817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7999C4A2-9ACD-4CB2-9DCD-52B9CDE5124D}" dt="2023-05-07T18:33:42.603" v="56819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7999C4A2-9ACD-4CB2-9DCD-52B9CDE5124D}" dt="2023-05-07T18:33:42.603" v="56823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3:42.603" v="56824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3:42.603" v="56825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8:33:42.603" v="56822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7999C4A2-9ACD-4CB2-9DCD-52B9CDE5124D}" dt="2023-05-07T18:33:42.603" v="56826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7999C4A2-9ACD-4CB2-9DCD-52B9CDE5124D}" dt="2023-05-07T18:33:42.610" v="56838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7999C4A2-9ACD-4CB2-9DCD-52B9CDE5124D}" dt="2023-05-07T18:33:01.401" v="55243"/>
          <ac:graphicFrameMkLst>
            <pc:docMk/>
            <pc:sldMk cId="3635637425" sldId="292"/>
            <ac:graphicFrameMk id="8" creationId="{71B26BD8-DC1C-3A11-0519-3865DF269A9D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3:42.583" v="56768"/>
          <ac:graphicFrameMkLst>
            <pc:docMk/>
            <pc:sldMk cId="3635637425" sldId="292"/>
            <ac:graphicFrameMk id="9" creationId="{9CEDCB17-AC3E-8CED-1A2C-7AF51C2004A8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3:29.022" v="55730"/>
          <ac:graphicFrameMkLst>
            <pc:docMk/>
            <pc:sldMk cId="3635637425" sldId="292"/>
            <ac:graphicFrameMk id="40" creationId="{F4771027-FEFB-E627-FB8D-E495EF21F2CD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3:21.712" v="55584"/>
          <ac:graphicFrameMkLst>
            <pc:docMk/>
            <pc:sldMk cId="3635637425" sldId="292"/>
            <ac:graphicFrameMk id="43" creationId="{6D6E1523-C6DA-62D0-E114-DB7C153A1A11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3:42.603" v="56821"/>
          <ac:graphicFrameMkLst>
            <pc:docMk/>
            <pc:sldMk cId="3635637425" sldId="292"/>
            <ac:graphicFrameMk id="45" creationId="{D1D754BC-D65A-6A1D-870A-8188B0F1B8C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3:36.123" v="56405"/>
          <ac:graphicFrameMkLst>
            <pc:docMk/>
            <pc:sldMk cId="3635637425" sldId="292"/>
            <ac:graphicFrameMk id="48" creationId="{58442DD3-C2A9-855A-667A-AA3016EB48B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3:39.735" v="56559"/>
          <ac:graphicFrameMkLst>
            <pc:docMk/>
            <pc:sldMk cId="3635637425" sldId="292"/>
            <ac:graphicFrameMk id="50" creationId="{31A14C42-B533-0CC2-B0E4-132BD1C7B16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8:33:42.551" v="56754"/>
          <ac:graphicFrameMkLst>
            <pc:docMk/>
            <pc:sldMk cId="3635637425" sldId="292"/>
            <ac:graphicFrameMk id="52" creationId="{40DFEF2A-B927-4E10-57A0-09AD4B52AA8F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8:33:42.595" v="56795"/>
          <ac:graphicFrameMkLst>
            <pc:docMk/>
            <pc:sldMk cId="3635637425" sldId="292"/>
            <ac:graphicFrameMk id="54" creationId="{528CE2AC-9C41-C16B-8E46-030406F48E32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8:33:34.343" v="56245"/>
          <ac:graphicFrameMkLst>
            <pc:docMk/>
            <pc:sldMk cId="3635637425" sldId="292"/>
            <ac:graphicFrameMk id="59" creationId="{6975DC28-60EE-9D2A-9A19-B5B37CBD7202}"/>
          </ac:graphicFrameMkLst>
        </pc:graphicFrameChg>
        <pc:picChg chg="del mod ord">
          <ac:chgData name="Joelle Brehm" userId="a518f54c-6985-42c0-8041-2bb16a414839" providerId="ADAL" clId="{7999C4A2-9ACD-4CB2-9DCD-52B9CDE5124D}" dt="2023-05-07T18:33:15.301" v="55421" actId="478"/>
          <ac:picMkLst>
            <pc:docMk/>
            <pc:sldMk cId="3635637425" sldId="292"/>
            <ac:picMk id="10" creationId="{8C9F48EE-F4C0-BFF3-9304-73B0A7D9979E}"/>
          </ac:picMkLst>
        </pc:picChg>
        <pc:picChg chg="add mod ord">
          <ac:chgData name="Joelle Brehm" userId="a518f54c-6985-42c0-8041-2bb16a414839" providerId="ADAL" clId="{7999C4A2-9ACD-4CB2-9DCD-52B9CDE5124D}" dt="2023-05-07T18:33:42.583" v="56762"/>
          <ac:picMkLst>
            <pc:docMk/>
            <pc:sldMk cId="3635637425" sldId="292"/>
            <ac:picMk id="35" creationId="{AA0F356D-27D8-477F-B610-F8BA62C145DD}"/>
          </ac:picMkLst>
        </pc:picChg>
        <pc:picChg chg="mod ord">
          <ac:chgData name="Joelle Brehm" userId="a518f54c-6985-42c0-8041-2bb16a414839" providerId="ADAL" clId="{7999C4A2-9ACD-4CB2-9DCD-52B9CDE5124D}" dt="2023-05-07T18:33:42.603" v="56828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7999C4A2-9ACD-4CB2-9DCD-52B9CDE5124D}" dt="2023-05-07T18:33:42.583" v="56766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7999C4A2-9ACD-4CB2-9DCD-52B9CDE5124D}" dt="2023-05-05T19:34:15.025" v="1107" actId="1076"/>
        <pc:sldMkLst>
          <pc:docMk/>
          <pc:sldMk cId="4143996880" sldId="293"/>
        </pc:sldMkLst>
        <pc:spChg chg="mod ord">
          <ac:chgData name="Joelle Brehm" userId="a518f54c-6985-42c0-8041-2bb16a414839" providerId="ADAL" clId="{7999C4A2-9ACD-4CB2-9DCD-52B9CDE5124D}" dt="2023-05-05T19:32:42.038" v="1093"/>
          <ac:spMkLst>
            <pc:docMk/>
            <pc:sldMk cId="4143996880" sldId="293"/>
            <ac:spMk id="2" creationId="{01E014B2-1FBF-48C6-9093-6CFE20AFFCCE}"/>
          </ac:spMkLst>
        </pc:spChg>
        <pc:spChg chg="add del mod">
          <ac:chgData name="Joelle Brehm" userId="a518f54c-6985-42c0-8041-2bb16a414839" providerId="ADAL" clId="{7999C4A2-9ACD-4CB2-9DCD-52B9CDE5124D}" dt="2023-05-05T19:29:11.419" v="576" actId="478"/>
          <ac:spMkLst>
            <pc:docMk/>
            <pc:sldMk cId="4143996880" sldId="293"/>
            <ac:spMk id="3" creationId="{F1CB7BF1-1C10-8CAC-783B-627DF61AAE12}"/>
          </ac:spMkLst>
        </pc:spChg>
        <pc:spChg chg="mod ord">
          <ac:chgData name="Joelle Brehm" userId="a518f54c-6985-42c0-8041-2bb16a414839" providerId="ADAL" clId="{7999C4A2-9ACD-4CB2-9DCD-52B9CDE5124D}" dt="2023-05-05T19:32:42.029" v="1068"/>
          <ac:spMkLst>
            <pc:docMk/>
            <pc:sldMk cId="4143996880" sldId="29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7999C4A2-9ACD-4CB2-9DCD-52B9CDE5124D}" dt="2023-05-05T19:29:18.074" v="1051"/>
          <ac:spMkLst>
            <pc:docMk/>
            <pc:sldMk cId="4143996880" sldId="293"/>
            <ac:spMk id="6" creationId="{0C712D07-C273-D5A6-5B15-C3DDC890924D}"/>
          </ac:spMkLst>
        </pc:spChg>
        <pc:spChg chg="mod">
          <ac:chgData name="Joelle Brehm" userId="a518f54c-6985-42c0-8041-2bb16a414839" providerId="ADAL" clId="{7999C4A2-9ACD-4CB2-9DCD-52B9CDE5124D}" dt="2023-05-05T19:32:42.032" v="1076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7999C4A2-9ACD-4CB2-9DCD-52B9CDE5124D}" dt="2023-05-05T19:32:42.030" v="1071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7999C4A2-9ACD-4CB2-9DCD-52B9CDE5124D}" dt="2023-05-05T19:32:42.031" v="1073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7999C4A2-9ACD-4CB2-9DCD-52B9CDE5124D}" dt="2023-05-05T19:32:42.031" v="1074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7999C4A2-9ACD-4CB2-9DCD-52B9CDE5124D}" dt="2023-05-05T19:32:42.031" v="1075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7999C4A2-9ACD-4CB2-9DCD-52B9CDE5124D}" dt="2023-05-05T19:32:42.033" v="1080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7999C4A2-9ACD-4CB2-9DCD-52B9CDE5124D}" dt="2023-05-05T19:32:42.032" v="1077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7999C4A2-9ACD-4CB2-9DCD-52B9CDE5124D}" dt="2023-05-05T19:32:42.032" v="1078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7999C4A2-9ACD-4CB2-9DCD-52B9CDE5124D}" dt="2023-05-05T19:32:42.030" v="1072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7999C4A2-9ACD-4CB2-9DCD-52B9CDE5124D}" dt="2023-05-05T19:32:42.033" v="1079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7999C4A2-9ACD-4CB2-9DCD-52B9CDE5124D}" dt="2023-05-05T19:32:42.033" v="1081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7999C4A2-9ACD-4CB2-9DCD-52B9CDE5124D}" dt="2023-05-05T19:32:42.034" v="1082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7999C4A2-9ACD-4CB2-9DCD-52B9CDE5124D}" dt="2023-05-05T19:32:42.035" v="1084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7999C4A2-9ACD-4CB2-9DCD-52B9CDE5124D}" dt="2023-05-05T19:32:42.036" v="1086"/>
          <ac:spMkLst>
            <pc:docMk/>
            <pc:sldMk cId="4143996880" sldId="293"/>
            <ac:spMk id="21" creationId="{B5AE4010-508F-4A3F-85C7-752A1F15F54F}"/>
          </ac:spMkLst>
        </pc:spChg>
        <pc:spChg chg="mod ord">
          <ac:chgData name="Joelle Brehm" userId="a518f54c-6985-42c0-8041-2bb16a414839" providerId="ADAL" clId="{7999C4A2-9ACD-4CB2-9DCD-52B9CDE5124D}" dt="2023-05-05T19:32:42.039" v="1095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7999C4A2-9ACD-4CB2-9DCD-52B9CDE5124D}" dt="2023-05-05T19:32:42.037" v="1088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7999C4A2-9ACD-4CB2-9DCD-52B9CDE5124D}" dt="2023-05-05T19:32:42.037" v="1090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7999C4A2-9ACD-4CB2-9DCD-52B9CDE5124D}" dt="2023-05-05T19:32:42.048" v="1101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5T19:32:42.029" v="1070"/>
          <ac:graphicFrameMkLst>
            <pc:docMk/>
            <pc:sldMk cId="4143996880" sldId="293"/>
            <ac:graphicFrameMk id="22" creationId="{BF7BC2E1-BDD5-8BEB-FB70-7CACDC028172}"/>
          </ac:graphicFrameMkLst>
        </pc:graphicFrameChg>
        <pc:graphicFrameChg chg="del">
          <ac:chgData name="Joelle Brehm" userId="a518f54c-6985-42c0-8041-2bb16a414839" providerId="ADAL" clId="{7999C4A2-9ACD-4CB2-9DCD-52B9CDE5124D}" dt="2023-05-05T19:29:18.018" v="1008"/>
          <ac:graphicFrameMkLst>
            <pc:docMk/>
            <pc:sldMk cId="4143996880" sldId="293"/>
            <ac:graphicFrameMk id="27" creationId="{654A0F8E-E131-8489-EF8C-F38CA323B645}"/>
          </ac:graphicFrameMkLst>
        </pc:graphicFrameChg>
        <pc:picChg chg="del mod ord">
          <ac:chgData name="Joelle Brehm" userId="a518f54c-6985-42c0-8041-2bb16a414839" providerId="ADAL" clId="{7999C4A2-9ACD-4CB2-9DCD-52B9CDE5124D}" dt="2023-05-05T19:32:43.374" v="1102" actId="478"/>
          <ac:picMkLst>
            <pc:docMk/>
            <pc:sldMk cId="4143996880" sldId="293"/>
            <ac:picMk id="7" creationId="{FDF4132D-DFDA-B1D8-DA4A-A41B2677CC75}"/>
          </ac:picMkLst>
        </pc:picChg>
        <pc:picChg chg="add del mod ord">
          <ac:chgData name="Joelle Brehm" userId="a518f54c-6985-42c0-8041-2bb16a414839" providerId="ADAL" clId="{7999C4A2-9ACD-4CB2-9DCD-52B9CDE5124D}" dt="2023-05-05T19:34:03.423" v="1105" actId="478"/>
          <ac:picMkLst>
            <pc:docMk/>
            <pc:sldMk cId="4143996880" sldId="293"/>
            <ac:picMk id="23" creationId="{CB3C2D40-7631-9798-FA9A-0A95761A88F2}"/>
          </ac:picMkLst>
        </pc:picChg>
        <pc:picChg chg="add del mod">
          <ac:chgData name="Joelle Brehm" userId="a518f54c-6985-42c0-8041-2bb16a414839" providerId="ADAL" clId="{7999C4A2-9ACD-4CB2-9DCD-52B9CDE5124D}" dt="2023-05-05T19:31:57.647" v="1058"/>
          <ac:picMkLst>
            <pc:docMk/>
            <pc:sldMk cId="4143996880" sldId="293"/>
            <ac:picMk id="24" creationId="{F88A8FCA-6199-4786-7E1F-DEB7D406C6C6}"/>
          </ac:picMkLst>
        </pc:picChg>
        <pc:picChg chg="add mod ord">
          <ac:chgData name="Joelle Brehm" userId="a518f54c-6985-42c0-8041-2bb16a414839" providerId="ADAL" clId="{7999C4A2-9ACD-4CB2-9DCD-52B9CDE5124D}" dt="2023-05-05T19:32:45.692" v="1104" actId="1037"/>
          <ac:picMkLst>
            <pc:docMk/>
            <pc:sldMk cId="4143996880" sldId="293"/>
            <ac:picMk id="25" creationId="{9FA650E8-B3E5-9EF5-EEBF-5B8C4BA5388F}"/>
          </ac:picMkLst>
        </pc:picChg>
        <pc:picChg chg="add mod">
          <ac:chgData name="Joelle Brehm" userId="a518f54c-6985-42c0-8041-2bb16a414839" providerId="ADAL" clId="{7999C4A2-9ACD-4CB2-9DCD-52B9CDE5124D}" dt="2023-05-05T19:34:15.025" v="1107" actId="1076"/>
          <ac:picMkLst>
            <pc:docMk/>
            <pc:sldMk cId="4143996880" sldId="293"/>
            <ac:picMk id="26" creationId="{1B57B385-88BC-DCF9-E585-8314708BB2B0}"/>
          </ac:picMkLst>
        </pc:picChg>
        <pc:picChg chg="mod">
          <ac:chgData name="Joelle Brehm" userId="a518f54c-6985-42c0-8041-2bb16a414839" providerId="ADAL" clId="{7999C4A2-9ACD-4CB2-9DCD-52B9CDE5124D}" dt="2023-05-05T19:32:42.038" v="1091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7999C4A2-9ACD-4CB2-9DCD-52B9CDE5124D}" dt="2023-05-07T17:50:33.308" v="10401" actId="478"/>
        <pc:sldMkLst>
          <pc:docMk/>
          <pc:sldMk cId="77660323" sldId="295"/>
        </pc:sldMkLst>
        <pc:spChg chg="add del mod ord">
          <ac:chgData name="Joelle Brehm" userId="a518f54c-6985-42c0-8041-2bb16a414839" providerId="ADAL" clId="{7999C4A2-9ACD-4CB2-9DCD-52B9CDE5124D}" dt="2023-05-07T17:48:33.843" v="10279" actId="478"/>
          <ac:spMkLst>
            <pc:docMk/>
            <pc:sldMk cId="77660323" sldId="295"/>
            <ac:spMk id="2" creationId="{F2271E9B-7AF6-D0E5-3FD9-4859B3E47F09}"/>
          </ac:spMkLst>
        </pc:spChg>
        <pc:spChg chg="mod ord">
          <ac:chgData name="Joelle Brehm" userId="a518f54c-6985-42c0-8041-2bb16a414839" providerId="ADAL" clId="{7999C4A2-9ACD-4CB2-9DCD-52B9CDE5124D}" dt="2023-05-07T17:50:31.697" v="10298"/>
          <ac:spMkLst>
            <pc:docMk/>
            <pc:sldMk cId="77660323" sldId="295"/>
            <ac:spMk id="5" creationId="{7B827F87-784E-46DA-B4AC-26C5F16C015D}"/>
          </ac:spMkLst>
        </pc:spChg>
        <pc:spChg chg="add mod replST">
          <ac:chgData name="Joelle Brehm" userId="a518f54c-6985-42c0-8041-2bb16a414839" providerId="ADAL" clId="{7999C4A2-9ACD-4CB2-9DCD-52B9CDE5124D}" dt="2023-05-07T17:50:31.701" v="10317"/>
          <ac:spMkLst>
            <pc:docMk/>
            <pc:sldMk cId="77660323" sldId="295"/>
            <ac:spMk id="6" creationId="{16B77BC2-AAA9-8E81-BA99-9CC4E4A186E7}"/>
          </ac:spMkLst>
        </pc:spChg>
        <pc:spChg chg="add del mod modVis">
          <ac:chgData name="Joelle Brehm" userId="a518f54c-6985-42c0-8041-2bb16a414839" providerId="ADAL" clId="{7999C4A2-9ACD-4CB2-9DCD-52B9CDE5124D}" dt="2023-05-07T17:45:34.114" v="4770"/>
          <ac:spMkLst>
            <pc:docMk/>
            <pc:sldMk cId="77660323" sldId="295"/>
            <ac:spMk id="7" creationId="{E92724AB-88AB-230E-1707-6C865D0BA59E}"/>
          </ac:spMkLst>
        </pc:spChg>
        <pc:spChg chg="add del mod modVis">
          <ac:chgData name="Joelle Brehm" userId="a518f54c-6985-42c0-8041-2bb16a414839" providerId="ADAL" clId="{7999C4A2-9ACD-4CB2-9DCD-52B9CDE5124D}" dt="2023-05-07T17:45:35.874" v="5042"/>
          <ac:spMkLst>
            <pc:docMk/>
            <pc:sldMk cId="77660323" sldId="295"/>
            <ac:spMk id="9" creationId="{6DEB4505-5A96-9C84-5927-EA21A3931480}"/>
          </ac:spMkLst>
        </pc:spChg>
        <pc:spChg chg="add del mod modVis">
          <ac:chgData name="Joelle Brehm" userId="a518f54c-6985-42c0-8041-2bb16a414839" providerId="ADAL" clId="{7999C4A2-9ACD-4CB2-9DCD-52B9CDE5124D}" dt="2023-05-07T17:45:38.739" v="5309"/>
          <ac:spMkLst>
            <pc:docMk/>
            <pc:sldMk cId="77660323" sldId="295"/>
            <ac:spMk id="11" creationId="{9EE75CF6-C400-7953-795D-78E5DA5D00AF}"/>
          </ac:spMkLst>
        </pc:spChg>
        <pc:spChg chg="add del mod modVis">
          <ac:chgData name="Joelle Brehm" userId="a518f54c-6985-42c0-8041-2bb16a414839" providerId="ADAL" clId="{7999C4A2-9ACD-4CB2-9DCD-52B9CDE5124D}" dt="2023-05-07T17:45:43.630" v="5579"/>
          <ac:spMkLst>
            <pc:docMk/>
            <pc:sldMk cId="77660323" sldId="295"/>
            <ac:spMk id="13" creationId="{8D5D420B-9807-B12A-F2C6-7AE1B3B7E91A}"/>
          </ac:spMkLst>
        </pc:spChg>
        <pc:spChg chg="add mod replST">
          <ac:chgData name="Joelle Brehm" userId="a518f54c-6985-42c0-8041-2bb16a414839" providerId="ADAL" clId="{7999C4A2-9ACD-4CB2-9DCD-52B9CDE5124D}" dt="2023-05-07T17:50:31.709" v="10356"/>
          <ac:spMkLst>
            <pc:docMk/>
            <pc:sldMk cId="77660323" sldId="295"/>
            <ac:spMk id="15" creationId="{27258EE9-1FF7-FE0C-8AAD-1E026430A115}"/>
          </ac:spMkLst>
        </pc:spChg>
        <pc:spChg chg="add del mod modVis">
          <ac:chgData name="Joelle Brehm" userId="a518f54c-6985-42c0-8041-2bb16a414839" providerId="ADAL" clId="{7999C4A2-9ACD-4CB2-9DCD-52B9CDE5124D}" dt="2023-05-07T17:47:51.669" v="6268"/>
          <ac:spMkLst>
            <pc:docMk/>
            <pc:sldMk cId="77660323" sldId="295"/>
            <ac:spMk id="16" creationId="{8863748A-E1BC-2956-4ADF-8EAD0D81698A}"/>
          </ac:spMkLst>
        </pc:spChg>
        <pc:spChg chg="add del mod modVis">
          <ac:chgData name="Joelle Brehm" userId="a518f54c-6985-42c0-8041-2bb16a414839" providerId="ADAL" clId="{7999C4A2-9ACD-4CB2-9DCD-52B9CDE5124D}" dt="2023-05-07T17:47:51.983" v="6481"/>
          <ac:spMkLst>
            <pc:docMk/>
            <pc:sldMk cId="77660323" sldId="295"/>
            <ac:spMk id="18" creationId="{75DF4BEC-4160-A19E-1A9B-DC1057CCCEB7}"/>
          </ac:spMkLst>
        </pc:spChg>
        <pc:spChg chg="add del mod modVis">
          <ac:chgData name="Joelle Brehm" userId="a518f54c-6985-42c0-8041-2bb16a414839" providerId="ADAL" clId="{7999C4A2-9ACD-4CB2-9DCD-52B9CDE5124D}" dt="2023-05-07T17:47:54.837" v="6746"/>
          <ac:spMkLst>
            <pc:docMk/>
            <pc:sldMk cId="77660323" sldId="295"/>
            <ac:spMk id="20" creationId="{8E24E512-D5A0-08C7-A6C3-EB14425E3651}"/>
          </ac:spMkLst>
        </pc:spChg>
        <pc:spChg chg="add del mod modVis">
          <ac:chgData name="Joelle Brehm" userId="a518f54c-6985-42c0-8041-2bb16a414839" providerId="ADAL" clId="{7999C4A2-9ACD-4CB2-9DCD-52B9CDE5124D}" dt="2023-05-07T17:47:58.175" v="7011"/>
          <ac:spMkLst>
            <pc:docMk/>
            <pc:sldMk cId="77660323" sldId="295"/>
            <ac:spMk id="22" creationId="{D816DDE5-0EA9-8CA0-14F6-E175FBFE0365}"/>
          </ac:spMkLst>
        </pc:spChg>
        <pc:spChg chg="add del mod modVis">
          <ac:chgData name="Joelle Brehm" userId="a518f54c-6985-42c0-8041-2bb16a414839" providerId="ADAL" clId="{7999C4A2-9ACD-4CB2-9DCD-52B9CDE5124D}" dt="2023-05-07T17:48:00.960" v="7248"/>
          <ac:spMkLst>
            <pc:docMk/>
            <pc:sldMk cId="77660323" sldId="295"/>
            <ac:spMk id="24" creationId="{510BB4DC-BEBC-D079-BBBC-0A4680F3A2F0}"/>
          </ac:spMkLst>
        </pc:spChg>
        <pc:spChg chg="add del mod modVis">
          <ac:chgData name="Joelle Brehm" userId="a518f54c-6985-42c0-8041-2bb16a414839" providerId="ADAL" clId="{7999C4A2-9ACD-4CB2-9DCD-52B9CDE5124D}" dt="2023-05-07T17:48:03.870" v="8384"/>
          <ac:spMkLst>
            <pc:docMk/>
            <pc:sldMk cId="77660323" sldId="295"/>
            <ac:spMk id="26" creationId="{7667A40D-2CA6-CC77-DAAC-C0C513D9EDA6}"/>
          </ac:spMkLst>
        </pc:spChg>
        <pc:spChg chg="add del mod replST">
          <ac:chgData name="Joelle Brehm" userId="a518f54c-6985-42c0-8041-2bb16a414839" providerId="ADAL" clId="{7999C4A2-9ACD-4CB2-9DCD-52B9CDE5124D}" dt="2023-05-07T17:48:04.433" v="8603"/>
          <ac:spMkLst>
            <pc:docMk/>
            <pc:sldMk cId="77660323" sldId="295"/>
            <ac:spMk id="27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48:04.434" v="8604"/>
          <ac:spMkLst>
            <pc:docMk/>
            <pc:sldMk cId="77660323" sldId="295"/>
            <ac:spMk id="28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48:04.435" v="8605"/>
          <ac:spMkLst>
            <pc:docMk/>
            <pc:sldMk cId="77660323" sldId="295"/>
            <ac:spMk id="29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48:04.436" v="8606"/>
          <ac:spMkLst>
            <pc:docMk/>
            <pc:sldMk cId="77660323" sldId="295"/>
            <ac:spMk id="3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6" v="10345"/>
          <ac:spMkLst>
            <pc:docMk/>
            <pc:sldMk cId="77660323" sldId="295"/>
            <ac:spMk id="31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48:04.437" v="8607"/>
          <ac:spMkLst>
            <pc:docMk/>
            <pc:sldMk cId="77660323" sldId="295"/>
            <ac:spMk id="3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7" v="10346"/>
          <ac:spMkLst>
            <pc:docMk/>
            <pc:sldMk cId="77660323" sldId="295"/>
            <ac:spMk id="33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48:04.437" v="8608"/>
          <ac:spMkLst>
            <pc:docMk/>
            <pc:sldMk cId="77660323" sldId="295"/>
            <ac:spMk id="34" creationId="{7CAA3B95-4C78-4122-BECA-B5FB0F3F3764}"/>
          </ac:spMkLst>
        </pc:spChg>
        <pc:spChg chg="add del mod replST">
          <ac:chgData name="Joelle Brehm" userId="a518f54c-6985-42c0-8041-2bb16a414839" providerId="ADAL" clId="{7999C4A2-9ACD-4CB2-9DCD-52B9CDE5124D}" dt="2023-05-07T17:48:04.439" v="8609"/>
          <ac:spMkLst>
            <pc:docMk/>
            <pc:sldMk cId="77660323" sldId="295"/>
            <ac:spMk id="35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7:48:04.578" v="8728"/>
          <ac:spMkLst>
            <pc:docMk/>
            <pc:sldMk cId="77660323" sldId="295"/>
            <ac:spMk id="37" creationId="{77EFC24B-F538-6035-8AA3-549AB6EBC742}"/>
          </ac:spMkLst>
        </pc:spChg>
        <pc:spChg chg="add del mod replST">
          <ac:chgData name="Joelle Brehm" userId="a518f54c-6985-42c0-8041-2bb16a414839" providerId="ADAL" clId="{7999C4A2-9ACD-4CB2-9DCD-52B9CDE5124D}" dt="2023-05-07T17:48:05.958" v="8803"/>
          <ac:spMkLst>
            <pc:docMk/>
            <pc:sldMk cId="77660323" sldId="295"/>
            <ac:spMk id="38" creationId="{7CAA3B95-4C78-4122-BECA-B5FB0F3F3764}"/>
          </ac:spMkLst>
        </pc:spChg>
        <pc:spChg chg="add del mod modVis">
          <ac:chgData name="Joelle Brehm" userId="a518f54c-6985-42c0-8041-2bb16a414839" providerId="ADAL" clId="{7999C4A2-9ACD-4CB2-9DCD-52B9CDE5124D}" dt="2023-05-07T17:48:06.088" v="8917"/>
          <ac:spMkLst>
            <pc:docMk/>
            <pc:sldMk cId="77660323" sldId="295"/>
            <ac:spMk id="41" creationId="{3A48A2F2-B379-1306-17D9-8FDB6AAF87F5}"/>
          </ac:spMkLst>
        </pc:spChg>
        <pc:spChg chg="mod">
          <ac:chgData name="Joelle Brehm" userId="a518f54c-6985-42c0-8041-2bb16a414839" providerId="ADAL" clId="{7999C4A2-9ACD-4CB2-9DCD-52B9CDE5124D}" dt="2023-05-07T17:50:31.707" v="10347"/>
          <ac:spMkLst>
            <pc:docMk/>
            <pc:sldMk cId="77660323" sldId="295"/>
            <ac:spMk id="42" creationId="{A32B7D8C-DAE5-D336-7D31-9ECFB1F6E20C}"/>
          </ac:spMkLst>
        </pc:spChg>
        <pc:spChg chg="add del mod modVis">
          <ac:chgData name="Joelle Brehm" userId="a518f54c-6985-42c0-8041-2bb16a414839" providerId="ADAL" clId="{7999C4A2-9ACD-4CB2-9DCD-52B9CDE5124D}" dt="2023-05-07T17:48:06.229" v="9104"/>
          <ac:spMkLst>
            <pc:docMk/>
            <pc:sldMk cId="77660323" sldId="295"/>
            <ac:spMk id="44" creationId="{56C819F9-055F-1804-B27B-3574F08A6D9A}"/>
          </ac:spMkLst>
        </pc:spChg>
        <pc:spChg chg="add del mod modVis">
          <ac:chgData name="Joelle Brehm" userId="a518f54c-6985-42c0-8041-2bb16a414839" providerId="ADAL" clId="{7999C4A2-9ACD-4CB2-9DCD-52B9CDE5124D}" dt="2023-05-07T17:48:09.699" v="9291"/>
          <ac:spMkLst>
            <pc:docMk/>
            <pc:sldMk cId="77660323" sldId="295"/>
            <ac:spMk id="46" creationId="{9736916F-ECB4-C484-3020-1DA2BE7881FA}"/>
          </ac:spMkLst>
        </pc:spChg>
        <pc:spChg chg="add mod replST">
          <ac:chgData name="Joelle Brehm" userId="a518f54c-6985-42c0-8041-2bb16a414839" providerId="ADAL" clId="{7999C4A2-9ACD-4CB2-9DCD-52B9CDE5124D}" dt="2023-05-07T17:50:31.715" v="10386"/>
          <ac:spMkLst>
            <pc:docMk/>
            <pc:sldMk cId="77660323" sldId="295"/>
            <ac:spMk id="48" creationId="{4728F697-F070-C96F-B941-0750AF77863D}"/>
          </ac:spMkLst>
        </pc:spChg>
        <pc:spChg chg="add del mod modVis">
          <ac:chgData name="Joelle Brehm" userId="a518f54c-6985-42c0-8041-2bb16a414839" providerId="ADAL" clId="{7999C4A2-9ACD-4CB2-9DCD-52B9CDE5124D}" dt="2023-05-07T17:48:16.567" v="9592"/>
          <ac:spMkLst>
            <pc:docMk/>
            <pc:sldMk cId="77660323" sldId="295"/>
            <ac:spMk id="49" creationId="{01B5DD57-5DA0-0BA2-2361-CDA325075786}"/>
          </ac:spMkLst>
        </pc:spChg>
        <pc:spChg chg="add del mod modVis">
          <ac:chgData name="Joelle Brehm" userId="a518f54c-6985-42c0-8041-2bb16a414839" providerId="ADAL" clId="{7999C4A2-9ACD-4CB2-9DCD-52B9CDE5124D}" dt="2023-05-07T17:48:20.662" v="9813"/>
          <ac:spMkLst>
            <pc:docMk/>
            <pc:sldMk cId="77660323" sldId="295"/>
            <ac:spMk id="51" creationId="{EE0D97C6-C0AB-638A-12C8-D443205B54C5}"/>
          </ac:spMkLst>
        </pc:spChg>
        <pc:spChg chg="add del mod modVis">
          <ac:chgData name="Joelle Brehm" userId="a518f54c-6985-42c0-8041-2bb16a414839" providerId="ADAL" clId="{7999C4A2-9ACD-4CB2-9DCD-52B9CDE5124D}" dt="2023-05-07T17:48:21.833" v="10032"/>
          <ac:spMkLst>
            <pc:docMk/>
            <pc:sldMk cId="77660323" sldId="295"/>
            <ac:spMk id="53" creationId="{7E34694F-DB54-A554-E671-984F8634BCBE}"/>
          </ac:spMkLst>
        </pc:spChg>
        <pc:spChg chg="add del mod modVis">
          <ac:chgData name="Joelle Brehm" userId="a518f54c-6985-42c0-8041-2bb16a414839" providerId="ADAL" clId="{7999C4A2-9ACD-4CB2-9DCD-52B9CDE5124D}" dt="2023-05-07T17:48:27.107" v="10275"/>
          <ac:spMkLst>
            <pc:docMk/>
            <pc:sldMk cId="77660323" sldId="295"/>
            <ac:spMk id="55" creationId="{AD8D7C87-3611-2471-4075-B838FB65E3B9}"/>
          </ac:spMkLst>
        </pc:spChg>
        <pc:spChg chg="mod">
          <ac:chgData name="Joelle Brehm" userId="a518f54c-6985-42c0-8041-2bb16a414839" providerId="ADAL" clId="{7999C4A2-9ACD-4CB2-9DCD-52B9CDE5124D}" dt="2023-05-07T17:50:31.714" v="10380"/>
          <ac:spMkLst>
            <pc:docMk/>
            <pc:sldMk cId="77660323" sldId="295"/>
            <ac:spMk id="78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3" v="10376"/>
          <ac:spMkLst>
            <pc:docMk/>
            <pc:sldMk cId="77660323" sldId="295"/>
            <ac:spMk id="79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3" v="10375"/>
          <ac:spMkLst>
            <pc:docMk/>
            <pc:sldMk cId="77660323" sldId="295"/>
            <ac:spMk id="8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3" v="10379"/>
          <ac:spMkLst>
            <pc:docMk/>
            <pc:sldMk cId="77660323" sldId="295"/>
            <ac:spMk id="8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4" v="10381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4" v="10382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4" v="10383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4" v="10384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5" v="10385"/>
          <ac:spMkLst>
            <pc:docMk/>
            <pc:sldMk cId="77660323" sldId="295"/>
            <ac:spMk id="87" creationId="{7CAA3B95-4C78-4122-BECA-B5FB0F3F3764}"/>
          </ac:spMkLst>
        </pc:spChg>
        <pc:spChg chg="del mod">
          <ac:chgData name="Joelle Brehm" userId="a518f54c-6985-42c0-8041-2bb16a414839" providerId="ADAL" clId="{7999C4A2-9ACD-4CB2-9DCD-52B9CDE5124D}" dt="2023-05-07T17:45:38.546" v="5045"/>
          <ac:spMkLst>
            <pc:docMk/>
            <pc:sldMk cId="77660323" sldId="295"/>
            <ac:spMk id="9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1" v="10319"/>
          <ac:spMkLst>
            <pc:docMk/>
            <pc:sldMk cId="77660323" sldId="295"/>
            <ac:spMk id="9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1" v="10320"/>
          <ac:spMkLst>
            <pc:docMk/>
            <pc:sldMk cId="77660323" sldId="295"/>
            <ac:spMk id="9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2" v="10321"/>
          <ac:spMkLst>
            <pc:docMk/>
            <pc:sldMk cId="77660323" sldId="295"/>
            <ac:spMk id="95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7:50:31.698" v="10304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7999C4A2-9ACD-4CB2-9DCD-52B9CDE5124D}" dt="2023-05-07T17:50:31.698" v="10306"/>
          <ac:spMkLst>
            <pc:docMk/>
            <pc:sldMk cId="77660323" sldId="295"/>
            <ac:spMk id="97" creationId="{64B2B8D7-E8A8-4757-99A4-69F1EAA48321}"/>
          </ac:spMkLst>
        </pc:spChg>
        <pc:spChg chg="mod">
          <ac:chgData name="Joelle Brehm" userId="a518f54c-6985-42c0-8041-2bb16a414839" providerId="ADAL" clId="{7999C4A2-9ACD-4CB2-9DCD-52B9CDE5124D}" dt="2023-05-07T17:50:31.701" v="10318"/>
          <ac:spMkLst>
            <pc:docMk/>
            <pc:sldMk cId="77660323" sldId="295"/>
            <ac:spMk id="98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2" v="10322"/>
          <ac:spMkLst>
            <pc:docMk/>
            <pc:sldMk cId="77660323" sldId="295"/>
            <ac:spMk id="99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0" v="10312"/>
          <ac:spMkLst>
            <pc:docMk/>
            <pc:sldMk cId="77660323" sldId="295"/>
            <ac:spMk id="100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2" v="10323"/>
          <ac:spMkLst>
            <pc:docMk/>
            <pc:sldMk cId="77660323" sldId="295"/>
            <ac:spMk id="10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2" v="10324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7:50:31.697" v="10300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7999C4A2-9ACD-4CB2-9DCD-52B9CDE5124D}" dt="2023-05-07T17:50:31.700" v="10313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3" v="10326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3" v="10327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3" v="10328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3" v="10325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0" v="10314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699" v="10311"/>
          <ac:spMkLst>
            <pc:docMk/>
            <pc:sldMk cId="77660323" sldId="295"/>
            <ac:spMk id="13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0" v="10315"/>
          <ac:spMkLst>
            <pc:docMk/>
            <pc:sldMk cId="77660323" sldId="295"/>
            <ac:spMk id="15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0" v="10316"/>
          <ac:spMkLst>
            <pc:docMk/>
            <pc:sldMk cId="77660323" sldId="295"/>
            <ac:spMk id="171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7:50:31.699" v="10308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7999C4A2-9ACD-4CB2-9DCD-52B9CDE5124D}" dt="2023-05-07T17:50:31.707" v="10350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7999C4A2-9ACD-4CB2-9DCD-52B9CDE5124D}" dt="2023-05-07T17:50:31.712" v="10371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7999C4A2-9ACD-4CB2-9DCD-52B9CDE5124D}" dt="2023-05-07T17:50:31.712" v="10372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7999C4A2-9ACD-4CB2-9DCD-52B9CDE5124D}" dt="2023-05-07T17:50:31.716" v="10393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7999C4A2-9ACD-4CB2-9DCD-52B9CDE5124D}" dt="2023-05-07T17:50:31.717" v="10394"/>
          <ac:spMkLst>
            <pc:docMk/>
            <pc:sldMk cId="77660323" sldId="295"/>
            <ac:spMk id="402" creationId="{54A50511-8137-91F0-6AA8-1D657EEE3E68}"/>
          </ac:spMkLst>
        </pc:spChg>
        <pc:spChg chg="mod ord">
          <ac:chgData name="Joelle Brehm" userId="a518f54c-6985-42c0-8041-2bb16a414839" providerId="ADAL" clId="{7999C4A2-9ACD-4CB2-9DCD-52B9CDE5124D}" dt="2023-05-07T17:50:31.706" v="10342"/>
          <ac:spMkLst>
            <pc:docMk/>
            <pc:sldMk cId="77660323" sldId="295"/>
            <ac:spMk id="482" creationId="{854873FF-C6BF-E63E-44B3-C219F3458EB4}"/>
          </ac:spMkLst>
        </pc:spChg>
        <pc:spChg chg="del mod">
          <ac:chgData name="Joelle Brehm" userId="a518f54c-6985-42c0-8041-2bb16a414839" providerId="ADAL" clId="{7999C4A2-9ACD-4CB2-9DCD-52B9CDE5124D}" dt="2023-05-07T17:48:00.810" v="7014"/>
          <ac:spMkLst>
            <pc:docMk/>
            <pc:sldMk cId="77660323" sldId="295"/>
            <ac:spMk id="484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7:50:31.705" v="10338"/>
          <ac:spMkLst>
            <pc:docMk/>
            <pc:sldMk cId="77660323" sldId="295"/>
            <ac:spMk id="485" creationId="{0E817BE1-E587-06E4-D9FC-07EC7C45C787}"/>
          </ac:spMkLst>
        </pc:spChg>
        <pc:spChg chg="mod">
          <ac:chgData name="Joelle Brehm" userId="a518f54c-6985-42c0-8041-2bb16a414839" providerId="ADAL" clId="{7999C4A2-9ACD-4CB2-9DCD-52B9CDE5124D}" dt="2023-05-07T17:50:31.708" v="10354"/>
          <ac:spMkLst>
            <pc:docMk/>
            <pc:sldMk cId="77660323" sldId="295"/>
            <ac:spMk id="48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8" v="10355"/>
          <ac:spMkLst>
            <pc:docMk/>
            <pc:sldMk cId="77660323" sldId="295"/>
            <ac:spMk id="487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9" v="10358"/>
          <ac:spMkLst>
            <pc:docMk/>
            <pc:sldMk cId="77660323" sldId="295"/>
            <ac:spMk id="488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9" v="10359"/>
          <ac:spMkLst>
            <pc:docMk/>
            <pc:sldMk cId="77660323" sldId="295"/>
            <ac:spMk id="489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7:50:31.705" v="10340"/>
          <ac:spMkLst>
            <pc:docMk/>
            <pc:sldMk cId="77660323" sldId="295"/>
            <ac:spMk id="490" creationId="{9C81118A-E471-58E2-D54E-14C43A3A7D15}"/>
          </ac:spMkLst>
        </pc:spChg>
        <pc:spChg chg="mod">
          <ac:chgData name="Joelle Brehm" userId="a518f54c-6985-42c0-8041-2bb16a414839" providerId="ADAL" clId="{7999C4A2-9ACD-4CB2-9DCD-52B9CDE5124D}" dt="2023-05-07T17:50:31.710" v="10360"/>
          <ac:spMkLst>
            <pc:docMk/>
            <pc:sldMk cId="77660323" sldId="295"/>
            <ac:spMk id="491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9" v="10357"/>
          <ac:spMkLst>
            <pc:docMk/>
            <pc:sldMk cId="77660323" sldId="295"/>
            <ac:spMk id="492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8" v="10353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0" v="10361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0" v="10362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07" v="10348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7999C4A2-9ACD-4CB2-9DCD-52B9CDE5124D}" dt="2023-05-07T17:50:31.710" v="10363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0" v="10364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7:50:31.706" v="10344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7999C4A2-9ACD-4CB2-9DCD-52B9CDE5124D}" dt="2023-05-07T17:50:31.711" v="10370"/>
          <ac:spMkLst>
            <pc:docMk/>
            <pc:sldMk cId="77660323" sldId="295"/>
            <ac:spMk id="504" creationId="{C36E8BD6-8022-E319-F497-214FADCFA676}"/>
          </ac:spMkLst>
        </pc:spChg>
        <pc:spChg chg="del mod">
          <ac:chgData name="Joelle Brehm" userId="a518f54c-6985-42c0-8041-2bb16a414839" providerId="ADAL" clId="{7999C4A2-9ACD-4CB2-9DCD-52B9CDE5124D}" dt="2023-05-07T17:48:26.922" v="10035"/>
          <ac:spMkLst>
            <pc:docMk/>
            <pc:sldMk cId="77660323" sldId="295"/>
            <ac:spMk id="506" creationId="{7CAA3B95-4C78-4122-BECA-B5FB0F3F3764}"/>
          </ac:spMkLst>
        </pc:spChg>
        <pc:spChg chg="mod">
          <ac:chgData name="Joelle Brehm" userId="a518f54c-6985-42c0-8041-2bb16a414839" providerId="ADAL" clId="{7999C4A2-9ACD-4CB2-9DCD-52B9CDE5124D}" dt="2023-05-07T17:50:31.713" v="10377"/>
          <ac:spMkLst>
            <pc:docMk/>
            <pc:sldMk cId="77660323" sldId="295"/>
            <ac:spMk id="507" creationId="{7CAA3B95-4C78-4122-BECA-B5FB0F3F3764}"/>
          </ac:spMkLst>
        </pc:spChg>
        <pc:spChg chg="mod ord">
          <ac:chgData name="Joelle Brehm" userId="a518f54c-6985-42c0-8041-2bb16a414839" providerId="ADAL" clId="{7999C4A2-9ACD-4CB2-9DCD-52B9CDE5124D}" dt="2023-05-07T17:50:31.716" v="10392"/>
          <ac:spMkLst>
            <pc:docMk/>
            <pc:sldMk cId="77660323" sldId="295"/>
            <ac:spMk id="508" creationId="{1A0CE076-C63A-CB72-E6B9-5523E3C2C4DF}"/>
          </ac:spMkLst>
        </pc:spChg>
        <pc:spChg chg="mod">
          <ac:chgData name="Joelle Brehm" userId="a518f54c-6985-42c0-8041-2bb16a414839" providerId="ADAL" clId="{7999C4A2-9ACD-4CB2-9DCD-52B9CDE5124D}" dt="2023-05-07T17:50:31.713" v="10378"/>
          <ac:spMkLst>
            <pc:docMk/>
            <pc:sldMk cId="77660323" sldId="295"/>
            <ac:spMk id="509" creationId="{7CAA3B95-4C78-4122-BECA-B5FB0F3F3764}"/>
          </ac:spMkLst>
        </pc:spChg>
        <pc:graphicFrameChg chg="mod">
          <ac:chgData name="Joelle Brehm" userId="a518f54c-6985-42c0-8041-2bb16a414839" providerId="ADAL" clId="{7999C4A2-9ACD-4CB2-9DCD-52B9CDE5124D}" dt="2023-05-07T17:50:31.731" v="10400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5:35.779" v="4881"/>
          <ac:graphicFrameMkLst>
            <pc:docMk/>
            <pc:sldMk cId="77660323" sldId="295"/>
            <ac:graphicFrameMk id="8" creationId="{C829D0F5-4B0B-AB26-823C-EF364EE03DA5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5:38.630" v="5149"/>
          <ac:graphicFrameMkLst>
            <pc:docMk/>
            <pc:sldMk cId="77660323" sldId="295"/>
            <ac:graphicFrameMk id="10" creationId="{08593C84-464D-AB1E-BCA4-295589C3E9C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5:43.544" v="5419"/>
          <ac:graphicFrameMkLst>
            <pc:docMk/>
            <pc:sldMk cId="77660323" sldId="295"/>
            <ac:graphicFrameMk id="12" creationId="{9D5C1C3E-94F5-7D71-36EF-0F259305D3D8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7:50:31.699" v="10310"/>
          <ac:graphicFrameMkLst>
            <pc:docMk/>
            <pc:sldMk cId="77660323" sldId="295"/>
            <ac:graphicFrameMk id="14" creationId="{A175AEEF-8692-328B-3AA2-72077469B204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7:51.896" v="6344"/>
          <ac:graphicFrameMkLst>
            <pc:docMk/>
            <pc:sldMk cId="77660323" sldId="295"/>
            <ac:graphicFrameMk id="17" creationId="{7C5C8CFA-3C0D-A8DF-3D5B-25D97032B1BF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7:54.738" v="6586"/>
          <ac:graphicFrameMkLst>
            <pc:docMk/>
            <pc:sldMk cId="77660323" sldId="295"/>
            <ac:graphicFrameMk id="19" creationId="{14C6BE50-35C9-3EF3-F7F4-52A7FE488D3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7:58.052" v="6851"/>
          <ac:graphicFrameMkLst>
            <pc:docMk/>
            <pc:sldMk cId="77660323" sldId="295"/>
            <ac:graphicFrameMk id="21" creationId="{1516DB87-E692-5315-1325-98D592ED436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00.888" v="7112"/>
          <ac:graphicFrameMkLst>
            <pc:docMk/>
            <pc:sldMk cId="77660323" sldId="295"/>
            <ac:graphicFrameMk id="23" creationId="{8E66FEA4-CF36-63C6-0D07-71105BCCC482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04.348" v="8554"/>
          <ac:graphicFrameMkLst>
            <pc:docMk/>
            <pc:sldMk cId="77660323" sldId="295"/>
            <ac:graphicFrameMk id="25" creationId="{73B4527F-59A7-F45B-94F3-EC0454A05C8E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04.441" v="8611"/>
          <ac:graphicFrameMkLst>
            <pc:docMk/>
            <pc:sldMk cId="77660323" sldId="295"/>
            <ac:graphicFrameMk id="36" creationId="{281E2610-3C1F-A3E1-6AF6-B4AFE164EE69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05.960" v="8805"/>
          <ac:graphicFrameMkLst>
            <pc:docMk/>
            <pc:sldMk cId="77660323" sldId="295"/>
            <ac:graphicFrameMk id="39" creationId="{03096639-4EEB-D15E-BB9C-2ACA4A90B437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16.454" v="9432"/>
          <ac:graphicFrameMkLst>
            <pc:docMk/>
            <pc:sldMk cId="77660323" sldId="295"/>
            <ac:graphicFrameMk id="40" creationId="{40199F55-05AD-8EAC-55D0-54F90263C00C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06.178" v="8992"/>
          <ac:graphicFrameMkLst>
            <pc:docMk/>
            <pc:sldMk cId="77660323" sldId="295"/>
            <ac:graphicFrameMk id="43" creationId="{E4B5EB5B-AC61-0260-5C2A-6C3E1E9D54AD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09.639" v="9179"/>
          <ac:graphicFrameMkLst>
            <pc:docMk/>
            <pc:sldMk cId="77660323" sldId="295"/>
            <ac:graphicFrameMk id="45" creationId="{A6F20F5B-4D07-02AE-F6FE-9B65844F60A5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7:50:31.708" v="10352"/>
          <ac:graphicFrameMkLst>
            <pc:docMk/>
            <pc:sldMk cId="77660323" sldId="295"/>
            <ac:graphicFrameMk id="47" creationId="{86A6F529-47B1-3197-1557-AAD69E746671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20.576" v="9676"/>
          <ac:graphicFrameMkLst>
            <pc:docMk/>
            <pc:sldMk cId="77660323" sldId="295"/>
            <ac:graphicFrameMk id="50" creationId="{DAC6C626-01F2-46C2-D5B5-58A83E3C1B1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21.694" v="9895"/>
          <ac:graphicFrameMkLst>
            <pc:docMk/>
            <pc:sldMk cId="77660323" sldId="295"/>
            <ac:graphicFrameMk id="52" creationId="{B349B687-0160-36A4-C9DD-C27FF0289180}"/>
          </ac:graphicFrameMkLst>
        </pc:graphicFrameChg>
        <pc:graphicFrameChg chg="add del mod ord replST">
          <ac:chgData name="Joelle Brehm" userId="a518f54c-6985-42c0-8041-2bb16a414839" providerId="ADAL" clId="{7999C4A2-9ACD-4CB2-9DCD-52B9CDE5124D}" dt="2023-05-07T17:48:27.022" v="10139"/>
          <ac:graphicFrameMkLst>
            <pc:docMk/>
            <pc:sldMk cId="77660323" sldId="295"/>
            <ac:graphicFrameMk id="54" creationId="{9FE9DED2-E852-0126-D850-86A55B305587}"/>
          </ac:graphicFrameMkLst>
        </pc:graphicFrameChg>
        <pc:graphicFrameChg chg="add mod ord replST">
          <ac:chgData name="Joelle Brehm" userId="a518f54c-6985-42c0-8041-2bb16a414839" providerId="ADAL" clId="{7999C4A2-9ACD-4CB2-9DCD-52B9CDE5124D}" dt="2023-05-07T17:50:31.712" v="10374"/>
          <ac:graphicFrameMkLst>
            <pc:docMk/>
            <pc:sldMk cId="77660323" sldId="295"/>
            <ac:graphicFrameMk id="56" creationId="{3AC46159-F03D-F609-EAA0-28DA5749C5AD}"/>
          </ac:graphicFrameMkLst>
        </pc:graphicFrameChg>
        <pc:graphicFrameChg chg="del">
          <ac:chgData name="Joelle Brehm" userId="a518f54c-6985-42c0-8041-2bb16a414839" providerId="ADAL" clId="{7999C4A2-9ACD-4CB2-9DCD-52B9CDE5124D}" dt="2023-05-07T17:45:34.037" v="4609"/>
          <ac:graphicFrameMkLst>
            <pc:docMk/>
            <pc:sldMk cId="77660323" sldId="295"/>
            <ac:graphicFrameMk id="135" creationId="{F079F396-4527-51FA-1C60-590808E268EB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47:51.574" v="6121"/>
          <ac:graphicFrameMkLst>
            <pc:docMk/>
            <pc:sldMk cId="77660323" sldId="295"/>
            <ac:graphicFrameMk id="138" creationId="{00E09669-3593-78A6-F582-73168F4F79E5}"/>
          </ac:graphicFrameMkLst>
        </pc:graphicFrameChg>
        <pc:graphicFrameChg chg="del mod ord">
          <ac:chgData name="Joelle Brehm" userId="a518f54c-6985-42c0-8041-2bb16a414839" providerId="ADAL" clId="{7999C4A2-9ACD-4CB2-9DCD-52B9CDE5124D}" dt="2023-05-07T17:48:03.818" v="8265"/>
          <ac:graphicFrameMkLst>
            <pc:docMk/>
            <pc:sldMk cId="77660323" sldId="295"/>
            <ac:graphicFrameMk id="140" creationId="{619CAFC3-70B5-3C75-C98D-E02549E2AAC6}"/>
          </ac:graphicFrameMkLst>
        </pc:graphicFrameChg>
        <pc:picChg chg="mod ord">
          <ac:chgData name="Joelle Brehm" userId="a518f54c-6985-42c0-8041-2bb16a414839" providerId="ADAL" clId="{7999C4A2-9ACD-4CB2-9DCD-52B9CDE5124D}" dt="2023-05-07T17:50:31.698" v="10302"/>
          <ac:picMkLst>
            <pc:docMk/>
            <pc:sldMk cId="77660323" sldId="295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7999C4A2-9ACD-4CB2-9DCD-52B9CDE5124D}" dt="2023-05-07T17:50:31.696" v="10296"/>
          <ac:picMkLst>
            <pc:docMk/>
            <pc:sldMk cId="77660323" sldId="295"/>
            <ac:picMk id="57" creationId="{0D949C86-E068-36A4-5784-4BBB27949706}"/>
          </ac:picMkLst>
        </pc:picChg>
        <pc:picChg chg="del mod ord">
          <ac:chgData name="Joelle Brehm" userId="a518f54c-6985-42c0-8041-2bb16a414839" providerId="ADAL" clId="{7999C4A2-9ACD-4CB2-9DCD-52B9CDE5124D}" dt="2023-05-07T17:50:33.308" v="10401" actId="478"/>
          <ac:picMkLst>
            <pc:docMk/>
            <pc:sldMk cId="77660323" sldId="295"/>
            <ac:picMk id="131" creationId="{FE514545-221D-4B7E-FCE3-68E59056271A}"/>
          </ac:picMkLst>
        </pc:picChg>
        <pc:cxnChg chg="mod ord">
          <ac:chgData name="Joelle Brehm" userId="a518f54c-6985-42c0-8041-2bb16a414839" providerId="ADAL" clId="{7999C4A2-9ACD-4CB2-9DCD-52B9CDE5124D}" dt="2023-05-07T17:50:31.704" v="10334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7999C4A2-9ACD-4CB2-9DCD-52B9CDE5124D}" dt="2023-05-07T17:50:31.704" v="10332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7999C4A2-9ACD-4CB2-9DCD-52B9CDE5124D}" dt="2023-05-07T17:50:31.704" v="10330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7999C4A2-9ACD-4CB2-9DCD-52B9CDE5124D}" dt="2023-05-07T17:50:31.711" v="10366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7999C4A2-9ACD-4CB2-9DCD-52B9CDE5124D}" dt="2023-05-07T17:50:31.711" v="10368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7999C4A2-9ACD-4CB2-9DCD-52B9CDE5124D}" dt="2023-05-07T17:50:31.715" v="10388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7999C4A2-9ACD-4CB2-9DCD-52B9CDE5124D}" dt="2023-05-07T17:50:31.716" v="10390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7999C4A2-9ACD-4CB2-9DCD-52B9CDE5124D}" dt="2023-05-07T17:50:31.705" v="10336"/>
          <ac:cxnSpMkLst>
            <pc:docMk/>
            <pc:sldMk cId="77660323" sldId="295"/>
            <ac:cxnSpMk id="499" creationId="{03F78B4F-B1A0-4DEB-C1BE-2365D8B94D05}"/>
          </ac:cxnSpMkLst>
        </pc:cxnChg>
      </pc:sldChg>
    </pc:docChg>
  </pc:docChgLst>
  <pc:docChgLst>
    <pc:chgData name="Joelle Brehm" userId="a518f54c-6985-42c0-8041-2bb16a414839" providerId="ADAL" clId="{EC4E33A1-3A40-4A99-A232-1E6EEAE786EA}"/>
    <pc:docChg chg="undo custSel modSld replTag">
      <pc:chgData name="Joelle Brehm" userId="a518f54c-6985-42c0-8041-2bb16a414839" providerId="ADAL" clId="{EC4E33A1-3A40-4A99-A232-1E6EEAE786EA}" dt="2023-08-07T17:41:37.965" v="62947"/>
      <pc:docMkLst>
        <pc:docMk/>
      </pc:docMkLst>
      <pc:sldChg chg="addSp delSp modSp mod">
        <pc:chgData name="Joelle Brehm" userId="a518f54c-6985-42c0-8041-2bb16a414839" providerId="ADAL" clId="{EC4E33A1-3A40-4A99-A232-1E6EEAE786EA}" dt="2023-08-07T17:21:07.132" v="59517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EC4E33A1-3A40-4A99-A232-1E6EEAE786EA}" dt="2023-08-07T17:21:02.692" v="59512" actId="478"/>
          <ac:spMkLst>
            <pc:docMk/>
            <pc:sldMk cId="3839614074" sldId="258"/>
            <ac:spMk id="2" creationId="{91201294-5CE4-E388-4198-A896A58C8D3B}"/>
          </ac:spMkLst>
        </pc:spChg>
        <pc:spChg chg="mod">
          <ac:chgData name="Joelle Brehm" userId="a518f54c-6985-42c0-8041-2bb16a414839" providerId="ADAL" clId="{EC4E33A1-3A40-4A99-A232-1E6EEAE786EA}" dt="2023-08-07T17:15:48" v="59506" actId="20577"/>
          <ac:spMkLst>
            <pc:docMk/>
            <pc:sldMk cId="3839614074" sldId="258"/>
            <ac:spMk id="11" creationId="{CC7E7235-D3EE-4235-96C4-5D12A099E3A6}"/>
          </ac:spMkLst>
        </pc:spChg>
        <pc:graphicFrameChg chg="add del mod modGraphic">
          <ac:chgData name="Joelle Brehm" userId="a518f54c-6985-42c0-8041-2bb16a414839" providerId="ADAL" clId="{EC4E33A1-3A40-4A99-A232-1E6EEAE786EA}" dt="2023-08-07T17:21:07.132" v="59517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EC4E33A1-3A40-4A99-A232-1E6EEAE786EA}" dt="2023-08-02T19:38:00.563" v="13080"/>
        <pc:sldMkLst>
          <pc:docMk/>
          <pc:sldMk cId="3798164587" sldId="259"/>
        </pc:sldMkLst>
        <pc:spChg chg="mod ord">
          <ac:chgData name="Joelle Brehm" userId="a518f54c-6985-42c0-8041-2bb16a414839" providerId="ADAL" clId="{EC4E33A1-3A40-4A99-A232-1E6EEAE786EA}" dt="2023-08-02T19:38:00.543" v="13074"/>
          <ac:spMkLst>
            <pc:docMk/>
            <pc:sldMk cId="3798164587" sldId="259"/>
            <ac:spMk id="2" creationId="{8EDF2A74-9587-4C1D-91CA-8D21248ED6E8}"/>
          </ac:spMkLst>
        </pc:spChg>
        <pc:spChg chg="add del mod ord">
          <ac:chgData name="Joelle Brehm" userId="a518f54c-6985-42c0-8041-2bb16a414839" providerId="ADAL" clId="{EC4E33A1-3A40-4A99-A232-1E6EEAE786EA}" dt="2023-08-02T19:37:21.609" v="10785" actId="478"/>
          <ac:spMkLst>
            <pc:docMk/>
            <pc:sldMk cId="3798164587" sldId="259"/>
            <ac:spMk id="3" creationId="{81E60CD7-7BC9-BBBE-499F-E8BED4339007}"/>
          </ac:spMkLst>
        </pc:spChg>
        <pc:spChg chg="mod ord">
          <ac:chgData name="Joelle Brehm" userId="a518f54c-6985-42c0-8041-2bb16a414839" providerId="ADAL" clId="{EC4E33A1-3A40-4A99-A232-1E6EEAE786EA}" dt="2023-08-02T19:38:00.501" v="12992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C4E33A1-3A40-4A99-A232-1E6EEAE786EA}" dt="2023-08-02T19:36:55.316" v="10672"/>
          <ac:spMkLst>
            <pc:docMk/>
            <pc:sldMk cId="3798164587" sldId="259"/>
            <ac:spMk id="8" creationId="{42BC7DE6-9053-99D1-D8F4-2750D06F8905}"/>
          </ac:spMkLst>
        </pc:spChg>
        <pc:spChg chg="mod">
          <ac:chgData name="Joelle Brehm" userId="a518f54c-6985-42c0-8041-2bb16a414839" providerId="ADAL" clId="{EC4E33A1-3A40-4A99-A232-1E6EEAE786EA}" dt="2023-08-02T19:38:00.505" v="13000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19:38:00.506" v="13001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19:38:00.503" v="12997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19:38:00.506" v="13002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19:38:00.504" v="12999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19:38:00.507" v="13003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19:38:00.507" v="13004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19:38:00.508" v="13005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19:38:00.504" v="12998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19:38:00.508" v="13006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19:38:00.509" v="13007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19:38:00.509" v="13008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19:38:00.510" v="13010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19:38:00.512" v="13013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19:38:00.511" v="13012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19:38:00.511" v="13011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19:38:00.513" v="13014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19:38:00.513" v="13015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19:38:00.514" v="13016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19:38:00.515" v="13018"/>
          <ac:spMkLst>
            <pc:docMk/>
            <pc:sldMk cId="3798164587" sldId="259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EC4E33A1-3A40-4A99-A232-1E6EEAE786EA}" dt="2023-08-02T19:38:00.533" v="13051"/>
          <ac:spMkLst>
            <pc:docMk/>
            <pc:sldMk cId="3798164587" sldId="259"/>
            <ac:spMk id="32" creationId="{2EFC59B1-C208-1816-2539-FFF2F0D2CED4}"/>
          </ac:spMkLst>
        </pc:spChg>
        <pc:spChg chg="mod">
          <ac:chgData name="Joelle Brehm" userId="a518f54c-6985-42c0-8041-2bb16a414839" providerId="ADAL" clId="{EC4E33A1-3A40-4A99-A232-1E6EEAE786EA}" dt="2023-08-02T19:38:00.520" v="13029"/>
          <ac:spMkLst>
            <pc:docMk/>
            <pc:sldMk cId="3798164587" sldId="259"/>
            <ac:spMk id="33" creationId="{275DD78E-6C37-19E2-BB7D-7EC5FAF1B229}"/>
          </ac:spMkLst>
        </pc:spChg>
        <pc:spChg chg="mod">
          <ac:chgData name="Joelle Brehm" userId="a518f54c-6985-42c0-8041-2bb16a414839" providerId="ADAL" clId="{EC4E33A1-3A40-4A99-A232-1E6EEAE786EA}" dt="2023-08-02T19:38:00.532" v="13049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EC4E33A1-3A40-4A99-A232-1E6EEAE786EA}" dt="2023-08-02T19:38:00.531" v="13048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EC4E33A1-3A40-4A99-A232-1E6EEAE786EA}" dt="2023-08-02T19:38:00.522" v="13032"/>
          <ac:spMkLst>
            <pc:docMk/>
            <pc:sldMk cId="3798164587" sldId="259"/>
            <ac:spMk id="36" creationId="{17FE84B0-8441-0A09-95B5-2EDD40F6EB1C}"/>
          </ac:spMkLst>
        </pc:spChg>
        <pc:spChg chg="add mod ord replST">
          <ac:chgData name="Joelle Brehm" userId="a518f54c-6985-42c0-8041-2bb16a414839" providerId="ADAL" clId="{EC4E33A1-3A40-4A99-A232-1E6EEAE786EA}" dt="2023-08-02T19:38:00.532" v="13050"/>
          <ac:spMkLst>
            <pc:docMk/>
            <pc:sldMk cId="3798164587" sldId="259"/>
            <ac:spMk id="37" creationId="{E3EAC238-37CE-FE97-F754-1E4E04FB6278}"/>
          </ac:spMkLst>
        </pc:spChg>
        <pc:spChg chg="mod">
          <ac:chgData name="Joelle Brehm" userId="a518f54c-6985-42c0-8041-2bb16a414839" providerId="ADAL" clId="{EC4E33A1-3A40-4A99-A232-1E6EEAE786EA}" dt="2023-08-02T19:38:00.524" v="13036"/>
          <ac:spMkLst>
            <pc:docMk/>
            <pc:sldMk cId="3798164587" sldId="259"/>
            <ac:spMk id="38" creationId="{F9718545-2C79-73C0-B314-2B5D8CF60E56}"/>
          </ac:spMkLst>
        </pc:spChg>
        <pc:spChg chg="mod">
          <ac:chgData name="Joelle Brehm" userId="a518f54c-6985-42c0-8041-2bb16a414839" providerId="ADAL" clId="{EC4E33A1-3A40-4A99-A232-1E6EEAE786EA}" dt="2023-08-02T19:38:00.529" v="13044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EC4E33A1-3A40-4A99-A232-1E6EEAE786EA}" dt="2023-08-02T19:38:00.519" v="13028"/>
          <ac:spMkLst>
            <pc:docMk/>
            <pc:sldMk cId="3798164587" sldId="259"/>
            <ac:spMk id="41" creationId="{AAEA4991-6EDC-4585-53B3-43FCB8287F41}"/>
          </ac:spMkLst>
        </pc:spChg>
        <pc:spChg chg="mod">
          <ac:chgData name="Joelle Brehm" userId="a518f54c-6985-42c0-8041-2bb16a414839" providerId="ADAL" clId="{EC4E33A1-3A40-4A99-A232-1E6EEAE786EA}" dt="2023-08-02T19:38:00.525" v="13038"/>
          <ac:spMkLst>
            <pc:docMk/>
            <pc:sldMk cId="3798164587" sldId="259"/>
            <ac:spMk id="42" creationId="{17E5CF1F-B68A-803E-7A46-9E4C2586B04A}"/>
          </ac:spMkLst>
        </pc:spChg>
        <pc:spChg chg="mod">
          <ac:chgData name="Joelle Brehm" userId="a518f54c-6985-42c0-8041-2bb16a414839" providerId="ADAL" clId="{EC4E33A1-3A40-4A99-A232-1E6EEAE786EA}" dt="2023-08-02T19:38:00.527" v="13040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EC4E33A1-3A40-4A99-A232-1E6EEAE786EA}" dt="2023-08-02T19:38:00.528" v="13042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EC4E33A1-3A40-4A99-A232-1E6EEAE786EA}" dt="2023-08-02T19:38:00.516" v="13022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16" v="13021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18" v="13026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EC4E33A1-3A40-4A99-A232-1E6EEAE786EA}" dt="2023-08-02T19:38:00.530" v="13045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EC4E33A1-3A40-4A99-A232-1E6EEAE786EA}" dt="2023-08-02T19:38:00.523" v="13033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EC4E33A1-3A40-4A99-A232-1E6EEAE786EA}" dt="2023-08-02T19:38:00.522" v="13031"/>
          <ac:spMkLst>
            <pc:docMk/>
            <pc:sldMk cId="3798164587" sldId="259"/>
            <ac:spMk id="50" creationId="{6E0EEE28-854C-B3D5-8CC6-BD69B0BE61B8}"/>
          </ac:spMkLst>
        </pc:spChg>
        <pc:spChg chg="add del mod modVis">
          <ac:chgData name="Joelle Brehm" userId="a518f54c-6985-42c0-8041-2bb16a414839" providerId="ADAL" clId="{EC4E33A1-3A40-4A99-A232-1E6EEAE786EA}" dt="2023-08-02T19:37:34.197" v="11198"/>
          <ac:spMkLst>
            <pc:docMk/>
            <pc:sldMk cId="3798164587" sldId="259"/>
            <ac:spMk id="51" creationId="{2883C1E8-E58F-1028-CB94-C308A134A052}"/>
          </ac:spMkLst>
        </pc:spChg>
        <pc:spChg chg="add del mod modVis">
          <ac:chgData name="Joelle Brehm" userId="a518f54c-6985-42c0-8041-2bb16a414839" providerId="ADAL" clId="{EC4E33A1-3A40-4A99-A232-1E6EEAE786EA}" dt="2023-08-02T19:37:35.505" v="11424"/>
          <ac:spMkLst>
            <pc:docMk/>
            <pc:sldMk cId="3798164587" sldId="259"/>
            <ac:spMk id="53" creationId="{DF7215C9-1608-098D-BF14-ACFE6AAFE3B5}"/>
          </ac:spMkLst>
        </pc:spChg>
        <pc:spChg chg="add del mod modVis">
          <ac:chgData name="Joelle Brehm" userId="a518f54c-6985-42c0-8041-2bb16a414839" providerId="ADAL" clId="{EC4E33A1-3A40-4A99-A232-1E6EEAE786EA}" dt="2023-08-02T19:37:37.832" v="11682"/>
          <ac:spMkLst>
            <pc:docMk/>
            <pc:sldMk cId="3798164587" sldId="259"/>
            <ac:spMk id="55" creationId="{B2676E04-41EF-7A36-3FC0-B95525EBBACA}"/>
          </ac:spMkLst>
        </pc:spChg>
        <pc:spChg chg="add del mod modVis">
          <ac:chgData name="Joelle Brehm" userId="a518f54c-6985-42c0-8041-2bb16a414839" providerId="ADAL" clId="{EC4E33A1-3A40-4A99-A232-1E6EEAE786EA}" dt="2023-08-02T19:37:42.203" v="11873"/>
          <ac:spMkLst>
            <pc:docMk/>
            <pc:sldMk cId="3798164587" sldId="259"/>
            <ac:spMk id="57" creationId="{A189B776-6EED-B339-0DD1-7CDC71A72F70}"/>
          </ac:spMkLst>
        </pc:spChg>
        <pc:spChg chg="add del mod modVis">
          <ac:chgData name="Joelle Brehm" userId="a518f54c-6985-42c0-8041-2bb16a414839" providerId="ADAL" clId="{EC4E33A1-3A40-4A99-A232-1E6EEAE786EA}" dt="2023-08-02T19:37:43.862" v="12071"/>
          <ac:spMkLst>
            <pc:docMk/>
            <pc:sldMk cId="3798164587" sldId="259"/>
            <ac:spMk id="59" creationId="{1CBFF6EE-C38E-621C-15F1-75CDF2893537}"/>
          </ac:spMkLst>
        </pc:spChg>
        <pc:spChg chg="mod">
          <ac:chgData name="Joelle Brehm" userId="a518f54c-6985-42c0-8041-2bb16a414839" providerId="ADAL" clId="{EC4E33A1-3A40-4A99-A232-1E6EEAE786EA}" dt="2023-08-02T19:38:00.517" v="13023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EC4E33A1-3A40-4A99-A232-1E6EEAE786EA}" dt="2023-08-02T19:38:00.517" v="13024"/>
          <ac:spMkLst>
            <pc:docMk/>
            <pc:sldMk cId="3798164587" sldId="259"/>
            <ac:spMk id="62" creationId="{E621A99F-79E6-44D1-808B-D950A3930E70}"/>
          </ac:spMkLst>
        </pc:spChg>
        <pc:spChg chg="add del mod modVis">
          <ac:chgData name="Joelle Brehm" userId="a518f54c-6985-42c0-8041-2bb16a414839" providerId="ADAL" clId="{EC4E33A1-3A40-4A99-A232-1E6EEAE786EA}" dt="2023-08-02T19:37:53.994" v="12575"/>
          <ac:spMkLst>
            <pc:docMk/>
            <pc:sldMk cId="3798164587" sldId="259"/>
            <ac:spMk id="63" creationId="{03C1CBB8-1373-F47B-27C0-E9D3967F8C31}"/>
          </ac:spMkLst>
        </pc:spChg>
        <pc:spChg chg="mod">
          <ac:chgData name="Joelle Brehm" userId="a518f54c-6985-42c0-8041-2bb16a414839" providerId="ADAL" clId="{EC4E33A1-3A40-4A99-A232-1E6EEAE786EA}" dt="2023-08-02T19:38:00.518" v="13025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EC4E33A1-3A40-4A99-A232-1E6EEAE786EA}" dt="2023-08-02T19:37:55.030" v="12820"/>
          <ac:spMkLst>
            <pc:docMk/>
            <pc:sldMk cId="3798164587" sldId="259"/>
            <ac:spMk id="69" creationId="{77DB01C2-0255-6FB3-C740-765E3A42316F}"/>
          </ac:spMkLst>
        </pc:spChg>
        <pc:spChg chg="add del mod modVis">
          <ac:chgData name="Joelle Brehm" userId="a518f54c-6985-42c0-8041-2bb16a414839" providerId="ADAL" clId="{EC4E33A1-3A40-4A99-A232-1E6EEAE786EA}" dt="2023-08-02T19:38:00.546" v="13078"/>
          <ac:spMkLst>
            <pc:docMk/>
            <pc:sldMk cId="3798164587" sldId="259"/>
            <ac:spMk id="71" creationId="{6CBBEB5A-7510-EE81-3A0D-0448E8633AA2}"/>
          </ac:spMkLst>
        </pc:spChg>
        <pc:spChg chg="mod ord">
          <ac:chgData name="Joelle Brehm" userId="a518f54c-6985-42c0-8041-2bb16a414839" providerId="ADAL" clId="{EC4E33A1-3A40-4A99-A232-1E6EEAE786EA}" dt="2023-08-02T19:38:00.534" v="13053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19:38:00.535" v="13055"/>
          <ac:spMkLst>
            <pc:docMk/>
            <pc:sldMk cId="3798164587" sldId="259"/>
            <ac:spMk id="79" creationId="{F1476AC4-694B-4D83-BFD8-8DCAA4BB1923}"/>
          </ac:spMkLst>
        </pc:spChg>
        <pc:spChg chg="del mod">
          <ac:chgData name="Joelle Brehm" userId="a518f54c-6985-42c0-8041-2bb16a414839" providerId="ADAL" clId="{EC4E33A1-3A40-4A99-A232-1E6EEAE786EA}" dt="2023-08-02T19:37:37.497" v="11428"/>
          <ac:spMkLst>
            <pc:docMk/>
            <pc:sldMk cId="3798164587" sldId="259"/>
            <ac:spMk id="8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21" v="13030"/>
          <ac:spMkLst>
            <pc:docMk/>
            <pc:sldMk cId="3798164587" sldId="259"/>
            <ac:spMk id="8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24" v="13035"/>
          <ac:spMkLst>
            <pc:docMk/>
            <pc:sldMk cId="3798164587" sldId="259"/>
            <ac:spMk id="8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25" v="13037"/>
          <ac:spMkLst>
            <pc:docMk/>
            <pc:sldMk cId="3798164587" sldId="259"/>
            <ac:spMk id="8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26" v="13039"/>
          <ac:spMkLst>
            <pc:docMk/>
            <pc:sldMk cId="3798164587" sldId="259"/>
            <ac:spMk id="89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27" v="13041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19" v="13027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28" v="13043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23" v="13034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30" v="13046"/>
          <ac:spMkLst>
            <pc:docMk/>
            <pc:sldMk cId="3798164587" sldId="259"/>
            <ac:spMk id="95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19:37:37.493" v="11427"/>
          <ac:spMkLst>
            <pc:docMk/>
            <pc:sldMk cId="3798164587" sldId="259"/>
            <ac:spMk id="98" creationId="{5C2D14D9-12F3-09BB-CF0F-B06C9774FBF8}"/>
          </ac:spMkLst>
        </pc:spChg>
        <pc:spChg chg="mod ord">
          <ac:chgData name="Joelle Brehm" userId="a518f54c-6985-42c0-8041-2bb16a414839" providerId="ADAL" clId="{EC4E33A1-3A40-4A99-A232-1E6EEAE786EA}" dt="2023-08-02T19:38:00.536" v="13057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EC4E33A1-3A40-4A99-A232-1E6EEAE786EA}" dt="2023-08-02T19:38:00.531" v="13047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19:38:00.537" v="13059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19:38:00.537" v="13061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19:38:00.538" v="13063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19:38:00.540" v="13066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41" v="13069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41" v="13068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38:00.540" v="13067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19:38:00.542" v="13070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19:38:00.563" v="13080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19:36:55.136" v="10568"/>
          <ac:graphicFrameMkLst>
            <pc:docMk/>
            <pc:sldMk cId="3798164587" sldId="259"/>
            <ac:graphicFrameMk id="9" creationId="{1C9BF198-5FA5-492F-7948-449945DE573C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9:38:00.503" v="12996"/>
          <ac:graphicFrameMkLst>
            <pc:docMk/>
            <pc:sldMk cId="3798164587" sldId="259"/>
            <ac:graphicFrameMk id="10" creationId="{B543C48D-2B0F-BD02-F1DB-E0ED55217889}"/>
          </ac:graphicFrameMkLst>
        </pc:graphicFrameChg>
        <pc:graphicFrameChg chg="add del mod ord">
          <ac:chgData name="Joelle Brehm" userId="a518f54c-6985-42c0-8041-2bb16a414839" providerId="ADAL" clId="{EC4E33A1-3A40-4A99-A232-1E6EEAE786EA}" dt="2023-08-02T19:37:54.968" v="12722"/>
          <ac:graphicFrameMkLst>
            <pc:docMk/>
            <pc:sldMk cId="3798164587" sldId="259"/>
            <ac:graphicFrameMk id="39" creationId="{7688D1DB-56A1-6A7B-2B99-011B95CECD2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37:35.404" v="11323"/>
          <ac:graphicFrameMkLst>
            <pc:docMk/>
            <pc:sldMk cId="3798164587" sldId="259"/>
            <ac:graphicFrameMk id="52" creationId="{48D59672-ED43-1903-EF99-69F0FC00C4A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37:37.731" v="11583"/>
          <ac:graphicFrameMkLst>
            <pc:docMk/>
            <pc:sldMk cId="3798164587" sldId="259"/>
            <ac:graphicFrameMk id="54" creationId="{19C854CC-0380-5FC1-6F3B-D5D351D8968F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37:42.138" v="11774"/>
          <ac:graphicFrameMkLst>
            <pc:docMk/>
            <pc:sldMk cId="3798164587" sldId="259"/>
            <ac:graphicFrameMk id="56" creationId="{5C29820D-4E08-F6E7-77CB-6465EC741DE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37:43.796" v="11973"/>
          <ac:graphicFrameMkLst>
            <pc:docMk/>
            <pc:sldMk cId="3798164587" sldId="259"/>
            <ac:graphicFrameMk id="58" creationId="{E07381AC-2C17-DA3B-03AA-4B2AB4D49C1C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9:38:00.515" v="13020"/>
          <ac:graphicFrameMkLst>
            <pc:docMk/>
            <pc:sldMk cId="3798164587" sldId="259"/>
            <ac:graphicFrameMk id="60" creationId="{B0B116FE-F6E0-8E8B-2779-EF517D72B3BF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9:37:34.100" v="11097"/>
          <ac:graphicFrameMkLst>
            <pc:docMk/>
            <pc:sldMk cId="3798164587" sldId="259"/>
            <ac:graphicFrameMk id="65" creationId="{E01D7D4E-E461-8FDF-1C01-4136E76D5A68}"/>
          </ac:graphicFrameMkLst>
        </pc:graphicFrameChg>
        <pc:graphicFrameChg chg="add del mod ord replST delST">
          <ac:chgData name="Joelle Brehm" userId="a518f54c-6985-42c0-8041-2bb16a414839" providerId="ADAL" clId="{EC4E33A1-3A40-4A99-A232-1E6EEAE786EA}" dt="2023-08-02T19:37:53.994" v="12575"/>
          <ac:graphicFrameMkLst>
            <pc:docMk/>
            <pc:sldMk cId="3798164587" sldId="259"/>
            <ac:graphicFrameMk id="67" creationId="{47587E85-9C36-0D56-BB8F-48D1C5E0B99B}"/>
          </ac:graphicFrameMkLst>
        </pc:graphicFrameChg>
        <pc:graphicFrameChg chg="add mod ord replST delST">
          <ac:chgData name="Joelle Brehm" userId="a518f54c-6985-42c0-8041-2bb16a414839" providerId="ADAL" clId="{EC4E33A1-3A40-4A99-A232-1E6EEAE786EA}" dt="2023-08-02T19:37:53.440" v="12452"/>
          <ac:graphicFrameMkLst>
            <pc:docMk/>
            <pc:sldMk cId="3798164587" sldId="259"/>
            <ac:graphicFrameMk id="68" creationId="{52ACFF25-B264-F274-3027-194CE0A51AE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38:00.462" v="12980"/>
          <ac:graphicFrameMkLst>
            <pc:docMk/>
            <pc:sldMk cId="3798164587" sldId="259"/>
            <ac:graphicFrameMk id="70" creationId="{3BBA9191-C302-0463-7298-16EACF994C63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9:38:00.539" v="13065"/>
          <ac:graphicFrameMkLst>
            <pc:docMk/>
            <pc:sldMk cId="3798164587" sldId="259"/>
            <ac:graphicFrameMk id="72" creationId="{D20E87C9-F196-C2F2-DC63-E10AC3F4B1E7}"/>
          </ac:graphicFrameMkLst>
        </pc:graphicFrameChg>
        <pc:picChg chg="mod ord">
          <ac:chgData name="Joelle Brehm" userId="a518f54c-6985-42c0-8041-2bb16a414839" providerId="ADAL" clId="{EC4E33A1-3A40-4A99-A232-1E6EEAE786EA}" dt="2023-08-02T19:38:00.500" v="12990"/>
          <ac:picMkLst>
            <pc:docMk/>
            <pc:sldMk cId="3798164587" sldId="259"/>
            <ac:picMk id="5" creationId="{8F4A2CF4-0CF3-47E4-B23B-AC49D50CFFA1}"/>
          </ac:picMkLst>
        </pc:picChg>
        <pc:picChg chg="add mod ord">
          <ac:chgData name="Joelle Brehm" userId="a518f54c-6985-42c0-8041-2bb16a414839" providerId="ADAL" clId="{EC4E33A1-3A40-4A99-A232-1E6EEAE786EA}" dt="2023-08-02T19:38:00.499" v="12988"/>
          <ac:picMkLst>
            <pc:docMk/>
            <pc:sldMk cId="3798164587" sldId="259"/>
            <ac:picMk id="31" creationId="{0FD0899F-D085-07BE-324D-3D4C0C84999C}"/>
          </ac:picMkLst>
        </pc:picChg>
        <pc:picChg chg="del mod ord">
          <ac:chgData name="Joelle Brehm" userId="a518f54c-6985-42c0-8041-2bb16a414839" providerId="ADAL" clId="{EC4E33A1-3A40-4A99-A232-1E6EEAE786EA}" dt="2023-08-02T19:37:15.591" v="10781" actId="478"/>
          <ac:picMkLst>
            <pc:docMk/>
            <pc:sldMk cId="3798164587" sldId="259"/>
            <ac:picMk id="66" creationId="{BB4B5FBE-C5A1-9447-2956-114388C86BCA}"/>
          </ac:picMkLst>
        </pc:picChg>
        <pc:picChg chg="mod ord">
          <ac:chgData name="Joelle Brehm" userId="a518f54c-6985-42c0-8041-2bb16a414839" providerId="ADAL" clId="{EC4E33A1-3A40-4A99-A232-1E6EEAE786EA}" dt="2023-08-02T19:38:00.543" v="13072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19:38:00.502" v="12994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EC4E33A1-3A40-4A99-A232-1E6EEAE786EA}" dt="2023-08-02T17:58:47.482" v="3" actId="20577"/>
        <pc:sldMkLst>
          <pc:docMk/>
          <pc:sldMk cId="4090961396" sldId="260"/>
        </pc:sldMkLst>
        <pc:spChg chg="mod">
          <ac:chgData name="Joelle Brehm" userId="a518f54c-6985-42c0-8041-2bb16a414839" providerId="ADAL" clId="{EC4E33A1-3A40-4A99-A232-1E6EEAE786EA}" dt="2023-08-02T17:58:47.482" v="3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EC4E33A1-3A40-4A99-A232-1E6EEAE786EA}" dt="2023-08-07T17:26:50.075" v="59553" actId="20577"/>
        <pc:sldMkLst>
          <pc:docMk/>
          <pc:sldMk cId="2525895214" sldId="262"/>
        </pc:sldMkLst>
        <pc:spChg chg="add del mod">
          <ac:chgData name="Joelle Brehm" userId="a518f54c-6985-42c0-8041-2bb16a414839" providerId="ADAL" clId="{EC4E33A1-3A40-4A99-A232-1E6EEAE786EA}" dt="2023-08-07T17:21:20.955" v="59519" actId="478"/>
          <ac:spMkLst>
            <pc:docMk/>
            <pc:sldMk cId="2525895214" sldId="262"/>
            <ac:spMk id="3" creationId="{8A113D53-4CB0-3F06-AA6E-9CF85E6B29A8}"/>
          </ac:spMkLst>
        </pc:spChg>
        <pc:graphicFrameChg chg="mod modGraphic">
          <ac:chgData name="Joelle Brehm" userId="a518f54c-6985-42c0-8041-2bb16a414839" providerId="ADAL" clId="{EC4E33A1-3A40-4A99-A232-1E6EEAE786EA}" dt="2023-08-07T17:26:50.075" v="59553" actId="20577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EC4E33A1-3A40-4A99-A232-1E6EEAE786EA}" dt="2023-08-02T18:51:57.781" v="585" actId="1038"/>
        <pc:sldMkLst>
          <pc:docMk/>
          <pc:sldMk cId="3980989934" sldId="263"/>
        </pc:sldMkLst>
        <pc:spChg chg="mod ord">
          <ac:chgData name="Joelle Brehm" userId="a518f54c-6985-42c0-8041-2bb16a414839" providerId="ADAL" clId="{EC4E33A1-3A40-4A99-A232-1E6EEAE786EA}" dt="2023-08-02T18:50:29.352" v="570"/>
          <ac:spMkLst>
            <pc:docMk/>
            <pc:sldMk cId="3980989934" sldId="263"/>
            <ac:spMk id="2" creationId="{75C72E1E-661F-4997-A353-2798333F5BE3}"/>
          </ac:spMkLst>
        </pc:spChg>
        <pc:spChg chg="add del mod">
          <ac:chgData name="Joelle Brehm" userId="a518f54c-6985-42c0-8041-2bb16a414839" providerId="ADAL" clId="{EC4E33A1-3A40-4A99-A232-1E6EEAE786EA}" dt="2023-08-02T18:28:29.623" v="36" actId="478"/>
          <ac:spMkLst>
            <pc:docMk/>
            <pc:sldMk cId="3980989934" sldId="263"/>
            <ac:spMk id="3" creationId="{147A1187-AF4F-EA90-7736-FAC9EBFD27A2}"/>
          </ac:spMkLst>
        </pc:spChg>
        <pc:spChg chg="mod ord">
          <ac:chgData name="Joelle Brehm" userId="a518f54c-6985-42c0-8041-2bb16a414839" providerId="ADAL" clId="{EC4E33A1-3A40-4A99-A232-1E6EEAE786EA}" dt="2023-08-02T18:50:29.340" v="545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EC4E33A1-3A40-4A99-A232-1E6EEAE786EA}" dt="2023-08-02T18:50:29.343" v="550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EC4E33A1-3A40-4A99-A232-1E6EEAE786EA}" dt="2023-08-02T18:50:29.342" v="549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EC4E33A1-3A40-4A99-A232-1E6EEAE786EA}" dt="2023-08-02T18:50:29.344" v="551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EC4E33A1-3A40-4A99-A232-1E6EEAE786EA}" dt="2023-08-02T18:50:29.345" v="553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EC4E33A1-3A40-4A99-A232-1E6EEAE786EA}" dt="2023-08-02T18:50:29.346" v="555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EC4E33A1-3A40-4A99-A232-1E6EEAE786EA}" dt="2023-08-02T18:50:29.347" v="557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EC4E33A1-3A40-4A99-A232-1E6EEAE786EA}" dt="2023-08-02T18:50:29.342" v="548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EC4E33A1-3A40-4A99-A232-1E6EEAE786EA}" dt="2023-08-02T18:50:29.344" v="552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EC4E33A1-3A40-4A99-A232-1E6EEAE786EA}" dt="2023-08-02T18:50:29.346" v="554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EC4E33A1-3A40-4A99-A232-1E6EEAE786EA}" dt="2023-08-02T18:50:29.347" v="556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EC4E33A1-3A40-4A99-A232-1E6EEAE786EA}" dt="2023-08-02T18:50:29.348" v="558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EC4E33A1-3A40-4A99-A232-1E6EEAE786EA}" dt="2023-08-02T18:50:29.348" v="559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EC4E33A1-3A40-4A99-A232-1E6EEAE786EA}" dt="2023-08-02T18:50:29.349" v="561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EC4E33A1-3A40-4A99-A232-1E6EEAE786EA}" dt="2023-08-02T18:50:29.350" v="563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EC4E33A1-3A40-4A99-A232-1E6EEAE786EA}" dt="2023-08-02T18:50:29.354" v="576"/>
          <ac:spMkLst>
            <pc:docMk/>
            <pc:sldMk cId="3980989934" sldId="263"/>
            <ac:spMk id="23" creationId="{DC1962A5-EEE1-09CC-2C0F-FF474082FCCC}"/>
          </ac:spMkLst>
        </pc:spChg>
        <pc:spChg chg="mod ord">
          <ac:chgData name="Joelle Brehm" userId="a518f54c-6985-42c0-8041-2bb16a414839" providerId="ADAL" clId="{EC4E33A1-3A40-4A99-A232-1E6EEAE786EA}" dt="2023-08-02T18:51:50.738" v="583" actId="1076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EC4E33A1-3A40-4A99-A232-1E6EEAE786EA}" dt="2023-08-02T18:50:29.350" v="565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EC4E33A1-3A40-4A99-A232-1E6EEAE786EA}" dt="2023-08-02T18:50:29.351" v="567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EC4E33A1-3A40-4A99-A232-1E6EEAE786EA}" dt="2023-08-02T18:50:29.366" v="578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8:50:29.341" v="547"/>
          <ac:graphicFrameMkLst>
            <pc:docMk/>
            <pc:sldMk cId="3980989934" sldId="263"/>
            <ac:graphicFrameMk id="24" creationId="{ED723C48-837A-757F-8C67-937BF029C86B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8:50:29.305" v="533"/>
          <ac:graphicFrameMkLst>
            <pc:docMk/>
            <pc:sldMk cId="3980989934" sldId="263"/>
            <ac:graphicFrameMk id="26" creationId="{527D1E15-4F29-C46F-69E9-39C7F15D84CB}"/>
          </ac:graphicFrameMkLst>
        </pc:graphicFrameChg>
        <pc:picChg chg="add mod ord">
          <ac:chgData name="Joelle Brehm" userId="a518f54c-6985-42c0-8041-2bb16a414839" providerId="ADAL" clId="{EC4E33A1-3A40-4A99-A232-1E6EEAE786EA}" dt="2023-08-02T18:50:29.338" v="541"/>
          <ac:picMkLst>
            <pc:docMk/>
            <pc:sldMk cId="3980989934" sldId="263"/>
            <ac:picMk id="6" creationId="{2EA38509-FC10-010D-1042-B42A3912DBB5}"/>
          </ac:picMkLst>
        </pc:picChg>
        <pc:picChg chg="del mod ord">
          <ac:chgData name="Joelle Brehm" userId="a518f54c-6985-42c0-8041-2bb16a414839" providerId="ADAL" clId="{EC4E33A1-3A40-4A99-A232-1E6EEAE786EA}" dt="2023-08-02T18:29:05.274" v="100" actId="478"/>
          <ac:picMkLst>
            <pc:docMk/>
            <pc:sldMk cId="3980989934" sldId="263"/>
            <ac:picMk id="7" creationId="{052EEEE8-801C-8F53-9E14-6548942E0A40}"/>
          </ac:picMkLst>
        </pc:picChg>
        <pc:picChg chg="del mod ord">
          <ac:chgData name="Joelle Brehm" userId="a518f54c-6985-42c0-8041-2bb16a414839" providerId="ADAL" clId="{EC4E33A1-3A40-4A99-A232-1E6EEAE786EA}" dt="2023-08-02T18:51:43.138" v="579" actId="478"/>
          <ac:picMkLst>
            <pc:docMk/>
            <pc:sldMk cId="3980989934" sldId="263"/>
            <ac:picMk id="22" creationId="{01B92419-1689-6219-9CA9-702BEC2A5DC3}"/>
          </ac:picMkLst>
        </pc:picChg>
        <pc:picChg chg="add mod">
          <ac:chgData name="Joelle Brehm" userId="a518f54c-6985-42c0-8041-2bb16a414839" providerId="ADAL" clId="{EC4E33A1-3A40-4A99-A232-1E6EEAE786EA}" dt="2023-08-02T18:51:57.781" v="585" actId="1038"/>
          <ac:picMkLst>
            <pc:docMk/>
            <pc:sldMk cId="3980989934" sldId="263"/>
            <ac:picMk id="25" creationId="{68CC10C2-830A-25EA-716C-DACB24AA08C8}"/>
          </ac:picMkLst>
        </pc:picChg>
        <pc:picChg chg="mod">
          <ac:chgData name="Joelle Brehm" userId="a518f54c-6985-42c0-8041-2bb16a414839" providerId="ADAL" clId="{EC4E33A1-3A40-4A99-A232-1E6EEAE786EA}" dt="2023-08-02T18:50:29.351" v="568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EC4E33A1-3A40-4A99-A232-1E6EEAE786EA}" dt="2023-08-07T17:41:37.965" v="62947"/>
        <pc:sldMkLst>
          <pc:docMk/>
          <pc:sldMk cId="1450446987" sldId="264"/>
        </pc:sldMkLst>
        <pc:spChg chg="add del mod ord">
          <ac:chgData name="Joelle Brehm" userId="a518f54c-6985-42c0-8041-2bb16a414839" providerId="ADAL" clId="{EC4E33A1-3A40-4A99-A232-1E6EEAE786EA}" dt="2023-08-07T17:40:22.650" v="59554" actId="478"/>
          <ac:spMkLst>
            <pc:docMk/>
            <pc:sldMk cId="1450446987" sldId="264"/>
            <ac:spMk id="2" creationId="{2DC5B579-E37D-123B-422A-0A16B8FD32CB}"/>
          </ac:spMkLst>
        </pc:spChg>
        <pc:spChg chg="mod ord">
          <ac:chgData name="Joelle Brehm" userId="a518f54c-6985-42c0-8041-2bb16a414839" providerId="ADAL" clId="{EC4E33A1-3A40-4A99-A232-1E6EEAE786EA}" dt="2023-08-07T17:41:37.902" v="62806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EC4E33A1-3A40-4A99-A232-1E6EEAE786EA}" dt="2023-08-07T17:41:37.918" v="62869"/>
          <ac:spMkLst>
            <pc:docMk/>
            <pc:sldMk cId="1450446987" sldId="264"/>
            <ac:spMk id="6" creationId="{C68F5169-412D-ED3A-1A99-F1B307B865FB}"/>
          </ac:spMkLst>
        </pc:spChg>
        <pc:spChg chg="mod ord">
          <ac:chgData name="Joelle Brehm" userId="a518f54c-6985-42c0-8041-2bb16a414839" providerId="ADAL" clId="{EC4E33A1-3A40-4A99-A232-1E6EEAE786EA}" dt="2023-08-07T17:41:37.934" v="62912"/>
          <ac:spMkLst>
            <pc:docMk/>
            <pc:sldMk cId="1450446987" sldId="264"/>
            <ac:spMk id="7" creationId="{E1E64566-68A0-42EC-A2FA-A382E667F65C}"/>
          </ac:spMkLst>
        </pc:spChg>
        <pc:spChg chg="add del mod modVis">
          <ac:chgData name="Joelle Brehm" userId="a518f54c-6985-42c0-8041-2bb16a414839" providerId="ADAL" clId="{EC4E33A1-3A40-4A99-A232-1E6EEAE786EA}" dt="2023-08-02T18:59:40.478" v="6794"/>
          <ac:spMkLst>
            <pc:docMk/>
            <pc:sldMk cId="1450446987" sldId="264"/>
            <ac:spMk id="9" creationId="{6E409610-508E-3AB5-EDE6-C0DC45B5FC0B}"/>
          </ac:spMkLst>
        </pc:spChg>
        <pc:spChg chg="add del mod modVis">
          <ac:chgData name="Joelle Brehm" userId="a518f54c-6985-42c0-8041-2bb16a414839" providerId="ADAL" clId="{EC4E33A1-3A40-4A99-A232-1E6EEAE786EA}" dt="2023-08-07T17:40:34.355" v="59869"/>
          <ac:spMkLst>
            <pc:docMk/>
            <pc:sldMk cId="1450446987" sldId="264"/>
            <ac:spMk id="9" creationId="{ED26664C-3E5A-969E-B675-81DFA0E260F1}"/>
          </ac:spMkLst>
        </pc:spChg>
        <pc:spChg chg="mod">
          <ac:chgData name="Joelle Brehm" userId="a518f54c-6985-42c0-8041-2bb16a414839" providerId="ADAL" clId="{EC4E33A1-3A40-4A99-A232-1E6EEAE786EA}" dt="2023-08-07T17:41:37.918" v="62871"/>
          <ac:spMkLst>
            <pc:docMk/>
            <pc:sldMk cId="1450446987" sldId="264"/>
            <ac:spMk id="10" creationId="{0B5A57DD-7EDA-25CF-0BB0-3E0418CFBDB6}"/>
          </ac:spMkLst>
        </pc:spChg>
        <pc:spChg chg="mod">
          <ac:chgData name="Joelle Brehm" userId="a518f54c-6985-42c0-8041-2bb16a414839" providerId="ADAL" clId="{EC4E33A1-3A40-4A99-A232-1E6EEAE786EA}" dt="2023-08-07T17:41:37.934" v="62881"/>
          <ac:spMkLst>
            <pc:docMk/>
            <pc:sldMk cId="1450446987" sldId="264"/>
            <ac:spMk id="11" creationId="{A6526291-8335-68F9-3992-BACCF85E017D}"/>
          </ac:spMkLst>
        </pc:spChg>
        <pc:spChg chg="mod">
          <ac:chgData name="Joelle Brehm" userId="a518f54c-6985-42c0-8041-2bb16a414839" providerId="ADAL" clId="{EC4E33A1-3A40-4A99-A232-1E6EEAE786EA}" dt="2023-08-07T17:41:37.918" v="62865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EC4E33A1-3A40-4A99-A232-1E6EEAE786EA}" dt="2023-08-07T17:41:37.918" v="62866"/>
          <ac:spMkLst>
            <pc:docMk/>
            <pc:sldMk cId="1450446987" sldId="264"/>
            <ac:spMk id="13" creationId="{ADECDCFA-1E1B-DA79-857B-6C2FA278DB11}"/>
          </ac:spMkLst>
        </pc:spChg>
        <pc:spChg chg="add del mod modVis">
          <ac:chgData name="Joelle Brehm" userId="a518f54c-6985-42c0-8041-2bb16a414839" providerId="ADAL" clId="{EC4E33A1-3A40-4A99-A232-1E6EEAE786EA}" dt="2023-08-02T19:00:03.009" v="7061"/>
          <ac:spMkLst>
            <pc:docMk/>
            <pc:sldMk cId="1450446987" sldId="264"/>
            <ac:spMk id="14" creationId="{D8770B67-737E-70A1-99C8-D8AFB92BE239}"/>
          </ac:spMkLst>
        </pc:spChg>
        <pc:spChg chg="mod">
          <ac:chgData name="Joelle Brehm" userId="a518f54c-6985-42c0-8041-2bb16a414839" providerId="ADAL" clId="{EC4E33A1-3A40-4A99-A232-1E6EEAE786EA}" dt="2023-08-07T17:41:37.902" v="62815"/>
          <ac:spMkLst>
            <pc:docMk/>
            <pc:sldMk cId="1450446987" sldId="264"/>
            <ac:spMk id="15" creationId="{5B084CC3-E175-D9CA-87E6-954E2FBF59B5}"/>
          </ac:spMkLst>
        </pc:spChg>
        <pc:spChg chg="mod ord">
          <ac:chgData name="Joelle Brehm" userId="a518f54c-6985-42c0-8041-2bb16a414839" providerId="ADAL" clId="{EC4E33A1-3A40-4A99-A232-1E6EEAE786EA}" dt="2023-08-07T17:41:37.934" v="62909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EC4E33A1-3A40-4A99-A232-1E6EEAE786EA}" dt="2023-08-07T17:41:37.934" v="62882"/>
          <ac:spMkLst>
            <pc:docMk/>
            <pc:sldMk cId="1450446987" sldId="264"/>
            <ac:spMk id="17" creationId="{9F3E8293-6A80-77D9-FC6A-6EEAEB0893E2}"/>
          </ac:spMkLst>
        </pc:spChg>
        <pc:spChg chg="mod">
          <ac:chgData name="Joelle Brehm" userId="a518f54c-6985-42c0-8041-2bb16a414839" providerId="ADAL" clId="{EC4E33A1-3A40-4A99-A232-1E6EEAE786EA}" dt="2023-08-07T17:41:37.934" v="62927"/>
          <ac:spMkLst>
            <pc:docMk/>
            <pc:sldMk cId="1450446987" sldId="264"/>
            <ac:spMk id="18" creationId="{7CE63A35-6A90-6D8B-CF40-7241933EF0EF}"/>
          </ac:spMkLst>
        </pc:spChg>
        <pc:spChg chg="mod">
          <ac:chgData name="Joelle Brehm" userId="a518f54c-6985-42c0-8041-2bb16a414839" providerId="ADAL" clId="{EC4E33A1-3A40-4A99-A232-1E6EEAE786EA}" dt="2023-08-07T17:41:37.902" v="62827"/>
          <ac:spMkLst>
            <pc:docMk/>
            <pc:sldMk cId="1450446987" sldId="264"/>
            <ac:spMk id="19" creationId="{609141C7-071C-280D-1E22-F588C79AA2D4}"/>
          </ac:spMkLst>
        </pc:spChg>
        <pc:spChg chg="mod">
          <ac:chgData name="Joelle Brehm" userId="a518f54c-6985-42c0-8041-2bb16a414839" providerId="ADAL" clId="{EC4E33A1-3A40-4A99-A232-1E6EEAE786EA}" dt="2023-08-07T17:41:37.918" v="62877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EC4E33A1-3A40-4A99-A232-1E6EEAE786EA}" dt="2023-08-07T17:41:37.918" v="62872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EC4E33A1-3A40-4A99-A232-1E6EEAE786EA}" dt="2023-08-07T17:41:37.949" v="62934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EC4E33A1-3A40-4A99-A232-1E6EEAE786EA}" dt="2023-08-07T17:41:37.918" v="62846"/>
          <ac:spMkLst>
            <pc:docMk/>
            <pc:sldMk cId="1450446987" sldId="264"/>
            <ac:spMk id="23" creationId="{1C8A8CD9-592C-1226-E7D9-8A782BAF6ADF}"/>
          </ac:spMkLst>
        </pc:spChg>
        <pc:spChg chg="mod">
          <ac:chgData name="Joelle Brehm" userId="a518f54c-6985-42c0-8041-2bb16a414839" providerId="ADAL" clId="{EC4E33A1-3A40-4A99-A232-1E6EEAE786EA}" dt="2023-08-07T17:41:37.902" v="62817"/>
          <ac:spMkLst>
            <pc:docMk/>
            <pc:sldMk cId="1450446987" sldId="264"/>
            <ac:spMk id="24" creationId="{033E07CF-73C8-D4DB-8DB3-DC68E9322327}"/>
          </ac:spMkLst>
        </pc:spChg>
        <pc:spChg chg="mod">
          <ac:chgData name="Joelle Brehm" userId="a518f54c-6985-42c0-8041-2bb16a414839" providerId="ADAL" clId="{EC4E33A1-3A40-4A99-A232-1E6EEAE786EA}" dt="2023-08-07T17:41:37.918" v="62874"/>
          <ac:spMkLst>
            <pc:docMk/>
            <pc:sldMk cId="1450446987" sldId="264"/>
            <ac:spMk id="25" creationId="{DDCB9CFD-6336-9FEE-8109-046E7B1EDE09}"/>
          </ac:spMkLst>
        </pc:spChg>
        <pc:spChg chg="mod">
          <ac:chgData name="Joelle Brehm" userId="a518f54c-6985-42c0-8041-2bb16a414839" providerId="ADAL" clId="{EC4E33A1-3A40-4A99-A232-1E6EEAE786EA}" dt="2023-08-07T17:41:37.918" v="62844"/>
          <ac:spMkLst>
            <pc:docMk/>
            <pc:sldMk cId="1450446987" sldId="264"/>
            <ac:spMk id="26" creationId="{CF9D487A-C1AA-6A8A-6FDD-D507F2BA7550}"/>
          </ac:spMkLst>
        </pc:spChg>
        <pc:spChg chg="mod">
          <ac:chgData name="Joelle Brehm" userId="a518f54c-6985-42c0-8041-2bb16a414839" providerId="ADAL" clId="{EC4E33A1-3A40-4A99-A232-1E6EEAE786EA}" dt="2023-08-07T17:41:37.918" v="62870"/>
          <ac:spMkLst>
            <pc:docMk/>
            <pc:sldMk cId="1450446987" sldId="264"/>
            <ac:spMk id="27" creationId="{7F5EB4C1-D71D-BF03-066C-3EB62DE130E1}"/>
          </ac:spMkLst>
        </pc:spChg>
        <pc:spChg chg="mod">
          <ac:chgData name="Joelle Brehm" userId="a518f54c-6985-42c0-8041-2bb16a414839" providerId="ADAL" clId="{EC4E33A1-3A40-4A99-A232-1E6EEAE786EA}" dt="2023-08-07T17:41:37.902" v="62828"/>
          <ac:spMkLst>
            <pc:docMk/>
            <pc:sldMk cId="1450446987" sldId="264"/>
            <ac:spMk id="28" creationId="{CCA5008F-57EC-C24D-08AD-B7F154B6F4E7}"/>
          </ac:spMkLst>
        </pc:spChg>
        <pc:spChg chg="mod">
          <ac:chgData name="Joelle Brehm" userId="a518f54c-6985-42c0-8041-2bb16a414839" providerId="ADAL" clId="{EC4E33A1-3A40-4A99-A232-1E6EEAE786EA}" dt="2023-08-07T17:41:37.902" v="62820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EC4E33A1-3A40-4A99-A232-1E6EEAE786EA}" dt="2023-08-07T17:41:37.934" v="62884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EC4E33A1-3A40-4A99-A232-1E6EEAE786EA}" dt="2023-08-07T17:41:37.918" v="62875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EC4E33A1-3A40-4A99-A232-1E6EEAE786EA}" dt="2023-08-07T17:41:37.902" v="62830"/>
          <ac:spMkLst>
            <pc:docMk/>
            <pc:sldMk cId="1450446987" sldId="264"/>
            <ac:spMk id="32" creationId="{AA10C851-A6B4-C67A-2815-80E945AB6CF4}"/>
          </ac:spMkLst>
        </pc:spChg>
        <pc:spChg chg="del mod">
          <ac:chgData name="Joelle Brehm" userId="a518f54c-6985-42c0-8041-2bb16a414839" providerId="ADAL" clId="{EC4E33A1-3A40-4A99-A232-1E6EEAE786EA}" dt="2023-08-07T17:40:34.112" v="59555"/>
          <ac:spMkLst>
            <pc:docMk/>
            <pc:sldMk cId="1450446987" sldId="264"/>
            <ac:spMk id="33" creationId="{0B94E95E-1FDC-4AF3-0124-1E50049ED65B}"/>
          </ac:spMkLst>
        </pc:spChg>
        <pc:spChg chg="mod">
          <ac:chgData name="Joelle Brehm" userId="a518f54c-6985-42c0-8041-2bb16a414839" providerId="ADAL" clId="{EC4E33A1-3A40-4A99-A232-1E6EEAE786EA}" dt="2023-08-07T17:41:37.918" v="62876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EC4E33A1-3A40-4A99-A232-1E6EEAE786EA}" dt="2023-08-07T17:41:37.934" v="62887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EC4E33A1-3A40-4A99-A232-1E6EEAE786EA}" dt="2023-08-07T17:41:37.934" v="62888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EC4E33A1-3A40-4A99-A232-1E6EEAE786EA}" dt="2023-08-07T17:41:37.934" v="62883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EC4E33A1-3A40-4A99-A232-1E6EEAE786EA}" dt="2023-08-07T17:41:37.902" v="62819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EC4E33A1-3A40-4A99-A232-1E6EEAE786EA}" dt="2023-08-07T17:41:37.918" v="62873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EC4E33A1-3A40-4A99-A232-1E6EEAE786EA}" dt="2023-08-07T17:41:37.918" v="62857"/>
          <ac:spMkLst>
            <pc:docMk/>
            <pc:sldMk cId="1450446987" sldId="264"/>
            <ac:spMk id="41" creationId="{17283985-5541-D643-07F1-12A6C1BB03BE}"/>
          </ac:spMkLst>
        </pc:spChg>
        <pc:spChg chg="mod">
          <ac:chgData name="Joelle Brehm" userId="a518f54c-6985-42c0-8041-2bb16a414839" providerId="ADAL" clId="{EC4E33A1-3A40-4A99-A232-1E6EEAE786EA}" dt="2023-08-07T17:41:37.918" v="62878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EC4E33A1-3A40-4A99-A232-1E6EEAE786EA}" dt="2023-08-07T17:41:37.902" v="62823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EC4E33A1-3A40-4A99-A232-1E6EEAE786EA}" dt="2023-08-07T17:41:37.902" v="62832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EC4E33A1-3A40-4A99-A232-1E6EEAE786EA}" dt="2023-08-07T17:41:37.934" v="62885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EC4E33A1-3A40-4A99-A232-1E6EEAE786EA}" dt="2023-08-07T17:41:37.902" v="62816"/>
          <ac:spMkLst>
            <pc:docMk/>
            <pc:sldMk cId="1450446987" sldId="264"/>
            <ac:spMk id="46" creationId="{42ABD060-FEE1-EDE0-E99B-69A399E6BFE4}"/>
          </ac:spMkLst>
        </pc:spChg>
        <pc:spChg chg="add mod replST">
          <ac:chgData name="Joelle Brehm" userId="a518f54c-6985-42c0-8041-2bb16a414839" providerId="ADAL" clId="{EC4E33A1-3A40-4A99-A232-1E6EEAE786EA}" dt="2023-08-07T17:41:37.934" v="62906"/>
          <ac:spMkLst>
            <pc:docMk/>
            <pc:sldMk cId="1450446987" sldId="264"/>
            <ac:spMk id="47" creationId="{49A9F82B-F33C-21DF-6BAF-B3F3E498C4AE}"/>
          </ac:spMkLst>
        </pc:spChg>
        <pc:spChg chg="mod">
          <ac:chgData name="Joelle Brehm" userId="a518f54c-6985-42c0-8041-2bb16a414839" providerId="ADAL" clId="{EC4E33A1-3A40-4A99-A232-1E6EEAE786EA}" dt="2023-08-07T17:41:37.918" v="62868"/>
          <ac:spMkLst>
            <pc:docMk/>
            <pc:sldMk cId="1450446987" sldId="264"/>
            <ac:spMk id="48" creationId="{DBF6EA08-CAF4-86D2-F9E1-E4CF8AFC464F}"/>
          </ac:spMkLst>
        </pc:spChg>
        <pc:spChg chg="add del mod modVis">
          <ac:chgData name="Joelle Brehm" userId="a518f54c-6985-42c0-8041-2bb16a414839" providerId="ADAL" clId="{EC4E33A1-3A40-4A99-A232-1E6EEAE786EA}" dt="2023-08-07T17:40:52.440" v="60272"/>
          <ac:spMkLst>
            <pc:docMk/>
            <pc:sldMk cId="1450446987" sldId="264"/>
            <ac:spMk id="49" creationId="{011A5ABD-977F-F72D-0E2A-382D7A3DA747}"/>
          </ac:spMkLst>
        </pc:spChg>
        <pc:spChg chg="add mod replST">
          <ac:chgData name="Joelle Brehm" userId="a518f54c-6985-42c0-8041-2bb16a414839" providerId="ADAL" clId="{EC4E33A1-3A40-4A99-A232-1E6EEAE786EA}" dt="2023-08-07T17:41:37.918" v="62879"/>
          <ac:spMkLst>
            <pc:docMk/>
            <pc:sldMk cId="1450446987" sldId="264"/>
            <ac:spMk id="50" creationId="{5FE9258F-A945-F4FF-832B-478FD9BAC76D}"/>
          </ac:spMkLst>
        </pc:spChg>
        <pc:spChg chg="mod">
          <ac:chgData name="Joelle Brehm" userId="a518f54c-6985-42c0-8041-2bb16a414839" providerId="ADAL" clId="{EC4E33A1-3A40-4A99-A232-1E6EEAE786EA}" dt="2023-08-07T17:41:37.902" v="62831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EC4E33A1-3A40-4A99-A232-1E6EEAE786EA}" dt="2023-08-07T17:41:37.934" v="62920"/>
          <ac:spMkLst>
            <pc:docMk/>
            <pc:sldMk cId="1450446987" sldId="264"/>
            <ac:spMk id="52" creationId="{35E94CE7-373A-9E4A-3654-13C7C305FD02}"/>
          </ac:spMkLst>
        </pc:spChg>
        <pc:spChg chg="mod">
          <ac:chgData name="Joelle Brehm" userId="a518f54c-6985-42c0-8041-2bb16a414839" providerId="ADAL" clId="{EC4E33A1-3A40-4A99-A232-1E6EEAE786EA}" dt="2023-08-07T17:41:37.934" v="62880"/>
          <ac:spMkLst>
            <pc:docMk/>
            <pc:sldMk cId="1450446987" sldId="264"/>
            <ac:spMk id="53" creationId="{07583A85-3A1C-05BF-197B-FC4414C47FD4}"/>
          </ac:spMkLst>
        </pc:spChg>
        <pc:spChg chg="mod">
          <ac:chgData name="Joelle Brehm" userId="a518f54c-6985-42c0-8041-2bb16a414839" providerId="ADAL" clId="{EC4E33A1-3A40-4A99-A232-1E6EEAE786EA}" dt="2023-08-07T17:41:37.902" v="62829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EC4E33A1-3A40-4A99-A232-1E6EEAE786EA}" dt="2023-08-07T17:41:37.902" v="62822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EC4E33A1-3A40-4A99-A232-1E6EEAE786EA}" dt="2023-08-07T17:41:37.949" v="62933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EC4E33A1-3A40-4A99-A232-1E6EEAE786EA}" dt="2023-08-07T17:41:37.902" v="62814"/>
          <ac:spMkLst>
            <pc:docMk/>
            <pc:sldMk cId="1450446987" sldId="264"/>
            <ac:spMk id="57" creationId="{691D1289-3B15-0AD2-5838-E87715C40325}"/>
          </ac:spMkLst>
        </pc:spChg>
        <pc:spChg chg="add del mod modVis">
          <ac:chgData name="Joelle Brehm" userId="a518f54c-6985-42c0-8041-2bb16a414839" providerId="ADAL" clId="{EC4E33A1-3A40-4A99-A232-1E6EEAE786EA}" dt="2023-08-02T19:00:11.223" v="7528"/>
          <ac:spMkLst>
            <pc:docMk/>
            <pc:sldMk cId="1450446987" sldId="264"/>
            <ac:spMk id="58" creationId="{ADAB877C-D26E-B993-DF1C-C716FA2159A0}"/>
          </ac:spMkLst>
        </pc:spChg>
        <pc:spChg chg="mod">
          <ac:chgData name="Joelle Brehm" userId="a518f54c-6985-42c0-8041-2bb16a414839" providerId="ADAL" clId="{EC4E33A1-3A40-4A99-A232-1E6EEAE786EA}" dt="2023-08-07T17:41:37.902" v="62825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EC4E33A1-3A40-4A99-A232-1E6EEAE786EA}" dt="2023-08-07T17:41:37.934" v="62890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EC4E33A1-3A40-4A99-A232-1E6EEAE786EA}" dt="2023-08-07T17:41:37.934" v="62892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EC4E33A1-3A40-4A99-A232-1E6EEAE786EA}" dt="2023-08-07T17:41:37.934" v="62894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EC4E33A1-3A40-4A99-A232-1E6EEAE786EA}" dt="2023-08-07T17:41:37.918" v="62849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EC4E33A1-3A40-4A99-A232-1E6EEAE786EA}" dt="2023-08-07T17:41:37.918" v="62867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EC4E33A1-3A40-4A99-A232-1E6EEAE786EA}" dt="2023-08-07T17:41:37.902" v="62833"/>
          <ac:spMkLst>
            <pc:docMk/>
            <pc:sldMk cId="1450446987" sldId="264"/>
            <ac:spMk id="65" creationId="{3157109A-3120-04A6-D693-60F57F766A08}"/>
          </ac:spMkLst>
        </pc:spChg>
        <pc:spChg chg="mod">
          <ac:chgData name="Joelle Brehm" userId="a518f54c-6985-42c0-8041-2bb16a414839" providerId="ADAL" clId="{EC4E33A1-3A40-4A99-A232-1E6EEAE786EA}" dt="2023-08-07T17:41:37.902" v="62813"/>
          <ac:spMkLst>
            <pc:docMk/>
            <pc:sldMk cId="1450446987" sldId="264"/>
            <ac:spMk id="66" creationId="{716B7597-758E-617A-BFDD-E998C7101D5B}"/>
          </ac:spMkLst>
        </pc:spChg>
        <pc:spChg chg="mod">
          <ac:chgData name="Joelle Brehm" userId="a518f54c-6985-42c0-8041-2bb16a414839" providerId="ADAL" clId="{EC4E33A1-3A40-4A99-A232-1E6EEAE786EA}" dt="2023-08-07T17:41:37.918" v="62856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EC4E33A1-3A40-4A99-A232-1E6EEAE786EA}" dt="2023-08-07T17:41:37.902" v="62824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EC4E33A1-3A40-4A99-A232-1E6EEAE786EA}" dt="2023-08-07T17:41:37.934" v="62925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EC4E33A1-3A40-4A99-A232-1E6EEAE786EA}" dt="2023-08-07T17:41:37.902" v="62818"/>
          <ac:spMkLst>
            <pc:docMk/>
            <pc:sldMk cId="1450446987" sldId="264"/>
            <ac:spMk id="70" creationId="{5BDC691D-C8E2-B27A-3AB8-2FC6A54A898E}"/>
          </ac:spMkLst>
        </pc:spChg>
        <pc:spChg chg="add del mod modVis">
          <ac:chgData name="Joelle Brehm" userId="a518f54c-6985-42c0-8041-2bb16a414839" providerId="ADAL" clId="{EC4E33A1-3A40-4A99-A232-1E6EEAE786EA}" dt="2023-08-07T17:40:56.949" v="60479"/>
          <ac:spMkLst>
            <pc:docMk/>
            <pc:sldMk cId="1450446987" sldId="264"/>
            <ac:spMk id="71" creationId="{378FC49A-37D3-B7D5-904B-738807EA91B6}"/>
          </ac:spMkLst>
        </pc:spChg>
        <pc:spChg chg="mod">
          <ac:chgData name="Joelle Brehm" userId="a518f54c-6985-42c0-8041-2bb16a414839" providerId="ADAL" clId="{EC4E33A1-3A40-4A99-A232-1E6EEAE786EA}" dt="2023-08-07T17:41:37.918" v="62845"/>
          <ac:spMkLst>
            <pc:docMk/>
            <pc:sldMk cId="1450446987" sldId="264"/>
            <ac:spMk id="73" creationId="{9222FB5E-7628-BAAE-A4E4-E9F13F9B74EE}"/>
          </ac:spMkLst>
        </pc:spChg>
        <pc:spChg chg="mod">
          <ac:chgData name="Joelle Brehm" userId="a518f54c-6985-42c0-8041-2bb16a414839" providerId="ADAL" clId="{EC4E33A1-3A40-4A99-A232-1E6EEAE786EA}" dt="2023-08-07T17:41:37.918" v="62847"/>
          <ac:spMkLst>
            <pc:docMk/>
            <pc:sldMk cId="1450446987" sldId="264"/>
            <ac:spMk id="74" creationId="{F958F86A-808B-E798-783E-1A1F613E0728}"/>
          </ac:spMkLst>
        </pc:spChg>
        <pc:spChg chg="mod">
          <ac:chgData name="Joelle Brehm" userId="a518f54c-6985-42c0-8041-2bb16a414839" providerId="ADAL" clId="{EC4E33A1-3A40-4A99-A232-1E6EEAE786EA}" dt="2023-08-07T17:41:37.918" v="62841"/>
          <ac:spMkLst>
            <pc:docMk/>
            <pc:sldMk cId="1450446987" sldId="264"/>
            <ac:spMk id="75" creationId="{13410235-2E0C-20D9-B17D-8C7B02B22762}"/>
          </ac:spMkLst>
        </pc:spChg>
        <pc:spChg chg="mod">
          <ac:chgData name="Joelle Brehm" userId="a518f54c-6985-42c0-8041-2bb16a414839" providerId="ADAL" clId="{EC4E33A1-3A40-4A99-A232-1E6EEAE786EA}" dt="2023-08-07T17:41:37.902" v="62834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EC4E33A1-3A40-4A99-A232-1E6EEAE786EA}" dt="2023-08-07T17:41:37.934" v="62905"/>
          <ac:spMkLst>
            <pc:docMk/>
            <pc:sldMk cId="1450446987" sldId="264"/>
            <ac:spMk id="77" creationId="{60F97E40-1529-395D-816D-8834F0F881FD}"/>
          </ac:spMkLst>
        </pc:spChg>
        <pc:spChg chg="mod">
          <ac:chgData name="Joelle Brehm" userId="a518f54c-6985-42c0-8041-2bb16a414839" providerId="ADAL" clId="{EC4E33A1-3A40-4A99-A232-1E6EEAE786EA}" dt="2023-08-07T17:41:37.918" v="62854"/>
          <ac:spMkLst>
            <pc:docMk/>
            <pc:sldMk cId="1450446987" sldId="264"/>
            <ac:spMk id="78" creationId="{CC7AB43F-0280-E74F-A136-01BBACF44D65}"/>
          </ac:spMkLst>
        </pc:spChg>
        <pc:spChg chg="mod">
          <ac:chgData name="Joelle Brehm" userId="a518f54c-6985-42c0-8041-2bb16a414839" providerId="ADAL" clId="{EC4E33A1-3A40-4A99-A232-1E6EEAE786EA}" dt="2023-08-07T17:41:37.918" v="62855"/>
          <ac:spMkLst>
            <pc:docMk/>
            <pc:sldMk cId="1450446987" sldId="264"/>
            <ac:spMk id="79" creationId="{7839083A-6222-21DF-942E-D412CB0A038D}"/>
          </ac:spMkLst>
        </pc:spChg>
        <pc:spChg chg="mod">
          <ac:chgData name="Joelle Brehm" userId="a518f54c-6985-42c0-8041-2bb16a414839" providerId="ADAL" clId="{EC4E33A1-3A40-4A99-A232-1E6EEAE786EA}" dt="2023-08-07T17:41:37.949" v="62936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EC4E33A1-3A40-4A99-A232-1E6EEAE786EA}" dt="2023-08-07T17:41:37.918" v="62858"/>
          <ac:spMkLst>
            <pc:docMk/>
            <pc:sldMk cId="1450446987" sldId="264"/>
            <ac:spMk id="81" creationId="{6F4C96C8-F30F-B7F9-162B-D0B13BC90C2B}"/>
          </ac:spMkLst>
        </pc:spChg>
        <pc:spChg chg="mod">
          <ac:chgData name="Joelle Brehm" userId="a518f54c-6985-42c0-8041-2bb16a414839" providerId="ADAL" clId="{EC4E33A1-3A40-4A99-A232-1E6EEAE786EA}" dt="2023-08-07T17:41:37.934" v="62903"/>
          <ac:spMkLst>
            <pc:docMk/>
            <pc:sldMk cId="1450446987" sldId="264"/>
            <ac:spMk id="82" creationId="{47495649-1334-BE38-2A0B-39662035FACE}"/>
          </ac:spMkLst>
        </pc:spChg>
        <pc:spChg chg="add del mod modVis">
          <ac:chgData name="Joelle Brehm" userId="a518f54c-6985-42c0-8041-2bb16a414839" providerId="ADAL" clId="{EC4E33A1-3A40-4A99-A232-1E6EEAE786EA}" dt="2023-08-07T17:40:59.034" v="60705"/>
          <ac:spMkLst>
            <pc:docMk/>
            <pc:sldMk cId="1450446987" sldId="264"/>
            <ac:spMk id="83" creationId="{D5822480-874B-6C56-4E88-E03E44DB482D}"/>
          </ac:spMkLst>
        </pc:spChg>
        <pc:spChg chg="mod">
          <ac:chgData name="Joelle Brehm" userId="a518f54c-6985-42c0-8041-2bb16a414839" providerId="ADAL" clId="{EC4E33A1-3A40-4A99-A232-1E6EEAE786EA}" dt="2023-08-07T17:41:37.934" v="62928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EC4E33A1-3A40-4A99-A232-1E6EEAE786EA}" dt="2023-08-07T17:41:37.902" v="62821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EC4E33A1-3A40-4A99-A232-1E6EEAE786EA}" dt="2023-08-07T17:41:37.918" v="62850"/>
          <ac:spMkLst>
            <pc:docMk/>
            <pc:sldMk cId="1450446987" sldId="264"/>
            <ac:spMk id="86" creationId="{8755EB97-A2D7-E12E-1034-20F2D9D1D86D}"/>
          </ac:spMkLst>
        </pc:spChg>
        <pc:spChg chg="add mod replST">
          <ac:chgData name="Joelle Brehm" userId="a518f54c-6985-42c0-8041-2bb16a414839" providerId="ADAL" clId="{EC4E33A1-3A40-4A99-A232-1E6EEAE786EA}" dt="2023-08-07T17:41:37.934" v="62886"/>
          <ac:spMkLst>
            <pc:docMk/>
            <pc:sldMk cId="1450446987" sldId="264"/>
            <ac:spMk id="87" creationId="{06946997-7AFB-6327-F61E-B25533F6C115}"/>
          </ac:spMkLst>
        </pc:spChg>
        <pc:spChg chg="add del mod modVis">
          <ac:chgData name="Joelle Brehm" userId="a518f54c-6985-42c0-8041-2bb16a414839" providerId="ADAL" clId="{EC4E33A1-3A40-4A99-A232-1E6EEAE786EA}" dt="2023-08-02T19:00:25.643" v="8024"/>
          <ac:spMkLst>
            <pc:docMk/>
            <pc:sldMk cId="1450446987" sldId="264"/>
            <ac:spMk id="88" creationId="{116B1225-B025-3FDF-87C7-2713FC2ADC11}"/>
          </ac:spMkLst>
        </pc:spChg>
        <pc:spChg chg="mod">
          <ac:chgData name="Joelle Brehm" userId="a518f54c-6985-42c0-8041-2bb16a414839" providerId="ADAL" clId="{EC4E33A1-3A40-4A99-A232-1E6EEAE786EA}" dt="2023-08-07T17:41:37.949" v="62935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EC4E33A1-3A40-4A99-A232-1E6EEAE786EA}" dt="2023-08-07T17:41:37.918" v="62860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EC4E33A1-3A40-4A99-A232-1E6EEAE786EA}" dt="2023-08-07T17:41:37.949" v="62929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EC4E33A1-3A40-4A99-A232-1E6EEAE786EA}" dt="2023-08-07T17:41:37.934" v="62926"/>
          <ac:spMkLst>
            <pc:docMk/>
            <pc:sldMk cId="1450446987" sldId="264"/>
            <ac:spMk id="93" creationId="{E3535E8F-2FE1-602D-1DEE-9C3D3425F046}"/>
          </ac:spMkLst>
        </pc:spChg>
        <pc:spChg chg="add mod replST">
          <ac:chgData name="Joelle Brehm" userId="a518f54c-6985-42c0-8041-2bb16a414839" providerId="ADAL" clId="{EC4E33A1-3A40-4A99-A232-1E6EEAE786EA}" dt="2023-08-07T17:41:37.902" v="62826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EC4E33A1-3A40-4A99-A232-1E6EEAE786EA}" dt="2023-08-07T17:41:37.902" v="62835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EC4E33A1-3A40-4A99-A232-1E6EEAE786EA}" dt="2023-08-07T17:41:37.934" v="62896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EC4E33A1-3A40-4A99-A232-1E6EEAE786EA}" dt="2023-08-07T17:41:37.934" v="62898"/>
          <ac:spMkLst>
            <pc:docMk/>
            <pc:sldMk cId="1450446987" sldId="264"/>
            <ac:spMk id="97" creationId="{64B2B8D7-E8A8-4757-99A4-69F1EAA48321}"/>
          </ac:spMkLst>
        </pc:spChg>
        <pc:spChg chg="add del mod modVis">
          <ac:chgData name="Joelle Brehm" userId="a518f54c-6985-42c0-8041-2bb16a414839" providerId="ADAL" clId="{EC4E33A1-3A40-4A99-A232-1E6EEAE786EA}" dt="2023-08-02T19:00:34.173" v="8319"/>
          <ac:spMkLst>
            <pc:docMk/>
            <pc:sldMk cId="1450446987" sldId="264"/>
            <ac:spMk id="98" creationId="{777977E0-E23B-A744-3C3D-454269055E17}"/>
          </ac:spMkLst>
        </pc:spChg>
        <pc:spChg chg="mod">
          <ac:chgData name="Joelle Brehm" userId="a518f54c-6985-42c0-8041-2bb16a414839" providerId="ADAL" clId="{EC4E33A1-3A40-4A99-A232-1E6EEAE786EA}" dt="2023-08-07T17:41:37.949" v="62937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EC4E33A1-3A40-4A99-A232-1E6EEAE786EA}" dt="2023-08-07T17:41:01.774" v="61086"/>
          <ac:spMkLst>
            <pc:docMk/>
            <pc:sldMk cId="1450446987" sldId="264"/>
            <ac:spMk id="100" creationId="{9438E489-CAE5-B993-4B5E-5D89907367F1}"/>
          </ac:spMkLst>
        </pc:spChg>
        <pc:spChg chg="del mod">
          <ac:chgData name="Joelle Brehm" userId="a518f54c-6985-42c0-8041-2bb16a414839" providerId="ADAL" clId="{EC4E33A1-3A40-4A99-A232-1E6EEAE786EA}" dt="2023-08-02T19:00:13.347" v="7532"/>
          <ac:spMkLst>
            <pc:docMk/>
            <pc:sldMk cId="1450446987" sldId="264"/>
            <ac:spMk id="102" creationId="{D01E11A6-CF9D-DEED-2CEC-6D0A4A368A39}"/>
          </ac:spMkLst>
        </pc:spChg>
        <pc:spChg chg="del mod">
          <ac:chgData name="Joelle Brehm" userId="a518f54c-6985-42c0-8041-2bb16a414839" providerId="ADAL" clId="{EC4E33A1-3A40-4A99-A232-1E6EEAE786EA}" dt="2023-08-02T19:00:13.342" v="7531"/>
          <ac:spMkLst>
            <pc:docMk/>
            <pc:sldMk cId="1450446987" sldId="264"/>
            <ac:spMk id="103" creationId="{387E2E26-D12F-7AF0-9A22-25AAA09DD6F2}"/>
          </ac:spMkLst>
        </pc:spChg>
        <pc:spChg chg="mod">
          <ac:chgData name="Joelle Brehm" userId="a518f54c-6985-42c0-8041-2bb16a414839" providerId="ADAL" clId="{EC4E33A1-3A40-4A99-A232-1E6EEAE786EA}" dt="2023-08-07T17:41:37.918" v="62842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EC4E33A1-3A40-4A99-A232-1E6EEAE786EA}" dt="2023-08-07T17:41:37.949" v="62930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EC4E33A1-3A40-4A99-A232-1E6EEAE786EA}" dt="2023-08-07T17:41:37.902" v="62808"/>
          <ac:spMkLst>
            <pc:docMk/>
            <pc:sldMk cId="1450446987" sldId="264"/>
            <ac:spMk id="106" creationId="{58013157-8B72-4777-A1DA-B9BACD5A28D4}"/>
          </ac:spMkLst>
        </pc:spChg>
        <pc:spChg chg="del mod">
          <ac:chgData name="Joelle Brehm" userId="a518f54c-6985-42c0-8041-2bb16a414839" providerId="ADAL" clId="{EC4E33A1-3A40-4A99-A232-1E6EEAE786EA}" dt="2023-08-07T17:40:58.969" v="60552"/>
          <ac:spMkLst>
            <pc:docMk/>
            <pc:sldMk cId="1450446987" sldId="264"/>
            <ac:spMk id="10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7T17:41:37.918" v="62859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EC4E33A1-3A40-4A99-A232-1E6EEAE786EA}" dt="2023-08-07T17:41:37.918" v="62851"/>
          <ac:spMkLst>
            <pc:docMk/>
            <pc:sldMk cId="1450446987" sldId="264"/>
            <ac:spMk id="109" creationId="{6190254C-63EA-3137-CA9E-EDEF286647D9}"/>
          </ac:spMkLst>
        </pc:spChg>
        <pc:spChg chg="add mod replST">
          <ac:chgData name="Joelle Brehm" userId="a518f54c-6985-42c0-8041-2bb16a414839" providerId="ADAL" clId="{EC4E33A1-3A40-4A99-A232-1E6EEAE786EA}" dt="2023-08-07T17:41:37.902" v="62836"/>
          <ac:spMkLst>
            <pc:docMk/>
            <pc:sldMk cId="1450446987" sldId="264"/>
            <ac:spMk id="110" creationId="{3E9DFF71-BC3D-F5AB-9F34-2E7EB64B1AD3}"/>
          </ac:spMkLst>
        </pc:spChg>
        <pc:spChg chg="add del mod modVis">
          <ac:chgData name="Joelle Brehm" userId="a518f54c-6985-42c0-8041-2bb16a414839" providerId="ADAL" clId="{EC4E33A1-3A40-4A99-A232-1E6EEAE786EA}" dt="2023-08-02T19:00:45.205" v="8571"/>
          <ac:spMkLst>
            <pc:docMk/>
            <pc:sldMk cId="1450446987" sldId="264"/>
            <ac:spMk id="111" creationId="{0BE9500C-D9FD-BE80-0741-5BA3F52257B0}"/>
          </ac:spMkLst>
        </pc:spChg>
        <pc:spChg chg="add del mod modVis">
          <ac:chgData name="Joelle Brehm" userId="a518f54c-6985-42c0-8041-2bb16a414839" providerId="ADAL" clId="{EC4E33A1-3A40-4A99-A232-1E6EEAE786EA}" dt="2023-08-07T17:41:11.915" v="61719"/>
          <ac:spMkLst>
            <pc:docMk/>
            <pc:sldMk cId="1450446987" sldId="264"/>
            <ac:spMk id="111" creationId="{684C2DDC-E111-DBD9-06E0-A62624343AA5}"/>
          </ac:spMkLst>
        </pc:spChg>
        <pc:spChg chg="mod">
          <ac:chgData name="Joelle Brehm" userId="a518f54c-6985-42c0-8041-2bb16a414839" providerId="ADAL" clId="{EC4E33A1-3A40-4A99-A232-1E6EEAE786EA}" dt="2023-08-07T17:41:37.934" v="62910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EC4E33A1-3A40-4A99-A232-1E6EEAE786EA}" dt="2023-08-07T17:41:37.918" v="62861"/>
          <ac:spMkLst>
            <pc:docMk/>
            <pc:sldMk cId="1450446987" sldId="264"/>
            <ac:spMk id="113" creationId="{345D71C8-6CA8-CC84-D4E5-408E5C14405E}"/>
          </ac:spMkLst>
        </pc:spChg>
        <pc:spChg chg="del mod">
          <ac:chgData name="Joelle Brehm" userId="a518f54c-6985-42c0-8041-2bb16a414839" providerId="ADAL" clId="{EC4E33A1-3A40-4A99-A232-1E6EEAE786EA}" dt="2023-08-02T19:00:48.297" v="8575"/>
          <ac:spMkLst>
            <pc:docMk/>
            <pc:sldMk cId="1450446987" sldId="264"/>
            <ac:spMk id="114" creationId="{5B68E733-D471-6032-5D77-FB849AB2ADCF}"/>
          </ac:spMkLst>
        </pc:spChg>
        <pc:spChg chg="add mod replST">
          <ac:chgData name="Joelle Brehm" userId="a518f54c-6985-42c0-8041-2bb16a414839" providerId="ADAL" clId="{EC4E33A1-3A40-4A99-A232-1E6EEAE786EA}" dt="2023-08-07T17:41:37.934" v="62907"/>
          <ac:spMkLst>
            <pc:docMk/>
            <pc:sldMk cId="1450446987" sldId="264"/>
            <ac:spMk id="11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7T17:41:37.934" v="62915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EC4E33A1-3A40-4A99-A232-1E6EEAE786EA}" dt="2023-08-07T17:41:37.949" v="62938"/>
          <ac:spMkLst>
            <pc:docMk/>
            <pc:sldMk cId="1450446987" sldId="264"/>
            <ac:spMk id="116" creationId="{E6B2D068-E691-A10D-15D8-F8578EFD4C29}"/>
          </ac:spMkLst>
        </pc:spChg>
        <pc:spChg chg="mod">
          <ac:chgData name="Joelle Brehm" userId="a518f54c-6985-42c0-8041-2bb16a414839" providerId="ADAL" clId="{EC4E33A1-3A40-4A99-A232-1E6EEAE786EA}" dt="2023-08-07T17:41:37.934" v="62914"/>
          <ac:spMkLst>
            <pc:docMk/>
            <pc:sldMk cId="1450446987" sldId="264"/>
            <ac:spMk id="117" creationId="{CA507393-C271-461C-833F-D27183C2BAD3}"/>
          </ac:spMkLst>
        </pc:spChg>
        <pc:spChg chg="del mod">
          <ac:chgData name="Joelle Brehm" userId="a518f54c-6985-42c0-8041-2bb16a414839" providerId="ADAL" clId="{EC4E33A1-3A40-4A99-A232-1E6EEAE786EA}" dt="2023-08-02T19:00:48.290" v="8574"/>
          <ac:spMkLst>
            <pc:docMk/>
            <pc:sldMk cId="1450446987" sldId="264"/>
            <ac:spMk id="118" creationId="{5EDAD042-B830-C9D1-8CBE-2AF11422AA75}"/>
          </ac:spMkLst>
        </pc:spChg>
        <pc:spChg chg="add del mod modVis">
          <ac:chgData name="Joelle Brehm" userId="a518f54c-6985-42c0-8041-2bb16a414839" providerId="ADAL" clId="{EC4E33A1-3A40-4A99-A232-1E6EEAE786EA}" dt="2023-08-07T17:41:12.883" v="61947"/>
          <ac:spMkLst>
            <pc:docMk/>
            <pc:sldMk cId="1450446987" sldId="264"/>
            <ac:spMk id="119" creationId="{B22AFE58-0686-53E8-63BC-8DBBD25BF295}"/>
          </ac:spMkLst>
        </pc:spChg>
        <pc:spChg chg="del mod">
          <ac:chgData name="Joelle Brehm" userId="a518f54c-6985-42c0-8041-2bb16a414839" providerId="ADAL" clId="{EC4E33A1-3A40-4A99-A232-1E6EEAE786EA}" dt="2023-08-07T17:41:01.710" v="60934"/>
          <ac:spMkLst>
            <pc:docMk/>
            <pc:sldMk cId="1450446987" sldId="264"/>
            <ac:spMk id="120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19:00:58.544" v="9108"/>
          <ac:spMkLst>
            <pc:docMk/>
            <pc:sldMk cId="1450446987" sldId="264"/>
            <ac:spMk id="121" creationId="{476A269C-5CB6-E359-9D54-D0E45330A526}"/>
          </ac:spMkLst>
        </pc:spChg>
        <pc:spChg chg="mod">
          <ac:chgData name="Joelle Brehm" userId="a518f54c-6985-42c0-8041-2bb16a414839" providerId="ADAL" clId="{EC4E33A1-3A40-4A99-A232-1E6EEAE786EA}" dt="2023-08-07T17:41:37.918" v="62852"/>
          <ac:spMkLst>
            <pc:docMk/>
            <pc:sldMk cId="1450446987" sldId="264"/>
            <ac:spMk id="124" creationId="{E29C0612-0AFE-B996-B33A-B76C1FA88F23}"/>
          </ac:spMkLst>
        </pc:spChg>
        <pc:spChg chg="add mod replST">
          <ac:chgData name="Joelle Brehm" userId="a518f54c-6985-42c0-8041-2bb16a414839" providerId="ADAL" clId="{EC4E33A1-3A40-4A99-A232-1E6EEAE786EA}" dt="2023-08-07T17:41:37.949" v="62931"/>
          <ac:spMkLst>
            <pc:docMk/>
            <pc:sldMk cId="1450446987" sldId="264"/>
            <ac:spMk id="125" creationId="{7946676C-3436-BEA2-4ED0-A4B3DECD2026}"/>
          </ac:spMkLst>
        </pc:spChg>
        <pc:spChg chg="add del mod modVis">
          <ac:chgData name="Joelle Brehm" userId="a518f54c-6985-42c0-8041-2bb16a414839" providerId="ADAL" clId="{EC4E33A1-3A40-4A99-A232-1E6EEAE786EA}" dt="2023-08-02T19:00:56.632" v="9105"/>
          <ac:spMkLst>
            <pc:docMk/>
            <pc:sldMk cId="1450446987" sldId="264"/>
            <ac:spMk id="126" creationId="{496B7228-3F49-E97B-EC3D-90D9748EC1C7}"/>
          </ac:spMkLst>
        </pc:spChg>
        <pc:spChg chg="add del mod modVis">
          <ac:chgData name="Joelle Brehm" userId="a518f54c-6985-42c0-8041-2bb16a414839" providerId="ADAL" clId="{EC4E33A1-3A40-4A99-A232-1E6EEAE786EA}" dt="2023-08-07T17:41:23.589" v="62319"/>
          <ac:spMkLst>
            <pc:docMk/>
            <pc:sldMk cId="1450446987" sldId="264"/>
            <ac:spMk id="126" creationId="{94E8F344-E90C-ECE2-7FB6-50966A05F78F}"/>
          </ac:spMkLst>
        </pc:spChg>
        <pc:spChg chg="mod">
          <ac:chgData name="Joelle Brehm" userId="a518f54c-6985-42c0-8041-2bb16a414839" providerId="ADAL" clId="{EC4E33A1-3A40-4A99-A232-1E6EEAE786EA}" dt="2023-08-07T17:41:37.918" v="62862"/>
          <ac:spMkLst>
            <pc:docMk/>
            <pc:sldMk cId="1450446987" sldId="264"/>
            <ac:spMk id="127" creationId="{2CF9A986-1E95-AE1A-FD0F-F8AD045E4589}"/>
          </ac:spMkLst>
        </pc:spChg>
        <pc:spChg chg="add del mod modVis">
          <ac:chgData name="Joelle Brehm" userId="a518f54c-6985-42c0-8041-2bb16a414839" providerId="ADAL" clId="{EC4E33A1-3A40-4A99-A232-1E6EEAE786EA}" dt="2023-08-07T17:41:27.659" v="62539"/>
          <ac:spMkLst>
            <pc:docMk/>
            <pc:sldMk cId="1450446987" sldId="264"/>
            <ac:spMk id="129" creationId="{D2B7CCC2-0C79-5976-AF0F-E780B83795BF}"/>
          </ac:spMkLst>
        </pc:spChg>
        <pc:spChg chg="add mod replST">
          <ac:chgData name="Joelle Brehm" userId="a518f54c-6985-42c0-8041-2bb16a414839" providerId="ADAL" clId="{EC4E33A1-3A40-4A99-A232-1E6EEAE786EA}" dt="2023-08-07T17:41:37.949" v="62939"/>
          <ac:spMkLst>
            <pc:docMk/>
            <pc:sldMk cId="1450446987" sldId="264"/>
            <ac:spMk id="132" creationId="{8E856E10-A2C3-3BD4-C02F-F3D2D343989C}"/>
          </ac:spMkLst>
        </pc:spChg>
        <pc:spChg chg="mod">
          <ac:chgData name="Joelle Brehm" userId="a518f54c-6985-42c0-8041-2bb16a414839" providerId="ADAL" clId="{EC4E33A1-3A40-4A99-A232-1E6EEAE786EA}" dt="2023-08-07T17:41:37.934" v="62922"/>
          <ac:spMkLst>
            <pc:docMk/>
            <pc:sldMk cId="1450446987" sldId="264"/>
            <ac:spMk id="133" creationId="{27E751A0-7D1F-8C13-F04F-59DC6E236D65}"/>
          </ac:spMkLst>
        </pc:spChg>
        <pc:spChg chg="add del mod modVis">
          <ac:chgData name="Joelle Brehm" userId="a518f54c-6985-42c0-8041-2bb16a414839" providerId="ADAL" clId="{EC4E33A1-3A40-4A99-A232-1E6EEAE786EA}" dt="2023-08-07T17:41:32.668" v="62744"/>
          <ac:spMkLst>
            <pc:docMk/>
            <pc:sldMk cId="1450446987" sldId="264"/>
            <ac:spMk id="134" creationId="{29A9ECBE-334C-EEA8-B09B-B1847D499DB5}"/>
          </ac:spMkLst>
        </pc:spChg>
        <pc:spChg chg="add del mod modVis">
          <ac:chgData name="Joelle Brehm" userId="a518f54c-6985-42c0-8041-2bb16a414839" providerId="ADAL" clId="{EC4E33A1-3A40-4A99-A232-1E6EEAE786EA}" dt="2023-08-02T19:01:03.189" v="9578"/>
          <ac:spMkLst>
            <pc:docMk/>
            <pc:sldMk cId="1450446987" sldId="264"/>
            <ac:spMk id="134" creationId="{DD5F5DA6-5848-8DD6-EEEA-43A4C13C5C9C}"/>
          </ac:spMkLst>
        </pc:spChg>
        <pc:spChg chg="del mod">
          <ac:chgData name="Joelle Brehm" userId="a518f54c-6985-42c0-8041-2bb16a414839" providerId="ADAL" clId="{EC4E33A1-3A40-4A99-A232-1E6EEAE786EA}" dt="2023-08-02T19:01:18.111" v="10155"/>
          <ac:spMkLst>
            <pc:docMk/>
            <pc:sldMk cId="1450446987" sldId="264"/>
            <ac:spMk id="135" creationId="{157CAC38-1013-FF7F-5384-7241D692C85F}"/>
          </ac:spMkLst>
        </pc:spChg>
        <pc:spChg chg="mod">
          <ac:chgData name="Joelle Brehm" userId="a518f54c-6985-42c0-8041-2bb16a414839" providerId="ADAL" clId="{EC4E33A1-3A40-4A99-A232-1E6EEAE786EA}" dt="2023-08-07T17:41:37.934" v="62904"/>
          <ac:spMkLst>
            <pc:docMk/>
            <pc:sldMk cId="1450446987" sldId="264"/>
            <ac:spMk id="136" creationId="{B0880886-62C0-5AA0-11B4-1A12280C6771}"/>
          </ac:spMkLst>
        </pc:spChg>
        <pc:spChg chg="add del mod modVis">
          <ac:chgData name="Joelle Brehm" userId="a518f54c-6985-42c0-8041-2bb16a414839" providerId="ADAL" clId="{EC4E33A1-3A40-4A99-A232-1E6EEAE786EA}" dt="2023-08-07T17:41:37.949" v="62945"/>
          <ac:spMkLst>
            <pc:docMk/>
            <pc:sldMk cId="1450446987" sldId="264"/>
            <ac:spMk id="137" creationId="{3BA1B4ED-68E3-6613-98DB-AC55757FE82C}"/>
          </ac:spMkLst>
        </pc:spChg>
        <pc:spChg chg="del mod">
          <ac:chgData name="Joelle Brehm" userId="a518f54c-6985-42c0-8041-2bb16a414839" providerId="ADAL" clId="{EC4E33A1-3A40-4A99-A232-1E6EEAE786EA}" dt="2023-08-02T19:01:18.109" v="10154"/>
          <ac:spMkLst>
            <pc:docMk/>
            <pc:sldMk cId="1450446987" sldId="264"/>
            <ac:spMk id="137" creationId="{9E2688B6-E861-7EEB-63C2-D727A9E9A01E}"/>
          </ac:spMkLst>
        </pc:spChg>
        <pc:spChg chg="add mod replST">
          <ac:chgData name="Joelle Brehm" userId="a518f54c-6985-42c0-8041-2bb16a414839" providerId="ADAL" clId="{EC4E33A1-3A40-4A99-A232-1E6EEAE786EA}" dt="2023-08-07T17:41:37.918" v="62853"/>
          <ac:spMkLst>
            <pc:docMk/>
            <pc:sldMk cId="1450446987" sldId="264"/>
            <ac:spMk id="139" creationId="{90D6C27A-2B60-467B-C5C7-9CCE43964040}"/>
          </ac:spMkLst>
        </pc:spChg>
        <pc:spChg chg="add del mod modVis">
          <ac:chgData name="Joelle Brehm" userId="a518f54c-6985-42c0-8041-2bb16a414839" providerId="ADAL" clId="{EC4E33A1-3A40-4A99-A232-1E6EEAE786EA}" dt="2023-08-02T19:01:10.910" v="9874"/>
          <ac:spMkLst>
            <pc:docMk/>
            <pc:sldMk cId="1450446987" sldId="264"/>
            <ac:spMk id="140" creationId="{BEAF0B9F-886C-357A-A424-D0060051265D}"/>
          </ac:spMkLst>
        </pc:spChg>
        <pc:spChg chg="mod">
          <ac:chgData name="Joelle Brehm" userId="a518f54c-6985-42c0-8041-2bb16a414839" providerId="ADAL" clId="{EC4E33A1-3A40-4A99-A232-1E6EEAE786EA}" dt="2023-08-07T17:41:37.934" v="62924"/>
          <ac:spMkLst>
            <pc:docMk/>
            <pc:sldMk cId="1450446987" sldId="264"/>
            <ac:spMk id="142" creationId="{4C243CA7-30C6-C41B-1F6A-8A2CF12A5651}"/>
          </ac:spMkLst>
        </pc:spChg>
        <pc:spChg chg="add mod replST">
          <ac:chgData name="Joelle Brehm" userId="a518f54c-6985-42c0-8041-2bb16a414839" providerId="ADAL" clId="{EC4E33A1-3A40-4A99-A232-1E6EEAE786EA}" dt="2023-08-07T17:41:37.918" v="62843"/>
          <ac:spMkLst>
            <pc:docMk/>
            <pc:sldMk cId="1450446987" sldId="264"/>
            <ac:spMk id="143" creationId="{8B4F9978-6CBD-ADA8-09AB-786FD14471F8}"/>
          </ac:spMkLst>
        </pc:spChg>
        <pc:spChg chg="add del mod modVis">
          <ac:chgData name="Joelle Brehm" userId="a518f54c-6985-42c0-8041-2bb16a414839" providerId="ADAL" clId="{EC4E33A1-3A40-4A99-A232-1E6EEAE786EA}" dt="2023-08-02T19:01:15.738" v="10151"/>
          <ac:spMkLst>
            <pc:docMk/>
            <pc:sldMk cId="1450446987" sldId="264"/>
            <ac:spMk id="144" creationId="{E3CBB16B-1533-E672-67B0-468008AC1597}"/>
          </ac:spMkLst>
        </pc:spChg>
        <pc:spChg chg="mod">
          <ac:chgData name="Joelle Brehm" userId="a518f54c-6985-42c0-8041-2bb16a414839" providerId="ADAL" clId="{EC4E33A1-3A40-4A99-A232-1E6EEAE786EA}" dt="2023-08-07T17:41:37.934" v="62921"/>
          <ac:spMkLst>
            <pc:docMk/>
            <pc:sldMk cId="1450446987" sldId="264"/>
            <ac:spMk id="151" creationId="{7EF7CCB6-B417-DC51-1AB2-68262CB2FA75}"/>
          </ac:spMkLst>
        </pc:spChg>
        <pc:spChg chg="mod">
          <ac:chgData name="Joelle Brehm" userId="a518f54c-6985-42c0-8041-2bb16a414839" providerId="ADAL" clId="{EC4E33A1-3A40-4A99-A232-1E6EEAE786EA}" dt="2023-08-07T17:41:37.934" v="62923"/>
          <ac:spMkLst>
            <pc:docMk/>
            <pc:sldMk cId="1450446987" sldId="264"/>
            <ac:spMk id="152" creationId="{DA6FB46B-FE82-345B-FD6E-877AEF916054}"/>
          </ac:spMkLst>
        </pc:spChg>
        <pc:spChg chg="mod">
          <ac:chgData name="Joelle Brehm" userId="a518f54c-6985-42c0-8041-2bb16a414839" providerId="ADAL" clId="{EC4E33A1-3A40-4A99-A232-1E6EEAE786EA}" dt="2023-08-07T17:41:37.934" v="62902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EC4E33A1-3A40-4A99-A232-1E6EEAE786EA}" dt="2023-08-07T17:41:37.934" v="62913"/>
          <ac:spMkLst>
            <pc:docMk/>
            <pc:sldMk cId="1450446987" sldId="264"/>
            <ac:spMk id="162" creationId="{A162EB60-F907-7F32-BE30-A5DD5012E9B2}"/>
          </ac:spMkLst>
        </pc:spChg>
        <pc:spChg chg="mod">
          <ac:chgData name="Joelle Brehm" userId="a518f54c-6985-42c0-8041-2bb16a414839" providerId="ADAL" clId="{EC4E33A1-3A40-4A99-A232-1E6EEAE786EA}" dt="2023-08-07T17:41:37.949" v="62932"/>
          <ac:spMkLst>
            <pc:docMk/>
            <pc:sldMk cId="1450446987" sldId="264"/>
            <ac:spMk id="183" creationId="{AF9B10EE-106F-F48F-396B-6E0A5755F50A}"/>
          </ac:spMkLst>
        </pc:spChg>
        <pc:spChg chg="mod">
          <ac:chgData name="Joelle Brehm" userId="a518f54c-6985-42c0-8041-2bb16a414839" providerId="ADAL" clId="{EC4E33A1-3A40-4A99-A232-1E6EEAE786EA}" dt="2023-08-07T17:41:37.934" v="62901"/>
          <ac:spMkLst>
            <pc:docMk/>
            <pc:sldMk cId="1450446987" sldId="264"/>
            <ac:spMk id="188" creationId="{3EAD5544-D356-497E-99A8-A208C0CDD275}"/>
          </ac:spMkLst>
        </pc:spChg>
        <pc:spChg chg="mod">
          <ac:chgData name="Joelle Brehm" userId="a518f54c-6985-42c0-8041-2bb16a414839" providerId="ADAL" clId="{EC4E33A1-3A40-4A99-A232-1E6EEAE786EA}" dt="2023-08-07T17:41:37.918" v="62848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EC4E33A1-3A40-4A99-A232-1E6EEAE786EA}" dt="2023-08-07T17:41:37.918" v="62840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EC4E33A1-3A40-4A99-A232-1E6EEAE786EA}" dt="2023-08-07T17:41:37.918" v="62839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EC4E33A1-3A40-4A99-A232-1E6EEAE786EA}" dt="2023-08-07T17:41:37.934" v="62917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EC4E33A1-3A40-4A99-A232-1E6EEAE786EA}" dt="2023-08-07T17:41:37.949" v="62941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EC4E33A1-3A40-4A99-A232-1E6EEAE786EA}" dt="2023-08-07T17:41:37.965" v="62947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0:49.268" v="59899"/>
          <ac:graphicFrameMkLst>
            <pc:docMk/>
            <pc:sldMk cId="1450446987" sldId="264"/>
            <ac:graphicFrameMk id="14" creationId="{1560B1D6-2DE0-75C0-C69C-219A631D4F4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0:52.372" v="60122"/>
          <ac:graphicFrameMkLst>
            <pc:docMk/>
            <pc:sldMk cId="1450446987" sldId="264"/>
            <ac:graphicFrameMk id="36" creationId="{550247CD-A292-B7AE-4DCD-4061BC1E0E5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0:03.707" v="7092"/>
          <ac:graphicFrameMkLst>
            <pc:docMk/>
            <pc:sldMk cId="1450446987" sldId="264"/>
            <ac:graphicFrameMk id="47" creationId="{C568064C-6034-FF7D-98EF-B603B22F7FA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0:11.067" v="7376"/>
          <ac:graphicFrameMkLst>
            <pc:docMk/>
            <pc:sldMk cId="1450446987" sldId="264"/>
            <ac:graphicFrameMk id="49" creationId="{4A6565C3-90A6-C111-433C-8338BFAD6B4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0:56.900" v="60329"/>
          <ac:graphicFrameMkLst>
            <pc:docMk/>
            <pc:sldMk cId="1450446987" sldId="264"/>
            <ac:graphicFrameMk id="58" creationId="{49FF4078-049C-76EC-15D1-3735AADB902E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0:13.454" v="7606"/>
          <ac:graphicFrameMkLst>
            <pc:docMk/>
            <pc:sldMk cId="1450446987" sldId="264"/>
            <ac:graphicFrameMk id="71" creationId="{482E9E3E-FE79-ED0C-2394-95EF37A8F137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0:58.969" v="60556"/>
          <ac:graphicFrameMkLst>
            <pc:docMk/>
            <pc:sldMk cId="1450446987" sldId="264"/>
            <ac:graphicFrameMk id="72" creationId="{33F6566C-678B-148E-E540-861116F818C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0:25.479" v="7873"/>
          <ac:graphicFrameMkLst>
            <pc:docMk/>
            <pc:sldMk cId="1450446987" sldId="264"/>
            <ac:graphicFrameMk id="72" creationId="{CA4B207F-F0DA-D6C3-D022-F4F6B7E99D9D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9:00:02.928" v="6910"/>
          <ac:graphicFrameMkLst>
            <pc:docMk/>
            <pc:sldMk cId="1450446987" sldId="264"/>
            <ac:graphicFrameMk id="83" creationId="{B1D54E36-B974-6370-03FF-9AE959EF0E6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00.874" v="60719"/>
          <ac:graphicFrameMkLst>
            <pc:docMk/>
            <pc:sldMk cId="1450446987" sldId="264"/>
            <ac:graphicFrameMk id="88" creationId="{E05AAD91-0CA3-E355-D173-ACC7EF0B6AB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7T17:41:37.918" v="62864"/>
          <ac:graphicFrameMkLst>
            <pc:docMk/>
            <pc:sldMk cId="1450446987" sldId="264"/>
            <ac:graphicFrameMk id="92" creationId="{3CB54DEA-3F0C-54FD-EB63-E8CB1F4B38AA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01.710" v="60938"/>
          <ac:graphicFrameMkLst>
            <pc:docMk/>
            <pc:sldMk cId="1450446987" sldId="264"/>
            <ac:graphicFrameMk id="98" creationId="{E5EAE3C8-07E2-016F-83FF-E3C6193DDF5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0:44.979" v="8418"/>
          <ac:graphicFrameMkLst>
            <pc:docMk/>
            <pc:sldMk cId="1450446987" sldId="264"/>
            <ac:graphicFrameMk id="100" creationId="{ABD54109-5B44-B849-4880-C4B22DB8AE4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03.839" v="61107"/>
          <ac:graphicFrameMkLst>
            <pc:docMk/>
            <pc:sldMk cId="1450446987" sldId="264"/>
            <ac:graphicFrameMk id="101" creationId="{9F7BFAE6-6506-880D-B9C3-9EC340371877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9:00:34.042" v="8167"/>
          <ac:graphicFrameMkLst>
            <pc:docMk/>
            <pc:sldMk cId="1450446987" sldId="264"/>
            <ac:graphicFrameMk id="101" creationId="{EF09E841-DCA0-0E29-9C6F-AA66D0F5A346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04.526" v="61274"/>
          <ac:graphicFrameMkLst>
            <pc:docMk/>
            <pc:sldMk cId="1450446987" sldId="264"/>
            <ac:graphicFrameMk id="102" creationId="{F817F2ED-A617-F6B4-43B2-5998EBBA30E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11.851" v="61570"/>
          <ac:graphicFrameMkLst>
            <pc:docMk/>
            <pc:sldMk cId="1450446987" sldId="264"/>
            <ac:graphicFrameMk id="103" creationId="{C0360A70-23F7-B6EE-3F68-52BF43E730F4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12.816" v="61798"/>
          <ac:graphicFrameMkLst>
            <pc:docMk/>
            <pc:sldMk cId="1450446987" sldId="264"/>
            <ac:graphicFrameMk id="118" creationId="{B1801FF3-C36D-497D-A82E-2C5C8FFCEF7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0:48.433" v="8676"/>
          <ac:graphicFrameMkLst>
            <pc:docMk/>
            <pc:sldMk cId="1450446987" sldId="264"/>
            <ac:graphicFrameMk id="119" creationId="{7406F97C-96E4-EA69-BF15-5172D2426DDA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14.500" v="61967"/>
          <ac:graphicFrameMkLst>
            <pc:docMk/>
            <pc:sldMk cId="1450446987" sldId="264"/>
            <ac:graphicFrameMk id="121" creationId="{7BD91BB8-34F0-35A3-F0FE-AB3919F774A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7T17:41:37.902" v="62812"/>
          <ac:graphicFrameMkLst>
            <pc:docMk/>
            <pc:sldMk cId="1450446987" sldId="264"/>
            <ac:graphicFrameMk id="122" creationId="{67C59CE1-9DF2-8409-278E-11E4D023E5D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9:00:56.494" v="8953"/>
          <ac:graphicFrameMkLst>
            <pc:docMk/>
            <pc:sldMk cId="1450446987" sldId="264"/>
            <ac:graphicFrameMk id="123" creationId="{0726F88C-3400-A009-2BCD-D80C461CBAB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23.535" v="62170"/>
          <ac:graphicFrameMkLst>
            <pc:docMk/>
            <pc:sldMk cId="1450446987" sldId="264"/>
            <ac:graphicFrameMk id="123" creationId="{116D5160-28C6-6FD7-317A-1921E4B21A6F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0:58.640" v="9170"/>
          <ac:graphicFrameMkLst>
            <pc:docMk/>
            <pc:sldMk cId="1450446987" sldId="264"/>
            <ac:graphicFrameMk id="128" creationId="{17B91FEB-650F-3F7B-E704-D0A44FEF19B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27.596" v="62390"/>
          <ac:graphicFrameMkLst>
            <pc:docMk/>
            <pc:sldMk cId="1450446987" sldId="264"/>
            <ac:graphicFrameMk id="128" creationId="{AC8370A2-C164-DABB-328E-C889AA544BB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1:03.036" v="9426"/>
          <ac:graphicFrameMkLst>
            <pc:docMk/>
            <pc:sldMk cId="1450446987" sldId="264"/>
            <ac:graphicFrameMk id="129" creationId="{AFF2BF3C-34F3-5E5F-28B1-83F61E520941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7T17:40:34.270" v="59720"/>
          <ac:graphicFrameMkLst>
            <pc:docMk/>
            <pc:sldMk cId="1450446987" sldId="264"/>
            <ac:graphicFrameMk id="130" creationId="{9C2FD8A1-6F3E-5EE8-9C29-1B6EC5DAF81A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32.606" v="62595"/>
          <ac:graphicFrameMkLst>
            <pc:docMk/>
            <pc:sldMk cId="1450446987" sldId="264"/>
            <ac:graphicFrameMk id="131" creationId="{C111342A-9CA8-F720-0AD5-7B7C816C1DF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9:01:10.795" v="9721"/>
          <ac:graphicFrameMkLst>
            <pc:docMk/>
            <pc:sldMk cId="1450446987" sldId="264"/>
            <ac:graphicFrameMk id="131" creationId="{F7B47687-EEFD-B14A-2F2A-218242452E0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7T17:41:37.886" v="62796"/>
          <ac:graphicFrameMkLst>
            <pc:docMk/>
            <pc:sldMk cId="1450446987" sldId="264"/>
            <ac:graphicFrameMk id="135" creationId="{656CA6E6-06EA-3021-2E23-11D4D28F5A2A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7T17:41:37.934" v="62919"/>
          <ac:graphicFrameMkLst>
            <pc:docMk/>
            <pc:sldMk cId="1450446987" sldId="264"/>
            <ac:graphicFrameMk id="138" creationId="{A12980B3-3491-52F4-2D3D-2B563F09323C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7T17:41:37.934" v="62900"/>
          <ac:graphicFrameMkLst>
            <pc:docMk/>
            <pc:sldMk cId="1450446987" sldId="264"/>
            <ac:graphicFrameMk id="140" creationId="{740024E7-70AE-BC8C-FBE4-FA6DE3D8A5A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1:15.538" v="9997"/>
          <ac:graphicFrameMkLst>
            <pc:docMk/>
            <pc:sldMk cId="1450446987" sldId="264"/>
            <ac:graphicFrameMk id="141" creationId="{D6621324-A5DC-1020-EE42-92B9021A4777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01:18.257" v="10232"/>
          <ac:graphicFrameMkLst>
            <pc:docMk/>
            <pc:sldMk cId="1450446987" sldId="264"/>
            <ac:graphicFrameMk id="145" creationId="{66E07E46-0EE3-96F8-532F-4F75A4DD83E4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7T17:41:37.918" v="62838"/>
          <ac:graphicFrameMkLst>
            <pc:docMk/>
            <pc:sldMk cId="1450446987" sldId="264"/>
            <ac:graphicFrameMk id="146" creationId="{06218E5C-7E85-5C4D-EFD9-BBABAFC03779}"/>
          </ac:graphicFrameMkLst>
        </pc:graphicFrameChg>
        <pc:picChg chg="mod ord">
          <ac:chgData name="Joelle Brehm" userId="a518f54c-6985-42c0-8041-2bb16a414839" providerId="ADAL" clId="{EC4E33A1-3A40-4A99-A232-1E6EEAE786EA}" dt="2023-08-07T17:41:37.902" v="62810"/>
          <ac:picMkLst>
            <pc:docMk/>
            <pc:sldMk cId="1450446987" sldId="264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EC4E33A1-3A40-4A99-A232-1E6EEAE786EA}" dt="2023-08-07T17:41:37.902" v="62804"/>
          <ac:picMkLst>
            <pc:docMk/>
            <pc:sldMk cId="1450446987" sldId="264"/>
            <ac:picMk id="8" creationId="{ADD3D693-67D6-873C-F483-85F2E6F08282}"/>
          </ac:picMkLst>
        </pc:picChg>
        <pc:picChg chg="del mod ord">
          <ac:chgData name="Joelle Brehm" userId="a518f54c-6985-42c0-8041-2bb16a414839" providerId="ADAL" clId="{EC4E33A1-3A40-4A99-A232-1E6EEAE786EA}" dt="2023-08-02T18:59:42.289" v="6797" actId="478"/>
          <ac:picMkLst>
            <pc:docMk/>
            <pc:sldMk cId="1450446987" sldId="264"/>
            <ac:picMk id="36" creationId="{88087826-C921-B6AD-38E8-9A3AF6D893FE}"/>
          </ac:picMkLst>
        </pc:picChg>
      </pc:sldChg>
      <pc:sldChg chg="addSp delSp modSp mod">
        <pc:chgData name="Joelle Brehm" userId="a518f54c-6985-42c0-8041-2bb16a414839" providerId="ADAL" clId="{EC4E33A1-3A40-4A99-A232-1E6EEAE786EA}" dt="2023-08-02T20:00:23.009" v="17517"/>
        <pc:sldMkLst>
          <pc:docMk/>
          <pc:sldMk cId="3436037945" sldId="265"/>
        </pc:sldMkLst>
        <pc:spChg chg="mod ord">
          <ac:chgData name="Joelle Brehm" userId="a518f54c-6985-42c0-8041-2bb16a414839" providerId="ADAL" clId="{EC4E33A1-3A40-4A99-A232-1E6EEAE786EA}" dt="2023-08-02T20:00:22.983" v="17511"/>
          <ac:spMkLst>
            <pc:docMk/>
            <pc:sldMk cId="3436037945" sldId="265"/>
            <ac:spMk id="2" creationId="{6E232D48-9913-4AD2-87D8-2BF43FF429A0}"/>
          </ac:spMkLst>
        </pc:spChg>
        <pc:spChg chg="add del mod ord">
          <ac:chgData name="Joelle Brehm" userId="a518f54c-6985-42c0-8041-2bb16a414839" providerId="ADAL" clId="{EC4E33A1-3A40-4A99-A232-1E6EEAE786EA}" dt="2023-08-02T19:59:55.096" v="16360" actId="478"/>
          <ac:spMkLst>
            <pc:docMk/>
            <pc:sldMk cId="3436037945" sldId="265"/>
            <ac:spMk id="3" creationId="{8E529CF5-16C4-F4CC-930B-58CD2EFFB845}"/>
          </ac:spMkLst>
        </pc:spChg>
        <pc:spChg chg="add del mod modVis">
          <ac:chgData name="Joelle Brehm" userId="a518f54c-6985-42c0-8041-2bb16a414839" providerId="ADAL" clId="{EC4E33A1-3A40-4A99-A232-1E6EEAE786EA}" dt="2023-08-02T19:56:19.885" v="16265"/>
          <ac:spMkLst>
            <pc:docMk/>
            <pc:sldMk cId="3436037945" sldId="265"/>
            <ac:spMk id="5" creationId="{56498F0E-8D6A-2622-E8EE-1A09078DAAB4}"/>
          </ac:spMkLst>
        </pc:spChg>
        <pc:spChg chg="mod ord">
          <ac:chgData name="Joelle Brehm" userId="a518f54c-6985-42c0-8041-2bb16a414839" providerId="ADAL" clId="{EC4E33A1-3A40-4A99-A232-1E6EEAE786EA}" dt="2023-08-02T20:00:22.946" v="17446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00:22.967" v="17480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EC4E33A1-3A40-4A99-A232-1E6EEAE786EA}" dt="2023-08-02T20:00:22.951" v="17454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00:22.952" v="17456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00:22.950" v="17452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00:22.950" v="17453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00:22.952" v="17455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00:22.954" v="17459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00:22.949" v="17451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00:22.952" v="17457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00:22.954" v="17460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00:22.955" v="17461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00:22.953" v="17458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00:22.956" v="17462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00:22.957" v="17464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00:22.959" v="17467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00:22.958" v="17466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00:22.957" v="17465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00:22.960" v="17469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00:22.959" v="17468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00:22.961" v="17470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00:22.962" v="17472"/>
          <ac:spMkLst>
            <pc:docMk/>
            <pc:sldMk cId="3436037945" sldId="265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00:22.964" v="17477"/>
          <ac:spMkLst>
            <pc:docMk/>
            <pc:sldMk cId="3436037945" sldId="265"/>
            <ac:spMk id="31" creationId="{618E9228-3A8F-6AD1-2FE9-4CA197D85F6A}"/>
          </ac:spMkLst>
        </pc:spChg>
        <pc:spChg chg="mod">
          <ac:chgData name="Joelle Brehm" userId="a518f54c-6985-42c0-8041-2bb16a414839" providerId="ADAL" clId="{EC4E33A1-3A40-4A99-A232-1E6EEAE786EA}" dt="2023-08-02T20:00:22.964" v="17475"/>
          <ac:spMkLst>
            <pc:docMk/>
            <pc:sldMk cId="3436037945" sldId="265"/>
            <ac:spMk id="33" creationId="{228F34A2-7DB7-9D12-615E-E947B53315B2}"/>
          </ac:spMkLst>
        </pc:spChg>
        <pc:spChg chg="mod">
          <ac:chgData name="Joelle Brehm" userId="a518f54c-6985-42c0-8041-2bb16a414839" providerId="ADAL" clId="{EC4E33A1-3A40-4A99-A232-1E6EEAE786EA}" dt="2023-08-02T20:00:22.964" v="17476"/>
          <ac:spMkLst>
            <pc:docMk/>
            <pc:sldMk cId="3436037945" sldId="265"/>
            <ac:spMk id="34" creationId="{A7A9CC08-35FC-512B-D6D9-BC2ABCCAD648}"/>
          </ac:spMkLst>
        </pc:spChg>
        <pc:spChg chg="mod">
          <ac:chgData name="Joelle Brehm" userId="a518f54c-6985-42c0-8041-2bb16a414839" providerId="ADAL" clId="{EC4E33A1-3A40-4A99-A232-1E6EEAE786EA}" dt="2023-08-02T20:00:22.967" v="17479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EC4E33A1-3A40-4A99-A232-1E6EEAE786EA}" dt="2023-08-02T20:00:22.967" v="17481"/>
          <ac:spMkLst>
            <pc:docMk/>
            <pc:sldMk cId="3436037945" sldId="265"/>
            <ac:spMk id="36" creationId="{0BBAC582-1932-357A-D778-84237C43CF05}"/>
          </ac:spMkLst>
        </pc:spChg>
        <pc:spChg chg="add del mod modVis">
          <ac:chgData name="Joelle Brehm" userId="a518f54c-6985-42c0-8041-2bb16a414839" providerId="ADAL" clId="{EC4E33A1-3A40-4A99-A232-1E6EEAE786EA}" dt="2023-08-02T20:00:07.517" v="16601"/>
          <ac:spMkLst>
            <pc:docMk/>
            <pc:sldMk cId="3436037945" sldId="265"/>
            <ac:spMk id="37" creationId="{6D9526E4-DDD7-298C-7F39-B0396E9135E5}"/>
          </ac:spMkLst>
        </pc:spChg>
        <pc:spChg chg="mod">
          <ac:chgData name="Joelle Brehm" userId="a518f54c-6985-42c0-8041-2bb16a414839" providerId="ADAL" clId="{EC4E33A1-3A40-4A99-A232-1E6EEAE786EA}" dt="2023-08-02T20:00:22.968" v="17482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EC4E33A1-3A40-4A99-A232-1E6EEAE786EA}" dt="2023-08-02T20:00:22.969" v="17483"/>
          <ac:spMkLst>
            <pc:docMk/>
            <pc:sldMk cId="3436037945" sldId="265"/>
            <ac:spMk id="39" creationId="{D3B6923F-EF2F-5CB1-1EC9-23DAFECD1AD3}"/>
          </ac:spMkLst>
        </pc:spChg>
        <pc:spChg chg="add mod replST">
          <ac:chgData name="Joelle Brehm" userId="a518f54c-6985-42c0-8041-2bb16a414839" providerId="ADAL" clId="{EC4E33A1-3A40-4A99-A232-1E6EEAE786EA}" dt="2023-08-02T20:00:22.966" v="17478"/>
          <ac:spMkLst>
            <pc:docMk/>
            <pc:sldMk cId="3436037945" sldId="265"/>
            <ac:spMk id="41" creationId="{16B778E2-8712-DA55-C5AD-4A641096111C}"/>
          </ac:spMkLst>
        </pc:spChg>
        <pc:spChg chg="mod">
          <ac:chgData name="Joelle Brehm" userId="a518f54c-6985-42c0-8041-2bb16a414839" providerId="ADAL" clId="{EC4E33A1-3A40-4A99-A232-1E6EEAE786EA}" dt="2023-08-02T20:00:22.970" v="17484"/>
          <ac:spMkLst>
            <pc:docMk/>
            <pc:sldMk cId="3436037945" sldId="265"/>
            <ac:spMk id="42" creationId="{C3432236-FD50-8E13-A648-6A2FCA3BBBAE}"/>
          </ac:spMkLst>
        </pc:spChg>
        <pc:spChg chg="add del mod modVis">
          <ac:chgData name="Joelle Brehm" userId="a518f54c-6985-42c0-8041-2bb16a414839" providerId="ADAL" clId="{EC4E33A1-3A40-4A99-A232-1E6EEAE786EA}" dt="2023-08-02T20:00:14.099" v="17157"/>
          <ac:spMkLst>
            <pc:docMk/>
            <pc:sldMk cId="3436037945" sldId="265"/>
            <ac:spMk id="43" creationId="{86492C4A-8BFA-6C8B-53E6-6D48FC52D1D2}"/>
          </ac:spMkLst>
        </pc:spChg>
        <pc:spChg chg="mod">
          <ac:chgData name="Joelle Brehm" userId="a518f54c-6985-42c0-8041-2bb16a414839" providerId="ADAL" clId="{EC4E33A1-3A40-4A99-A232-1E6EEAE786EA}" dt="2023-08-02T20:00:22.970" v="17485"/>
          <ac:spMkLst>
            <pc:docMk/>
            <pc:sldMk cId="3436037945" sldId="265"/>
            <ac:spMk id="44" creationId="{16F84182-CECA-3CD8-7D89-52B39ECEBFE4}"/>
          </ac:spMkLst>
        </pc:spChg>
        <pc:spChg chg="add del mod ord replST">
          <ac:chgData name="Joelle Brehm" userId="a518f54c-6985-42c0-8041-2bb16a414839" providerId="ADAL" clId="{EC4E33A1-3A40-4A99-A232-1E6EEAE786EA}" dt="2023-08-02T20:00:22.882" v="17413"/>
          <ac:spMkLst>
            <pc:docMk/>
            <pc:sldMk cId="3436037945" sldId="265"/>
            <ac:spMk id="4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0:22.971" v="17486"/>
          <ac:spMkLst>
            <pc:docMk/>
            <pc:sldMk cId="3436037945" sldId="265"/>
            <ac:spMk id="47" creationId="{DA382430-2E3A-48A8-BD50-8227787BBF7B}"/>
          </ac:spMkLst>
        </pc:spChg>
        <pc:spChg chg="add del mod modVis">
          <ac:chgData name="Joelle Brehm" userId="a518f54c-6985-42c0-8041-2bb16a414839" providerId="ADAL" clId="{EC4E33A1-3A40-4A99-A232-1E6EEAE786EA}" dt="2023-08-02T20:00:19.882" v="17316"/>
          <ac:spMkLst>
            <pc:docMk/>
            <pc:sldMk cId="3436037945" sldId="265"/>
            <ac:spMk id="49" creationId="{A8313DF8-9E88-F538-29D0-3DA4EA747CCA}"/>
          </ac:spMkLst>
        </pc:spChg>
        <pc:spChg chg="add del mod modVis">
          <ac:chgData name="Joelle Brehm" userId="a518f54c-6985-42c0-8041-2bb16a414839" providerId="ADAL" clId="{EC4E33A1-3A40-4A99-A232-1E6EEAE786EA}" dt="2023-08-02T20:00:22.986" v="17515"/>
          <ac:spMkLst>
            <pc:docMk/>
            <pc:sldMk cId="3436037945" sldId="265"/>
            <ac:spMk id="51" creationId="{85365C84-28E3-E72F-34A8-9FEC1C3C974D}"/>
          </ac:spMkLst>
        </pc:spChg>
        <pc:spChg chg="del mod">
          <ac:chgData name="Joelle Brehm" userId="a518f54c-6985-42c0-8041-2bb16a414839" providerId="ADAL" clId="{EC4E33A1-3A40-4A99-A232-1E6EEAE786EA}" dt="2023-08-02T20:00:22.715" v="17319"/>
          <ac:spMkLst>
            <pc:docMk/>
            <pc:sldMk cId="3436037945" sldId="265"/>
            <ac:spMk id="62" creationId="{BEDB5BD1-9064-F903-1AE0-56AE80C9B05B}"/>
          </ac:spMkLst>
        </pc:spChg>
        <pc:spChg chg="mod ord">
          <ac:chgData name="Joelle Brehm" userId="a518f54c-6985-42c0-8041-2bb16a414839" providerId="ADAL" clId="{EC4E33A1-3A40-4A99-A232-1E6EEAE786EA}" dt="2023-08-02T20:00:22.972" v="17488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00:22.973" v="17490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00:22.974" v="17492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00:22.975" v="17494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00:22.976" v="17496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00:22.977" v="17498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EC4E33A1-3A40-4A99-A232-1E6EEAE786EA}" dt="2023-08-02T20:00:22.983" v="17509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EC4E33A1-3A40-4A99-A232-1E6EEAE786EA}" dt="2023-08-02T20:00:22.978" v="17501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0:22.980" v="17503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0:22.980" v="17504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0:22.979" v="17502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00:22.981" v="17505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00:23.009" v="17517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0:22.948" v="17450"/>
          <ac:graphicFrameMkLst>
            <pc:docMk/>
            <pc:sldMk cId="3436037945" sldId="265"/>
            <ac:graphicFrameMk id="8" creationId="{8D6CDAC9-27CB-C19E-E8A4-2CB119BB526B}"/>
          </ac:graphicFrameMkLst>
        </pc:graphicFrameChg>
        <pc:graphicFrameChg chg="del">
          <ac:chgData name="Joelle Brehm" userId="a518f54c-6985-42c0-8041-2bb16a414839" providerId="ADAL" clId="{EC4E33A1-3A40-4A99-A232-1E6EEAE786EA}" dt="2023-08-02T19:56:19.762" v="16180"/>
          <ac:graphicFrameMkLst>
            <pc:docMk/>
            <pc:sldMk cId="3436037945" sldId="265"/>
            <ac:graphicFrameMk id="32" creationId="{C7FA1BDF-9209-BA1E-857E-1AB68238B214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0:22.977" v="17500"/>
          <ac:graphicFrameMkLst>
            <pc:docMk/>
            <pc:sldMk cId="3436037945" sldId="265"/>
            <ac:graphicFrameMk id="40" creationId="{C10597FB-FB42-C970-AC28-EE8B90B4585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0:07.375" v="16522"/>
          <ac:graphicFrameMkLst>
            <pc:docMk/>
            <pc:sldMk cId="3436037945" sldId="265"/>
            <ac:graphicFrameMk id="46" creationId="{B89FE124-32E1-2270-45A7-6A70EF6560E2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0:19.760" v="17234"/>
          <ac:graphicFrameMkLst>
            <pc:docMk/>
            <pc:sldMk cId="3436037945" sldId="265"/>
            <ac:graphicFrameMk id="48" creationId="{669172E2-605A-2A02-6D5F-E6858D9CD3CD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0:22.901" v="17436"/>
          <ac:graphicFrameMkLst>
            <pc:docMk/>
            <pc:sldMk cId="3436037945" sldId="265"/>
            <ac:graphicFrameMk id="50" creationId="{E96BBE97-64A5-2C8D-5166-3B9CCB14DFDD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0:22.963" v="17474"/>
          <ac:graphicFrameMkLst>
            <pc:docMk/>
            <pc:sldMk cId="3436037945" sldId="265"/>
            <ac:graphicFrameMk id="52" creationId="{C5265FA6-ABC5-ED0F-0439-45F00A7AACC5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0:14.006" v="17067"/>
          <ac:graphicFrameMkLst>
            <pc:docMk/>
            <pc:sldMk cId="3436037945" sldId="265"/>
            <ac:graphicFrameMk id="58" creationId="{528FE758-65FC-21E2-707F-E73C5FC590A2}"/>
          </ac:graphicFrameMkLst>
        </pc:graphicFrameChg>
        <pc:picChg chg="add mod ord">
          <ac:chgData name="Joelle Brehm" userId="a518f54c-6985-42c0-8041-2bb16a414839" providerId="ADAL" clId="{EC4E33A1-3A40-4A99-A232-1E6EEAE786EA}" dt="2023-08-02T20:00:22.945" v="17444"/>
          <ac:picMkLst>
            <pc:docMk/>
            <pc:sldMk cId="3436037945" sldId="265"/>
            <ac:picMk id="10" creationId="{E49E06A5-1227-F3DF-7CE5-ED213BDA5EB3}"/>
          </ac:picMkLst>
        </pc:picChg>
        <pc:picChg chg="del mod ord">
          <ac:chgData name="Joelle Brehm" userId="a518f54c-6985-42c0-8041-2bb16a414839" providerId="ADAL" clId="{EC4E33A1-3A40-4A99-A232-1E6EEAE786EA}" dt="2023-08-02T19:59:52.093" v="16359" actId="478"/>
          <ac:picMkLst>
            <pc:docMk/>
            <pc:sldMk cId="3436037945" sldId="265"/>
            <ac:picMk id="59" creationId="{91939524-2A74-7B86-6D73-066B27091B81}"/>
          </ac:picMkLst>
        </pc:picChg>
        <pc:picChg chg="mod ord">
          <ac:chgData name="Joelle Brehm" userId="a518f54c-6985-42c0-8041-2bb16a414839" providerId="ADAL" clId="{EC4E33A1-3A40-4A99-A232-1E6EEAE786EA}" dt="2023-08-02T20:00:22.982" v="17507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00:22.947" v="17448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19:54:32.231" v="16000"/>
        <pc:sldMkLst>
          <pc:docMk/>
          <pc:sldMk cId="2057745716" sldId="266"/>
        </pc:sldMkLst>
        <pc:spChg chg="mod ord">
          <ac:chgData name="Joelle Brehm" userId="a518f54c-6985-42c0-8041-2bb16a414839" providerId="ADAL" clId="{EC4E33A1-3A40-4A99-A232-1E6EEAE786EA}" dt="2023-08-02T19:54:32.207" v="15994"/>
          <ac:spMkLst>
            <pc:docMk/>
            <pc:sldMk cId="2057745716" sldId="266"/>
            <ac:spMk id="2" creationId="{F6B4C531-23B2-41FF-8356-EA9D6490FDEB}"/>
          </ac:spMkLst>
        </pc:spChg>
        <pc:spChg chg="add del mod ord">
          <ac:chgData name="Joelle Brehm" userId="a518f54c-6985-42c0-8041-2bb16a414839" providerId="ADAL" clId="{EC4E33A1-3A40-4A99-A232-1E6EEAE786EA}" dt="2023-08-02T19:53:52.980" v="13510" actId="478"/>
          <ac:spMkLst>
            <pc:docMk/>
            <pc:sldMk cId="2057745716" sldId="266"/>
            <ac:spMk id="3" creationId="{497A9EB6-91C6-49E7-0951-7F4BD193576D}"/>
          </ac:spMkLst>
        </pc:spChg>
        <pc:spChg chg="add del mod modVis">
          <ac:chgData name="Joelle Brehm" userId="a518f54c-6985-42c0-8041-2bb16a414839" providerId="ADAL" clId="{EC4E33A1-3A40-4A99-A232-1E6EEAE786EA}" dt="2023-08-02T19:53:01.572" v="13394"/>
          <ac:spMkLst>
            <pc:docMk/>
            <pc:sldMk cId="2057745716" sldId="266"/>
            <ac:spMk id="5" creationId="{47E5F364-7836-0374-AA86-B66D977B2A92}"/>
          </ac:spMkLst>
        </pc:spChg>
        <pc:spChg chg="mod ord">
          <ac:chgData name="Joelle Brehm" userId="a518f54c-6985-42c0-8041-2bb16a414839" providerId="ADAL" clId="{EC4E33A1-3A40-4A99-A232-1E6EEAE786EA}" dt="2023-08-02T19:54:32.160" v="15912"/>
          <ac:spMkLst>
            <pc:docMk/>
            <pc:sldMk cId="2057745716" sldId="266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19:54:32.185" v="15949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EC4E33A1-3A40-4A99-A232-1E6EEAE786EA}" dt="2023-08-02T19:54:32.162" v="15917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19:54:32.163" v="15918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19:54:32.167" v="15923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19:54:32.163" v="15919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19:54:32.165" v="15920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19:54:32.166" v="15922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19:54:32.165" v="15921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19:54:32.167" v="15924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19:54:32.168" v="15925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19:54:32.168" v="15926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19:54:32.169" v="15927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19:54:32.170" v="15928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19:54:32.171" v="15930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19:54:32.173" v="15931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19:54:32.174" v="15932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19:54:32.175" v="15933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19:54:32.176" v="15935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19:54:32.176" v="15934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19:54:32.177" v="15936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19:54:32.178" v="15938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19:54:32.187" v="15951"/>
          <ac:spMkLst>
            <pc:docMk/>
            <pc:sldMk cId="2057745716" sldId="266"/>
            <ac:spMk id="31" creationId="{541335D7-D042-7B18-CE6A-46B34332637A}"/>
          </ac:spMkLst>
        </pc:spChg>
        <pc:spChg chg="mod">
          <ac:chgData name="Joelle Brehm" userId="a518f54c-6985-42c0-8041-2bb16a414839" providerId="ADAL" clId="{EC4E33A1-3A40-4A99-A232-1E6EEAE786EA}" dt="2023-08-02T19:54:32.184" v="15947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EC4E33A1-3A40-4A99-A232-1E6EEAE786EA}" dt="2023-08-02T19:54:32.188" v="15954"/>
          <ac:spMkLst>
            <pc:docMk/>
            <pc:sldMk cId="2057745716" sldId="266"/>
            <ac:spMk id="33" creationId="{1F14E375-AE0C-B86C-5AA8-BDDE7B453E82}"/>
          </ac:spMkLst>
        </pc:spChg>
        <pc:spChg chg="mod">
          <ac:chgData name="Joelle Brehm" userId="a518f54c-6985-42c0-8041-2bb16a414839" providerId="ADAL" clId="{EC4E33A1-3A40-4A99-A232-1E6EEAE786EA}" dt="2023-08-02T19:54:32.188" v="15953"/>
          <ac:spMkLst>
            <pc:docMk/>
            <pc:sldMk cId="2057745716" sldId="266"/>
            <ac:spMk id="34" creationId="{7686A18E-A22D-EB32-E9A2-F74C94C23822}"/>
          </ac:spMkLst>
        </pc:spChg>
        <pc:spChg chg="mod">
          <ac:chgData name="Joelle Brehm" userId="a518f54c-6985-42c0-8041-2bb16a414839" providerId="ADAL" clId="{EC4E33A1-3A40-4A99-A232-1E6EEAE786EA}" dt="2023-08-02T19:54:32.183" v="15946"/>
          <ac:spMkLst>
            <pc:docMk/>
            <pc:sldMk cId="2057745716" sldId="266"/>
            <ac:spMk id="35" creationId="{3AD29896-D042-6C80-A93D-02668CD2E53C}"/>
          </ac:spMkLst>
        </pc:spChg>
        <pc:spChg chg="mod">
          <ac:chgData name="Joelle Brehm" userId="a518f54c-6985-42c0-8041-2bb16a414839" providerId="ADAL" clId="{EC4E33A1-3A40-4A99-A232-1E6EEAE786EA}" dt="2023-08-02T19:54:32.189" v="15956"/>
          <ac:spMkLst>
            <pc:docMk/>
            <pc:sldMk cId="2057745716" sldId="266"/>
            <ac:spMk id="36" creationId="{5C57A8EA-9071-29F4-B24C-235140A0F3D6}"/>
          </ac:spMkLst>
        </pc:spChg>
        <pc:spChg chg="mod">
          <ac:chgData name="Joelle Brehm" userId="a518f54c-6985-42c0-8041-2bb16a414839" providerId="ADAL" clId="{EC4E33A1-3A40-4A99-A232-1E6EEAE786EA}" dt="2023-08-02T19:54:32.189" v="15955"/>
          <ac:spMkLst>
            <pc:docMk/>
            <pc:sldMk cId="2057745716" sldId="266"/>
            <ac:spMk id="37" creationId="{597526D1-0B00-BB9B-B8E0-3CF7DA66C023}"/>
          </ac:spMkLst>
        </pc:spChg>
        <pc:spChg chg="mod">
          <ac:chgData name="Joelle Brehm" userId="a518f54c-6985-42c0-8041-2bb16a414839" providerId="ADAL" clId="{EC4E33A1-3A40-4A99-A232-1E6EEAE786EA}" dt="2023-08-02T19:54:32.190" v="15958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EC4E33A1-3A40-4A99-A232-1E6EEAE786EA}" dt="2023-08-02T19:54:32.187" v="15952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EC4E33A1-3A40-4A99-A232-1E6EEAE786EA}" dt="2023-08-02T19:54:32.194" v="15965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EC4E33A1-3A40-4A99-A232-1E6EEAE786EA}" dt="2023-08-02T19:54:32.190" v="15957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EC4E33A1-3A40-4A99-A232-1E6EEAE786EA}" dt="2023-08-02T19:54:32.192" v="15961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EC4E33A1-3A40-4A99-A232-1E6EEAE786EA}" dt="2023-08-02T19:54:32.191" v="15959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EC4E33A1-3A40-4A99-A232-1E6EEAE786EA}" dt="2023-08-02T19:54:32.185" v="15948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EC4E33A1-3A40-4A99-A232-1E6EEAE786EA}" dt="2023-08-02T19:54:32.191" v="15960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EC4E33A1-3A40-4A99-A232-1E6EEAE786EA}" dt="2023-08-02T19:54:32.193" v="15963"/>
          <ac:spMkLst>
            <pc:docMk/>
            <pc:sldMk cId="2057745716" sldId="266"/>
            <ac:spMk id="47" creationId="{1C4FAF95-E411-B780-08E1-4E3B3EA052A3}"/>
          </ac:spMkLst>
        </pc:spChg>
        <pc:spChg chg="add del mod modVis">
          <ac:chgData name="Joelle Brehm" userId="a518f54c-6985-42c0-8041-2bb16a414839" providerId="ADAL" clId="{EC4E33A1-3A40-4A99-A232-1E6EEAE786EA}" dt="2023-08-02T19:53:54.828" v="13901"/>
          <ac:spMkLst>
            <pc:docMk/>
            <pc:sldMk cId="2057745716" sldId="266"/>
            <ac:spMk id="48" creationId="{72C8954F-AA62-870D-0A55-5C0B9EA0BC2D}"/>
          </ac:spMkLst>
        </pc:spChg>
        <pc:spChg chg="mod">
          <ac:chgData name="Joelle Brehm" userId="a518f54c-6985-42c0-8041-2bb16a414839" providerId="ADAL" clId="{EC4E33A1-3A40-4A99-A232-1E6EEAE786EA}" dt="2023-08-02T19:54:32.195" v="15967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EC4E33A1-3A40-4A99-A232-1E6EEAE786EA}" dt="2023-08-02T19:54:32.196" v="15968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EC4E33A1-3A40-4A99-A232-1E6EEAE786EA}" dt="2023-08-02T19:54:32.194" v="15964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EC4E33A1-3A40-4A99-A232-1E6EEAE786EA}" dt="2023-08-02T19:54:32.193" v="15962"/>
          <ac:spMkLst>
            <pc:docMk/>
            <pc:sldMk cId="2057745716" sldId="266"/>
            <ac:spMk id="54" creationId="{C68FB9B8-E149-DE9C-BBED-40FE69C511C2}"/>
          </ac:spMkLst>
        </pc:spChg>
        <pc:spChg chg="mod ord">
          <ac:chgData name="Joelle Brehm" userId="a518f54c-6985-42c0-8041-2bb16a414839" providerId="ADAL" clId="{EC4E33A1-3A40-4A99-A232-1E6EEAE786EA}" dt="2023-08-02T19:54:32.196" v="15969"/>
          <ac:spMkLst>
            <pc:docMk/>
            <pc:sldMk cId="2057745716" sldId="266"/>
            <ac:spMk id="55" creationId="{690E2C54-9686-C808-DDEC-227810BB047A}"/>
          </ac:spMkLst>
        </pc:spChg>
        <pc:spChg chg="add mod replST">
          <ac:chgData name="Joelle Brehm" userId="a518f54c-6985-42c0-8041-2bb16a414839" providerId="ADAL" clId="{EC4E33A1-3A40-4A99-A232-1E6EEAE786EA}" dt="2023-08-02T19:54:32.195" v="15966"/>
          <ac:spMkLst>
            <pc:docMk/>
            <pc:sldMk cId="2057745716" sldId="266"/>
            <ac:spMk id="56" creationId="{E9390A93-827E-BC5A-AEF8-D4BE40207997}"/>
          </ac:spMkLst>
        </pc:spChg>
        <pc:spChg chg="add mod replST">
          <ac:chgData name="Joelle Brehm" userId="a518f54c-6985-42c0-8041-2bb16a414839" providerId="ADAL" clId="{EC4E33A1-3A40-4A99-A232-1E6EEAE786EA}" dt="2023-08-02T19:54:32.186" v="15950"/>
          <ac:spMkLst>
            <pc:docMk/>
            <pc:sldMk cId="2057745716" sldId="266"/>
            <ac:spMk id="57" creationId="{5B53372F-C271-7F94-7100-D104F06C3037}"/>
          </ac:spMkLst>
        </pc:spChg>
        <pc:spChg chg="add del mod modVis">
          <ac:chgData name="Joelle Brehm" userId="a518f54c-6985-42c0-8041-2bb16a414839" providerId="ADAL" clId="{EC4E33A1-3A40-4A99-A232-1E6EEAE786EA}" dt="2023-08-02T19:54:05.822" v="14222"/>
          <ac:spMkLst>
            <pc:docMk/>
            <pc:sldMk cId="2057745716" sldId="266"/>
            <ac:spMk id="58" creationId="{FC008437-C368-49B5-9F7E-6DB4D82C3BA5}"/>
          </ac:spMkLst>
        </pc:spChg>
        <pc:spChg chg="add del mod modVis">
          <ac:chgData name="Joelle Brehm" userId="a518f54c-6985-42c0-8041-2bb16a414839" providerId="ADAL" clId="{EC4E33A1-3A40-4A99-A232-1E6EEAE786EA}" dt="2023-08-02T19:54:08.126" v="14440"/>
          <ac:spMkLst>
            <pc:docMk/>
            <pc:sldMk cId="2057745716" sldId="266"/>
            <ac:spMk id="60" creationId="{4B7A668B-3432-637D-FBD8-3C4E8DB000E7}"/>
          </ac:spMkLst>
        </pc:spChg>
        <pc:spChg chg="add del mod modVis">
          <ac:chgData name="Joelle Brehm" userId="a518f54c-6985-42c0-8041-2bb16a414839" providerId="ADAL" clId="{EC4E33A1-3A40-4A99-A232-1E6EEAE786EA}" dt="2023-08-02T19:54:10.666" v="14692"/>
          <ac:spMkLst>
            <pc:docMk/>
            <pc:sldMk cId="2057745716" sldId="266"/>
            <ac:spMk id="62" creationId="{0160CD7E-6DD0-E612-0059-EC8E21CB8CAE}"/>
          </ac:spMkLst>
        </pc:spChg>
        <pc:spChg chg="add del mod modVis">
          <ac:chgData name="Joelle Brehm" userId="a518f54c-6985-42c0-8041-2bb16a414839" providerId="ADAL" clId="{EC4E33A1-3A40-4A99-A232-1E6EEAE786EA}" dt="2023-08-02T19:54:18.460" v="15077"/>
          <ac:spMkLst>
            <pc:docMk/>
            <pc:sldMk cId="2057745716" sldId="266"/>
            <ac:spMk id="66" creationId="{FF42F5F2-4ACA-634B-780F-FAEC586181E9}"/>
          </ac:spMkLst>
        </pc:spChg>
        <pc:spChg chg="add del mod modVis">
          <ac:chgData name="Joelle Brehm" userId="a518f54c-6985-42c0-8041-2bb16a414839" providerId="ADAL" clId="{EC4E33A1-3A40-4A99-A232-1E6EEAE786EA}" dt="2023-08-02T19:54:20.125" v="15374"/>
          <ac:spMkLst>
            <pc:docMk/>
            <pc:sldMk cId="2057745716" sldId="266"/>
            <ac:spMk id="68" creationId="{399B2EE6-7FA8-6493-D956-270EB21910B0}"/>
          </ac:spMkLst>
        </pc:spChg>
        <pc:spChg chg="add del mod modVis">
          <ac:chgData name="Joelle Brehm" userId="a518f54c-6985-42c0-8041-2bb16a414839" providerId="ADAL" clId="{EC4E33A1-3A40-4A99-A232-1E6EEAE786EA}" dt="2023-08-02T19:54:22.154" v="15557"/>
          <ac:spMkLst>
            <pc:docMk/>
            <pc:sldMk cId="2057745716" sldId="266"/>
            <ac:spMk id="70" creationId="{7D13C24D-D21D-80A1-2608-1F97E2E50298}"/>
          </ac:spMkLst>
        </pc:spChg>
        <pc:spChg chg="add del mod modVis">
          <ac:chgData name="Joelle Brehm" userId="a518f54c-6985-42c0-8041-2bb16a414839" providerId="ADAL" clId="{EC4E33A1-3A40-4A99-A232-1E6EEAE786EA}" dt="2023-08-02T19:54:22.306" v="15752"/>
          <ac:spMkLst>
            <pc:docMk/>
            <pc:sldMk cId="2057745716" sldId="266"/>
            <ac:spMk id="72" creationId="{41F1F405-A7A9-9E18-C610-A29608D67CEE}"/>
          </ac:spMkLst>
        </pc:spChg>
        <pc:spChg chg="add del mod modVis">
          <ac:chgData name="Joelle Brehm" userId="a518f54c-6985-42c0-8041-2bb16a414839" providerId="ADAL" clId="{EC4E33A1-3A40-4A99-A232-1E6EEAE786EA}" dt="2023-08-02T19:54:32.208" v="15998"/>
          <ac:spMkLst>
            <pc:docMk/>
            <pc:sldMk cId="2057745716" sldId="266"/>
            <ac:spMk id="74" creationId="{E0059E75-914F-63D4-3467-D41A44472180}"/>
          </ac:spMkLst>
        </pc:spChg>
        <pc:spChg chg="del mod">
          <ac:chgData name="Joelle Brehm" userId="a518f54c-6985-42c0-8041-2bb16a414839" providerId="ADAL" clId="{EC4E33A1-3A40-4A99-A232-1E6EEAE786EA}" dt="2023-08-02T19:54:10.326" v="14444"/>
          <ac:spMkLst>
            <pc:docMk/>
            <pc:sldMk cId="2057745716" sldId="266"/>
            <ac:spMk id="76" creationId="{039768EB-A261-18F6-0AF2-126D0A594518}"/>
          </ac:spMkLst>
        </pc:spChg>
        <pc:spChg chg="mod ord">
          <ac:chgData name="Joelle Brehm" userId="a518f54c-6985-42c0-8041-2bb16a414839" providerId="ADAL" clId="{EC4E33A1-3A40-4A99-A232-1E6EEAE786EA}" dt="2023-08-02T19:54:32.197" v="15971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19:54:32.198" v="15973"/>
          <ac:spMkLst>
            <pc:docMk/>
            <pc:sldMk cId="2057745716" sldId="266"/>
            <ac:spMk id="79" creationId="{F1476AC4-694B-4D83-BFD8-8DCAA4BB1923}"/>
          </ac:spMkLst>
        </pc:spChg>
        <pc:spChg chg="del mod">
          <ac:chgData name="Joelle Brehm" userId="a518f54c-6985-42c0-8041-2bb16a414839" providerId="ADAL" clId="{EC4E33A1-3A40-4A99-A232-1E6EEAE786EA}" dt="2023-08-02T19:54:10.323" v="14443"/>
          <ac:spMkLst>
            <pc:docMk/>
            <pc:sldMk cId="2057745716" sldId="266"/>
            <ac:spMk id="81" creationId="{2F6CBD17-E9F7-7AAD-1088-F3A86BFA66B9}"/>
          </ac:spMkLst>
        </pc:spChg>
        <pc:spChg chg="mod">
          <ac:chgData name="Joelle Brehm" userId="a518f54c-6985-42c0-8041-2bb16a414839" providerId="ADAL" clId="{EC4E33A1-3A40-4A99-A232-1E6EEAE786EA}" dt="2023-08-02T19:54:32.182" v="15945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19:54:32.199" v="15975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19:54:32.200" v="15977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19:54:32.200" v="15979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19:54:32.201" v="15981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19:54:32.181" v="15942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54:32.181" v="15943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54:32.182" v="15944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54:32.180" v="15941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54:32.203" v="15985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54:32.203" v="15986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54:32.204" v="15987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9:54:32.204" v="15988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19:54:32.202" v="15984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19:54:32.231" v="16000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19:53:01.466" v="13290"/>
          <ac:graphicFrameMkLst>
            <pc:docMk/>
            <pc:sldMk cId="2057745716" sldId="266"/>
            <ac:graphicFrameMk id="8" creationId="{D6B37C36-023C-4A1E-E126-4D0F9F41880A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9:54:32.162" v="15916"/>
          <ac:graphicFrameMkLst>
            <pc:docMk/>
            <pc:sldMk cId="2057745716" sldId="266"/>
            <ac:graphicFrameMk id="9" creationId="{1447B7B1-CAC4-F656-71BA-B881125AEE4D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54:05.763" v="14123"/>
          <ac:graphicFrameMkLst>
            <pc:docMk/>
            <pc:sldMk cId="2057745716" sldId="266"/>
            <ac:graphicFrameMk id="52" creationId="{C392DCEA-C71E-BF5D-6DEC-88C256536C1E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9:54:32.122" v="15902"/>
          <ac:graphicFrameMkLst>
            <pc:docMk/>
            <pc:sldMk cId="2057745716" sldId="266"/>
            <ac:graphicFrameMk id="53" creationId="{D912BF31-C420-6E9D-0CC8-CCC1ACC81057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54:08.062" v="14341"/>
          <ac:graphicFrameMkLst>
            <pc:docMk/>
            <pc:sldMk cId="2057745716" sldId="266"/>
            <ac:graphicFrameMk id="59" creationId="{F9BF8BDF-057C-4B90-815A-7B70D0B65F66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54:10.535" v="14595"/>
          <ac:graphicFrameMkLst>
            <pc:docMk/>
            <pc:sldMk cId="2057745716" sldId="266"/>
            <ac:graphicFrameMk id="61" creationId="{8CB33C36-47EA-90E4-7A88-9F6C7A19F184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9:53:54.753" v="13805"/>
          <ac:graphicFrameMkLst>
            <pc:docMk/>
            <pc:sldMk cId="2057745716" sldId="266"/>
            <ac:graphicFrameMk id="63" creationId="{C791A186-4635-58DA-E97B-3786E3BA43B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54:20.061" v="15277"/>
          <ac:graphicFrameMkLst>
            <pc:docMk/>
            <pc:sldMk cId="2057745716" sldId="266"/>
            <ac:graphicFrameMk id="65" creationId="{2FAF58FC-F87B-7BB3-763D-397AADB43BFE}"/>
          </ac:graphicFrameMkLst>
        </pc:graphicFrameChg>
        <pc:graphicFrameChg chg="add mod ord replST delST">
          <ac:chgData name="Joelle Brehm" userId="a518f54c-6985-42c0-8041-2bb16a414839" providerId="ADAL" clId="{EC4E33A1-3A40-4A99-A232-1E6EEAE786EA}" dt="2023-08-02T19:54:18.460" v="15077"/>
          <ac:graphicFrameMkLst>
            <pc:docMk/>
            <pc:sldMk cId="2057745716" sldId="266"/>
            <ac:graphicFrameMk id="67" creationId="{A4401C92-8FD3-4D42-5C9D-8238DE864BD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54:22.093" v="15460"/>
          <ac:graphicFrameMkLst>
            <pc:docMk/>
            <pc:sldMk cId="2057745716" sldId="266"/>
            <ac:graphicFrameMk id="69" creationId="{05390277-D5B3-71BB-8FBC-463D1B89C3F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9:54:22.255" v="15656"/>
          <ac:graphicFrameMkLst>
            <pc:docMk/>
            <pc:sldMk cId="2057745716" sldId="266"/>
            <ac:graphicFrameMk id="71" creationId="{F2740168-12E1-3BD3-5644-025B2A8BCA14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9:54:32.179" v="15940"/>
          <ac:graphicFrameMkLst>
            <pc:docMk/>
            <pc:sldMk cId="2057745716" sldId="266"/>
            <ac:graphicFrameMk id="73" creationId="{E3ACE37D-1B5C-D620-298F-51B0E98FE85E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9:54:32.202" v="15983"/>
          <ac:graphicFrameMkLst>
            <pc:docMk/>
            <pc:sldMk cId="2057745716" sldId="266"/>
            <ac:graphicFrameMk id="75" creationId="{937D5222-6DE8-4A90-05F1-A1C2D6C162F5}"/>
          </ac:graphicFrameMkLst>
        </pc:graphicFrameChg>
        <pc:picChg chg="add mod ord">
          <ac:chgData name="Joelle Brehm" userId="a518f54c-6985-42c0-8041-2bb16a414839" providerId="ADAL" clId="{EC4E33A1-3A40-4A99-A232-1E6EEAE786EA}" dt="2023-08-02T19:54:32.159" v="15910"/>
          <ac:picMkLst>
            <pc:docMk/>
            <pc:sldMk cId="2057745716" sldId="266"/>
            <ac:picMk id="46" creationId="{2CA2C1F5-2D76-D59C-8012-F4AF8FA12AA8}"/>
          </ac:picMkLst>
        </pc:picChg>
        <pc:picChg chg="del mod ord">
          <ac:chgData name="Joelle Brehm" userId="a518f54c-6985-42c0-8041-2bb16a414839" providerId="ADAL" clId="{EC4E33A1-3A40-4A99-A232-1E6EEAE786EA}" dt="2023-08-02T19:53:46.286" v="13506" actId="478"/>
          <ac:picMkLst>
            <pc:docMk/>
            <pc:sldMk cId="2057745716" sldId="266"/>
            <ac:picMk id="64" creationId="{A4EC29F0-6CB9-8B9A-88E5-8C02C6F019FE}"/>
          </ac:picMkLst>
        </pc:picChg>
        <pc:picChg chg="mod ord">
          <ac:chgData name="Joelle Brehm" userId="a518f54c-6985-42c0-8041-2bb16a414839" providerId="ADAL" clId="{EC4E33A1-3A40-4A99-A232-1E6EEAE786EA}" dt="2023-08-02T19:54:32.206" v="15992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EC4E33A1-3A40-4A99-A232-1E6EEAE786EA}" dt="2023-08-02T19:54:32.205" v="15990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19:54:32.161" v="15914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03:20.410" v="19679"/>
        <pc:sldMkLst>
          <pc:docMk/>
          <pc:sldMk cId="3795966898" sldId="267"/>
        </pc:sldMkLst>
        <pc:spChg chg="mod ord">
          <ac:chgData name="Joelle Brehm" userId="a518f54c-6985-42c0-8041-2bb16a414839" providerId="ADAL" clId="{EC4E33A1-3A40-4A99-A232-1E6EEAE786EA}" dt="2023-08-02T20:03:20.389" v="19673"/>
          <ac:spMkLst>
            <pc:docMk/>
            <pc:sldMk cId="3795966898" sldId="267"/>
            <ac:spMk id="2" creationId="{8ADF3DAD-89AE-4B6D-9F50-64987A2AE5AE}"/>
          </ac:spMkLst>
        </pc:spChg>
        <pc:spChg chg="add del mod ord">
          <ac:chgData name="Joelle Brehm" userId="a518f54c-6985-42c0-8041-2bb16a414839" providerId="ADAL" clId="{EC4E33A1-3A40-4A99-A232-1E6EEAE786EA}" dt="2023-08-02T20:02:47.762" v="17870" actId="478"/>
          <ac:spMkLst>
            <pc:docMk/>
            <pc:sldMk cId="3795966898" sldId="267"/>
            <ac:spMk id="3" creationId="{5007F442-44FE-CA55-8B7C-7AEE953A89F7}"/>
          </ac:spMkLst>
        </pc:spChg>
        <pc:spChg chg="add del mod modVis">
          <ac:chgData name="Joelle Brehm" userId="a518f54c-6985-42c0-8041-2bb16a414839" providerId="ADAL" clId="{EC4E33A1-3A40-4A99-A232-1E6EEAE786EA}" dt="2023-08-02T20:02:24.490" v="17778"/>
          <ac:spMkLst>
            <pc:docMk/>
            <pc:sldMk cId="3795966898" sldId="267"/>
            <ac:spMk id="5" creationId="{76EBFE01-1754-AA98-6F53-CBB3C13659CC}"/>
          </ac:spMkLst>
        </pc:spChg>
        <pc:spChg chg="mod ord">
          <ac:chgData name="Joelle Brehm" userId="a518f54c-6985-42c0-8041-2bb16a414839" providerId="ADAL" clId="{EC4E33A1-3A40-4A99-A232-1E6EEAE786EA}" dt="2023-08-02T20:03:20.361" v="19608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03:20.368" v="19620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03:20.365" v="19616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03:20.364" v="19614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03:20.365" v="19615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03:20.363" v="19613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03:20.366" v="19617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03:20.367" v="19619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03:20.366" v="19618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03:20.368" v="19621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03:20.369" v="19622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03:20.369" v="19623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03:20.370" v="19624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03:20.371" v="19626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03:20.373" v="19628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03:20.372" v="19627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03:20.373" v="19629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03:20.375" v="19631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03:20.374" v="19630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03:20.375" v="19632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03:20.376" v="19634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03:20.378" v="19639"/>
          <ac:spMkLst>
            <pc:docMk/>
            <pc:sldMk cId="3795966898" sldId="267"/>
            <ac:spMk id="31" creationId="{1FD446DE-B952-ACD9-BEA6-D4E54F5804A8}"/>
          </ac:spMkLst>
        </pc:spChg>
        <pc:spChg chg="add mod replST">
          <ac:chgData name="Joelle Brehm" userId="a518f54c-6985-42c0-8041-2bb16a414839" providerId="ADAL" clId="{EC4E33A1-3A40-4A99-A232-1E6EEAE786EA}" dt="2023-08-02T20:03:20.382" v="19648"/>
          <ac:spMkLst>
            <pc:docMk/>
            <pc:sldMk cId="3795966898" sldId="267"/>
            <ac:spMk id="32" creationId="{D88A5B48-AEEB-61CD-49C8-685CA2FA5FCC}"/>
          </ac:spMkLst>
        </pc:spChg>
        <pc:spChg chg="mod">
          <ac:chgData name="Joelle Brehm" userId="a518f54c-6985-42c0-8041-2bb16a414839" providerId="ADAL" clId="{EC4E33A1-3A40-4A99-A232-1E6EEAE786EA}" dt="2023-08-02T20:03:20.379" v="19641"/>
          <ac:spMkLst>
            <pc:docMk/>
            <pc:sldMk cId="3795966898" sldId="267"/>
            <ac:spMk id="33" creationId="{0AF17994-2A88-B5A9-1960-3D49D7A5E286}"/>
          </ac:spMkLst>
        </pc:spChg>
        <pc:spChg chg="mod">
          <ac:chgData name="Joelle Brehm" userId="a518f54c-6985-42c0-8041-2bb16a414839" providerId="ADAL" clId="{EC4E33A1-3A40-4A99-A232-1E6EEAE786EA}" dt="2023-08-02T20:03:20.376" v="19637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EC4E33A1-3A40-4A99-A232-1E6EEAE786EA}" dt="2023-08-02T20:03:20.380" v="19643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EC4E33A1-3A40-4A99-A232-1E6EEAE786EA}" dt="2023-08-02T20:03:20.379" v="19642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EC4E33A1-3A40-4A99-A232-1E6EEAE786EA}" dt="2023-08-02T20:03:20.378" v="19640"/>
          <ac:spMkLst>
            <pc:docMk/>
            <pc:sldMk cId="3795966898" sldId="267"/>
            <ac:spMk id="37" creationId="{2C18F645-6C7C-E805-959B-6BCC1E699323}"/>
          </ac:spMkLst>
        </pc:spChg>
        <pc:spChg chg="mod">
          <ac:chgData name="Joelle Brehm" userId="a518f54c-6985-42c0-8041-2bb16a414839" providerId="ADAL" clId="{EC4E33A1-3A40-4A99-A232-1E6EEAE786EA}" dt="2023-08-02T20:03:20.380" v="19644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EC4E33A1-3A40-4A99-A232-1E6EEAE786EA}" dt="2023-08-02T20:03:20.377" v="19638"/>
          <ac:spMkLst>
            <pc:docMk/>
            <pc:sldMk cId="3795966898" sldId="267"/>
            <ac:spMk id="39" creationId="{83832067-25B3-AFCE-E78B-F25DBF661146}"/>
          </ac:spMkLst>
        </pc:spChg>
        <pc:spChg chg="mod">
          <ac:chgData name="Joelle Brehm" userId="a518f54c-6985-42c0-8041-2bb16a414839" providerId="ADAL" clId="{EC4E33A1-3A40-4A99-A232-1E6EEAE786EA}" dt="2023-08-02T20:03:20.381" v="19646"/>
          <ac:spMkLst>
            <pc:docMk/>
            <pc:sldMk cId="3795966898" sldId="267"/>
            <ac:spMk id="40" creationId="{E572EFC5-A7FD-69F6-5C31-AAA859CEB992}"/>
          </ac:spMkLst>
        </pc:spChg>
        <pc:spChg chg="add del mod modVis">
          <ac:chgData name="Joelle Brehm" userId="a518f54c-6985-42c0-8041-2bb16a414839" providerId="ADAL" clId="{EC4E33A1-3A40-4A99-A232-1E6EEAE786EA}" dt="2023-08-02T20:02:55.285" v="18639"/>
          <ac:spMkLst>
            <pc:docMk/>
            <pc:sldMk cId="3795966898" sldId="267"/>
            <ac:spMk id="41" creationId="{A6D09A0D-C714-FAFF-F977-98ADD52CDE05}"/>
          </ac:spMkLst>
        </pc:spChg>
        <pc:spChg chg="mod">
          <ac:chgData name="Joelle Brehm" userId="a518f54c-6985-42c0-8041-2bb16a414839" providerId="ADAL" clId="{EC4E33A1-3A40-4A99-A232-1E6EEAE786EA}" dt="2023-08-02T20:03:20.381" v="19645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EC4E33A1-3A40-4A99-A232-1E6EEAE786EA}" dt="2023-08-02T20:03:20.381" v="19647"/>
          <ac:spMkLst>
            <pc:docMk/>
            <pc:sldMk cId="3795966898" sldId="267"/>
            <ac:spMk id="44" creationId="{40B65240-400F-5791-7F3E-FCB0C3838579}"/>
          </ac:spMkLst>
        </pc:spChg>
        <pc:spChg chg="add del mod ord replST">
          <ac:chgData name="Joelle Brehm" userId="a518f54c-6985-42c0-8041-2bb16a414839" providerId="ADAL" clId="{EC4E33A1-3A40-4A99-A232-1E6EEAE786EA}" dt="2023-08-02T20:02:59.209" v="18932"/>
          <ac:spMkLst>
            <pc:docMk/>
            <pc:sldMk cId="3795966898" sldId="267"/>
            <ac:spMk id="45" creationId="{7CAA3B95-4C78-4122-BECA-B5FB0F3F3764}"/>
          </ac:spMkLst>
        </pc:spChg>
        <pc:spChg chg="add del mod ord replST">
          <ac:chgData name="Joelle Brehm" userId="a518f54c-6985-42c0-8041-2bb16a414839" providerId="ADAL" clId="{EC4E33A1-3A40-4A99-A232-1E6EEAE786EA}" dt="2023-08-02T20:03:06.671" v="19124"/>
          <ac:spMkLst>
            <pc:docMk/>
            <pc:sldMk cId="3795966898" sldId="267"/>
            <ac:spMk id="4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3:20.387" v="19666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EC4E33A1-3A40-4A99-A232-1E6EEAE786EA}" dt="2023-08-02T20:02:56.719" v="18848"/>
          <ac:spMkLst>
            <pc:docMk/>
            <pc:sldMk cId="3795966898" sldId="267"/>
            <ac:spMk id="49" creationId="{167F6D0B-8473-84CC-BDF3-D69BF40DC5AE}"/>
          </ac:spMkLst>
        </pc:spChg>
        <pc:spChg chg="add del mod modVis">
          <ac:chgData name="Joelle Brehm" userId="a518f54c-6985-42c0-8041-2bb16a414839" providerId="ADAL" clId="{EC4E33A1-3A40-4A99-A232-1E6EEAE786EA}" dt="2023-08-02T20:02:59.321" v="19052"/>
          <ac:spMkLst>
            <pc:docMk/>
            <pc:sldMk cId="3795966898" sldId="267"/>
            <ac:spMk id="51" creationId="{E48DE523-6F81-E247-D64C-906D46994625}"/>
          </ac:spMkLst>
        </pc:spChg>
        <pc:spChg chg="add del mod modVis">
          <ac:chgData name="Joelle Brehm" userId="a518f54c-6985-42c0-8041-2bb16a414839" providerId="ADAL" clId="{EC4E33A1-3A40-4A99-A232-1E6EEAE786EA}" dt="2023-08-02T20:03:06.715" v="19205"/>
          <ac:spMkLst>
            <pc:docMk/>
            <pc:sldMk cId="3795966898" sldId="267"/>
            <ac:spMk id="53" creationId="{9282F8C8-918E-7DEE-65AF-126485AEE826}"/>
          </ac:spMkLst>
        </pc:spChg>
        <pc:spChg chg="add del mod modVis">
          <ac:chgData name="Joelle Brehm" userId="a518f54c-6985-42c0-8041-2bb16a414839" providerId="ADAL" clId="{EC4E33A1-3A40-4A99-A232-1E6EEAE786EA}" dt="2023-08-02T20:03:12.188" v="19427"/>
          <ac:spMkLst>
            <pc:docMk/>
            <pc:sldMk cId="3795966898" sldId="267"/>
            <ac:spMk id="57" creationId="{7F241C57-E5DE-E9A8-D62E-13183A78BC56}"/>
          </ac:spMkLst>
        </pc:spChg>
        <pc:spChg chg="add del mod modVis">
          <ac:chgData name="Joelle Brehm" userId="a518f54c-6985-42c0-8041-2bb16a414839" providerId="ADAL" clId="{EC4E33A1-3A40-4A99-A232-1E6EEAE786EA}" dt="2023-08-02T20:03:20.391" v="19677"/>
          <ac:spMkLst>
            <pc:docMk/>
            <pc:sldMk cId="3795966898" sldId="267"/>
            <ac:spMk id="59" creationId="{5FDB0D16-2793-C2CB-414C-F566746F0903}"/>
          </ac:spMkLst>
        </pc:spChg>
        <pc:spChg chg="del mod">
          <ac:chgData name="Joelle Brehm" userId="a518f54c-6985-42c0-8041-2bb16a414839" providerId="ADAL" clId="{EC4E33A1-3A40-4A99-A232-1E6EEAE786EA}" dt="2023-08-02T20:02:59.063" v="18851"/>
          <ac:spMkLst>
            <pc:docMk/>
            <pc:sldMk cId="3795966898" sldId="267"/>
            <ac:spMk id="63" creationId="{053D79FA-9959-DC9B-AD5D-DAC4EDF9A224}"/>
          </ac:spMkLst>
        </pc:spChg>
        <pc:spChg chg="mod ord">
          <ac:chgData name="Joelle Brehm" userId="a518f54c-6985-42c0-8041-2bb16a414839" providerId="ADAL" clId="{EC4E33A1-3A40-4A99-A232-1E6EEAE786EA}" dt="2023-08-02T20:03:20.382" v="19650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03:20.383" v="19652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03:20.383" v="19654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03:20.389" v="19671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EC4E33A1-3A40-4A99-A232-1E6EEAE786EA}" dt="2023-08-02T20:03:20.384" v="19656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03:20.384" v="19658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03:20.384" v="19660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03:20.386" v="19663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3:20.386" v="19664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3:20.387" v="19665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03:20.388" v="19667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03:20.410" v="19679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3:20.363" v="19612"/>
          <ac:graphicFrameMkLst>
            <pc:docMk/>
            <pc:sldMk cId="3795966898" sldId="267"/>
            <ac:graphicFrameMk id="8" creationId="{9231F860-170B-43D6-133A-25E622D4D719}"/>
          </ac:graphicFrameMkLst>
        </pc:graphicFrameChg>
        <pc:graphicFrameChg chg="del">
          <ac:chgData name="Joelle Brehm" userId="a518f54c-6985-42c0-8041-2bb16a414839" providerId="ADAL" clId="{EC4E33A1-3A40-4A99-A232-1E6EEAE786EA}" dt="2023-08-02T20:02:24.360" v="17693"/>
          <ac:graphicFrameMkLst>
            <pc:docMk/>
            <pc:sldMk cId="3795966898" sldId="267"/>
            <ac:graphicFrameMk id="9" creationId="{7A225B4E-EEBF-58B5-E3D1-CF840438CA6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3:12.126" v="19348"/>
          <ac:graphicFrameMkLst>
            <pc:docMk/>
            <pc:sldMk cId="3795966898" sldId="267"/>
            <ac:graphicFrameMk id="43" creationId="{23295E3C-2618-9F02-1D0B-80D25B807BA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2:56.611" v="18744"/>
          <ac:graphicFrameMkLst>
            <pc:docMk/>
            <pc:sldMk cId="3795966898" sldId="267"/>
            <ac:graphicFrameMk id="47" creationId="{CCFE2331-0795-F6DE-B1D1-2457B52D696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2:59.237" v="18971"/>
          <ac:graphicFrameMkLst>
            <pc:docMk/>
            <pc:sldMk cId="3795966898" sldId="267"/>
            <ac:graphicFrameMk id="50" creationId="{DE27C32A-1C8E-8236-66A5-05281A06905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3:06.672" v="19126"/>
          <ac:graphicFrameMkLst>
            <pc:docMk/>
            <pc:sldMk cId="3795966898" sldId="267"/>
            <ac:graphicFrameMk id="52" creationId="{2C987CB8-A990-024B-09BF-2793CE67731B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2:55.195" v="18549"/>
          <ac:graphicFrameMkLst>
            <pc:docMk/>
            <pc:sldMk cId="3795966898" sldId="267"/>
            <ac:graphicFrameMk id="54" creationId="{8A1C8C17-B7F0-92A2-B43C-EC59676A1B6F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3:20.376" v="19636"/>
          <ac:graphicFrameMkLst>
            <pc:docMk/>
            <pc:sldMk cId="3795966898" sldId="267"/>
            <ac:graphicFrameMk id="56" creationId="{B0FC0B96-639F-CFE1-7EC1-284E0DECF0D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3:20.302" v="19598"/>
          <ac:graphicFrameMkLst>
            <pc:docMk/>
            <pc:sldMk cId="3795966898" sldId="267"/>
            <ac:graphicFrameMk id="58" creationId="{B01A246F-6BC4-3333-BE0E-5082509ACBB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3:20.385" v="19662"/>
          <ac:graphicFrameMkLst>
            <pc:docMk/>
            <pc:sldMk cId="3795966898" sldId="267"/>
            <ac:graphicFrameMk id="60" creationId="{6DA72661-3AFA-C4E9-8271-D17DB30D3BCF}"/>
          </ac:graphicFrameMkLst>
        </pc:graphicFrameChg>
        <pc:picChg chg="add mod ord">
          <ac:chgData name="Joelle Brehm" userId="a518f54c-6985-42c0-8041-2bb16a414839" providerId="ADAL" clId="{EC4E33A1-3A40-4A99-A232-1E6EEAE786EA}" dt="2023-08-02T20:03:20.360" v="19606"/>
          <ac:picMkLst>
            <pc:docMk/>
            <pc:sldMk cId="3795966898" sldId="267"/>
            <ac:picMk id="10" creationId="{DF652FF3-E253-04C0-0904-C229139E9298}"/>
          </ac:picMkLst>
        </pc:picChg>
        <pc:picChg chg="del mod ord">
          <ac:chgData name="Joelle Brehm" userId="a518f54c-6985-42c0-8041-2bb16a414839" providerId="ADAL" clId="{EC4E33A1-3A40-4A99-A232-1E6EEAE786EA}" dt="2023-08-02T20:02:45.647" v="17869" actId="478"/>
          <ac:picMkLst>
            <pc:docMk/>
            <pc:sldMk cId="3795966898" sldId="267"/>
            <ac:picMk id="55" creationId="{BA8C5FCD-7C48-7029-81D0-A5C5CFF8D3AD}"/>
          </ac:picMkLst>
        </pc:picChg>
        <pc:picChg chg="mod ord">
          <ac:chgData name="Joelle Brehm" userId="a518f54c-6985-42c0-8041-2bb16a414839" providerId="ADAL" clId="{EC4E33A1-3A40-4A99-A232-1E6EEAE786EA}" dt="2023-08-02T20:03:20.388" v="19669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03:20.362" v="19610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05:19.557" v="21722"/>
        <pc:sldMkLst>
          <pc:docMk/>
          <pc:sldMk cId="622078465" sldId="269"/>
        </pc:sldMkLst>
        <pc:spChg chg="add del mod ord">
          <ac:chgData name="Joelle Brehm" userId="a518f54c-6985-42c0-8041-2bb16a414839" providerId="ADAL" clId="{EC4E33A1-3A40-4A99-A232-1E6EEAE786EA}" dt="2023-08-02T20:04:44.874" v="20042" actId="478"/>
          <ac:spMkLst>
            <pc:docMk/>
            <pc:sldMk cId="622078465" sldId="269"/>
            <ac:spMk id="2" creationId="{3DD6D47F-EDCB-44EB-5AD2-F49E85BF9F7C}"/>
          </ac:spMkLst>
        </pc:spChg>
        <pc:spChg chg="mod ord">
          <ac:chgData name="Joelle Brehm" userId="a518f54c-6985-42c0-8041-2bb16a414839" providerId="ADAL" clId="{EC4E33A1-3A40-4A99-A232-1E6EEAE786EA}" dt="2023-08-02T20:05:19.513" v="21716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EC4E33A1-3A40-4A99-A232-1E6EEAE786EA}" dt="2023-08-02T20:04:06.663" v="19941"/>
          <ac:spMkLst>
            <pc:docMk/>
            <pc:sldMk cId="622078465" sldId="269"/>
            <ac:spMk id="5" creationId="{EBC0B3D2-E680-3B59-21E1-51FBCA881EB1}"/>
          </ac:spMkLst>
        </pc:spChg>
        <pc:spChg chg="mod ord">
          <ac:chgData name="Joelle Brehm" userId="a518f54c-6985-42c0-8041-2bb16a414839" providerId="ADAL" clId="{EC4E33A1-3A40-4A99-A232-1E6EEAE786EA}" dt="2023-08-02T20:05:19.493" v="21651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05:19.507" v="21690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EC4E33A1-3A40-4A99-A232-1E6EEAE786EA}" dt="2023-08-02T20:05:19.495" v="21657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05:19.497" v="21661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05:19.497" v="21659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05:19.495" v="21656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05:19.497" v="21660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05:19.496" v="21658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05:19.497" v="21662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05:19.498" v="21664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05:19.497" v="21663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05:19.498" v="21665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05:19.499" v="21666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05:19.499" v="21667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05:19.499" v="21669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05:19.500" v="21671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05:19.500" v="21670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05:19.500" v="21672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05:19.501" v="21675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05:19.501" v="21674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05:19.501" v="21673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05:19.502" v="21677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05:19.504" v="21683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EC4E33A1-3A40-4A99-A232-1E6EEAE786EA}" dt="2023-08-02T20:05:19.506" v="21689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EC4E33A1-3A40-4A99-A232-1E6EEAE786EA}" dt="2023-08-02T20:05:19.505" v="21688"/>
          <ac:spMkLst>
            <pc:docMk/>
            <pc:sldMk cId="622078465" sldId="269"/>
            <ac:spMk id="34" creationId="{361A309D-582A-9EF2-AAA6-D0365E1E80AF}"/>
          </ac:spMkLst>
        </pc:spChg>
        <pc:spChg chg="add del mod modVis">
          <ac:chgData name="Joelle Brehm" userId="a518f54c-6985-42c0-8041-2bb16a414839" providerId="ADAL" clId="{EC4E33A1-3A40-4A99-A232-1E6EEAE786EA}" dt="2023-08-02T20:04:57.091" v="20297"/>
          <ac:spMkLst>
            <pc:docMk/>
            <pc:sldMk cId="622078465" sldId="269"/>
            <ac:spMk id="35" creationId="{0B7E32A4-4992-300A-43A3-46AAE2C996DD}"/>
          </ac:spMkLst>
        </pc:spChg>
        <pc:spChg chg="add mod replST">
          <ac:chgData name="Joelle Brehm" userId="a518f54c-6985-42c0-8041-2bb16a414839" providerId="ADAL" clId="{EC4E33A1-3A40-4A99-A232-1E6EEAE786EA}" dt="2023-08-02T20:05:19.507" v="21691"/>
          <ac:spMkLst>
            <pc:docMk/>
            <pc:sldMk cId="622078465" sldId="269"/>
            <ac:spMk id="37" creationId="{427BEB13-0488-F942-6529-D086649DCC24}"/>
          </ac:spMkLst>
        </pc:spChg>
        <pc:spChg chg="add del mod modVis">
          <ac:chgData name="Joelle Brehm" userId="a518f54c-6985-42c0-8041-2bb16a414839" providerId="ADAL" clId="{EC4E33A1-3A40-4A99-A232-1E6EEAE786EA}" dt="2023-08-02T20:05:05.502" v="20883"/>
          <ac:spMkLst>
            <pc:docMk/>
            <pc:sldMk cId="622078465" sldId="269"/>
            <ac:spMk id="38" creationId="{C87B46C6-5DD9-6F29-3838-964300978B04}"/>
          </ac:spMkLst>
        </pc:spChg>
        <pc:spChg chg="add del mod ord replST">
          <ac:chgData name="Joelle Brehm" userId="a518f54c-6985-42c0-8041-2bb16a414839" providerId="ADAL" clId="{EC4E33A1-3A40-4A99-A232-1E6EEAE786EA}" dt="2023-08-02T20:05:19.466" v="21639"/>
          <ac:spMkLst>
            <pc:docMk/>
            <pc:sldMk cId="622078465" sldId="269"/>
            <ac:spMk id="39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05:06.558" v="21093"/>
          <ac:spMkLst>
            <pc:docMk/>
            <pc:sldMk cId="622078465" sldId="269"/>
            <ac:spMk id="41" creationId="{70AFFB73-E680-9C18-80E7-C7F8570C2FBF}"/>
          </ac:spMkLst>
        </pc:spChg>
        <pc:spChg chg="add del mod modVis">
          <ac:chgData name="Joelle Brehm" userId="a518f54c-6985-42c0-8041-2bb16a414839" providerId="ADAL" clId="{EC4E33A1-3A40-4A99-A232-1E6EEAE786EA}" dt="2023-08-02T20:05:13.679" v="21407"/>
          <ac:spMkLst>
            <pc:docMk/>
            <pc:sldMk cId="622078465" sldId="269"/>
            <ac:spMk id="44" creationId="{F294B7C8-A642-FB4D-C6A7-F0E48FD90C30}"/>
          </ac:spMkLst>
        </pc:spChg>
        <pc:spChg chg="add del mod ord replST">
          <ac:chgData name="Joelle Brehm" userId="a518f54c-6985-42c0-8041-2bb16a414839" providerId="ADAL" clId="{EC4E33A1-3A40-4A99-A232-1E6EEAE786EA}" dt="2023-08-02T20:05:17.082" v="21482"/>
          <ac:spMkLst>
            <pc:docMk/>
            <pc:sldMk cId="622078465" sldId="269"/>
            <ac:spMk id="45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05:17.138" v="21565"/>
          <ac:spMkLst>
            <pc:docMk/>
            <pc:sldMk cId="622078465" sldId="269"/>
            <ac:spMk id="49" creationId="{FC70C6DF-2998-E4C1-AE6C-BBCE227D4693}"/>
          </ac:spMkLst>
        </pc:spChg>
        <pc:spChg chg="add del mod modVis">
          <ac:chgData name="Joelle Brehm" userId="a518f54c-6985-42c0-8041-2bb16a414839" providerId="ADAL" clId="{EC4E33A1-3A40-4A99-A232-1E6EEAE786EA}" dt="2023-08-02T20:05:19.515" v="21720"/>
          <ac:spMkLst>
            <pc:docMk/>
            <pc:sldMk cId="622078465" sldId="269"/>
            <ac:spMk id="51" creationId="{7E5A2348-3233-46FC-D4C7-0661EEC61F85}"/>
          </ac:spMkLst>
        </pc:spChg>
        <pc:spChg chg="mod ord">
          <ac:chgData name="Joelle Brehm" userId="a518f54c-6985-42c0-8041-2bb16a414839" providerId="ADAL" clId="{EC4E33A1-3A40-4A99-A232-1E6EEAE786EA}" dt="2023-08-02T20:05:19.513" v="21714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EC4E33A1-3A40-4A99-A232-1E6EEAE786EA}" dt="2023-08-02T20:05:19.508" v="21693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05:19.508" v="21695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EC4E33A1-3A40-4A99-A232-1E6EEAE786EA}" dt="2023-08-02T20:05:13.142" v="21096"/>
          <ac:spMkLst>
            <pc:docMk/>
            <pc:sldMk cId="622078465" sldId="269"/>
            <ac:spMk id="8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04" v="21684"/>
          <ac:spMkLst>
            <pc:docMk/>
            <pc:sldMk cId="622078465" sldId="269"/>
            <ac:spMk id="8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03" v="21680"/>
          <ac:spMkLst>
            <pc:docMk/>
            <pc:sldMk cId="622078465" sldId="269"/>
            <ac:spMk id="8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03" v="21681"/>
          <ac:spMkLst>
            <pc:docMk/>
            <pc:sldMk cId="622078465" sldId="269"/>
            <ac:spMk id="8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04" v="21685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03" v="21682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05" v="21686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05" v="21687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05:19.509" v="21697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05:19.509" v="21699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05:19.510" v="21701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05:19.510" v="21703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05:19.511" v="21707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11" v="21708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12" v="21710"/>
          <ac:spMkLst>
            <pc:docMk/>
            <pc:sldMk cId="622078465" sldId="269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5:19.512" v="21709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05:19.511" v="21706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05:19.557" v="21722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5:19.494" v="21655"/>
          <ac:graphicFrameMkLst>
            <pc:docMk/>
            <pc:sldMk cId="622078465" sldId="269"/>
            <ac:graphicFrameMk id="8" creationId="{648AF692-6ACB-4AE7-A4A2-A5FE0B032DC9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4:56.984" v="20218"/>
          <ac:graphicFrameMkLst>
            <pc:docMk/>
            <pc:sldMk cId="622078465" sldId="269"/>
            <ac:graphicFrameMk id="9" creationId="{2921E565-2022-A06D-0C8F-03C1C81A25E8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5:19.511" v="21705"/>
          <ac:graphicFrameMkLst>
            <pc:docMk/>
            <pc:sldMk cId="622078465" sldId="269"/>
            <ac:graphicFrameMk id="36" creationId="{5CCD51D7-E9FC-6A4C-CDB5-1B793D43501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5:06.380" v="20989"/>
          <ac:graphicFrameMkLst>
            <pc:docMk/>
            <pc:sldMk cId="622078465" sldId="269"/>
            <ac:graphicFrameMk id="40" creationId="{4CEEBEBB-B90E-0789-310D-F5B6EB12E53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5:13.537" v="21302"/>
          <ac:graphicFrameMkLst>
            <pc:docMk/>
            <pc:sldMk cId="622078465" sldId="269"/>
            <ac:graphicFrameMk id="42" creationId="{3D90CF4D-0459-F3DE-40CD-AF185BCACAE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5:05.347" v="20793"/>
          <ac:graphicFrameMkLst>
            <pc:docMk/>
            <pc:sldMk cId="622078465" sldId="269"/>
            <ac:graphicFrameMk id="43" creationId="{E3BDA500-9814-449C-31B3-56AE65BB4753}"/>
          </ac:graphicFrameMkLst>
        </pc:graphicFrameChg>
        <pc:graphicFrameChg chg="del">
          <ac:chgData name="Joelle Brehm" userId="a518f54c-6985-42c0-8041-2bb16a414839" providerId="ADAL" clId="{EC4E33A1-3A40-4A99-A232-1E6EEAE786EA}" dt="2023-08-02T20:04:06.546" v="19856"/>
          <ac:graphicFrameMkLst>
            <pc:docMk/>
            <pc:sldMk cId="622078465" sldId="269"/>
            <ac:graphicFrameMk id="46" creationId="{9CB58D56-578D-2184-9FD4-93440E185214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5:17.084" v="21484"/>
          <ac:graphicFrameMkLst>
            <pc:docMk/>
            <pc:sldMk cId="622078465" sldId="269"/>
            <ac:graphicFrameMk id="47" creationId="{216E2BFF-33EE-D8D0-263C-54897FC7E4B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5:19.468" v="21641"/>
          <ac:graphicFrameMkLst>
            <pc:docMk/>
            <pc:sldMk cId="622078465" sldId="269"/>
            <ac:graphicFrameMk id="50" creationId="{AE65B94C-CCD2-45EF-CD2D-46C9714CBB9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5:19.502" v="21679"/>
          <ac:graphicFrameMkLst>
            <pc:docMk/>
            <pc:sldMk cId="622078465" sldId="269"/>
            <ac:graphicFrameMk id="52" creationId="{F2DE7321-F7C2-A3AA-8EAD-C66E5AAE0F0A}"/>
          </ac:graphicFrameMkLst>
        </pc:graphicFrameChg>
        <pc:picChg chg="add mod ord">
          <ac:chgData name="Joelle Brehm" userId="a518f54c-6985-42c0-8041-2bb16a414839" providerId="ADAL" clId="{EC4E33A1-3A40-4A99-A232-1E6EEAE786EA}" dt="2023-08-02T20:05:19.493" v="21649"/>
          <ac:picMkLst>
            <pc:docMk/>
            <pc:sldMk cId="622078465" sldId="269"/>
            <ac:picMk id="31" creationId="{7C67CD3D-030C-DB21-FC07-AF8527D12D3C}"/>
          </ac:picMkLst>
        </pc:picChg>
        <pc:picChg chg="del mod ord">
          <ac:chgData name="Joelle Brehm" userId="a518f54c-6985-42c0-8041-2bb16a414839" providerId="ADAL" clId="{EC4E33A1-3A40-4A99-A232-1E6EEAE786EA}" dt="2023-08-02T20:04:38.607" v="20038" actId="478"/>
          <ac:picMkLst>
            <pc:docMk/>
            <pc:sldMk cId="622078465" sldId="269"/>
            <ac:picMk id="48" creationId="{8B2D8C16-BC22-DC10-8CFB-11B875ACA85D}"/>
          </ac:picMkLst>
        </pc:picChg>
        <pc:picChg chg="mod ord">
          <ac:chgData name="Joelle Brehm" userId="a518f54c-6985-42c0-8041-2bb16a414839" providerId="ADAL" clId="{EC4E33A1-3A40-4A99-A232-1E6EEAE786EA}" dt="2023-08-02T20:05:19.513" v="21712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05:19.494" v="21653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23:54.512" v="41540"/>
        <pc:sldMkLst>
          <pc:docMk/>
          <pc:sldMk cId="1002023985" sldId="270"/>
        </pc:sldMkLst>
        <pc:spChg chg="mod ord">
          <ac:chgData name="Joelle Brehm" userId="a518f54c-6985-42c0-8041-2bb16a414839" providerId="ADAL" clId="{EC4E33A1-3A40-4A99-A232-1E6EEAE786EA}" dt="2023-08-02T20:23:54.455" v="41532"/>
          <ac:spMkLst>
            <pc:docMk/>
            <pc:sldMk cId="1002023985" sldId="270"/>
            <ac:spMk id="2" creationId="{2799481D-3313-41C1-9238-7B9AB0AAF857}"/>
          </ac:spMkLst>
        </pc:spChg>
        <pc:spChg chg="add del mod ord">
          <ac:chgData name="Joelle Brehm" userId="a518f54c-6985-42c0-8041-2bb16a414839" providerId="ADAL" clId="{EC4E33A1-3A40-4A99-A232-1E6EEAE786EA}" dt="2023-08-02T20:23:18.428" v="39548" actId="478"/>
          <ac:spMkLst>
            <pc:docMk/>
            <pc:sldMk cId="1002023985" sldId="270"/>
            <ac:spMk id="3" creationId="{7451908F-E29E-BBFC-F453-0AE399ACAF61}"/>
          </ac:spMkLst>
        </pc:spChg>
        <pc:spChg chg="add del mod modVis">
          <ac:chgData name="Joelle Brehm" userId="a518f54c-6985-42c0-8041-2bb16a414839" providerId="ADAL" clId="{EC4E33A1-3A40-4A99-A232-1E6EEAE786EA}" dt="2023-08-02T20:21:41.006" v="39434"/>
          <ac:spMkLst>
            <pc:docMk/>
            <pc:sldMk cId="1002023985" sldId="270"/>
            <ac:spMk id="5" creationId="{97DB7016-2D00-BD35-D69B-C68C54342226}"/>
          </ac:spMkLst>
        </pc:spChg>
        <pc:spChg chg="mod ord">
          <ac:chgData name="Joelle Brehm" userId="a518f54c-6985-42c0-8041-2bb16a414839" providerId="ADAL" clId="{EC4E33A1-3A40-4A99-A232-1E6EEAE786EA}" dt="2023-08-02T20:23:54.423" v="41442"/>
          <ac:spMkLst>
            <pc:docMk/>
            <pc:sldMk cId="1002023985" sldId="27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C4E33A1-3A40-4A99-A232-1E6EEAE786EA}" dt="2023-08-02T20:23:33.541" v="39775"/>
          <ac:spMkLst>
            <pc:docMk/>
            <pc:sldMk cId="1002023985" sldId="270"/>
            <ac:spMk id="9" creationId="{D2B0E4BE-F6A5-4EB3-CADE-C3FDDA98124E}"/>
          </ac:spMkLst>
        </pc:spChg>
        <pc:spChg chg="mod">
          <ac:chgData name="Joelle Brehm" userId="a518f54c-6985-42c0-8041-2bb16a414839" providerId="ADAL" clId="{EC4E33A1-3A40-4A99-A232-1E6EEAE786EA}" dt="2023-08-02T20:23:54.442" v="41488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EC4E33A1-3A40-4A99-A232-1E6EEAE786EA}" dt="2023-08-02T20:23:54.427" v="41450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23:54.428" v="41452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23:54.428" v="41453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23:54.426" v="41449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23:54.427" v="41451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23:54.429" v="41454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23:54.426" v="41448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23:54.425" v="41447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23:54.429" v="41455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23:54.430" v="41456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23:54.430" v="41457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23:54.430" v="41458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23:54.431" v="41460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23:54.432" v="41463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23:54.433" v="41465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23:54.433" v="41464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23:54.434" v="41468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23:54.434" v="41466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23:54.434" v="41467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23:54.435" v="41471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23:54.441" v="41487"/>
          <ac:spMkLst>
            <pc:docMk/>
            <pc:sldMk cId="1002023985" sldId="270"/>
            <ac:spMk id="31" creationId="{2B843E61-16B1-B2FE-A419-E688DD153EE9}"/>
          </ac:spMkLst>
        </pc:spChg>
        <pc:spChg chg="mod">
          <ac:chgData name="Joelle Brehm" userId="a518f54c-6985-42c0-8041-2bb16a414839" providerId="ADAL" clId="{EC4E33A1-3A40-4A99-A232-1E6EEAE786EA}" dt="2023-08-02T20:23:54.442" v="41489"/>
          <ac:spMkLst>
            <pc:docMk/>
            <pc:sldMk cId="1002023985" sldId="270"/>
            <ac:spMk id="32" creationId="{0BE92A1F-B2E2-867E-0B96-57FFDAFB5078}"/>
          </ac:spMkLst>
        </pc:spChg>
        <pc:spChg chg="mod">
          <ac:chgData name="Joelle Brehm" userId="a518f54c-6985-42c0-8041-2bb16a414839" providerId="ADAL" clId="{EC4E33A1-3A40-4A99-A232-1E6EEAE786EA}" dt="2023-08-02T20:23:54.447" v="41502"/>
          <ac:spMkLst>
            <pc:docMk/>
            <pc:sldMk cId="1002023985" sldId="270"/>
            <ac:spMk id="33" creationId="{F76D64DC-4154-E4CF-EF48-9A68CB6317E4}"/>
          </ac:spMkLst>
        </pc:spChg>
        <pc:spChg chg="mod">
          <ac:chgData name="Joelle Brehm" userId="a518f54c-6985-42c0-8041-2bb16a414839" providerId="ADAL" clId="{EC4E33A1-3A40-4A99-A232-1E6EEAE786EA}" dt="2023-08-02T20:23:54.442" v="41490"/>
          <ac:spMkLst>
            <pc:docMk/>
            <pc:sldMk cId="1002023985" sldId="270"/>
            <ac:spMk id="34" creationId="{9648527B-C461-9A7E-67C5-5AEE8C3C47B5}"/>
          </ac:spMkLst>
        </pc:spChg>
        <pc:spChg chg="mod">
          <ac:chgData name="Joelle Brehm" userId="a518f54c-6985-42c0-8041-2bb16a414839" providerId="ADAL" clId="{EC4E33A1-3A40-4A99-A232-1E6EEAE786EA}" dt="2023-08-02T20:23:54.441" v="41485"/>
          <ac:spMkLst>
            <pc:docMk/>
            <pc:sldMk cId="1002023985" sldId="270"/>
            <ac:spMk id="35" creationId="{3A6B1803-B9A1-DDD4-5DB0-ABDF3CF4E32A}"/>
          </ac:spMkLst>
        </pc:spChg>
        <pc:spChg chg="mod">
          <ac:chgData name="Joelle Brehm" userId="a518f54c-6985-42c0-8041-2bb16a414839" providerId="ADAL" clId="{EC4E33A1-3A40-4A99-A232-1E6EEAE786EA}" dt="2023-08-02T20:23:54.443" v="41492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EC4E33A1-3A40-4A99-A232-1E6EEAE786EA}" dt="2023-08-02T20:23:54.432" v="41462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0:23:54.443" v="41491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EC4E33A1-3A40-4A99-A232-1E6EEAE786EA}" dt="2023-08-02T20:23:54.444" v="41495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EC4E33A1-3A40-4A99-A232-1E6EEAE786EA}" dt="2023-08-02T20:23:54.443" v="41493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EC4E33A1-3A40-4A99-A232-1E6EEAE786EA}" dt="2023-08-02T20:23:54.444" v="41496"/>
          <ac:spMkLst>
            <pc:docMk/>
            <pc:sldMk cId="1002023985" sldId="270"/>
            <ac:spMk id="41" creationId="{51DF5FF8-D483-FA48-6208-139CC6F687D3}"/>
          </ac:spMkLst>
        </pc:spChg>
        <pc:spChg chg="mod">
          <ac:chgData name="Joelle Brehm" userId="a518f54c-6985-42c0-8041-2bb16a414839" providerId="ADAL" clId="{EC4E33A1-3A40-4A99-A232-1E6EEAE786EA}" dt="2023-08-02T20:23:54.440" v="41484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EC4E33A1-3A40-4A99-A232-1E6EEAE786EA}" dt="2023-08-02T20:23:54.449" v="41507"/>
          <ac:spMkLst>
            <pc:docMk/>
            <pc:sldMk cId="1002023985" sldId="270"/>
            <ac:spMk id="43" creationId="{29357330-070C-17EC-0CAB-CAD445419341}"/>
          </ac:spMkLst>
        </pc:spChg>
        <pc:spChg chg="mod">
          <ac:chgData name="Joelle Brehm" userId="a518f54c-6985-42c0-8041-2bb16a414839" providerId="ADAL" clId="{EC4E33A1-3A40-4A99-A232-1E6EEAE786EA}" dt="2023-08-02T20:23:54.444" v="41497"/>
          <ac:spMkLst>
            <pc:docMk/>
            <pc:sldMk cId="1002023985" sldId="270"/>
            <ac:spMk id="44" creationId="{D21335E5-EBC4-9286-DD2D-7735A09D41EB}"/>
          </ac:spMkLst>
        </pc:spChg>
        <pc:spChg chg="mod">
          <ac:chgData name="Joelle Brehm" userId="a518f54c-6985-42c0-8041-2bb16a414839" providerId="ADAL" clId="{EC4E33A1-3A40-4A99-A232-1E6EEAE786EA}" dt="2023-08-02T20:23:54.446" v="41499"/>
          <ac:spMkLst>
            <pc:docMk/>
            <pc:sldMk cId="1002023985" sldId="270"/>
            <ac:spMk id="46" creationId="{25944032-4776-632B-7FEC-F3C2EE42ED40}"/>
          </ac:spMkLst>
        </pc:spChg>
        <pc:spChg chg="add mod replST">
          <ac:chgData name="Joelle Brehm" userId="a518f54c-6985-42c0-8041-2bb16a414839" providerId="ADAL" clId="{EC4E33A1-3A40-4A99-A232-1E6EEAE786EA}" dt="2023-08-02T20:23:54.446" v="41500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EC4E33A1-3A40-4A99-A232-1E6EEAE786EA}" dt="2023-08-02T20:23:54.444" v="41494"/>
          <ac:spMkLst>
            <pc:docMk/>
            <pc:sldMk cId="1002023985" sldId="270"/>
            <ac:spMk id="48" creationId="{6B485F64-D882-03C4-1207-7FC065D51BB7}"/>
          </ac:spMkLst>
        </pc:spChg>
        <pc:spChg chg="add mod replST">
          <ac:chgData name="Joelle Brehm" userId="a518f54c-6985-42c0-8041-2bb16a414839" providerId="ADAL" clId="{EC4E33A1-3A40-4A99-A232-1E6EEAE786EA}" dt="2023-08-02T20:23:54.447" v="41501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EC4E33A1-3A40-4A99-A232-1E6EEAE786EA}" dt="2023-08-02T20:23:54.448" v="41504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EC4E33A1-3A40-4A99-A232-1E6EEAE786EA}" dt="2023-08-02T20:23:54.441" v="41486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EC4E33A1-3A40-4A99-A232-1E6EEAE786EA}" dt="2023-08-02T20:23:54.448" v="41505"/>
          <ac:spMkLst>
            <pc:docMk/>
            <pc:sldMk cId="1002023985" sldId="270"/>
            <ac:spMk id="52" creationId="{CDAA8CD8-B796-5FFD-8D34-2773F7AB7F1D}"/>
          </ac:spMkLst>
        </pc:spChg>
        <pc:spChg chg="add del mod modVis">
          <ac:chgData name="Joelle Brehm" userId="a518f54c-6985-42c0-8041-2bb16a414839" providerId="ADAL" clId="{EC4E33A1-3A40-4A99-A232-1E6EEAE786EA}" dt="2023-08-02T20:23:43.469" v="40181"/>
          <ac:spMkLst>
            <pc:docMk/>
            <pc:sldMk cId="1002023985" sldId="270"/>
            <ac:spMk id="53" creationId="{159BA2F1-ADE7-DD42-1DA4-39C07681FA45}"/>
          </ac:spMkLst>
        </pc:spChg>
        <pc:spChg chg="add del mod modVis">
          <ac:chgData name="Joelle Brehm" userId="a518f54c-6985-42c0-8041-2bb16a414839" providerId="ADAL" clId="{EC4E33A1-3A40-4A99-A232-1E6EEAE786EA}" dt="2023-08-02T20:23:44.972" v="40404"/>
          <ac:spMkLst>
            <pc:docMk/>
            <pc:sldMk cId="1002023985" sldId="270"/>
            <ac:spMk id="55" creationId="{589E17C5-DDC9-C682-D4EC-7BF84EB368A3}"/>
          </ac:spMkLst>
        </pc:spChg>
        <pc:spChg chg="mod">
          <ac:chgData name="Joelle Brehm" userId="a518f54c-6985-42c0-8041-2bb16a414839" providerId="ADAL" clId="{EC4E33A1-3A40-4A99-A232-1E6EEAE786EA}" dt="2023-08-02T20:23:54.447" v="41503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EC4E33A1-3A40-4A99-A232-1E6EEAE786EA}" dt="2023-08-02T20:23:54.446" v="41498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EC4E33A1-3A40-4A99-A232-1E6EEAE786EA}" dt="2023-08-02T20:23:54.448" v="41506"/>
          <ac:spMkLst>
            <pc:docMk/>
            <pc:sldMk cId="1002023985" sldId="270"/>
            <ac:spMk id="59" creationId="{15DED5C0-8834-6FCE-242E-76495D4381EE}"/>
          </ac:spMkLst>
        </pc:spChg>
        <pc:spChg chg="add del mod modVis">
          <ac:chgData name="Joelle Brehm" userId="a518f54c-6985-42c0-8041-2bb16a414839" providerId="ADAL" clId="{EC4E33A1-3A40-4A99-A232-1E6EEAE786EA}" dt="2023-08-02T20:23:49.183" v="41331"/>
          <ac:spMkLst>
            <pc:docMk/>
            <pc:sldMk cId="1002023985" sldId="270"/>
            <ac:spMk id="61" creationId="{562CADA0-4029-D552-DDF2-A17F76CAFF79}"/>
          </ac:spMkLst>
        </pc:spChg>
        <pc:spChg chg="mod">
          <ac:chgData name="Joelle Brehm" userId="a518f54c-6985-42c0-8041-2bb16a414839" providerId="ADAL" clId="{EC4E33A1-3A40-4A99-A232-1E6EEAE786EA}" dt="2023-08-02T20:23:54.437" v="41477"/>
          <ac:spMkLst>
            <pc:docMk/>
            <pc:sldMk cId="1002023985" sldId="270"/>
            <ac:spMk id="62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37" v="41476"/>
          <ac:spMkLst>
            <pc:docMk/>
            <pc:sldMk cId="1002023985" sldId="270"/>
            <ac:spMk id="64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38" v="41478"/>
          <ac:spMkLst>
            <pc:docMk/>
            <pc:sldMk cId="1002023985" sldId="270"/>
            <ac:spMk id="66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38" v="41479"/>
          <ac:spMkLst>
            <pc:docMk/>
            <pc:sldMk cId="1002023985" sldId="270"/>
            <ac:spMk id="67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37" v="41475"/>
          <ac:spMkLst>
            <pc:docMk/>
            <pc:sldMk cId="1002023985" sldId="270"/>
            <ac:spMk id="68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39" v="41481"/>
          <ac:spMkLst>
            <pc:docMk/>
            <pc:sldMk cId="1002023985" sldId="270"/>
            <ac:spMk id="69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40" v="41482"/>
          <ac:spMkLst>
            <pc:docMk/>
            <pc:sldMk cId="1002023985" sldId="270"/>
            <ac:spMk id="70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39" v="41480"/>
          <ac:spMkLst>
            <pc:docMk/>
            <pc:sldMk cId="1002023985" sldId="270"/>
            <ac:spMk id="71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23:54.440" v="41483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3:54.435" v="41469"/>
          <ac:spMkLst>
            <pc:docMk/>
            <pc:sldMk cId="1002023985" sldId="270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EC4E33A1-3A40-4A99-A232-1E6EEAE786EA}" dt="2023-08-02T20:23:54.457" v="41538"/>
          <ac:spMkLst>
            <pc:docMk/>
            <pc:sldMk cId="1002023985" sldId="270"/>
            <ac:spMk id="75" creationId="{88B39BF2-81B7-2F9A-4CE6-95AA692964D1}"/>
          </ac:spMkLst>
        </pc:spChg>
        <pc:spChg chg="mod ord">
          <ac:chgData name="Joelle Brehm" userId="a518f54c-6985-42c0-8041-2bb16a414839" providerId="ADAL" clId="{EC4E33A1-3A40-4A99-A232-1E6EEAE786EA}" dt="2023-08-02T20:23:54.449" v="41509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23:54.450" v="41511"/>
          <ac:spMkLst>
            <pc:docMk/>
            <pc:sldMk cId="1002023985" sldId="270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23:54.450" v="41513"/>
          <ac:spMkLst>
            <pc:docMk/>
            <pc:sldMk cId="1002023985" sldId="270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23:54.451" v="41515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23:54.451" v="41517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23:54.452" v="41519"/>
          <ac:spMkLst>
            <pc:docMk/>
            <pc:sldMk cId="1002023985" sldId="270"/>
            <ac:spMk id="110" creationId="{76D5A471-E342-4112-9B61-678EA0C3F282}"/>
          </ac:spMkLst>
        </pc:spChg>
        <pc:spChg chg="del mod">
          <ac:chgData name="Joelle Brehm" userId="a518f54c-6985-42c0-8041-2bb16a414839" providerId="ADAL" clId="{EC4E33A1-3A40-4A99-A232-1E6EEAE786EA}" dt="2023-08-02T20:23:47.399" v="40408"/>
          <ac:spMkLst>
            <pc:docMk/>
            <pc:sldMk cId="1002023985" sldId="270"/>
            <ac:spMk id="111" creationId="{182EC51E-240E-E991-6C1D-CEA66613C7A4}"/>
          </ac:spMkLst>
        </pc:spChg>
        <pc:spChg chg="del mod">
          <ac:chgData name="Joelle Brehm" userId="a518f54c-6985-42c0-8041-2bb16a414839" providerId="ADAL" clId="{EC4E33A1-3A40-4A99-A232-1E6EEAE786EA}" dt="2023-08-02T20:23:47.398" v="40407"/>
          <ac:spMkLst>
            <pc:docMk/>
            <pc:sldMk cId="1002023985" sldId="270"/>
            <ac:spMk id="112" creationId="{6D6DD08F-D718-19E3-F51D-AAEF3B68183C}"/>
          </ac:spMkLst>
        </pc:spChg>
        <pc:spChg chg="del mod">
          <ac:chgData name="Joelle Brehm" userId="a518f54c-6985-42c0-8041-2bb16a414839" providerId="ADAL" clId="{EC4E33A1-3A40-4A99-A232-1E6EEAE786EA}" dt="2023-08-02T20:23:47.572" v="40471"/>
          <ac:spMkLst>
            <pc:docMk/>
            <pc:sldMk cId="1002023985" sldId="270"/>
            <ac:spMk id="116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20:23:47.571" v="40470"/>
          <ac:spMkLst>
            <pc:docMk/>
            <pc:sldMk cId="1002023985" sldId="270"/>
            <ac:spMk id="11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3:54.453" v="41524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3:54.454" v="41526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3:54.454" v="41525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3:54.453" v="41523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23:54.453" v="41522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EC4E33A1-3A40-4A99-A232-1E6EEAE786EA}" dt="2023-08-02T20:23:54.436" v="41474"/>
          <ac:spMkLst>
            <pc:docMk/>
            <pc:sldMk cId="1002023985" sldId="270"/>
            <ac:spMk id="166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20:23:47.569" v="40469"/>
          <ac:spMkLst>
            <pc:docMk/>
            <pc:sldMk cId="1002023985" sldId="270"/>
            <ac:spMk id="171" creationId="{7CAA3B95-4C78-4122-BECA-B5FB0F3F3764}"/>
          </ac:spMkLst>
        </pc:spChg>
        <pc:graphicFrameChg chg="mod">
          <ac:chgData name="Joelle Brehm" userId="a518f54c-6985-42c0-8041-2bb16a414839" providerId="ADAL" clId="{EC4E33A1-3A40-4A99-A232-1E6EEAE786EA}" dt="2023-08-02T20:23:54.512" v="41540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3:54.425" v="41446"/>
          <ac:graphicFrameMkLst>
            <pc:docMk/>
            <pc:sldMk cId="1002023985" sldId="270"/>
            <ac:graphicFrameMk id="8" creationId="{8ECF0E11-9468-ECD6-C852-CEDAC15B1C79}"/>
          </ac:graphicFrameMkLst>
        </pc:graphicFrameChg>
        <pc:graphicFrameChg chg="del">
          <ac:chgData name="Joelle Brehm" userId="a518f54c-6985-42c0-8041-2bb16a414839" providerId="ADAL" clId="{EC4E33A1-3A40-4A99-A232-1E6EEAE786EA}" dt="2023-08-02T20:21:40.903" v="39329"/>
          <ac:graphicFrameMkLst>
            <pc:docMk/>
            <pc:sldMk cId="1002023985" sldId="270"/>
            <ac:graphicFrameMk id="9" creationId="{8812D659-6566-8F6A-4C99-02AC6D9A4DDE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3:54.452" v="41521"/>
          <ac:graphicFrameMkLst>
            <pc:docMk/>
            <pc:sldMk cId="1002023985" sldId="270"/>
            <ac:graphicFrameMk id="45" creationId="{78521883-0283-4885-852A-4E41FCC21F7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3:44.840" v="40303"/>
          <ac:graphicFrameMkLst>
            <pc:docMk/>
            <pc:sldMk cId="1002023985" sldId="270"/>
            <ac:graphicFrameMk id="54" creationId="{E7D4B007-7AD3-2EF2-705B-E1358ADB17ED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3:49.058" v="41227"/>
          <ac:graphicFrameMkLst>
            <pc:docMk/>
            <pc:sldMk cId="1002023985" sldId="270"/>
            <ac:graphicFrameMk id="60" creationId="{E4C88953-15DB-8625-DAC7-83FF7EE7151D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23:43.348" v="40080"/>
          <ac:graphicFrameMkLst>
            <pc:docMk/>
            <pc:sldMk cId="1002023985" sldId="270"/>
            <ac:graphicFrameMk id="63" creationId="{D0552194-43D5-010A-7255-B5B660C05519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23:33.401" v="39676"/>
          <ac:graphicFrameMkLst>
            <pc:docMk/>
            <pc:sldMk cId="1002023985" sldId="270"/>
            <ac:graphicFrameMk id="65" creationId="{340EF7BA-2590-890A-261B-574E04F27A7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3:54.391" v="41434"/>
          <ac:graphicFrameMkLst>
            <pc:docMk/>
            <pc:sldMk cId="1002023985" sldId="270"/>
            <ac:graphicFrameMk id="73" creationId="{EE59BF75-9313-1B2A-96DF-C8C8D9ACA1A5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3:54.436" v="41473"/>
          <ac:graphicFrameMkLst>
            <pc:docMk/>
            <pc:sldMk cId="1002023985" sldId="270"/>
            <ac:graphicFrameMk id="76" creationId="{8D030E01-7462-44A6-A4A5-3B3FED87C085}"/>
          </ac:graphicFrameMkLst>
        </pc:graphicFrameChg>
        <pc:picChg chg="add mod ord">
          <ac:chgData name="Joelle Brehm" userId="a518f54c-6985-42c0-8041-2bb16a414839" providerId="ADAL" clId="{EC4E33A1-3A40-4A99-A232-1E6EEAE786EA}" dt="2023-08-02T20:23:54.456" v="41534"/>
          <ac:picMkLst>
            <pc:docMk/>
            <pc:sldMk cId="1002023985" sldId="270"/>
            <ac:picMk id="5" creationId="{65A00728-9DDB-A1BF-1E72-409B2ADB6EB5}"/>
          </ac:picMkLst>
        </pc:picChg>
        <pc:picChg chg="del mod ord">
          <ac:chgData name="Joelle Brehm" userId="a518f54c-6985-42c0-8041-2bb16a414839" providerId="ADAL" clId="{EC4E33A1-3A40-4A99-A232-1E6EEAE786EA}" dt="2023-08-02T20:22:01.993" v="39544" actId="478"/>
          <ac:picMkLst>
            <pc:docMk/>
            <pc:sldMk cId="1002023985" sldId="270"/>
            <ac:picMk id="45" creationId="{995B94B7-7AE1-8350-EAFE-3DF2CF92CDDA}"/>
          </ac:picMkLst>
        </pc:picChg>
        <pc:picChg chg="add del mod ord">
          <ac:chgData name="Joelle Brehm" userId="a518f54c-6985-42c0-8041-2bb16a414839" providerId="ADAL" clId="{EC4E33A1-3A40-4A99-A232-1E6EEAE786EA}" dt="2023-08-02T20:22:04.276" v="39545" actId="478"/>
          <ac:picMkLst>
            <pc:docMk/>
            <pc:sldMk cId="1002023985" sldId="270"/>
            <ac:picMk id="47" creationId="{461A9953-2217-3B8F-F7B8-4ADFF4107BFB}"/>
          </ac:picMkLst>
        </pc:picChg>
        <pc:picChg chg="mod ord">
          <ac:chgData name="Joelle Brehm" userId="a518f54c-6985-42c0-8041-2bb16a414839" providerId="ADAL" clId="{EC4E33A1-3A40-4A99-A232-1E6EEAE786EA}" dt="2023-08-02T20:23:54.455" v="41530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EC4E33A1-3A40-4A99-A232-1E6EEAE786EA}" dt="2023-08-02T20:23:54.454" v="41528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23:54.424" v="41444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06:51.813" v="23652"/>
        <pc:sldMkLst>
          <pc:docMk/>
          <pc:sldMk cId="2815334483" sldId="271"/>
        </pc:sldMkLst>
        <pc:spChg chg="add del mod ord">
          <ac:chgData name="Joelle Brehm" userId="a518f54c-6985-42c0-8041-2bb16a414839" providerId="ADAL" clId="{EC4E33A1-3A40-4A99-A232-1E6EEAE786EA}" dt="2023-08-02T20:06:20.253" v="22070" actId="478"/>
          <ac:spMkLst>
            <pc:docMk/>
            <pc:sldMk cId="2815334483" sldId="271"/>
            <ac:spMk id="2" creationId="{937BECE0-F339-404E-271C-782C4722F692}"/>
          </ac:spMkLst>
        </pc:spChg>
        <pc:spChg chg="mod ord">
          <ac:chgData name="Joelle Brehm" userId="a518f54c-6985-42c0-8041-2bb16a414839" providerId="ADAL" clId="{EC4E33A1-3A40-4A99-A232-1E6EEAE786EA}" dt="2023-08-02T20:06:51.801" v="23648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EC4E33A1-3A40-4A99-A232-1E6EEAE786EA}" dt="2023-08-02T20:05:45.809" v="21977"/>
          <ac:spMkLst>
            <pc:docMk/>
            <pc:sldMk cId="2815334483" sldId="271"/>
            <ac:spMk id="5" creationId="{0C3758E9-28BD-9886-B92E-3D5D84E614F4}"/>
          </ac:spMkLst>
        </pc:spChg>
        <pc:spChg chg="mod ord">
          <ac:chgData name="Joelle Brehm" userId="a518f54c-6985-42c0-8041-2bb16a414839" providerId="ADAL" clId="{EC4E33A1-3A40-4A99-A232-1E6EEAE786EA}" dt="2023-08-02T20:06:51.781" v="23583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06:51.792" v="23619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EC4E33A1-3A40-4A99-A232-1E6EEAE786EA}" dt="2023-08-02T20:06:51.785" v="23594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06:51.784" v="23592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06:51.784" v="23593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06:51.784" v="23591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06:51.783" v="23590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06:51.783" v="23589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06:51.782" v="23588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06:51.785" v="23595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06:51.786" v="23596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06:51.786" v="23597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06:51.786" v="23598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06:51.787" v="23599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06:51.787" v="23601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06:51.788" v="23604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06:51.788" v="23603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06:51.787" v="23602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06:51.788" v="23605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06:51.789" v="23606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06:51.789" v="23607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06:51.789" v="23609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06:51.790" v="23613"/>
          <ac:spMkLst>
            <pc:docMk/>
            <pc:sldMk cId="2815334483" sldId="271"/>
            <ac:spMk id="31" creationId="{6BE24B84-EE94-3D2E-728D-88F2988B4658}"/>
          </ac:spMkLst>
        </pc:spChg>
        <pc:spChg chg="mod">
          <ac:chgData name="Joelle Brehm" userId="a518f54c-6985-42c0-8041-2bb16a414839" providerId="ADAL" clId="{EC4E33A1-3A40-4A99-A232-1E6EEAE786EA}" dt="2023-08-02T20:06:51.792" v="23617"/>
          <ac:spMkLst>
            <pc:docMk/>
            <pc:sldMk cId="2815334483" sldId="271"/>
            <ac:spMk id="32" creationId="{8777249A-D943-16C1-E900-269856ADE995}"/>
          </ac:spMkLst>
        </pc:spChg>
        <pc:spChg chg="mod">
          <ac:chgData name="Joelle Brehm" userId="a518f54c-6985-42c0-8041-2bb16a414839" providerId="ADAL" clId="{EC4E33A1-3A40-4A99-A232-1E6EEAE786EA}" dt="2023-08-02T20:06:51.791" v="23614"/>
          <ac:spMkLst>
            <pc:docMk/>
            <pc:sldMk cId="2815334483" sldId="271"/>
            <ac:spMk id="33" creationId="{7F959949-4A68-1491-C284-14230CE75987}"/>
          </ac:spMkLst>
        </pc:spChg>
        <pc:spChg chg="mod">
          <ac:chgData name="Joelle Brehm" userId="a518f54c-6985-42c0-8041-2bb16a414839" providerId="ADAL" clId="{EC4E33A1-3A40-4A99-A232-1E6EEAE786EA}" dt="2023-08-02T20:06:51.790" v="23612"/>
          <ac:spMkLst>
            <pc:docMk/>
            <pc:sldMk cId="2815334483" sldId="271"/>
            <ac:spMk id="34" creationId="{316D5F01-433D-33E2-C79F-6FBFCD17CB7D}"/>
          </ac:spMkLst>
        </pc:spChg>
        <pc:spChg chg="mod">
          <ac:chgData name="Joelle Brehm" userId="a518f54c-6985-42c0-8041-2bb16a414839" providerId="ADAL" clId="{EC4E33A1-3A40-4A99-A232-1E6EEAE786EA}" dt="2023-08-02T20:06:51.791" v="23615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EC4E33A1-3A40-4A99-A232-1E6EEAE786EA}" dt="2023-08-02T20:06:51.792" v="23616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EC4E33A1-3A40-4A99-A232-1E6EEAE786EA}" dt="2023-08-02T20:06:51.792" v="23618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EC4E33A1-3A40-4A99-A232-1E6EEAE786EA}" dt="2023-08-02T20:06:51.799" v="23641"/>
          <ac:spMkLst>
            <pc:docMk/>
            <pc:sldMk cId="2815334483" sldId="271"/>
            <ac:spMk id="38" creationId="{CC5FA94A-B8E0-E7C9-DB9D-BB5C4E4406D1}"/>
          </ac:spMkLst>
        </pc:spChg>
        <pc:spChg chg="mod">
          <ac:chgData name="Joelle Brehm" userId="a518f54c-6985-42c0-8041-2bb16a414839" providerId="ADAL" clId="{EC4E33A1-3A40-4A99-A232-1E6EEAE786EA}" dt="2023-08-02T20:06:51.799" v="23642"/>
          <ac:spMkLst>
            <pc:docMk/>
            <pc:sldMk cId="2815334483" sldId="271"/>
            <ac:spMk id="40" creationId="{B3CE3016-99B3-974F-1EC7-6BAAE2BADCD1}"/>
          </ac:spMkLst>
        </pc:spChg>
        <pc:spChg chg="mod">
          <ac:chgData name="Joelle Brehm" userId="a518f54c-6985-42c0-8041-2bb16a414839" providerId="ADAL" clId="{EC4E33A1-3A40-4A99-A232-1E6EEAE786EA}" dt="2023-08-02T20:06:51.793" v="23621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EC4E33A1-3A40-4A99-A232-1E6EEAE786EA}" dt="2023-08-02T20:06:51.793" v="23620"/>
          <ac:spMkLst>
            <pc:docMk/>
            <pc:sldMk cId="2815334483" sldId="271"/>
            <ac:spMk id="42" creationId="{6259DA9A-2854-0028-25DD-8E34BDEB2937}"/>
          </ac:spMkLst>
        </pc:spChg>
        <pc:spChg chg="mod">
          <ac:chgData name="Joelle Brehm" userId="a518f54c-6985-42c0-8041-2bb16a414839" providerId="ADAL" clId="{EC4E33A1-3A40-4A99-A232-1E6EEAE786EA}" dt="2023-08-02T20:06:51.798" v="23638"/>
          <ac:spMkLst>
            <pc:docMk/>
            <pc:sldMk cId="2815334483" sldId="271"/>
            <ac:spMk id="43" creationId="{BEA60322-B850-D12E-7FCF-66BC91EC080A}"/>
          </ac:spMkLst>
        </pc:spChg>
        <pc:spChg chg="add mod replST">
          <ac:chgData name="Joelle Brehm" userId="a518f54c-6985-42c0-8041-2bb16a414839" providerId="ADAL" clId="{EC4E33A1-3A40-4A99-A232-1E6EEAE786EA}" dt="2023-08-02T20:06:51.794" v="23623"/>
          <ac:spMkLst>
            <pc:docMk/>
            <pc:sldMk cId="2815334483" sldId="271"/>
            <ac:spMk id="44" creationId="{2A226A46-FF6E-9786-3934-AE547CB60305}"/>
          </ac:spMkLst>
        </pc:spChg>
        <pc:spChg chg="add del mod modVis">
          <ac:chgData name="Joelle Brehm" userId="a518f54c-6985-42c0-8041-2bb16a414839" providerId="ADAL" clId="{EC4E33A1-3A40-4A99-A232-1E6EEAE786EA}" dt="2023-08-02T20:06:31.702" v="22817"/>
          <ac:spMkLst>
            <pc:docMk/>
            <pc:sldMk cId="2815334483" sldId="271"/>
            <ac:spMk id="45" creationId="{E2F66FD8-DE52-A818-476D-D1B264281D72}"/>
          </ac:spMkLst>
        </pc:spChg>
        <pc:spChg chg="add del mod modVis">
          <ac:chgData name="Joelle Brehm" userId="a518f54c-6985-42c0-8041-2bb16a414839" providerId="ADAL" clId="{EC4E33A1-3A40-4A99-A232-1E6EEAE786EA}" dt="2023-08-02T20:06:33.334" v="23023"/>
          <ac:spMkLst>
            <pc:docMk/>
            <pc:sldMk cId="2815334483" sldId="271"/>
            <ac:spMk id="47" creationId="{F630A4C9-68B0-DBC8-D2E0-F3078289F4B3}"/>
          </ac:spMkLst>
        </pc:spChg>
        <pc:spChg chg="mod">
          <ac:chgData name="Joelle Brehm" userId="a518f54c-6985-42c0-8041-2bb16a414839" providerId="ADAL" clId="{EC4E33A1-3A40-4A99-A232-1E6EEAE786EA}" dt="2023-08-02T20:06:51.793" v="23622"/>
          <ac:spMkLst>
            <pc:docMk/>
            <pc:sldMk cId="2815334483" sldId="271"/>
            <ac:spMk id="48" creationId="{E51CFCE3-4E32-6059-9327-A1EFC827F040}"/>
          </ac:spMkLst>
        </pc:spChg>
        <pc:spChg chg="add del mod modVis">
          <ac:chgData name="Joelle Brehm" userId="a518f54c-6985-42c0-8041-2bb16a414839" providerId="ADAL" clId="{EC4E33A1-3A40-4A99-A232-1E6EEAE786EA}" dt="2023-08-02T20:06:36.240" v="23222"/>
          <ac:spMkLst>
            <pc:docMk/>
            <pc:sldMk cId="2815334483" sldId="271"/>
            <ac:spMk id="50" creationId="{148C27B9-F8B3-E2D2-B086-F91C8F95E329}"/>
          </ac:spMkLst>
        </pc:spChg>
        <pc:spChg chg="add mod replST">
          <ac:chgData name="Joelle Brehm" userId="a518f54c-6985-42c0-8041-2bb16a414839" providerId="ADAL" clId="{EC4E33A1-3A40-4A99-A232-1E6EEAE786EA}" dt="2023-08-02T20:06:51.799" v="23640"/>
          <ac:spMkLst>
            <pc:docMk/>
            <pc:sldMk cId="2815334483" sldId="271"/>
            <ac:spMk id="52" creationId="{B35B2423-03A5-A469-23CF-C2DBBC1099B5}"/>
          </ac:spMkLst>
        </pc:spChg>
        <pc:spChg chg="add del mod modVis">
          <ac:chgData name="Joelle Brehm" userId="a518f54c-6985-42c0-8041-2bb16a414839" providerId="ADAL" clId="{EC4E33A1-3A40-4A99-A232-1E6EEAE786EA}" dt="2023-08-02T20:06:47.831" v="23551"/>
          <ac:spMkLst>
            <pc:docMk/>
            <pc:sldMk cId="2815334483" sldId="271"/>
            <ac:spMk id="53" creationId="{4E3665F8-AAE1-807E-74D8-A821ADFA5D1E}"/>
          </ac:spMkLst>
        </pc:spChg>
        <pc:spChg chg="mod ord">
          <ac:chgData name="Joelle Brehm" userId="a518f54c-6985-42c0-8041-2bb16a414839" providerId="ADAL" clId="{EC4E33A1-3A40-4A99-A232-1E6EEAE786EA}" dt="2023-08-02T20:06:51.800" v="23646"/>
          <ac:spMkLst>
            <pc:docMk/>
            <pc:sldMk cId="2815334483" sldId="271"/>
            <ac:spMk id="58" creationId="{13D3C19C-081E-48C7-8BE2-5EF3E8A1DEEB}"/>
          </ac:spMkLst>
        </pc:spChg>
        <pc:spChg chg="del mod">
          <ac:chgData name="Joelle Brehm" userId="a518f54c-6985-42c0-8041-2bb16a414839" providerId="ADAL" clId="{EC4E33A1-3A40-4A99-A232-1E6EEAE786EA}" dt="2023-08-02T20:06:35.810" v="23026"/>
          <ac:spMkLst>
            <pc:docMk/>
            <pc:sldMk cId="2815334483" sldId="271"/>
            <ac:spMk id="61" creationId="{8EF73248-EE25-106D-5FF1-4042C3063FAC}"/>
          </ac:spMkLst>
        </pc:spChg>
        <pc:spChg chg="mod ord">
          <ac:chgData name="Joelle Brehm" userId="a518f54c-6985-42c0-8041-2bb16a414839" providerId="ADAL" clId="{EC4E33A1-3A40-4A99-A232-1E6EEAE786EA}" dt="2023-08-02T20:06:51.794" v="23625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06:51.795" v="23627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06:51.795" v="23629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06:51.796" v="23631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06:51.796" v="23633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06:51.796" v="23635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06:51.798" v="23639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06:51.813" v="23652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6:51.782" v="23587"/>
          <ac:graphicFrameMkLst>
            <pc:docMk/>
            <pc:sldMk cId="2815334483" sldId="271"/>
            <ac:graphicFrameMk id="8" creationId="{D5AC22C8-9BB4-5C69-861C-9731A86F3F04}"/>
          </ac:graphicFrameMkLst>
        </pc:graphicFrameChg>
        <pc:graphicFrameChg chg="del">
          <ac:chgData name="Joelle Brehm" userId="a518f54c-6985-42c0-8041-2bb16a414839" providerId="ADAL" clId="{EC4E33A1-3A40-4A99-A232-1E6EEAE786EA}" dt="2023-08-02T20:05:45.662" v="21891"/>
          <ac:graphicFrameMkLst>
            <pc:docMk/>
            <pc:sldMk cId="2815334483" sldId="271"/>
            <ac:graphicFrameMk id="9" creationId="{488D02F7-6C25-9306-0F82-1C60FEEE0FDA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6:33.198" v="22926"/>
          <ac:graphicFrameMkLst>
            <pc:docMk/>
            <pc:sldMk cId="2815334483" sldId="271"/>
            <ac:graphicFrameMk id="46" creationId="{B8083354-0E5F-3A95-4BA4-21BAA22EC88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6:36.111" v="23144"/>
          <ac:graphicFrameMkLst>
            <pc:docMk/>
            <pc:sldMk cId="2815334483" sldId="271"/>
            <ac:graphicFrameMk id="49" creationId="{F0E0CBB0-B2BE-4ECD-15F8-A5121F017ED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6:51.790" v="23611"/>
          <ac:graphicFrameMkLst>
            <pc:docMk/>
            <pc:sldMk cId="2815334483" sldId="271"/>
            <ac:graphicFrameMk id="51" creationId="{D670208A-D94E-96FB-E940-CE1B317AE51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6:51.743" v="23573"/>
          <ac:graphicFrameMkLst>
            <pc:docMk/>
            <pc:sldMk cId="2815334483" sldId="271"/>
            <ac:graphicFrameMk id="54" creationId="{E2E59970-6E22-6746-ECAA-EBADB74BC523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6:51.798" v="23637"/>
          <ac:graphicFrameMkLst>
            <pc:docMk/>
            <pc:sldMk cId="2815334483" sldId="271"/>
            <ac:graphicFrameMk id="55" creationId="{52B8F174-FBE4-2D66-AF5E-30DCB35441E0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6:31.589" v="22736"/>
          <ac:graphicFrameMkLst>
            <pc:docMk/>
            <pc:sldMk cId="2815334483" sldId="271"/>
            <ac:graphicFrameMk id="60" creationId="{B23F3B77-0FEE-CB82-24A2-B42B3A4EFB8D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6:47.755" v="23472"/>
          <ac:graphicFrameMkLst>
            <pc:docMk/>
            <pc:sldMk cId="2815334483" sldId="271"/>
            <ac:graphicFrameMk id="67" creationId="{A2D0BFD2-EC3D-6327-9665-81EC042A56EE}"/>
          </ac:graphicFrameMkLst>
        </pc:graphicFrameChg>
        <pc:picChg chg="add mod ord">
          <ac:chgData name="Joelle Brehm" userId="a518f54c-6985-42c0-8041-2bb16a414839" providerId="ADAL" clId="{EC4E33A1-3A40-4A99-A232-1E6EEAE786EA}" dt="2023-08-02T20:06:51.780" v="23581"/>
          <ac:picMkLst>
            <pc:docMk/>
            <pc:sldMk cId="2815334483" sldId="271"/>
            <ac:picMk id="39" creationId="{45226500-01CF-BF10-EBBA-92693C86062C}"/>
          </ac:picMkLst>
        </pc:picChg>
        <pc:picChg chg="del mod ord">
          <ac:chgData name="Joelle Brehm" userId="a518f54c-6985-42c0-8041-2bb16a414839" providerId="ADAL" clId="{EC4E33A1-3A40-4A99-A232-1E6EEAE786EA}" dt="2023-08-02T20:06:08.800" v="22069" actId="478"/>
          <ac:picMkLst>
            <pc:docMk/>
            <pc:sldMk cId="2815334483" sldId="271"/>
            <ac:picMk id="68" creationId="{66EABA3F-ADD4-31CB-CB10-31DF18AE6542}"/>
          </ac:picMkLst>
        </pc:picChg>
        <pc:picChg chg="mod ord">
          <ac:chgData name="Joelle Brehm" userId="a518f54c-6985-42c0-8041-2bb16a414839" providerId="ADAL" clId="{EC4E33A1-3A40-4A99-A232-1E6EEAE786EA}" dt="2023-08-02T20:06:51.800" v="23644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06:51.781" v="23585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08:28.355" v="25793"/>
        <pc:sldMkLst>
          <pc:docMk/>
          <pc:sldMk cId="1407012127" sldId="272"/>
        </pc:sldMkLst>
        <pc:spChg chg="mod ord">
          <ac:chgData name="Joelle Brehm" userId="a518f54c-6985-42c0-8041-2bb16a414839" providerId="ADAL" clId="{EC4E33A1-3A40-4A99-A232-1E6EEAE786EA}" dt="2023-08-02T20:08:28.335" v="25787"/>
          <ac:spMkLst>
            <pc:docMk/>
            <pc:sldMk cId="1407012127" sldId="272"/>
            <ac:spMk id="2" creationId="{7B63279B-FBC7-4B7C-A9D5-69987BC864D5}"/>
          </ac:spMkLst>
        </pc:spChg>
        <pc:spChg chg="add del mod ord">
          <ac:chgData name="Joelle Brehm" userId="a518f54c-6985-42c0-8041-2bb16a414839" providerId="ADAL" clId="{EC4E33A1-3A40-4A99-A232-1E6EEAE786EA}" dt="2023-08-02T20:07:35.381" v="24012" actId="478"/>
          <ac:spMkLst>
            <pc:docMk/>
            <pc:sldMk cId="1407012127" sldId="272"/>
            <ac:spMk id="3" creationId="{F08D4D1E-6760-5BD4-1DD9-4DBA75E60F57}"/>
          </ac:spMkLst>
        </pc:spChg>
        <pc:spChg chg="add del mod modVis">
          <ac:chgData name="Joelle Brehm" userId="a518f54c-6985-42c0-8041-2bb16a414839" providerId="ADAL" clId="{EC4E33A1-3A40-4A99-A232-1E6EEAE786EA}" dt="2023-08-02T20:07:16.432" v="23917"/>
          <ac:spMkLst>
            <pc:docMk/>
            <pc:sldMk cId="1407012127" sldId="272"/>
            <ac:spMk id="5" creationId="{6A842650-A741-B5F7-D0BA-582549820A0F}"/>
          </ac:spMkLst>
        </pc:spChg>
        <pc:spChg chg="mod ord">
          <ac:chgData name="Joelle Brehm" userId="a518f54c-6985-42c0-8041-2bb16a414839" providerId="ADAL" clId="{EC4E33A1-3A40-4A99-A232-1E6EEAE786EA}" dt="2023-08-02T20:08:28.307" v="25722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08:28.313" v="25735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08:28.310" v="25728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08:28.311" v="25732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08:28.310" v="25729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08:28.310" v="25730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08:28.312" v="25733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08:28.313" v="25734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08:28.309" v="25727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08:28.314" v="25736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08:28.314" v="25737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08:28.314" v="25738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08:28.311" v="25731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08:28.315" v="25740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08:28.316" v="25742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08:28.316" v="25741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08:28.317" v="25743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08:28.318" v="25745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08:28.317" v="25744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08:28.318" v="25746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08:28.319" v="25748"/>
          <ac:spMkLst>
            <pc:docMk/>
            <pc:sldMk cId="1407012127" sldId="272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EC4E33A1-3A40-4A99-A232-1E6EEAE786EA}" dt="2023-08-02T20:08:28.325" v="25762"/>
          <ac:spMkLst>
            <pc:docMk/>
            <pc:sldMk cId="1407012127" sldId="272"/>
            <ac:spMk id="31" creationId="{12D405BD-09A7-5DE2-D31C-098B6254BA48}"/>
          </ac:spMkLst>
        </pc:spChg>
        <pc:spChg chg="mod">
          <ac:chgData name="Joelle Brehm" userId="a518f54c-6985-42c0-8041-2bb16a414839" providerId="ADAL" clId="{EC4E33A1-3A40-4A99-A232-1E6EEAE786EA}" dt="2023-08-02T20:08:28.323" v="25756"/>
          <ac:spMkLst>
            <pc:docMk/>
            <pc:sldMk cId="1407012127" sldId="272"/>
            <ac:spMk id="32" creationId="{99895A00-E6FD-8315-8545-8F5C97720D4E}"/>
          </ac:spMkLst>
        </pc:spChg>
        <pc:spChg chg="mod">
          <ac:chgData name="Joelle Brehm" userId="a518f54c-6985-42c0-8041-2bb16a414839" providerId="ADAL" clId="{EC4E33A1-3A40-4A99-A232-1E6EEAE786EA}" dt="2023-08-02T20:08:28.321" v="25753"/>
          <ac:spMkLst>
            <pc:docMk/>
            <pc:sldMk cId="1407012127" sldId="272"/>
            <ac:spMk id="33" creationId="{FA851268-0C57-C1F8-D85D-FE1413AC1777}"/>
          </ac:spMkLst>
        </pc:spChg>
        <pc:spChg chg="mod">
          <ac:chgData name="Joelle Brehm" userId="a518f54c-6985-42c0-8041-2bb16a414839" providerId="ADAL" clId="{EC4E33A1-3A40-4A99-A232-1E6EEAE786EA}" dt="2023-08-02T20:08:28.321" v="25752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EC4E33A1-3A40-4A99-A232-1E6EEAE786EA}" dt="2023-08-02T20:08:28.320" v="25751"/>
          <ac:spMkLst>
            <pc:docMk/>
            <pc:sldMk cId="1407012127" sldId="272"/>
            <ac:spMk id="35" creationId="{4B6310D6-23E5-0588-F042-388EAC57E1DA}"/>
          </ac:spMkLst>
        </pc:spChg>
        <pc:spChg chg="mod">
          <ac:chgData name="Joelle Brehm" userId="a518f54c-6985-42c0-8041-2bb16a414839" providerId="ADAL" clId="{EC4E33A1-3A40-4A99-A232-1E6EEAE786EA}" dt="2023-08-02T20:08:28.323" v="25755"/>
          <ac:spMkLst>
            <pc:docMk/>
            <pc:sldMk cId="1407012127" sldId="272"/>
            <ac:spMk id="36" creationId="{037FE80B-438D-9EB3-2953-BBBE4A06709F}"/>
          </ac:spMkLst>
        </pc:spChg>
        <pc:spChg chg="mod">
          <ac:chgData name="Joelle Brehm" userId="a518f54c-6985-42c0-8041-2bb16a414839" providerId="ADAL" clId="{EC4E33A1-3A40-4A99-A232-1E6EEAE786EA}" dt="2023-08-02T20:08:28.324" v="25757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EC4E33A1-3A40-4A99-A232-1E6EEAE786EA}" dt="2023-08-02T20:08:28.324" v="25758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EC4E33A1-3A40-4A99-A232-1E6EEAE786EA}" dt="2023-08-02T20:08:28.325" v="25760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EC4E33A1-3A40-4A99-A232-1E6EEAE786EA}" dt="2023-08-02T20:08:28.322" v="25754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EC4E33A1-3A40-4A99-A232-1E6EEAE786EA}" dt="2023-08-02T20:08:28.324" v="25759"/>
          <ac:spMkLst>
            <pc:docMk/>
            <pc:sldMk cId="1407012127" sldId="272"/>
            <ac:spMk id="41" creationId="{3B0A3A52-5D18-7245-58AE-791EE368F68D}"/>
          </ac:spMkLst>
        </pc:spChg>
        <pc:spChg chg="add del mod modVis">
          <ac:chgData name="Joelle Brehm" userId="a518f54c-6985-42c0-8041-2bb16a414839" providerId="ADAL" clId="{EC4E33A1-3A40-4A99-A232-1E6EEAE786EA}" dt="2023-08-02T20:07:41.575" v="24700"/>
          <ac:spMkLst>
            <pc:docMk/>
            <pc:sldMk cId="1407012127" sldId="272"/>
            <ac:spMk id="42" creationId="{75F0B41C-ED07-81E1-63F2-63A90F3E907F}"/>
          </ac:spMkLst>
        </pc:spChg>
        <pc:spChg chg="mod">
          <ac:chgData name="Joelle Brehm" userId="a518f54c-6985-42c0-8041-2bb16a414839" providerId="ADAL" clId="{EC4E33A1-3A40-4A99-A232-1E6EEAE786EA}" dt="2023-08-02T20:08:28.325" v="25761"/>
          <ac:spMkLst>
            <pc:docMk/>
            <pc:sldMk cId="1407012127" sldId="272"/>
            <ac:spMk id="43" creationId="{FB4FB43F-D084-EE9C-5BF8-B064116032D0}"/>
          </ac:spMkLst>
        </pc:spChg>
        <pc:spChg chg="add del mod ord replST">
          <ac:chgData name="Joelle Brehm" userId="a518f54c-6985-42c0-8041-2bb16a414839" providerId="ADAL" clId="{EC4E33A1-3A40-4A99-A232-1E6EEAE786EA}" dt="2023-08-02T20:08:10.011" v="25453"/>
          <ac:spMkLst>
            <pc:docMk/>
            <pc:sldMk cId="1407012127" sldId="272"/>
            <ac:spMk id="44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07:42.637" v="24908"/>
          <ac:spMkLst>
            <pc:docMk/>
            <pc:sldMk cId="1407012127" sldId="272"/>
            <ac:spMk id="46" creationId="{12F734D7-9A4A-1974-BD06-DE5DE946BBD2}"/>
          </ac:spMkLst>
        </pc:spChg>
        <pc:spChg chg="add del mod modVis">
          <ac:chgData name="Joelle Brehm" userId="a518f54c-6985-42c0-8041-2bb16a414839" providerId="ADAL" clId="{EC4E33A1-3A40-4A99-A232-1E6EEAE786EA}" dt="2023-08-02T20:07:50.655" v="25225"/>
          <ac:spMkLst>
            <pc:docMk/>
            <pc:sldMk cId="1407012127" sldId="272"/>
            <ac:spMk id="48" creationId="{A2CC549A-88AE-5E51-4365-8373C2EEE2F6}"/>
          </ac:spMkLst>
        </pc:spChg>
        <pc:spChg chg="add del mod ord replST">
          <ac:chgData name="Joelle Brehm" userId="a518f54c-6985-42c0-8041-2bb16a414839" providerId="ADAL" clId="{EC4E33A1-3A40-4A99-A232-1E6EEAE786EA}" dt="2023-08-02T20:08:07.237" v="25298"/>
          <ac:spMkLst>
            <pc:docMk/>
            <pc:sldMk cId="1407012127" sldId="272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08:07.298" v="25381"/>
          <ac:spMkLst>
            <pc:docMk/>
            <pc:sldMk cId="1407012127" sldId="272"/>
            <ac:spMk id="51" creationId="{CCC6B853-CD30-B3D8-6DF5-68E2FBAD728F}"/>
          </ac:spMkLst>
        </pc:spChg>
        <pc:spChg chg="add del mod modVis">
          <ac:chgData name="Joelle Brehm" userId="a518f54c-6985-42c0-8041-2bb16a414839" providerId="ADAL" clId="{EC4E33A1-3A40-4A99-A232-1E6EEAE786EA}" dt="2023-08-02T20:08:10.057" v="25534"/>
          <ac:spMkLst>
            <pc:docMk/>
            <pc:sldMk cId="1407012127" sldId="272"/>
            <ac:spMk id="53" creationId="{014B6E9A-EF36-4888-DB77-7653F6498F75}"/>
          </ac:spMkLst>
        </pc:spChg>
        <pc:spChg chg="add del mod modVis">
          <ac:chgData name="Joelle Brehm" userId="a518f54c-6985-42c0-8041-2bb16a414839" providerId="ADAL" clId="{EC4E33A1-3A40-4A99-A232-1E6EEAE786EA}" dt="2023-08-02T20:08:28.337" v="25791"/>
          <ac:spMkLst>
            <pc:docMk/>
            <pc:sldMk cId="1407012127" sldId="272"/>
            <ac:spMk id="56" creationId="{7547D3BE-9DE5-12BD-4D65-095BC956008A}"/>
          </ac:spMkLst>
        </pc:spChg>
        <pc:spChg chg="del mod">
          <ac:chgData name="Joelle Brehm" userId="a518f54c-6985-42c0-8041-2bb16a414839" providerId="ADAL" clId="{EC4E33A1-3A40-4A99-A232-1E6EEAE786EA}" dt="2023-08-02T20:07:50.281" v="24911"/>
          <ac:spMkLst>
            <pc:docMk/>
            <pc:sldMk cId="1407012127" sldId="272"/>
            <ac:spMk id="70" creationId="{B6822296-A0C9-A6AA-362B-476083CFEED1}"/>
          </ac:spMkLst>
        </pc:spChg>
        <pc:spChg chg="mod ord">
          <ac:chgData name="Joelle Brehm" userId="a518f54c-6985-42c0-8041-2bb16a414839" providerId="ADAL" clId="{EC4E33A1-3A40-4A99-A232-1E6EEAE786EA}" dt="2023-08-02T20:08:28.335" v="25785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EC4E33A1-3A40-4A99-A232-1E6EEAE786EA}" dt="2023-08-02T20:08:28.326" v="25764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08:28.327" v="25766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08:28.328" v="25768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08:28.328" v="25770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08:28.329" v="25772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08:28.330" v="25774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08:28.332" v="25779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8:28.333" v="25780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8:28.333" v="25781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08:28.332" v="25778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08:28.331" v="25777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08:28.355" v="25793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8:28.309" v="25726"/>
          <ac:graphicFrameMkLst>
            <pc:docMk/>
            <pc:sldMk cId="1407012127" sldId="272"/>
            <ac:graphicFrameMk id="8" creationId="{6BEC2761-F603-4E9A-F923-CCA2AB9930D5}"/>
          </ac:graphicFrameMkLst>
        </pc:graphicFrameChg>
        <pc:graphicFrameChg chg="del">
          <ac:chgData name="Joelle Brehm" userId="a518f54c-6985-42c0-8041-2bb16a414839" providerId="ADAL" clId="{EC4E33A1-3A40-4A99-A232-1E6EEAE786EA}" dt="2023-08-02T20:07:16.282" v="23832"/>
          <ac:graphicFrameMkLst>
            <pc:docMk/>
            <pc:sldMk cId="1407012127" sldId="272"/>
            <ac:graphicFrameMk id="9" creationId="{4DADA4D3-14FF-5EFB-C34C-EBCCD949913D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7:42.512" v="24804"/>
          <ac:graphicFrameMkLst>
            <pc:docMk/>
            <pc:sldMk cId="1407012127" sldId="272"/>
            <ac:graphicFrameMk id="45" creationId="{EB86BE22-5418-1905-9AC7-ACCCFD4A37D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7:50.555" v="25120"/>
          <ac:graphicFrameMkLst>
            <pc:docMk/>
            <pc:sldMk cId="1407012127" sldId="272"/>
            <ac:graphicFrameMk id="47" creationId="{49054AD6-4173-14D8-E75C-C8420B24999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8:07.239" v="25300"/>
          <ac:graphicFrameMkLst>
            <pc:docMk/>
            <pc:sldMk cId="1407012127" sldId="272"/>
            <ac:graphicFrameMk id="50" creationId="{061D7F67-8204-32FC-0061-24E5DA4A7764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8:10.012" v="25455"/>
          <ac:graphicFrameMkLst>
            <pc:docMk/>
            <pc:sldMk cId="1407012127" sldId="272"/>
            <ac:graphicFrameMk id="52" creationId="{371D2934-3B97-D508-E009-C8F193E342C9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8:28.320" v="25750"/>
          <ac:graphicFrameMkLst>
            <pc:docMk/>
            <pc:sldMk cId="1407012127" sldId="272"/>
            <ac:graphicFrameMk id="54" creationId="{F6CF7236-474F-768F-8D5F-A3B198444F5E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7:41.477" v="24610"/>
          <ac:graphicFrameMkLst>
            <pc:docMk/>
            <pc:sldMk cId="1407012127" sldId="272"/>
            <ac:graphicFrameMk id="55" creationId="{7DA2134F-7B23-0750-B49D-DC5AF788A5BB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8:28.255" v="25712"/>
          <ac:graphicFrameMkLst>
            <pc:docMk/>
            <pc:sldMk cId="1407012127" sldId="272"/>
            <ac:graphicFrameMk id="57" creationId="{1785D607-53F9-D4F8-C8A9-0C5989847349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08:28.330" v="25776"/>
          <ac:graphicFrameMkLst>
            <pc:docMk/>
            <pc:sldMk cId="1407012127" sldId="272"/>
            <ac:graphicFrameMk id="59" creationId="{0AC56E9F-DB72-D85E-486F-CA18A78D1133}"/>
          </ac:graphicFrameMkLst>
        </pc:graphicFrameChg>
        <pc:picChg chg="add mod ord">
          <ac:chgData name="Joelle Brehm" userId="a518f54c-6985-42c0-8041-2bb16a414839" providerId="ADAL" clId="{EC4E33A1-3A40-4A99-A232-1E6EEAE786EA}" dt="2023-08-02T20:08:28.307" v="25720"/>
          <ac:picMkLst>
            <pc:docMk/>
            <pc:sldMk cId="1407012127" sldId="272"/>
            <ac:picMk id="10" creationId="{50EBC07E-D0A3-CF36-3ADB-F122177F54D4}"/>
          </ac:picMkLst>
        </pc:picChg>
        <pc:picChg chg="del mod ord">
          <ac:chgData name="Joelle Brehm" userId="a518f54c-6985-42c0-8041-2bb16a414839" providerId="ADAL" clId="{EC4E33A1-3A40-4A99-A232-1E6EEAE786EA}" dt="2023-08-02T20:07:33.063" v="24011" actId="478"/>
          <ac:picMkLst>
            <pc:docMk/>
            <pc:sldMk cId="1407012127" sldId="272"/>
            <ac:picMk id="58" creationId="{D43FE9CE-9DDC-D85E-2DE2-D3DCD7CEFC39}"/>
          </ac:picMkLst>
        </pc:picChg>
        <pc:picChg chg="mod ord">
          <ac:chgData name="Joelle Brehm" userId="a518f54c-6985-42c0-8041-2bb16a414839" providerId="ADAL" clId="{EC4E33A1-3A40-4A99-A232-1E6EEAE786EA}" dt="2023-08-02T20:08:28.334" v="25783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08:28.308" v="25724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10:16.917" v="27946"/>
        <pc:sldMkLst>
          <pc:docMk/>
          <pc:sldMk cId="4005475890" sldId="273"/>
        </pc:sldMkLst>
        <pc:spChg chg="mod ord">
          <ac:chgData name="Joelle Brehm" userId="a518f54c-6985-42c0-8041-2bb16a414839" providerId="ADAL" clId="{EC4E33A1-3A40-4A99-A232-1E6EEAE786EA}" dt="2023-08-02T20:10:16.897" v="27940"/>
          <ac:spMkLst>
            <pc:docMk/>
            <pc:sldMk cId="4005475890" sldId="273"/>
            <ac:spMk id="2" creationId="{072E23F3-409C-46DC-8EB8-140BD200F8C6}"/>
          </ac:spMkLst>
        </pc:spChg>
        <pc:spChg chg="add del mod ord">
          <ac:chgData name="Joelle Brehm" userId="a518f54c-6985-42c0-8041-2bb16a414839" providerId="ADAL" clId="{EC4E33A1-3A40-4A99-A232-1E6EEAE786EA}" dt="2023-08-02T20:09:39.210" v="26157" actId="478"/>
          <ac:spMkLst>
            <pc:docMk/>
            <pc:sldMk cId="4005475890" sldId="273"/>
            <ac:spMk id="3" creationId="{EEFFC796-2487-C3A5-0D5F-D8A0E44BFB15}"/>
          </ac:spMkLst>
        </pc:spChg>
        <pc:spChg chg="add del mod modVis">
          <ac:chgData name="Joelle Brehm" userId="a518f54c-6985-42c0-8041-2bb16a414839" providerId="ADAL" clId="{EC4E33A1-3A40-4A99-A232-1E6EEAE786EA}" dt="2023-08-02T20:08:59.301" v="26061"/>
          <ac:spMkLst>
            <pc:docMk/>
            <pc:sldMk cId="4005475890" sldId="273"/>
            <ac:spMk id="5" creationId="{FE004A08-9F3E-AEF2-FEA5-5F446D08A40A}"/>
          </ac:spMkLst>
        </pc:spChg>
        <pc:spChg chg="mod ord">
          <ac:chgData name="Joelle Brehm" userId="a518f54c-6985-42c0-8041-2bb16a414839" providerId="ADAL" clId="{EC4E33A1-3A40-4A99-A232-1E6EEAE786EA}" dt="2023-08-02T20:10:16.870" v="27875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10:16.872" v="27880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10:16.874" v="27883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10:16.874" v="27884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10:16.873" v="27882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10:16.873" v="27881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10:16.874" v="27885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10:16.875" v="27886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10:16.875" v="27887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10:16.876" v="27888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10:16.876" v="27889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10:16.876" v="27890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10:16.877" v="27891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10:16.878" v="27893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10:16.879" v="27896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10:16.879" v="27895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10:16.878" v="27894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10:16.880" v="27898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10:16.879" v="27897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10:16.880" v="27899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10:16.881" v="27901"/>
          <ac:spMkLst>
            <pc:docMk/>
            <pc:sldMk cId="4005475890" sldId="273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C4E33A1-3A40-4A99-A232-1E6EEAE786EA}" dt="2023-08-02T20:09:48.510" v="26369"/>
          <ac:spMkLst>
            <pc:docMk/>
            <pc:sldMk cId="4005475890" sldId="273"/>
            <ac:spMk id="31" creationId="{E1867874-5EF7-5C7F-E2BE-97F44F72B996}"/>
          </ac:spMkLst>
        </pc:spChg>
        <pc:spChg chg="mod">
          <ac:chgData name="Joelle Brehm" userId="a518f54c-6985-42c0-8041-2bb16a414839" providerId="ADAL" clId="{EC4E33A1-3A40-4A99-A232-1E6EEAE786EA}" dt="2023-08-02T20:10:16.886" v="27914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EC4E33A1-3A40-4A99-A232-1E6EEAE786EA}" dt="2023-08-02T20:10:16.882" v="27904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EC4E33A1-3A40-4A99-A232-1E6EEAE786EA}" dt="2023-08-02T20:10:16.885" v="27912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EC4E33A1-3A40-4A99-A232-1E6EEAE786EA}" dt="2023-08-02T20:10:16.886" v="27913"/>
          <ac:spMkLst>
            <pc:docMk/>
            <pc:sldMk cId="4005475890" sldId="273"/>
            <ac:spMk id="36" creationId="{2EDF94C4-61E5-066D-4CC5-2CF1F259F61A}"/>
          </ac:spMkLst>
        </pc:spChg>
        <pc:spChg chg="add mod replST">
          <ac:chgData name="Joelle Brehm" userId="a518f54c-6985-42c0-8041-2bb16a414839" providerId="ADAL" clId="{EC4E33A1-3A40-4A99-A232-1E6EEAE786EA}" dt="2023-08-02T20:10:16.887" v="27915"/>
          <ac:spMkLst>
            <pc:docMk/>
            <pc:sldMk cId="4005475890" sldId="273"/>
            <ac:spMk id="37" creationId="{5DD7E90F-9520-0EAD-1E3D-1C0CF22BD274}"/>
          </ac:spMkLst>
        </pc:spChg>
        <pc:spChg chg="add del mod modVis">
          <ac:chgData name="Joelle Brehm" userId="a518f54c-6985-42c0-8041-2bb16a414839" providerId="ADAL" clId="{EC4E33A1-3A40-4A99-A232-1E6EEAE786EA}" dt="2023-08-02T20:09:55.344" v="27088"/>
          <ac:spMkLst>
            <pc:docMk/>
            <pc:sldMk cId="4005475890" sldId="273"/>
            <ac:spMk id="38" creationId="{A7081650-B338-2566-A5A2-2CDEE381C0B8}"/>
          </ac:spMkLst>
        </pc:spChg>
        <pc:spChg chg="add del mod ord replST">
          <ac:chgData name="Joelle Brehm" userId="a518f54c-6985-42c0-8041-2bb16a414839" providerId="ADAL" clId="{EC4E33A1-3A40-4A99-A232-1E6EEAE786EA}" dt="2023-08-02T20:10:16.833" v="27863"/>
          <ac:spMkLst>
            <pc:docMk/>
            <pc:sldMk cId="4005475890" sldId="273"/>
            <ac:spMk id="39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09:59.770" v="27296"/>
          <ac:spMkLst>
            <pc:docMk/>
            <pc:sldMk cId="4005475890" sldId="273"/>
            <ac:spMk id="41" creationId="{94541F02-E72E-DA99-628C-EEC25581A523}"/>
          </ac:spMkLst>
        </pc:spChg>
        <pc:spChg chg="add del mod modVis">
          <ac:chgData name="Joelle Brehm" userId="a518f54c-6985-42c0-8041-2bb16a414839" providerId="ADAL" clId="{EC4E33A1-3A40-4A99-A232-1E6EEAE786EA}" dt="2023-08-02T20:10:04.008" v="27629"/>
          <ac:spMkLst>
            <pc:docMk/>
            <pc:sldMk cId="4005475890" sldId="273"/>
            <ac:spMk id="43" creationId="{832A8200-14DE-1539-06D6-2EDE2935E03E}"/>
          </ac:spMkLst>
        </pc:spChg>
        <pc:spChg chg="add del mod ord replST">
          <ac:chgData name="Joelle Brehm" userId="a518f54c-6985-42c0-8041-2bb16a414839" providerId="ADAL" clId="{EC4E33A1-3A40-4A99-A232-1E6EEAE786EA}" dt="2023-08-02T20:10:11.798" v="27706"/>
          <ac:spMkLst>
            <pc:docMk/>
            <pc:sldMk cId="4005475890" sldId="273"/>
            <ac:spMk id="44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10:11.845" v="27789"/>
          <ac:spMkLst>
            <pc:docMk/>
            <pc:sldMk cId="4005475890" sldId="273"/>
            <ac:spMk id="46" creationId="{167F6898-63A1-6E76-4E33-0010B790944A}"/>
          </ac:spMkLst>
        </pc:spChg>
        <pc:spChg chg="add del mod modVis">
          <ac:chgData name="Joelle Brehm" userId="a518f54c-6985-42c0-8041-2bb16a414839" providerId="ADAL" clId="{EC4E33A1-3A40-4A99-A232-1E6EEAE786EA}" dt="2023-08-02T20:10:16.899" v="27944"/>
          <ac:spMkLst>
            <pc:docMk/>
            <pc:sldMk cId="4005475890" sldId="273"/>
            <ac:spMk id="48" creationId="{09CE9271-EBCD-F6CD-5E51-CD9ABDB4678B}"/>
          </ac:spMkLst>
        </pc:spChg>
        <pc:spChg chg="mod ord">
          <ac:chgData name="Joelle Brehm" userId="a518f54c-6985-42c0-8041-2bb16a414839" providerId="ADAL" clId="{EC4E33A1-3A40-4A99-A232-1E6EEAE786EA}" dt="2023-08-02T20:10:16.896" v="27938"/>
          <ac:spMkLst>
            <pc:docMk/>
            <pc:sldMk cId="4005475890" sldId="273"/>
            <ac:spMk id="58" creationId="{FEC487CB-3123-46A1-8350-8669839FA870}"/>
          </ac:spMkLst>
        </pc:spChg>
        <pc:spChg chg="del mod">
          <ac:chgData name="Joelle Brehm" userId="a518f54c-6985-42c0-8041-2bb16a414839" providerId="ADAL" clId="{EC4E33A1-3A40-4A99-A232-1E6EEAE786EA}" dt="2023-08-02T20:10:03.390" v="27299"/>
          <ac:spMkLst>
            <pc:docMk/>
            <pc:sldMk cId="4005475890" sldId="273"/>
            <ac:spMk id="77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10:16.888" v="27917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10:16.888" v="27919"/>
          <ac:spMkLst>
            <pc:docMk/>
            <pc:sldMk cId="4005475890" sldId="273"/>
            <ac:spMk id="79" creationId="{F1476AC4-694B-4D83-BFD8-8DCAA4BB1923}"/>
          </ac:spMkLst>
        </pc:spChg>
        <pc:spChg chg="mod">
          <ac:chgData name="Joelle Brehm" userId="a518f54c-6985-42c0-8041-2bb16a414839" providerId="ADAL" clId="{EC4E33A1-3A40-4A99-A232-1E6EEAE786EA}" dt="2023-08-02T20:10:16.882" v="27905"/>
          <ac:spMkLst>
            <pc:docMk/>
            <pc:sldMk cId="4005475890" sldId="273"/>
            <ac:spMk id="8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83" v="27907"/>
          <ac:spMkLst>
            <pc:docMk/>
            <pc:sldMk cId="4005475890" sldId="273"/>
            <ac:spMk id="8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84" v="27908"/>
          <ac:spMkLst>
            <pc:docMk/>
            <pc:sldMk cId="4005475890" sldId="273"/>
            <ac:spMk id="8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85" v="27910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85" v="27911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83" v="27906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84" v="27909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10:16.889" v="27921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10:16.890" v="27923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10:16.890" v="27925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10:16.891" v="27927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10:16.892" v="27931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94" v="27933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93" v="27932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0:16.894" v="27934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10:16.892" v="27930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10:16.917" v="27946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0:16.872" v="27879"/>
          <ac:graphicFrameMkLst>
            <pc:docMk/>
            <pc:sldMk cId="4005475890" sldId="273"/>
            <ac:graphicFrameMk id="8" creationId="{8E568FA2-9C7E-1BD9-D296-9AFB2A0D0B93}"/>
          </ac:graphicFrameMkLst>
        </pc:graphicFrameChg>
        <pc:graphicFrameChg chg="del">
          <ac:chgData name="Joelle Brehm" userId="a518f54c-6985-42c0-8041-2bb16a414839" providerId="ADAL" clId="{EC4E33A1-3A40-4A99-A232-1E6EEAE786EA}" dt="2023-08-02T20:08:59.203" v="25978"/>
          <ac:graphicFrameMkLst>
            <pc:docMk/>
            <pc:sldMk cId="4005475890" sldId="273"/>
            <ac:graphicFrameMk id="10" creationId="{67EFAAF1-BBC9-5219-25BA-DFB300C8542F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0:16.891" v="27929"/>
          <ac:graphicFrameMkLst>
            <pc:docMk/>
            <pc:sldMk cId="4005475890" sldId="273"/>
            <ac:graphicFrameMk id="35" creationId="{CD571E18-48F3-2CD2-DD4B-5A22880198EE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09:59.629" v="27194"/>
          <ac:graphicFrameMkLst>
            <pc:docMk/>
            <pc:sldMk cId="4005475890" sldId="273"/>
            <ac:graphicFrameMk id="40" creationId="{57424372-6868-F67C-0482-E6742CB724C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0:03.850" v="27524"/>
          <ac:graphicFrameMkLst>
            <pc:docMk/>
            <pc:sldMk cId="4005475890" sldId="273"/>
            <ac:graphicFrameMk id="42" creationId="{7A02FD62-2B58-8D59-D218-4B6364E39DB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0:11.800" v="27708"/>
          <ac:graphicFrameMkLst>
            <pc:docMk/>
            <pc:sldMk cId="4005475890" sldId="273"/>
            <ac:graphicFrameMk id="45" creationId="{BD5F7DAB-3691-6818-678F-8EEAC70AA2C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0:16.835" v="27865"/>
          <ac:graphicFrameMkLst>
            <pc:docMk/>
            <pc:sldMk cId="4005475890" sldId="273"/>
            <ac:graphicFrameMk id="47" creationId="{70A84961-6900-8236-8BF9-9AE657DC90EA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0:16.882" v="27903"/>
          <ac:graphicFrameMkLst>
            <pc:docMk/>
            <pc:sldMk cId="4005475890" sldId="273"/>
            <ac:graphicFrameMk id="49" creationId="{F6836028-B66D-B0A9-7F6B-53AB7EF0F726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9:48.421" v="26290"/>
          <ac:graphicFrameMkLst>
            <pc:docMk/>
            <pc:sldMk cId="4005475890" sldId="273"/>
            <ac:graphicFrameMk id="63" creationId="{33A00539-6589-3ABA-D346-6BCBCF63A2DF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09:55.237" v="27000"/>
          <ac:graphicFrameMkLst>
            <pc:docMk/>
            <pc:sldMk cId="4005475890" sldId="273"/>
            <ac:graphicFrameMk id="68" creationId="{371B11A8-BA6A-1ADA-20C2-026441A4B11B}"/>
          </ac:graphicFrameMkLst>
        </pc:graphicFrameChg>
        <pc:picChg chg="add mod ord">
          <ac:chgData name="Joelle Brehm" userId="a518f54c-6985-42c0-8041-2bb16a414839" providerId="ADAL" clId="{EC4E33A1-3A40-4A99-A232-1E6EEAE786EA}" dt="2023-08-02T20:10:16.870" v="27873"/>
          <ac:picMkLst>
            <pc:docMk/>
            <pc:sldMk cId="4005475890" sldId="273"/>
            <ac:picMk id="9" creationId="{8EB9893B-ED8E-68C5-DA90-E1DE835AF016}"/>
          </ac:picMkLst>
        </pc:picChg>
        <pc:picChg chg="del mod ord">
          <ac:chgData name="Joelle Brehm" userId="a518f54c-6985-42c0-8041-2bb16a414839" providerId="ADAL" clId="{EC4E33A1-3A40-4A99-A232-1E6EEAE786EA}" dt="2023-08-02T20:09:31.004" v="26156" actId="478"/>
          <ac:picMkLst>
            <pc:docMk/>
            <pc:sldMk cId="4005475890" sldId="273"/>
            <ac:picMk id="70" creationId="{3F7922FD-73A0-3198-39FE-4B249CAD046A}"/>
          </ac:picMkLst>
        </pc:picChg>
        <pc:picChg chg="mod ord">
          <ac:chgData name="Joelle Brehm" userId="a518f54c-6985-42c0-8041-2bb16a414839" providerId="ADAL" clId="{EC4E33A1-3A40-4A99-A232-1E6EEAE786EA}" dt="2023-08-02T20:10:16.895" v="27936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10:16.871" v="27877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12:00.475" v="29719"/>
        <pc:sldMkLst>
          <pc:docMk/>
          <pc:sldMk cId="3374649050" sldId="274"/>
        </pc:sldMkLst>
        <pc:spChg chg="mod ord">
          <ac:chgData name="Joelle Brehm" userId="a518f54c-6985-42c0-8041-2bb16a414839" providerId="ADAL" clId="{EC4E33A1-3A40-4A99-A232-1E6EEAE786EA}" dt="2023-08-02T20:12:00.462" v="29713"/>
          <ac:spMkLst>
            <pc:docMk/>
            <pc:sldMk cId="3374649050" sldId="274"/>
            <ac:spMk id="2" creationId="{5B9511BD-9A18-4BDB-8C3B-3627E48A258D}"/>
          </ac:spMkLst>
        </pc:spChg>
        <pc:spChg chg="add del mod ord">
          <ac:chgData name="Joelle Brehm" userId="a518f54c-6985-42c0-8041-2bb16a414839" providerId="ADAL" clId="{EC4E33A1-3A40-4A99-A232-1E6EEAE786EA}" dt="2023-08-02T20:11:36.874" v="28302" actId="478"/>
          <ac:spMkLst>
            <pc:docMk/>
            <pc:sldMk cId="3374649050" sldId="274"/>
            <ac:spMk id="3" creationId="{C9BF6B03-E2AC-669A-8DF5-DF9B216B137B}"/>
          </ac:spMkLst>
        </pc:spChg>
        <pc:spChg chg="add del mod modVis">
          <ac:chgData name="Joelle Brehm" userId="a518f54c-6985-42c0-8041-2bb16a414839" providerId="ADAL" clId="{EC4E33A1-3A40-4A99-A232-1E6EEAE786EA}" dt="2023-08-02T20:10:35.156" v="28206"/>
          <ac:spMkLst>
            <pc:docMk/>
            <pc:sldMk cId="3374649050" sldId="274"/>
            <ac:spMk id="5" creationId="{EEE11DBF-7F9D-9B79-5857-B58F3AEB40F3}"/>
          </ac:spMkLst>
        </pc:spChg>
        <pc:spChg chg="mod ord">
          <ac:chgData name="Joelle Brehm" userId="a518f54c-6985-42c0-8041-2bb16a414839" providerId="ADAL" clId="{EC4E33A1-3A40-4A99-A232-1E6EEAE786EA}" dt="2023-08-02T20:12:00.443" v="29648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12:00.446" v="29659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12:00.445" v="29655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12:00.446" v="29657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12:00.445" v="29654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12:00.445" v="29656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12:00.446" v="29658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12:00.447" v="29661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12:00.445" v="29653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12:00.447" v="29662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12:00.447" v="29663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12:00.447" v="29660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12:00.448" v="29664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12:00.448" v="29666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12:00.448" v="29667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12:00.450" v="29668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12:00.450" v="29669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12:00.451" v="29672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12:00.451" v="29671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12:00.450" v="29670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12:00.451" v="29674"/>
          <ac:spMkLst>
            <pc:docMk/>
            <pc:sldMk cId="3374649050" sldId="274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C4E33A1-3A40-4A99-A232-1E6EEAE786EA}" dt="2023-08-02T20:11:45.570" v="28543"/>
          <ac:spMkLst>
            <pc:docMk/>
            <pc:sldMk cId="3374649050" sldId="274"/>
            <ac:spMk id="31" creationId="{980B2D23-C4D8-1160-800B-B106A0EFCFFB}"/>
          </ac:spMkLst>
        </pc:spChg>
        <pc:spChg chg="mod">
          <ac:chgData name="Joelle Brehm" userId="a518f54c-6985-42c0-8041-2bb16a414839" providerId="ADAL" clId="{EC4E33A1-3A40-4A99-A232-1E6EEAE786EA}" dt="2023-08-02T20:12:00.454" v="29683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EC4E33A1-3A40-4A99-A232-1E6EEAE786EA}" dt="2023-08-02T20:12:00.454" v="29684"/>
          <ac:spMkLst>
            <pc:docMk/>
            <pc:sldMk cId="3374649050" sldId="274"/>
            <ac:spMk id="33" creationId="{8A5C4479-0363-6F13-F887-8871FD03F34C}"/>
          </ac:spMkLst>
        </pc:spChg>
        <pc:spChg chg="mod">
          <ac:chgData name="Joelle Brehm" userId="a518f54c-6985-42c0-8041-2bb16a414839" providerId="ADAL" clId="{EC4E33A1-3A40-4A99-A232-1E6EEAE786EA}" dt="2023-08-02T20:12:00.455" v="29687"/>
          <ac:spMkLst>
            <pc:docMk/>
            <pc:sldMk cId="3374649050" sldId="274"/>
            <ac:spMk id="35" creationId="{2802A121-31E5-DB0B-5B38-DE9CBE8BEA57}"/>
          </ac:spMkLst>
        </pc:spChg>
        <pc:spChg chg="add mod replST">
          <ac:chgData name="Joelle Brehm" userId="a518f54c-6985-42c0-8041-2bb16a414839" providerId="ADAL" clId="{EC4E33A1-3A40-4A99-A232-1E6EEAE786EA}" dt="2023-08-02T20:12:00.455" v="29688"/>
          <ac:spMkLst>
            <pc:docMk/>
            <pc:sldMk cId="3374649050" sldId="274"/>
            <ac:spMk id="36" creationId="{88575725-6998-54DE-FE5F-DCCF247F6A3F}"/>
          </ac:spMkLst>
        </pc:spChg>
        <pc:spChg chg="add del mod modVis">
          <ac:chgData name="Joelle Brehm" userId="a518f54c-6985-42c0-8041-2bb16a414839" providerId="ADAL" clId="{EC4E33A1-3A40-4A99-A232-1E6EEAE786EA}" dt="2023-08-02T20:11:53.459" v="29151"/>
          <ac:spMkLst>
            <pc:docMk/>
            <pc:sldMk cId="3374649050" sldId="274"/>
            <ac:spMk id="37" creationId="{4181E41E-5B71-F208-5790-E6615A5B46C4}"/>
          </ac:spMkLst>
        </pc:spChg>
        <pc:spChg chg="mod">
          <ac:chgData name="Joelle Brehm" userId="a518f54c-6985-42c0-8041-2bb16a414839" providerId="ADAL" clId="{EC4E33A1-3A40-4A99-A232-1E6EEAE786EA}" dt="2023-08-02T20:12:00.455" v="29686"/>
          <ac:spMkLst>
            <pc:docMk/>
            <pc:sldMk cId="3374649050" sldId="274"/>
            <ac:spMk id="38" creationId="{1995B1DD-126C-92BA-1668-3B87C2F5B1E5}"/>
          </ac:spMkLst>
        </pc:spChg>
        <pc:spChg chg="add del mod ord replST">
          <ac:chgData name="Joelle Brehm" userId="a518f54c-6985-42c0-8041-2bb16a414839" providerId="ADAL" clId="{EC4E33A1-3A40-4A99-A232-1E6EEAE786EA}" dt="2023-08-02T20:12:00.416" v="29636"/>
          <ac:spMkLst>
            <pc:docMk/>
            <pc:sldMk cId="3374649050" sldId="274"/>
            <ac:spMk id="39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11:54.379" v="29359"/>
          <ac:spMkLst>
            <pc:docMk/>
            <pc:sldMk cId="3374649050" sldId="274"/>
            <ac:spMk id="41" creationId="{EE60E1BA-4F83-B3DC-BF49-863531BDD517}"/>
          </ac:spMkLst>
        </pc:spChg>
        <pc:spChg chg="mod">
          <ac:chgData name="Joelle Brehm" userId="a518f54c-6985-42c0-8041-2bb16a414839" providerId="ADAL" clId="{EC4E33A1-3A40-4A99-A232-1E6EEAE786EA}" dt="2023-08-02T20:12:00.459" v="29703"/>
          <ac:spMkLst>
            <pc:docMk/>
            <pc:sldMk cId="3374649050" sldId="274"/>
            <ac:spMk id="43" creationId="{71A50278-0560-C951-1F18-CA11BF2F6494}"/>
          </ac:spMkLst>
        </pc:spChg>
        <pc:spChg chg="add del mod modVis">
          <ac:chgData name="Joelle Brehm" userId="a518f54c-6985-42c0-8041-2bb16a414839" providerId="ADAL" clId="{EC4E33A1-3A40-4A99-A232-1E6EEAE786EA}" dt="2023-08-02T20:11:56.563" v="29562"/>
          <ac:spMkLst>
            <pc:docMk/>
            <pc:sldMk cId="3374649050" sldId="274"/>
            <ac:spMk id="44" creationId="{D71D9033-ED87-9512-B905-BF0D14B86F60}"/>
          </ac:spMkLst>
        </pc:spChg>
        <pc:spChg chg="add del mod modVis">
          <ac:chgData name="Joelle Brehm" userId="a518f54c-6985-42c0-8041-2bb16a414839" providerId="ADAL" clId="{EC4E33A1-3A40-4A99-A232-1E6EEAE786EA}" dt="2023-08-02T20:12:00.463" v="29717"/>
          <ac:spMkLst>
            <pc:docMk/>
            <pc:sldMk cId="3374649050" sldId="274"/>
            <ac:spMk id="47" creationId="{556C6389-CBE0-9F74-7EDF-11B17AD6A820}"/>
          </ac:spMkLst>
        </pc:spChg>
        <pc:spChg chg="mod ord">
          <ac:chgData name="Joelle Brehm" userId="a518f54c-6985-42c0-8041-2bb16a414839" providerId="ADAL" clId="{EC4E33A1-3A40-4A99-A232-1E6EEAE786EA}" dt="2023-08-02T20:12:00.461" v="29711"/>
          <ac:spMkLst>
            <pc:docMk/>
            <pc:sldMk cId="3374649050" sldId="274"/>
            <ac:spMk id="58" creationId="{5BBF118A-F952-4AA1-8B74-92A00B5F6171}"/>
          </ac:spMkLst>
        </pc:spChg>
        <pc:spChg chg="mod ord">
          <ac:chgData name="Joelle Brehm" userId="a518f54c-6985-42c0-8041-2bb16a414839" providerId="ADAL" clId="{EC4E33A1-3A40-4A99-A232-1E6EEAE786EA}" dt="2023-08-02T20:12:00.456" v="29690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12:00.457" v="29692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EC4E33A1-3A40-4A99-A232-1E6EEAE786EA}" dt="2023-08-02T20:11:56.188" v="29362"/>
          <ac:spMkLst>
            <pc:docMk/>
            <pc:sldMk cId="3374649050" sldId="274"/>
            <ac:spMk id="8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52" v="29677"/>
          <ac:spMkLst>
            <pc:docMk/>
            <pc:sldMk cId="3374649050" sldId="274"/>
            <ac:spMk id="8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53" v="29679"/>
          <ac:spMkLst>
            <pc:docMk/>
            <pc:sldMk cId="3374649050" sldId="274"/>
            <ac:spMk id="8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52" v="29678"/>
          <ac:spMkLst>
            <pc:docMk/>
            <pc:sldMk cId="3374649050" sldId="274"/>
            <ac:spMk id="8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53" v="29680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54" v="29682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54" v="29681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55" v="29685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12:00.457" v="29694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12:00.458" v="29696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12:00.458" v="29698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12:00.458" v="29700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12:00.460" v="29704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60" v="29705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2:00.460" v="29706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12:00.460" v="29707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12:00.475" v="29719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2:00.444" v="29652"/>
          <ac:graphicFrameMkLst>
            <pc:docMk/>
            <pc:sldMk cId="3374649050" sldId="274"/>
            <ac:graphicFrameMk id="8" creationId="{89FD22BC-5DE5-049C-8342-10AD9452BAD5}"/>
          </ac:graphicFrameMkLst>
        </pc:graphicFrameChg>
        <pc:graphicFrameChg chg="del">
          <ac:chgData name="Joelle Brehm" userId="a518f54c-6985-42c0-8041-2bb16a414839" providerId="ADAL" clId="{EC4E33A1-3A40-4A99-A232-1E6EEAE786EA}" dt="2023-08-02T20:10:35.058" v="28123"/>
          <ac:graphicFrameMkLst>
            <pc:docMk/>
            <pc:sldMk cId="3374649050" sldId="274"/>
            <ac:graphicFrameMk id="10" creationId="{D9537D29-3691-3987-2D5B-454E1D5E5BC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2:00.459" v="29702"/>
          <ac:graphicFrameMkLst>
            <pc:docMk/>
            <pc:sldMk cId="3374649050" sldId="274"/>
            <ac:graphicFrameMk id="34" creationId="{2CE9DDE4-F53C-B40D-B189-3094DD80282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1:54.187" v="29257"/>
          <ac:graphicFrameMkLst>
            <pc:docMk/>
            <pc:sldMk cId="3374649050" sldId="274"/>
            <ac:graphicFrameMk id="40" creationId="{71C43D31-65A9-6979-3DF2-9C0DED189D6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1:56.443" v="29481"/>
          <ac:graphicFrameMkLst>
            <pc:docMk/>
            <pc:sldMk cId="3374649050" sldId="274"/>
            <ac:graphicFrameMk id="42" creationId="{C5AF5BA9-15AA-3475-139C-442ACA2337E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2:00.417" v="29638"/>
          <ac:graphicFrameMkLst>
            <pc:docMk/>
            <pc:sldMk cId="3374649050" sldId="274"/>
            <ac:graphicFrameMk id="45" creationId="{23F7E22A-1877-3689-4555-4DB7B9D41FC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1:53.328" v="29065"/>
          <ac:graphicFrameMkLst>
            <pc:docMk/>
            <pc:sldMk cId="3374649050" sldId="274"/>
            <ac:graphicFrameMk id="46" creationId="{6DE51127-0839-46F8-138B-3DFA60DC859A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2:00.452" v="29676"/>
          <ac:graphicFrameMkLst>
            <pc:docMk/>
            <pc:sldMk cId="3374649050" sldId="274"/>
            <ac:graphicFrameMk id="48" creationId="{BA23BA74-3DDE-8006-9340-5ED39C7A26BF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1:45.481" v="28464"/>
          <ac:graphicFrameMkLst>
            <pc:docMk/>
            <pc:sldMk cId="3374649050" sldId="274"/>
            <ac:graphicFrameMk id="52" creationId="{838C5A0B-16F4-2527-F49F-29F06B3BDF25}"/>
          </ac:graphicFrameMkLst>
        </pc:graphicFrameChg>
        <pc:picChg chg="add mod ord">
          <ac:chgData name="Joelle Brehm" userId="a518f54c-6985-42c0-8041-2bb16a414839" providerId="ADAL" clId="{EC4E33A1-3A40-4A99-A232-1E6EEAE786EA}" dt="2023-08-02T20:12:00.443" v="29646"/>
          <ac:picMkLst>
            <pc:docMk/>
            <pc:sldMk cId="3374649050" sldId="274"/>
            <ac:picMk id="9" creationId="{FF0B03D8-0D9A-1DBB-4083-EDA071118CE5}"/>
          </ac:picMkLst>
        </pc:picChg>
        <pc:picChg chg="del mod ord">
          <ac:chgData name="Joelle Brehm" userId="a518f54c-6985-42c0-8041-2bb16a414839" providerId="ADAL" clId="{EC4E33A1-3A40-4A99-A232-1E6EEAE786EA}" dt="2023-08-02T20:11:28.368" v="28300" actId="478"/>
          <ac:picMkLst>
            <pc:docMk/>
            <pc:sldMk cId="3374649050" sldId="274"/>
            <ac:picMk id="53" creationId="{CEE0B564-43D7-6140-D594-0D0ADB765FC8}"/>
          </ac:picMkLst>
        </pc:picChg>
        <pc:picChg chg="mod ord">
          <ac:chgData name="Joelle Brehm" userId="a518f54c-6985-42c0-8041-2bb16a414839" providerId="ADAL" clId="{EC4E33A1-3A40-4A99-A232-1E6EEAE786EA}" dt="2023-08-02T20:12:00.461" v="29709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12:00.444" v="29650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14:07.992" v="31679"/>
        <pc:sldMkLst>
          <pc:docMk/>
          <pc:sldMk cId="592117244" sldId="275"/>
        </pc:sldMkLst>
        <pc:spChg chg="add del mod ord">
          <ac:chgData name="Joelle Brehm" userId="a518f54c-6985-42c0-8041-2bb16a414839" providerId="ADAL" clId="{EC4E33A1-3A40-4A99-A232-1E6EEAE786EA}" dt="2023-08-02T20:13:37.867" v="30079" actId="478"/>
          <ac:spMkLst>
            <pc:docMk/>
            <pc:sldMk cId="592117244" sldId="275"/>
            <ac:spMk id="2" creationId="{738B6CAA-277C-8676-3CB5-D5EE43CD4606}"/>
          </ac:spMkLst>
        </pc:spChg>
        <pc:spChg chg="mod ord">
          <ac:chgData name="Joelle Brehm" userId="a518f54c-6985-42c0-8041-2bb16a414839" providerId="ADAL" clId="{EC4E33A1-3A40-4A99-A232-1E6EEAE786EA}" dt="2023-08-02T20:14:07.971" v="31673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EC4E33A1-3A40-4A99-A232-1E6EEAE786EA}" dt="2023-08-02T20:13:01.901" v="29986"/>
          <ac:spMkLst>
            <pc:docMk/>
            <pc:sldMk cId="592117244" sldId="275"/>
            <ac:spMk id="5" creationId="{FD30D0A1-4F12-BEA2-35B0-2C080668522B}"/>
          </ac:spMkLst>
        </pc:spChg>
        <pc:spChg chg="mod ord">
          <ac:chgData name="Joelle Brehm" userId="a518f54c-6985-42c0-8041-2bb16a414839" providerId="ADAL" clId="{EC4E33A1-3A40-4A99-A232-1E6EEAE786EA}" dt="2023-08-02T20:14:07.940" v="31608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14:07.945" v="31617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14:07.943" v="31615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14:07.944" v="31616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14:07.943" v="31614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14:07.942" v="31613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14:07.945" v="31618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14:07.946" v="31619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14:07.946" v="31620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14:07.947" v="31621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14:07.947" v="31622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14:07.947" v="31623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14:07.948" v="31624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14:07.948" v="31626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14:07.950" v="31629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14:07.949" v="31628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14:07.949" v="31627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14:07.951" v="31631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14:07.950" v="31630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14:07.951" v="31632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14:07.952" v="31634"/>
          <ac:spMkLst>
            <pc:docMk/>
            <pc:sldMk cId="592117244" sldId="27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EC4E33A1-3A40-4A99-A232-1E6EEAE786EA}" dt="2023-08-02T20:13:39.072" v="30530"/>
          <ac:spMkLst>
            <pc:docMk/>
            <pc:sldMk cId="592117244" sldId="275"/>
            <ac:spMk id="31" creationId="{809BB327-8376-57C0-C307-B3897ED51A3D}"/>
          </ac:spMkLst>
        </pc:spChg>
        <pc:spChg chg="mod">
          <ac:chgData name="Joelle Brehm" userId="a518f54c-6985-42c0-8041-2bb16a414839" providerId="ADAL" clId="{EC4E33A1-3A40-4A99-A232-1E6EEAE786EA}" dt="2023-08-02T20:14:07.958" v="31646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EC4E33A1-3A40-4A99-A232-1E6EEAE786EA}" dt="2023-08-02T20:14:07.958" v="31647"/>
          <ac:spMkLst>
            <pc:docMk/>
            <pc:sldMk cId="592117244" sldId="275"/>
            <ac:spMk id="33" creationId="{7E8BBD9E-2B2D-57B8-A905-831743E16231}"/>
          </ac:spMkLst>
        </pc:spChg>
        <pc:spChg chg="add mod replST">
          <ac:chgData name="Joelle Brehm" userId="a518f54c-6985-42c0-8041-2bb16a414839" providerId="ADAL" clId="{EC4E33A1-3A40-4A99-A232-1E6EEAE786EA}" dt="2023-08-02T20:14:07.959" v="31648"/>
          <ac:spMkLst>
            <pc:docMk/>
            <pc:sldMk cId="592117244" sldId="275"/>
            <ac:spMk id="35" creationId="{8A659545-7F46-0F9C-1180-4340FFF52971}"/>
          </ac:spMkLst>
        </pc:spChg>
        <pc:spChg chg="add del mod modVis">
          <ac:chgData name="Joelle Brehm" userId="a518f54c-6985-42c0-8041-2bb16a414839" providerId="ADAL" clId="{EC4E33A1-3A40-4A99-A232-1E6EEAE786EA}" dt="2023-08-02T20:13:49.389" v="30888"/>
          <ac:spMkLst>
            <pc:docMk/>
            <pc:sldMk cId="592117244" sldId="275"/>
            <ac:spMk id="36" creationId="{D0F3201F-AE64-36AE-FEAC-7D38C0E23C8E}"/>
          </ac:spMkLst>
        </pc:spChg>
        <pc:spChg chg="mod">
          <ac:chgData name="Joelle Brehm" userId="a518f54c-6985-42c0-8041-2bb16a414839" providerId="ADAL" clId="{EC4E33A1-3A40-4A99-A232-1E6EEAE786EA}" dt="2023-08-02T20:14:07.957" v="31645"/>
          <ac:spMkLst>
            <pc:docMk/>
            <pc:sldMk cId="592117244" sldId="275"/>
            <ac:spMk id="37" creationId="{90FA8FF8-BF43-F8ED-7D69-4D34F348E5E1}"/>
          </ac:spMkLst>
        </pc:spChg>
        <pc:spChg chg="add del mod ord replST">
          <ac:chgData name="Joelle Brehm" userId="a518f54c-6985-42c0-8041-2bb16a414839" providerId="ADAL" clId="{EC4E33A1-3A40-4A99-A232-1E6EEAE786EA}" dt="2023-08-02T20:14:00.597" v="31367"/>
          <ac:spMkLst>
            <pc:docMk/>
            <pc:sldMk cId="592117244" sldId="275"/>
            <ac:spMk id="38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7" v="31644"/>
          <ac:spMkLst>
            <pc:docMk/>
            <pc:sldMk cId="592117244" sldId="275"/>
            <ac:spMk id="39" creationId="{1EFCB791-16E1-BC87-1C92-0DDD24DA7D5F}"/>
          </ac:spMkLst>
        </pc:spChg>
        <pc:spChg chg="add del mod modVis">
          <ac:chgData name="Joelle Brehm" userId="a518f54c-6985-42c0-8041-2bb16a414839" providerId="ADAL" clId="{EC4E33A1-3A40-4A99-A232-1E6EEAE786EA}" dt="2023-08-02T20:13:52.775" v="31094"/>
          <ac:spMkLst>
            <pc:docMk/>
            <pc:sldMk cId="592117244" sldId="275"/>
            <ac:spMk id="41" creationId="{46959242-5400-790B-AB92-6F0156DF0445}"/>
          </ac:spMkLst>
        </pc:spChg>
        <pc:spChg chg="add del mod modVis">
          <ac:chgData name="Joelle Brehm" userId="a518f54c-6985-42c0-8041-2bb16a414839" providerId="ADAL" clId="{EC4E33A1-3A40-4A99-A232-1E6EEAE786EA}" dt="2023-08-02T20:13:55.174" v="31295"/>
          <ac:spMkLst>
            <pc:docMk/>
            <pc:sldMk cId="592117244" sldId="275"/>
            <ac:spMk id="44" creationId="{FC0D1D6C-0543-2892-870D-E9CE95282222}"/>
          </ac:spMkLst>
        </pc:spChg>
        <pc:spChg chg="add del mod modVis">
          <ac:chgData name="Joelle Brehm" userId="a518f54c-6985-42c0-8041-2bb16a414839" providerId="ADAL" clId="{EC4E33A1-3A40-4A99-A232-1E6EEAE786EA}" dt="2023-08-02T20:14:00.644" v="31448"/>
          <ac:spMkLst>
            <pc:docMk/>
            <pc:sldMk cId="592117244" sldId="275"/>
            <ac:spMk id="48" creationId="{FE1600A4-4359-2FF2-2069-BC48B4115142}"/>
          </ac:spMkLst>
        </pc:spChg>
        <pc:spChg chg="add del mod modVis">
          <ac:chgData name="Joelle Brehm" userId="a518f54c-6985-42c0-8041-2bb16a414839" providerId="ADAL" clId="{EC4E33A1-3A40-4A99-A232-1E6EEAE786EA}" dt="2023-08-02T20:14:07.974" v="31677"/>
          <ac:spMkLst>
            <pc:docMk/>
            <pc:sldMk cId="592117244" sldId="275"/>
            <ac:spMk id="50" creationId="{5509831B-5E2A-CD54-EC1B-ABE6C2236873}"/>
          </ac:spMkLst>
        </pc:spChg>
        <pc:spChg chg="mod ord">
          <ac:chgData name="Joelle Brehm" userId="a518f54c-6985-42c0-8041-2bb16a414839" providerId="ADAL" clId="{EC4E33A1-3A40-4A99-A232-1E6EEAE786EA}" dt="2023-08-02T20:14:07.970" v="31671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EC4E33A1-3A40-4A99-A232-1E6EEAE786EA}" dt="2023-08-02T20:14:07.960" v="31650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14:07.961" v="31652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EC4E33A1-3A40-4A99-A232-1E6EEAE786EA}" dt="2023-08-02T20:13:54.771" v="31097"/>
          <ac:spMkLst>
            <pc:docMk/>
            <pc:sldMk cId="592117244" sldId="275"/>
            <ac:spMk id="8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3" v="31637"/>
          <ac:spMkLst>
            <pc:docMk/>
            <pc:sldMk cId="592117244" sldId="275"/>
            <ac:spMk id="8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4" v="31639"/>
          <ac:spMkLst>
            <pc:docMk/>
            <pc:sldMk cId="592117244" sldId="275"/>
            <ac:spMk id="8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5" v="31641"/>
          <ac:spMkLst>
            <pc:docMk/>
            <pc:sldMk cId="592117244" sldId="275"/>
            <ac:spMk id="8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3" v="31638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6" v="31642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6" v="31643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55" v="31640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14:07.961" v="31654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14:07.962" v="31656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14:07.962" v="31658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14:07.963" v="31660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14:07.965" v="31664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67" v="31665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68" v="31666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4:07.968" v="31667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14:07.964" v="31663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14:07.992" v="31679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20:13:01.765" v="29901"/>
          <ac:graphicFrameMkLst>
            <pc:docMk/>
            <pc:sldMk cId="592117244" sldId="275"/>
            <ac:graphicFrameMk id="8" creationId="{C28F1F34-6793-AD45-D215-97DC8C0C51DF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4:07.941" v="31612"/>
          <ac:graphicFrameMkLst>
            <pc:docMk/>
            <pc:sldMk cId="592117244" sldId="275"/>
            <ac:graphicFrameMk id="9" creationId="{9FB2E59B-FF70-94B4-5B12-AA1A4DEB4AA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3:49.236" v="30786"/>
          <ac:graphicFrameMkLst>
            <pc:docMk/>
            <pc:sldMk cId="592117244" sldId="275"/>
            <ac:graphicFrameMk id="34" creationId="{373337DF-3493-DDD5-BE53-8BBC7B5281C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3:52.657" v="30992"/>
          <ac:graphicFrameMkLst>
            <pc:docMk/>
            <pc:sldMk cId="592117244" sldId="275"/>
            <ac:graphicFrameMk id="40" creationId="{335B202A-D8D6-92AB-BB4D-9BCAA89F102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3:39.015" v="30445"/>
          <ac:graphicFrameMkLst>
            <pc:docMk/>
            <pc:sldMk cId="592117244" sldId="275"/>
            <ac:graphicFrameMk id="42" creationId="{1A0550DE-EC6F-EC50-F7DA-45486576A91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3:55.049" v="31214"/>
          <ac:graphicFrameMkLst>
            <pc:docMk/>
            <pc:sldMk cId="592117244" sldId="275"/>
            <ac:graphicFrameMk id="43" creationId="{CA592236-CD61-E0F1-A890-0946DC2DDBD5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4:07.886" v="31598"/>
          <ac:graphicFrameMkLst>
            <pc:docMk/>
            <pc:sldMk cId="592117244" sldId="275"/>
            <ac:graphicFrameMk id="45" creationId="{96260C6B-3D73-82DE-3E5D-10851F3FA332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4:00.599" v="31369"/>
          <ac:graphicFrameMkLst>
            <pc:docMk/>
            <pc:sldMk cId="592117244" sldId="275"/>
            <ac:graphicFrameMk id="47" creationId="{DC0CE496-4F19-FF74-A3C1-68090FD93F18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4:07.953" v="31636"/>
          <ac:graphicFrameMkLst>
            <pc:docMk/>
            <pc:sldMk cId="592117244" sldId="275"/>
            <ac:graphicFrameMk id="49" creationId="{C7C524EA-096A-B104-232F-21A81A690D24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4:07.963" v="31662"/>
          <ac:graphicFrameMkLst>
            <pc:docMk/>
            <pc:sldMk cId="592117244" sldId="275"/>
            <ac:graphicFrameMk id="51" creationId="{2CC33969-AC81-CB0A-6513-BCCE077CEE55}"/>
          </ac:graphicFrameMkLst>
        </pc:graphicFrameChg>
        <pc:picChg chg="add mod ord">
          <ac:chgData name="Joelle Brehm" userId="a518f54c-6985-42c0-8041-2bb16a414839" providerId="ADAL" clId="{EC4E33A1-3A40-4A99-A232-1E6EEAE786EA}" dt="2023-08-02T20:14:07.939" v="31606"/>
          <ac:picMkLst>
            <pc:docMk/>
            <pc:sldMk cId="592117244" sldId="275"/>
            <ac:picMk id="10" creationId="{0A4BF9E7-024B-870B-2F8D-9996C3700520}"/>
          </ac:picMkLst>
        </pc:picChg>
        <pc:picChg chg="del mod ord">
          <ac:chgData name="Joelle Brehm" userId="a518f54c-6985-42c0-8041-2bb16a414839" providerId="ADAL" clId="{EC4E33A1-3A40-4A99-A232-1E6EEAE786EA}" dt="2023-08-02T20:13:25.494" v="30076" actId="478"/>
          <ac:picMkLst>
            <pc:docMk/>
            <pc:sldMk cId="592117244" sldId="275"/>
            <ac:picMk id="46" creationId="{D1E896D7-1E40-2ECE-FA5B-839DA1870DEC}"/>
          </ac:picMkLst>
        </pc:picChg>
        <pc:picChg chg="mod ord">
          <ac:chgData name="Joelle Brehm" userId="a518f54c-6985-42c0-8041-2bb16a414839" providerId="ADAL" clId="{EC4E33A1-3A40-4A99-A232-1E6EEAE786EA}" dt="2023-08-02T20:14:07.969" v="31669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14:07.941" v="31610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15:27.446" v="33317"/>
        <pc:sldMkLst>
          <pc:docMk/>
          <pc:sldMk cId="3358644479" sldId="276"/>
        </pc:sldMkLst>
        <pc:spChg chg="mod ord">
          <ac:chgData name="Joelle Brehm" userId="a518f54c-6985-42c0-8041-2bb16a414839" providerId="ADAL" clId="{EC4E33A1-3A40-4A99-A232-1E6EEAE786EA}" dt="2023-08-02T20:15:27.427" v="33313"/>
          <ac:spMkLst>
            <pc:docMk/>
            <pc:sldMk cId="3358644479" sldId="276"/>
            <ac:spMk id="2" creationId="{2688F805-F703-4FD1-AEE0-0F8E6A5589FE}"/>
          </ac:spMkLst>
        </pc:spChg>
        <pc:spChg chg="add del mod ord">
          <ac:chgData name="Joelle Brehm" userId="a518f54c-6985-42c0-8041-2bb16a414839" providerId="ADAL" clId="{EC4E33A1-3A40-4A99-A232-1E6EEAE786EA}" dt="2023-08-02T20:15:02.046" v="32026" actId="478"/>
          <ac:spMkLst>
            <pc:docMk/>
            <pc:sldMk cId="3358644479" sldId="276"/>
            <ac:spMk id="3" creationId="{862F8226-6660-C95E-697B-B57F051EF74A}"/>
          </ac:spMkLst>
        </pc:spChg>
        <pc:spChg chg="add del mod modVis">
          <ac:chgData name="Joelle Brehm" userId="a518f54c-6985-42c0-8041-2bb16a414839" providerId="ADAL" clId="{EC4E33A1-3A40-4A99-A232-1E6EEAE786EA}" dt="2023-08-02T20:14:36.156" v="31939"/>
          <ac:spMkLst>
            <pc:docMk/>
            <pc:sldMk cId="3358644479" sldId="276"/>
            <ac:spMk id="5" creationId="{F0FC7EA4-0032-C4B7-33CC-161AA8C1573C}"/>
          </ac:spMkLst>
        </pc:spChg>
        <pc:spChg chg="mod ord">
          <ac:chgData name="Joelle Brehm" userId="a518f54c-6985-42c0-8041-2bb16a414839" providerId="ADAL" clId="{EC4E33A1-3A40-4A99-A232-1E6EEAE786EA}" dt="2023-08-02T20:15:27.406" v="33248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15:27.418" v="33284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EC4E33A1-3A40-4A99-A232-1E6EEAE786EA}" dt="2023-08-02T20:15:27.409" v="33260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15:27.407" v="33255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15:27.408" v="33257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15:27.407" v="33254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15:27.408" v="33256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15:27.408" v="33258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15:27.409" v="33259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15:27.407" v="33253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15:27.409" v="33261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15:27.410" v="33262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15:27.410" v="33263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15:27.410" v="33264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15:27.411" v="33266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15:27.412" v="33269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15:27.412" v="33268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15:27.411" v="33267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15:27.413" v="33271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15:27.412" v="33270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15:27.413" v="33272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15:27.413" v="33274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15:27.417" v="33283"/>
          <ac:spMkLst>
            <pc:docMk/>
            <pc:sldMk cId="3358644479" sldId="276"/>
            <ac:spMk id="31" creationId="{65EF0830-A1F0-A253-1BB2-8CDCFF5CECBB}"/>
          </ac:spMkLst>
        </pc:spChg>
        <pc:spChg chg="mod">
          <ac:chgData name="Joelle Brehm" userId="a518f54c-6985-42c0-8041-2bb16a414839" providerId="ADAL" clId="{EC4E33A1-3A40-4A99-A232-1E6EEAE786EA}" dt="2023-08-02T20:15:27.417" v="33282"/>
          <ac:spMkLst>
            <pc:docMk/>
            <pc:sldMk cId="3358644479" sldId="276"/>
            <ac:spMk id="32" creationId="{8D25BC14-41C5-8647-5CC0-BE12A57BA555}"/>
          </ac:spMkLst>
        </pc:spChg>
        <pc:spChg chg="mod">
          <ac:chgData name="Joelle Brehm" userId="a518f54c-6985-42c0-8041-2bb16a414839" providerId="ADAL" clId="{EC4E33A1-3A40-4A99-A232-1E6EEAE786EA}" dt="2023-08-02T20:15:27.415" v="33278"/>
          <ac:spMkLst>
            <pc:docMk/>
            <pc:sldMk cId="3358644479" sldId="276"/>
            <ac:spMk id="33" creationId="{F9C148ED-6941-E56C-2F19-150E6514366D}"/>
          </ac:spMkLst>
        </pc:spChg>
        <pc:spChg chg="mod">
          <ac:chgData name="Joelle Brehm" userId="a518f54c-6985-42c0-8041-2bb16a414839" providerId="ADAL" clId="{EC4E33A1-3A40-4A99-A232-1E6EEAE786EA}" dt="2023-08-02T20:15:27.418" v="33285"/>
          <ac:spMkLst>
            <pc:docMk/>
            <pc:sldMk cId="3358644479" sldId="276"/>
            <ac:spMk id="34" creationId="{2EC784B5-4DDF-6FD0-D462-50F110303F01}"/>
          </ac:spMkLst>
        </pc:spChg>
        <pc:spChg chg="mod">
          <ac:chgData name="Joelle Brehm" userId="a518f54c-6985-42c0-8041-2bb16a414839" providerId="ADAL" clId="{EC4E33A1-3A40-4A99-A232-1E6EEAE786EA}" dt="2023-08-02T20:15:27.418" v="33286"/>
          <ac:spMkLst>
            <pc:docMk/>
            <pc:sldMk cId="3358644479" sldId="276"/>
            <ac:spMk id="35" creationId="{F6E5A8F3-72AC-F44C-CACB-ED952FD27440}"/>
          </ac:spMkLst>
        </pc:spChg>
        <pc:spChg chg="mod">
          <ac:chgData name="Joelle Brehm" userId="a518f54c-6985-42c0-8041-2bb16a414839" providerId="ADAL" clId="{EC4E33A1-3A40-4A99-A232-1E6EEAE786EA}" dt="2023-08-02T20:15:27.416" v="33279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EC4E33A1-3A40-4A99-A232-1E6EEAE786EA}" dt="2023-08-02T20:15:27.415" v="33277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EC4E33A1-3A40-4A99-A232-1E6EEAE786EA}" dt="2023-08-02T20:15:27.424" v="33305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EC4E33A1-3A40-4A99-A232-1E6EEAE786EA}" dt="2023-08-02T20:15:27.425" v="33306"/>
          <ac:spMkLst>
            <pc:docMk/>
            <pc:sldMk cId="3358644479" sldId="276"/>
            <ac:spMk id="40" creationId="{BF422452-141B-CCA7-F304-DD7C41C4B026}"/>
          </ac:spMkLst>
        </pc:spChg>
        <pc:spChg chg="add mod replST">
          <ac:chgData name="Joelle Brehm" userId="a518f54c-6985-42c0-8041-2bb16a414839" providerId="ADAL" clId="{EC4E33A1-3A40-4A99-A232-1E6EEAE786EA}" dt="2023-08-02T20:15:27.419" v="33288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EC4E33A1-3A40-4A99-A232-1E6EEAE786EA}" dt="2023-08-02T20:15:27.419" v="33287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EC4E33A1-3A40-4A99-A232-1E6EEAE786EA}" dt="2023-08-02T20:15:27.417" v="33281"/>
          <ac:spMkLst>
            <pc:docMk/>
            <pc:sldMk cId="3358644479" sldId="276"/>
            <ac:spMk id="44" creationId="{5C64EA04-B56C-CC91-D9A7-8AB0C80D5C79}"/>
          </ac:spMkLst>
        </pc:spChg>
        <pc:spChg chg="add del mod modVis">
          <ac:chgData name="Joelle Brehm" userId="a518f54c-6985-42c0-8041-2bb16a414839" providerId="ADAL" clId="{EC4E33A1-3A40-4A99-A232-1E6EEAE786EA}" dt="2023-08-02T20:15:07.376" v="32594"/>
          <ac:spMkLst>
            <pc:docMk/>
            <pc:sldMk cId="3358644479" sldId="276"/>
            <ac:spMk id="45" creationId="{D8E1F9D9-934C-8C23-0972-6A2F5F976715}"/>
          </ac:spMkLst>
        </pc:spChg>
        <pc:spChg chg="add del mod modVis">
          <ac:chgData name="Joelle Brehm" userId="a518f54c-6985-42c0-8041-2bb16a414839" providerId="ADAL" clId="{EC4E33A1-3A40-4A99-A232-1E6EEAE786EA}" dt="2023-08-02T20:15:09.207" v="32744"/>
          <ac:spMkLst>
            <pc:docMk/>
            <pc:sldMk cId="3358644479" sldId="276"/>
            <ac:spMk id="47" creationId="{317BF507-6330-15CA-C9BC-30F3FABF7465}"/>
          </ac:spMkLst>
        </pc:spChg>
        <pc:spChg chg="mod">
          <ac:chgData name="Joelle Brehm" userId="a518f54c-6985-42c0-8041-2bb16a414839" providerId="ADAL" clId="{EC4E33A1-3A40-4A99-A232-1E6EEAE786EA}" dt="2023-08-02T20:15:27.416" v="33280"/>
          <ac:spMkLst>
            <pc:docMk/>
            <pc:sldMk cId="3358644479" sldId="276"/>
            <ac:spMk id="49" creationId="{D4F90E1C-EAB9-BF7D-5820-940E92571336}"/>
          </ac:spMkLst>
        </pc:spChg>
        <pc:spChg chg="add del mod modVis">
          <ac:chgData name="Joelle Brehm" userId="a518f54c-6985-42c0-8041-2bb16a414839" providerId="ADAL" clId="{EC4E33A1-3A40-4A99-A232-1E6EEAE786EA}" dt="2023-08-02T20:15:11.016" v="32934"/>
          <ac:spMkLst>
            <pc:docMk/>
            <pc:sldMk cId="3358644479" sldId="276"/>
            <ac:spMk id="51" creationId="{7862964D-719D-0546-4612-9484BAF71F10}"/>
          </ac:spMkLst>
        </pc:spChg>
        <pc:spChg chg="add del mod modVis">
          <ac:chgData name="Joelle Brehm" userId="a518f54c-6985-42c0-8041-2bb16a414839" providerId="ADAL" clId="{EC4E33A1-3A40-4A99-A232-1E6EEAE786EA}" dt="2023-08-02T20:15:22.802" v="33216"/>
          <ac:spMkLst>
            <pc:docMk/>
            <pc:sldMk cId="3358644479" sldId="276"/>
            <ac:spMk id="53" creationId="{E1FC9C9D-5632-CC0A-382D-9BE217CEF261}"/>
          </ac:spMkLst>
        </pc:spChg>
        <pc:spChg chg="mod ord">
          <ac:chgData name="Joelle Brehm" userId="a518f54c-6985-42c0-8041-2bb16a414839" providerId="ADAL" clId="{EC4E33A1-3A40-4A99-A232-1E6EEAE786EA}" dt="2023-08-02T20:15:27.427" v="33311"/>
          <ac:spMkLst>
            <pc:docMk/>
            <pc:sldMk cId="3358644479" sldId="276"/>
            <ac:spMk id="58" creationId="{0CB06D1E-8664-4C1B-9ACF-854D6C46B776}"/>
          </ac:spMkLst>
        </pc:spChg>
        <pc:spChg chg="mod">
          <ac:chgData name="Joelle Brehm" userId="a518f54c-6985-42c0-8041-2bb16a414839" providerId="ADAL" clId="{EC4E33A1-3A40-4A99-A232-1E6EEAE786EA}" dt="2023-08-02T20:15:27.426" v="33307"/>
          <ac:spMkLst>
            <pc:docMk/>
            <pc:sldMk cId="3358644479" sldId="276"/>
            <ac:spMk id="59" creationId="{5164D3E0-C681-43D3-E345-132BB4AD109F}"/>
          </ac:spMkLst>
        </pc:spChg>
        <pc:spChg chg="del mod">
          <ac:chgData name="Joelle Brehm" userId="a518f54c-6985-42c0-8041-2bb16a414839" providerId="ADAL" clId="{EC4E33A1-3A40-4A99-A232-1E6EEAE786EA}" dt="2023-08-02T20:15:10.782" v="32747"/>
          <ac:spMkLst>
            <pc:docMk/>
            <pc:sldMk cId="3358644479" sldId="276"/>
            <ac:spMk id="64" creationId="{4A72A5C3-DE7B-F940-0B50-F847F976F72F}"/>
          </ac:spMkLst>
        </pc:spChg>
        <pc:spChg chg="mod ord">
          <ac:chgData name="Joelle Brehm" userId="a518f54c-6985-42c0-8041-2bb16a414839" providerId="ADAL" clId="{EC4E33A1-3A40-4A99-A232-1E6EEAE786EA}" dt="2023-08-02T20:15:27.420" v="33290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15:27.420" v="33292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15:27.421" v="33294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15:27.422" v="33296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15:27.422" v="33298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15:27.423" v="33300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15:27.424" v="33303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5:27.424" v="33304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EC4E33A1-3A40-4A99-A232-1E6EEAE786EA}" dt="2023-08-02T20:15:27.446" v="33317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20:14:36.023" v="31856"/>
          <ac:graphicFrameMkLst>
            <pc:docMk/>
            <pc:sldMk cId="3358644479" sldId="276"/>
            <ac:graphicFrameMk id="8" creationId="{F56A7C9C-2601-C29A-6CCA-8D104F56821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5:27.406" v="33252"/>
          <ac:graphicFrameMkLst>
            <pc:docMk/>
            <pc:sldMk cId="3358644479" sldId="276"/>
            <ac:graphicFrameMk id="9" creationId="{D433BDEE-1E73-1FFD-685F-79D4A53ED727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5:09.131" v="32664"/>
          <ac:graphicFrameMkLst>
            <pc:docMk/>
            <pc:sldMk cId="3358644479" sldId="276"/>
            <ac:graphicFrameMk id="46" creationId="{FE8E817F-77E7-23B7-36B8-18A340639CAA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5:22.700" v="33137"/>
          <ac:graphicFrameMkLst>
            <pc:docMk/>
            <pc:sldMk cId="3358644479" sldId="276"/>
            <ac:graphicFrameMk id="48" creationId="{7E6E523D-D2D6-9855-A8AC-8C4166F71267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5:10.935" v="32855"/>
          <ac:graphicFrameMkLst>
            <pc:docMk/>
            <pc:sldMk cId="3358644479" sldId="276"/>
            <ac:graphicFrameMk id="50" creationId="{E6CBCA25-A5C0-1346-D07C-9CD241F54EF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5:27.415" v="33276"/>
          <ac:graphicFrameMkLst>
            <pc:docMk/>
            <pc:sldMk cId="3358644479" sldId="276"/>
            <ac:graphicFrameMk id="52" creationId="{E2B32CB6-DB1D-F5EA-BC32-620744B8B10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5:27.369" v="33238"/>
          <ac:graphicFrameMkLst>
            <pc:docMk/>
            <pc:sldMk cId="3358644479" sldId="276"/>
            <ac:graphicFrameMk id="54" creationId="{080A2239-02AD-4097-CD5B-CA28EBF8DF0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5:27.423" v="33302"/>
          <ac:graphicFrameMkLst>
            <pc:docMk/>
            <pc:sldMk cId="3358644479" sldId="276"/>
            <ac:graphicFrameMk id="55" creationId="{0544E3D5-97BD-3151-76F1-222440513F4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5:07.290" v="32512"/>
          <ac:graphicFrameMkLst>
            <pc:docMk/>
            <pc:sldMk cId="3358644479" sldId="276"/>
            <ac:graphicFrameMk id="62" creationId="{BB76E8D3-B92D-C6DE-36DB-B5ED0753394A}"/>
          </ac:graphicFrameMkLst>
        </pc:graphicFrameChg>
        <pc:picChg chg="add mod ord">
          <ac:chgData name="Joelle Brehm" userId="a518f54c-6985-42c0-8041-2bb16a414839" providerId="ADAL" clId="{EC4E33A1-3A40-4A99-A232-1E6EEAE786EA}" dt="2023-08-02T20:15:27.405" v="33246"/>
          <ac:picMkLst>
            <pc:docMk/>
            <pc:sldMk cId="3358644479" sldId="276"/>
            <ac:picMk id="36" creationId="{6A419C6D-E9DD-0D89-4C85-76B0BAAE58B9}"/>
          </ac:picMkLst>
        </pc:picChg>
        <pc:picChg chg="del mod ord">
          <ac:chgData name="Joelle Brehm" userId="a518f54c-6985-42c0-8041-2bb16a414839" providerId="ADAL" clId="{EC4E33A1-3A40-4A99-A232-1E6EEAE786EA}" dt="2023-08-02T20:14:57" v="32024" actId="478"/>
          <ac:picMkLst>
            <pc:docMk/>
            <pc:sldMk cId="3358644479" sldId="276"/>
            <ac:picMk id="43" creationId="{E6FB7006-9D1C-2DC1-C705-F834E18034F0}"/>
          </ac:picMkLst>
        </pc:picChg>
        <pc:picChg chg="mod ord">
          <ac:chgData name="Joelle Brehm" userId="a518f54c-6985-42c0-8041-2bb16a414839" providerId="ADAL" clId="{EC4E33A1-3A40-4A99-A232-1E6EEAE786EA}" dt="2023-08-02T20:15:27.426" v="33309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15:27.406" v="33250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17:42.829" v="35344"/>
        <pc:sldMkLst>
          <pc:docMk/>
          <pc:sldMk cId="1336352168" sldId="277"/>
        </pc:sldMkLst>
        <pc:spChg chg="mod ord">
          <ac:chgData name="Joelle Brehm" userId="a518f54c-6985-42c0-8041-2bb16a414839" providerId="ADAL" clId="{EC4E33A1-3A40-4A99-A232-1E6EEAE786EA}" dt="2023-08-02T20:17:42.809" v="35340"/>
          <ac:spMkLst>
            <pc:docMk/>
            <pc:sldMk cId="1336352168" sldId="277"/>
            <ac:spMk id="2" creationId="{92BF2826-0C6B-4A3A-89A1-7B17EE6A8135}"/>
          </ac:spMkLst>
        </pc:spChg>
        <pc:spChg chg="add del mod ord">
          <ac:chgData name="Joelle Brehm" userId="a518f54c-6985-42c0-8041-2bb16a414839" providerId="ADAL" clId="{EC4E33A1-3A40-4A99-A232-1E6EEAE786EA}" dt="2023-08-02T20:17:10.910" v="33676" actId="478"/>
          <ac:spMkLst>
            <pc:docMk/>
            <pc:sldMk cId="1336352168" sldId="277"/>
            <ac:spMk id="3" creationId="{DF0DA41D-CD3F-4B2E-2FBC-C58F9F759C5F}"/>
          </ac:spMkLst>
        </pc:spChg>
        <pc:spChg chg="add del mod modVis">
          <ac:chgData name="Joelle Brehm" userId="a518f54c-6985-42c0-8041-2bb16a414839" providerId="ADAL" clId="{EC4E33A1-3A40-4A99-A232-1E6EEAE786EA}" dt="2023-08-02T20:16:30.271" v="33583"/>
          <ac:spMkLst>
            <pc:docMk/>
            <pc:sldMk cId="1336352168" sldId="277"/>
            <ac:spMk id="5" creationId="{8426BCDB-8727-D04A-4772-527DFD744AB2}"/>
          </ac:spMkLst>
        </pc:spChg>
        <pc:spChg chg="mod ord">
          <ac:chgData name="Joelle Brehm" userId="a518f54c-6985-42c0-8041-2bb16a414839" providerId="ADAL" clId="{EC4E33A1-3A40-4A99-A232-1E6EEAE786EA}" dt="2023-08-02T20:17:42.780" v="35275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17:42.787" v="35288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17:42.784" v="35283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17:42.786" v="35285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17:42.784" v="35282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17:42.783" v="35281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17:42.786" v="35286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17:42.784" v="35284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17:42.783" v="35280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17:42.788" v="35289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17:42.788" v="35290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17:42.787" v="35287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17:42.789" v="35291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17:42.790" v="35293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17:42.791" v="35295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17:42.790" v="35294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17:42.791" v="35296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17:42.792" v="35298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17:42.792" v="35297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17:42.793" v="35299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17:42.793" v="35301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17:42.794" v="35304"/>
          <ac:spMkLst>
            <pc:docMk/>
            <pc:sldMk cId="1336352168" sldId="277"/>
            <ac:spMk id="31" creationId="{4A07E04C-1B9D-B1D4-ED08-6B67E4FD9CA7}"/>
          </ac:spMkLst>
        </pc:spChg>
        <pc:spChg chg="mod">
          <ac:chgData name="Joelle Brehm" userId="a518f54c-6985-42c0-8041-2bb16a414839" providerId="ADAL" clId="{EC4E33A1-3A40-4A99-A232-1E6EEAE786EA}" dt="2023-08-02T20:17:42.795" v="35306"/>
          <ac:spMkLst>
            <pc:docMk/>
            <pc:sldMk cId="1336352168" sldId="277"/>
            <ac:spMk id="33" creationId="{CBC56295-E0C4-1963-15A7-B869935D155D}"/>
          </ac:spMkLst>
        </pc:spChg>
        <pc:spChg chg="mod">
          <ac:chgData name="Joelle Brehm" userId="a518f54c-6985-42c0-8041-2bb16a414839" providerId="ADAL" clId="{EC4E33A1-3A40-4A99-A232-1E6EEAE786EA}" dt="2023-08-02T20:17:42.796" v="35308"/>
          <ac:spMkLst>
            <pc:docMk/>
            <pc:sldMk cId="1336352168" sldId="277"/>
            <ac:spMk id="34" creationId="{AC95B571-934C-3912-0ACC-4C3A108EC104}"/>
          </ac:spMkLst>
        </pc:spChg>
        <pc:spChg chg="mod">
          <ac:chgData name="Joelle Brehm" userId="a518f54c-6985-42c0-8041-2bb16a414839" providerId="ADAL" clId="{EC4E33A1-3A40-4A99-A232-1E6EEAE786EA}" dt="2023-08-02T20:17:42.795" v="35307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EC4E33A1-3A40-4A99-A232-1E6EEAE786EA}" dt="2023-08-02T20:17:42.798" v="35311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EC4E33A1-3A40-4A99-A232-1E6EEAE786EA}" dt="2023-08-02T20:17:42.797" v="35309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EC4E33A1-3A40-4A99-A232-1E6EEAE786EA}" dt="2023-08-02T20:17:42.794" v="35305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EC4E33A1-3A40-4A99-A232-1E6EEAE786EA}" dt="2023-08-02T20:17:42.798" v="35312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EC4E33A1-3A40-4A99-A232-1E6EEAE786EA}" dt="2023-08-02T20:17:42.798" v="35313"/>
          <ac:spMkLst>
            <pc:docMk/>
            <pc:sldMk cId="1336352168" sldId="277"/>
            <ac:spMk id="40" creationId="{22DE2434-BBBF-CBE5-DB4B-76B8CE949CF7}"/>
          </ac:spMkLst>
        </pc:spChg>
        <pc:spChg chg="add mod replST">
          <ac:chgData name="Joelle Brehm" userId="a518f54c-6985-42c0-8041-2bb16a414839" providerId="ADAL" clId="{EC4E33A1-3A40-4A99-A232-1E6EEAE786EA}" dt="2023-08-02T20:17:42.799" v="35315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EC4E33A1-3A40-4A99-A232-1E6EEAE786EA}" dt="2023-08-02T20:17:42.797" v="35310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EC4E33A1-3A40-4A99-A232-1E6EEAE786EA}" dt="2023-08-02T20:17:42.799" v="35314"/>
          <ac:spMkLst>
            <pc:docMk/>
            <pc:sldMk cId="1336352168" sldId="277"/>
            <ac:spMk id="44" creationId="{948C7430-EE17-A200-FEA6-849EEC95829A}"/>
          </ac:spMkLst>
        </pc:spChg>
        <pc:spChg chg="add del mod modVis">
          <ac:chgData name="Joelle Brehm" userId="a518f54c-6985-42c0-8041-2bb16a414839" providerId="ADAL" clId="{EC4E33A1-3A40-4A99-A232-1E6EEAE786EA}" dt="2023-08-02T20:17:21.394" v="34442"/>
          <ac:spMkLst>
            <pc:docMk/>
            <pc:sldMk cId="1336352168" sldId="277"/>
            <ac:spMk id="45" creationId="{FDE0615D-133C-48A3-278C-138F1BD9A5FD}"/>
          </ac:spMkLst>
        </pc:spChg>
        <pc:spChg chg="add del mod ord replST">
          <ac:chgData name="Joelle Brehm" userId="a518f54c-6985-42c0-8041-2bb16a414839" providerId="ADAL" clId="{EC4E33A1-3A40-4A99-A232-1E6EEAE786EA}" dt="2023-08-02T20:17:25.060" v="34741"/>
          <ac:spMkLst>
            <pc:docMk/>
            <pc:sldMk cId="1336352168" sldId="277"/>
            <ac:spMk id="46" creationId="{7CAA3B95-4C78-4122-BECA-B5FB0F3F3764}"/>
          </ac:spMkLst>
        </pc:spChg>
        <pc:spChg chg="add del mod ord replST">
          <ac:chgData name="Joelle Brehm" userId="a518f54c-6985-42c0-8041-2bb16a414839" providerId="ADAL" clId="{EC4E33A1-3A40-4A99-A232-1E6EEAE786EA}" dt="2023-08-02T20:17:29.189" v="34933"/>
          <ac:spMkLst>
            <pc:docMk/>
            <pc:sldMk cId="1336352168" sldId="277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17:22.480" v="34653"/>
          <ac:spMkLst>
            <pc:docMk/>
            <pc:sldMk cId="1336352168" sldId="277"/>
            <ac:spMk id="49" creationId="{B1FB22D5-F764-3AAC-B3DE-343E6B25832F}"/>
          </ac:spMkLst>
        </pc:spChg>
        <pc:spChg chg="add del mod modVis">
          <ac:chgData name="Joelle Brehm" userId="a518f54c-6985-42c0-8041-2bb16a414839" providerId="ADAL" clId="{EC4E33A1-3A40-4A99-A232-1E6EEAE786EA}" dt="2023-08-02T20:17:25.170" v="34859"/>
          <ac:spMkLst>
            <pc:docMk/>
            <pc:sldMk cId="1336352168" sldId="277"/>
            <ac:spMk id="51" creationId="{618997D0-EB65-5370-30F1-0822CEB25182}"/>
          </ac:spMkLst>
        </pc:spChg>
        <pc:spChg chg="add del mod modVis">
          <ac:chgData name="Joelle Brehm" userId="a518f54c-6985-42c0-8041-2bb16a414839" providerId="ADAL" clId="{EC4E33A1-3A40-4A99-A232-1E6EEAE786EA}" dt="2023-08-02T20:17:29.288" v="35014"/>
          <ac:spMkLst>
            <pc:docMk/>
            <pc:sldMk cId="1336352168" sldId="277"/>
            <ac:spMk id="54" creationId="{4018ABFA-8A30-5AA5-71D6-0E2895369D56}"/>
          </ac:spMkLst>
        </pc:spChg>
        <pc:spChg chg="add del mod modVis">
          <ac:chgData name="Joelle Brehm" userId="a518f54c-6985-42c0-8041-2bb16a414839" providerId="ADAL" clId="{EC4E33A1-3A40-4A99-A232-1E6EEAE786EA}" dt="2023-08-02T20:17:38.882" v="35243"/>
          <ac:spMkLst>
            <pc:docMk/>
            <pc:sldMk cId="1336352168" sldId="277"/>
            <ac:spMk id="56" creationId="{DF4AFBED-CE58-38B4-BA8E-D25728107B28}"/>
          </ac:spMkLst>
        </pc:spChg>
        <pc:spChg chg="mod ord">
          <ac:chgData name="Joelle Brehm" userId="a518f54c-6985-42c0-8041-2bb16a414839" providerId="ADAL" clId="{EC4E33A1-3A40-4A99-A232-1E6EEAE786EA}" dt="2023-08-02T20:17:42.808" v="35338"/>
          <ac:spMkLst>
            <pc:docMk/>
            <pc:sldMk cId="1336352168" sldId="277"/>
            <ac:spMk id="58" creationId="{3378A65B-8FF4-4781-8563-6C0C79CE7E62}"/>
          </ac:spMkLst>
        </pc:spChg>
        <pc:spChg chg="del mod">
          <ac:chgData name="Joelle Brehm" userId="a518f54c-6985-42c0-8041-2bb16a414839" providerId="ADAL" clId="{EC4E33A1-3A40-4A99-A232-1E6EEAE786EA}" dt="2023-08-02T20:17:24.931" v="34656"/>
          <ac:spMkLst>
            <pc:docMk/>
            <pc:sldMk cId="1336352168" sldId="277"/>
            <ac:spMk id="69" creationId="{B717CD87-D6E9-303E-A9A2-A77F88A22D68}"/>
          </ac:spMkLst>
        </pc:spChg>
        <pc:spChg chg="mod ord">
          <ac:chgData name="Joelle Brehm" userId="a518f54c-6985-42c0-8041-2bb16a414839" providerId="ADAL" clId="{EC4E33A1-3A40-4A99-A232-1E6EEAE786EA}" dt="2023-08-02T20:17:42.800" v="35317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17:42.800" v="35319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17:42.801" v="35321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17:42.802" v="35323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17:42.802" v="35325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17:42.803" v="35327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17:42.805" v="35332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7:42.805" v="35331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7:42.806" v="35333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7:42.806" v="35334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17:42.804" v="35330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17:42.829" v="35344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7:42.782" v="35279"/>
          <ac:graphicFrameMkLst>
            <pc:docMk/>
            <pc:sldMk cId="1336352168" sldId="277"/>
            <ac:graphicFrameMk id="8" creationId="{8BBE83B5-2B8B-D03A-E7E6-A94615CAC4BE}"/>
          </ac:graphicFrameMkLst>
        </pc:graphicFrameChg>
        <pc:graphicFrameChg chg="del">
          <ac:chgData name="Joelle Brehm" userId="a518f54c-6985-42c0-8041-2bb16a414839" providerId="ADAL" clId="{EC4E33A1-3A40-4A99-A232-1E6EEAE786EA}" dt="2023-08-02T20:16:30.132" v="33498"/>
          <ac:graphicFrameMkLst>
            <pc:docMk/>
            <pc:sldMk cId="1336352168" sldId="277"/>
            <ac:graphicFrameMk id="9" creationId="{5D920B63-4A46-E8B3-9DE4-B9123B423670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7:38.790" v="35164"/>
          <ac:graphicFrameMkLst>
            <pc:docMk/>
            <pc:sldMk cId="1336352168" sldId="277"/>
            <ac:graphicFrameMk id="42" creationId="{6FE63D44-7812-6CD7-6A1F-3F1714E7A746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7:22.365" v="34549"/>
          <ac:graphicFrameMkLst>
            <pc:docMk/>
            <pc:sldMk cId="1336352168" sldId="277"/>
            <ac:graphicFrameMk id="48" creationId="{226DFF0A-8942-5930-7ECE-E749DB76825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7:25.084" v="34778"/>
          <ac:graphicFrameMkLst>
            <pc:docMk/>
            <pc:sldMk cId="1336352168" sldId="277"/>
            <ac:graphicFrameMk id="50" creationId="{7B1AAC8C-AEFA-6A98-3CEF-B512EE75A51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7:29.191" v="34935"/>
          <ac:graphicFrameMkLst>
            <pc:docMk/>
            <pc:sldMk cId="1336352168" sldId="277"/>
            <ac:graphicFrameMk id="52" creationId="{F4B080C1-914D-1A1B-A5F7-F1149567C034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7:21.304" v="34352"/>
          <ac:graphicFrameMkLst>
            <pc:docMk/>
            <pc:sldMk cId="1336352168" sldId="277"/>
            <ac:graphicFrameMk id="53" creationId="{C41D399E-B561-51E8-D98A-1685903C834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7:42.794" v="35303"/>
          <ac:graphicFrameMkLst>
            <pc:docMk/>
            <pc:sldMk cId="1336352168" sldId="277"/>
            <ac:graphicFrameMk id="55" creationId="{6CAC425F-8107-6258-C8BF-CDBBF2EF6CC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7:42.727" v="35265"/>
          <ac:graphicFrameMkLst>
            <pc:docMk/>
            <pc:sldMk cId="1336352168" sldId="277"/>
            <ac:graphicFrameMk id="57" creationId="{FF7B2CCD-A7FC-A0D6-661F-0A67445B714E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7:42.803" v="35329"/>
          <ac:graphicFrameMkLst>
            <pc:docMk/>
            <pc:sldMk cId="1336352168" sldId="277"/>
            <ac:graphicFrameMk id="59" creationId="{A731FAB2-1414-9725-70B4-1933D646B4B0}"/>
          </ac:graphicFrameMkLst>
        </pc:graphicFrameChg>
        <pc:picChg chg="del mod ord">
          <ac:chgData name="Joelle Brehm" userId="a518f54c-6985-42c0-8041-2bb16a414839" providerId="ADAL" clId="{EC4E33A1-3A40-4A99-A232-1E6EEAE786EA}" dt="2023-08-02T20:17:05.037" v="33672" actId="478"/>
          <ac:picMkLst>
            <pc:docMk/>
            <pc:sldMk cId="1336352168" sldId="277"/>
            <ac:picMk id="10" creationId="{3CB770A8-A550-68A7-FDD1-FBCBC8E75834}"/>
          </ac:picMkLst>
        </pc:picChg>
        <pc:picChg chg="add mod ord">
          <ac:chgData name="Joelle Brehm" userId="a518f54c-6985-42c0-8041-2bb16a414839" providerId="ADAL" clId="{EC4E33A1-3A40-4A99-A232-1E6EEAE786EA}" dt="2023-08-02T20:17:42.780" v="35273"/>
          <ac:picMkLst>
            <pc:docMk/>
            <pc:sldMk cId="1336352168" sldId="277"/>
            <ac:picMk id="32" creationId="{FA02CEB1-7B70-94A2-2F89-A976A59C74D0}"/>
          </ac:picMkLst>
        </pc:picChg>
        <pc:picChg chg="mod ord">
          <ac:chgData name="Joelle Brehm" userId="a518f54c-6985-42c0-8041-2bb16a414839" providerId="ADAL" clId="{EC4E33A1-3A40-4A99-A232-1E6EEAE786EA}" dt="2023-08-02T20:17:42.807" v="35336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17:42.781" v="35277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19:14.512" v="37274"/>
        <pc:sldMkLst>
          <pc:docMk/>
          <pc:sldMk cId="1379386497" sldId="278"/>
        </pc:sldMkLst>
        <pc:spChg chg="mod ord">
          <ac:chgData name="Joelle Brehm" userId="a518f54c-6985-42c0-8041-2bb16a414839" providerId="ADAL" clId="{EC4E33A1-3A40-4A99-A232-1E6EEAE786EA}" dt="2023-08-02T20:19:14.500" v="37268"/>
          <ac:spMkLst>
            <pc:docMk/>
            <pc:sldMk cId="1379386497" sldId="278"/>
            <ac:spMk id="2" creationId="{F45C2660-F634-4943-BD78-279946171050}"/>
          </ac:spMkLst>
        </pc:spChg>
        <pc:spChg chg="add del mod ord">
          <ac:chgData name="Joelle Brehm" userId="a518f54c-6985-42c0-8041-2bb16a414839" providerId="ADAL" clId="{EC4E33A1-3A40-4A99-A232-1E6EEAE786EA}" dt="2023-08-02T20:18:38.479" v="35697" actId="478"/>
          <ac:spMkLst>
            <pc:docMk/>
            <pc:sldMk cId="1379386497" sldId="278"/>
            <ac:spMk id="3" creationId="{822153F8-1E37-FEF1-7FDD-AC87434DAF43}"/>
          </ac:spMkLst>
        </pc:spChg>
        <pc:spChg chg="add del mod modVis">
          <ac:chgData name="Joelle Brehm" userId="a518f54c-6985-42c0-8041-2bb16a414839" providerId="ADAL" clId="{EC4E33A1-3A40-4A99-A232-1E6EEAE786EA}" dt="2023-08-02T20:18:11.143" v="35604"/>
          <ac:spMkLst>
            <pc:docMk/>
            <pc:sldMk cId="1379386497" sldId="278"/>
            <ac:spMk id="5" creationId="{7ED211AB-6886-0DB1-7457-B7987706485C}"/>
          </ac:spMkLst>
        </pc:spChg>
        <pc:spChg chg="mod ord">
          <ac:chgData name="Joelle Brehm" userId="a518f54c-6985-42c0-8041-2bb16a414839" providerId="ADAL" clId="{EC4E33A1-3A40-4A99-A232-1E6EEAE786EA}" dt="2023-08-02T20:19:14.483" v="37203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19:14.485" v="37209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19:14.487" v="37215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19:14.485" v="37210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19:14.487" v="37213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19:14.486" v="37212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19:14.487" v="37216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19:14.485" v="37211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19:14.484" v="37208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19:14.487" v="37217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19:14.487" v="37214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19:14.488" v="37218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19:14.488" v="37219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19:14.488" v="37221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19:14.489" v="37222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19:14.489" v="37223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19:14.489" v="37224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19:14.490" v="37227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19:14.490" v="37225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19:14.490" v="37226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19:14.491" v="37229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19:14.492" v="37236"/>
          <ac:spMkLst>
            <pc:docMk/>
            <pc:sldMk cId="1379386497" sldId="278"/>
            <ac:spMk id="31" creationId="{761920EE-DAF2-B98F-C8B3-EF7A215140D4}"/>
          </ac:spMkLst>
        </pc:spChg>
        <pc:spChg chg="mod">
          <ac:chgData name="Joelle Brehm" userId="a518f54c-6985-42c0-8041-2bb16a414839" providerId="ADAL" clId="{EC4E33A1-3A40-4A99-A232-1E6EEAE786EA}" dt="2023-08-02T20:19:14.493" v="37239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EC4E33A1-3A40-4A99-A232-1E6EEAE786EA}" dt="2023-08-02T20:19:14.491" v="37232"/>
          <ac:spMkLst>
            <pc:docMk/>
            <pc:sldMk cId="1379386497" sldId="278"/>
            <ac:spMk id="33" creationId="{EE1A50AB-3C6E-8AC0-42BD-B22810C4182F}"/>
          </ac:spMkLst>
        </pc:spChg>
        <pc:spChg chg="mod">
          <ac:chgData name="Joelle Brehm" userId="a518f54c-6985-42c0-8041-2bb16a414839" providerId="ADAL" clId="{EC4E33A1-3A40-4A99-A232-1E6EEAE786EA}" dt="2023-08-02T20:19:14.492" v="37234"/>
          <ac:spMkLst>
            <pc:docMk/>
            <pc:sldMk cId="1379386497" sldId="278"/>
            <ac:spMk id="34" creationId="{0B03BBFD-783A-B231-2FA9-DA2AD304A2F4}"/>
          </ac:spMkLst>
        </pc:spChg>
        <pc:spChg chg="mod">
          <ac:chgData name="Joelle Brehm" userId="a518f54c-6985-42c0-8041-2bb16a414839" providerId="ADAL" clId="{EC4E33A1-3A40-4A99-A232-1E6EEAE786EA}" dt="2023-08-02T20:19:14.492" v="37233"/>
          <ac:spMkLst>
            <pc:docMk/>
            <pc:sldMk cId="1379386497" sldId="278"/>
            <ac:spMk id="35" creationId="{F2CF5D67-71BE-8A59-E229-76C2662CAC06}"/>
          </ac:spMkLst>
        </pc:spChg>
        <pc:spChg chg="mod">
          <ac:chgData name="Joelle Brehm" userId="a518f54c-6985-42c0-8041-2bb16a414839" providerId="ADAL" clId="{EC4E33A1-3A40-4A99-A232-1E6EEAE786EA}" dt="2023-08-02T20:19:14.493" v="37238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EC4E33A1-3A40-4A99-A232-1E6EEAE786EA}" dt="2023-08-02T20:19:14.498" v="37260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EC4E33A1-3A40-4A99-A232-1E6EEAE786EA}" dt="2023-08-02T20:19:14.499" v="37262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EC4E33A1-3A40-4A99-A232-1E6EEAE786EA}" dt="2023-08-02T20:19:14.493" v="37237"/>
          <ac:spMkLst>
            <pc:docMk/>
            <pc:sldMk cId="1379386497" sldId="278"/>
            <ac:spMk id="40" creationId="{19EAC242-0641-3DCA-CBDC-E602B8F0CB05}"/>
          </ac:spMkLst>
        </pc:spChg>
        <pc:spChg chg="add del mod modVis">
          <ac:chgData name="Joelle Brehm" userId="a518f54c-6985-42c0-8041-2bb16a414839" providerId="ADAL" clId="{EC4E33A1-3A40-4A99-A232-1E6EEAE786EA}" dt="2023-08-02T20:18:54.447" v="35952"/>
          <ac:spMkLst>
            <pc:docMk/>
            <pc:sldMk cId="1379386497" sldId="278"/>
            <ac:spMk id="41" creationId="{A558790C-748B-B098-163A-B3B2A4C25424}"/>
          </ac:spMkLst>
        </pc:spChg>
        <pc:spChg chg="mod">
          <ac:chgData name="Joelle Brehm" userId="a518f54c-6985-42c0-8041-2bb16a414839" providerId="ADAL" clId="{EC4E33A1-3A40-4A99-A232-1E6EEAE786EA}" dt="2023-08-02T20:19:14.494" v="37242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EC4E33A1-3A40-4A99-A232-1E6EEAE786EA}" dt="2023-08-02T20:19:14.494" v="37240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EC4E33A1-3A40-4A99-A232-1E6EEAE786EA}" dt="2023-08-02T20:19:14.492" v="37235"/>
          <ac:spMkLst>
            <pc:docMk/>
            <pc:sldMk cId="1379386497" sldId="278"/>
            <ac:spMk id="46" creationId="{86BD7409-404E-F355-254D-BE919727871E}"/>
          </ac:spMkLst>
        </pc:spChg>
        <pc:spChg chg="add mod replST">
          <ac:chgData name="Joelle Brehm" userId="a518f54c-6985-42c0-8041-2bb16a414839" providerId="ADAL" clId="{EC4E33A1-3A40-4A99-A232-1E6EEAE786EA}" dt="2023-08-02T20:19:14.494" v="37243"/>
          <ac:spMkLst>
            <pc:docMk/>
            <pc:sldMk cId="1379386497" sldId="278"/>
            <ac:spMk id="47" creationId="{6057FFE7-9F54-EBDD-8215-FE17C631267E}"/>
          </ac:spMkLst>
        </pc:spChg>
        <pc:spChg chg="add del mod modVis">
          <ac:chgData name="Joelle Brehm" userId="a518f54c-6985-42c0-8041-2bb16a414839" providerId="ADAL" clId="{EC4E33A1-3A40-4A99-A232-1E6EEAE786EA}" dt="2023-08-02T20:19:01.804" v="36579"/>
          <ac:spMkLst>
            <pc:docMk/>
            <pc:sldMk cId="1379386497" sldId="278"/>
            <ac:spMk id="48" creationId="{EDEDFBBD-26D6-9013-0C6E-434441C1FFC7}"/>
          </ac:spMkLst>
        </pc:spChg>
        <pc:spChg chg="add del mod ord replST">
          <ac:chgData name="Joelle Brehm" userId="a518f54c-6985-42c0-8041-2bb16a414839" providerId="ADAL" clId="{EC4E33A1-3A40-4A99-A232-1E6EEAE786EA}" dt="2023-08-02T20:19:11.172" v="37045"/>
          <ac:spMkLst>
            <pc:docMk/>
            <pc:sldMk cId="1379386497" sldId="278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19:02.966" v="36779"/>
          <ac:spMkLst>
            <pc:docMk/>
            <pc:sldMk cId="1379386497" sldId="278"/>
            <ac:spMk id="51" creationId="{BF0FFEAC-0285-920D-CA59-C8631F0EC770}"/>
          </ac:spMkLst>
        </pc:spChg>
        <pc:spChg chg="add del mod modVis">
          <ac:chgData name="Joelle Brehm" userId="a518f54c-6985-42c0-8041-2bb16a414839" providerId="ADAL" clId="{EC4E33A1-3A40-4A99-A232-1E6EEAE786EA}" dt="2023-08-02T20:19:05.247" v="36976"/>
          <ac:spMkLst>
            <pc:docMk/>
            <pc:sldMk cId="1379386497" sldId="278"/>
            <ac:spMk id="53" creationId="{C68C0815-7D7A-6F2B-3CE0-8F31728A2D21}"/>
          </ac:spMkLst>
        </pc:spChg>
        <pc:spChg chg="add del mod modVis">
          <ac:chgData name="Joelle Brehm" userId="a518f54c-6985-42c0-8041-2bb16a414839" providerId="ADAL" clId="{EC4E33A1-3A40-4A99-A232-1E6EEAE786EA}" dt="2023-08-02T20:19:11.222" v="37126"/>
          <ac:spMkLst>
            <pc:docMk/>
            <pc:sldMk cId="1379386497" sldId="278"/>
            <ac:spMk id="56" creationId="{2CB9FDC2-9C6D-2FB1-3640-BB6954F77CC6}"/>
          </ac:spMkLst>
        </pc:spChg>
        <pc:spChg chg="mod ord">
          <ac:chgData name="Joelle Brehm" userId="a518f54c-6985-42c0-8041-2bb16a414839" providerId="ADAL" clId="{EC4E33A1-3A40-4A99-A232-1E6EEAE786EA}" dt="2023-08-02T20:19:14.499" v="37266"/>
          <ac:spMkLst>
            <pc:docMk/>
            <pc:sldMk cId="1379386497" sldId="278"/>
            <ac:spMk id="58" creationId="{78B81F80-FD88-43AD-B1EA-9D49D321CFA2}"/>
          </ac:spMkLst>
        </pc:spChg>
        <pc:spChg chg="add del mod modVis">
          <ac:chgData name="Joelle Brehm" userId="a518f54c-6985-42c0-8041-2bb16a414839" providerId="ADAL" clId="{EC4E33A1-3A40-4A99-A232-1E6EEAE786EA}" dt="2023-08-02T20:19:14.501" v="37272"/>
          <ac:spMkLst>
            <pc:docMk/>
            <pc:sldMk cId="1379386497" sldId="278"/>
            <ac:spMk id="59" creationId="{864C5A6B-2ADE-7C2A-B266-BD54829F17D2}"/>
          </ac:spMkLst>
        </pc:spChg>
        <pc:spChg chg="mod">
          <ac:chgData name="Joelle Brehm" userId="a518f54c-6985-42c0-8041-2bb16a414839" providerId="ADAL" clId="{EC4E33A1-3A40-4A99-A232-1E6EEAE786EA}" dt="2023-08-02T20:19:14.494" v="37241"/>
          <ac:spMkLst>
            <pc:docMk/>
            <pc:sldMk cId="1379386497" sldId="278"/>
            <ac:spMk id="60" creationId="{2B15A064-F539-2DBC-4751-EC9AD27E414F}"/>
          </ac:spMkLst>
        </pc:spChg>
        <pc:spChg chg="del mod">
          <ac:chgData name="Joelle Brehm" userId="a518f54c-6985-42c0-8041-2bb16a414839" providerId="ADAL" clId="{EC4E33A1-3A40-4A99-A232-1E6EEAE786EA}" dt="2023-08-02T20:19:04.903" v="36782"/>
          <ac:spMkLst>
            <pc:docMk/>
            <pc:sldMk cId="1379386497" sldId="278"/>
            <ac:spMk id="71" creationId="{14F28137-9E3D-2F2F-FB1A-431750CB3ADD}"/>
          </ac:spMkLst>
        </pc:spChg>
        <pc:spChg chg="mod ord">
          <ac:chgData name="Joelle Brehm" userId="a518f54c-6985-42c0-8041-2bb16a414839" providerId="ADAL" clId="{EC4E33A1-3A40-4A99-A232-1E6EEAE786EA}" dt="2023-08-02T20:19:14.495" v="37245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19:14.495" v="37247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19:14.496" v="37249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19:14.496" v="37251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19:14.497" v="37253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19:14.497" v="37255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19:14.498" v="37258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9:14.498" v="37259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19:14.498" v="37261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EC4E33A1-3A40-4A99-A232-1E6EEAE786EA}" dt="2023-08-02T20:19:14.512" v="37274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9:14.484" v="37207"/>
          <ac:graphicFrameMkLst>
            <pc:docMk/>
            <pc:sldMk cId="1379386497" sldId="278"/>
            <ac:graphicFrameMk id="8" creationId="{AF1702EC-DC79-308B-A7E7-C7DC880A177B}"/>
          </ac:graphicFrameMkLst>
        </pc:graphicFrameChg>
        <pc:graphicFrameChg chg="del">
          <ac:chgData name="Joelle Brehm" userId="a518f54c-6985-42c0-8041-2bb16a414839" providerId="ADAL" clId="{EC4E33A1-3A40-4A99-A232-1E6EEAE786EA}" dt="2023-08-02T20:18:11.018" v="35521"/>
          <ac:graphicFrameMkLst>
            <pc:docMk/>
            <pc:sldMk cId="1379386497" sldId="278"/>
            <ac:graphicFrameMk id="9" creationId="{5383C09B-FE2E-F3A0-614D-C89E44F72E0C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8:54.383" v="35873"/>
          <ac:graphicFrameMkLst>
            <pc:docMk/>
            <pc:sldMk cId="1379386497" sldId="278"/>
            <ac:graphicFrameMk id="42" creationId="{3AE4BF77-85D6-7987-22C9-61E8D4F33829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9:14.497" v="37257"/>
          <ac:graphicFrameMkLst>
            <pc:docMk/>
            <pc:sldMk cId="1379386497" sldId="278"/>
            <ac:graphicFrameMk id="45" creationId="{83CFA345-9E2E-2D42-9661-67CDA95A2E5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9:02.824" v="36679"/>
          <ac:graphicFrameMkLst>
            <pc:docMk/>
            <pc:sldMk cId="1379386497" sldId="278"/>
            <ac:graphicFrameMk id="50" creationId="{A4C71CB5-C9B1-82A5-085A-52859B90242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9:05.132" v="36895"/>
          <ac:graphicFrameMkLst>
            <pc:docMk/>
            <pc:sldMk cId="1379386497" sldId="278"/>
            <ac:graphicFrameMk id="52" creationId="{EDF5C5D6-F24D-A01C-D336-725E2EC2F90A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19:01.707" v="36493"/>
          <ac:graphicFrameMkLst>
            <pc:docMk/>
            <pc:sldMk cId="1379386497" sldId="278"/>
            <ac:graphicFrameMk id="54" creationId="{AE659676-36B3-8E08-12C8-9C5ACF8E8D3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9:11.173" v="37047"/>
          <ac:graphicFrameMkLst>
            <pc:docMk/>
            <pc:sldMk cId="1379386497" sldId="278"/>
            <ac:graphicFrameMk id="55" creationId="{64EBA9BA-73FC-2330-B0E7-35FAC9A932BA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19:14.459" v="37193"/>
          <ac:graphicFrameMkLst>
            <pc:docMk/>
            <pc:sldMk cId="1379386497" sldId="278"/>
            <ac:graphicFrameMk id="57" creationId="{F166169F-EAE3-F636-71A1-2E2467726EB8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19:14.491" v="37231"/>
          <ac:graphicFrameMkLst>
            <pc:docMk/>
            <pc:sldMk cId="1379386497" sldId="278"/>
            <ac:graphicFrameMk id="61" creationId="{F7D0A406-EB5F-C471-2022-3E3D095F16BB}"/>
          </ac:graphicFrameMkLst>
        </pc:graphicFrameChg>
        <pc:picChg chg="del mod ord">
          <ac:chgData name="Joelle Brehm" userId="a518f54c-6985-42c0-8041-2bb16a414839" providerId="ADAL" clId="{EC4E33A1-3A40-4A99-A232-1E6EEAE786EA}" dt="2023-08-02T20:18:33.890" v="35694" actId="478"/>
          <ac:picMkLst>
            <pc:docMk/>
            <pc:sldMk cId="1379386497" sldId="278"/>
            <ac:picMk id="10" creationId="{FAFF1FCD-83E4-78E6-9B22-8140E1A2E0ED}"/>
          </ac:picMkLst>
        </pc:picChg>
        <pc:picChg chg="add mod ord">
          <ac:chgData name="Joelle Brehm" userId="a518f54c-6985-42c0-8041-2bb16a414839" providerId="ADAL" clId="{EC4E33A1-3A40-4A99-A232-1E6EEAE786EA}" dt="2023-08-02T20:19:14.483" v="37201"/>
          <ac:picMkLst>
            <pc:docMk/>
            <pc:sldMk cId="1379386497" sldId="278"/>
            <ac:picMk id="36" creationId="{7EC613D1-A53B-CC21-9976-730F1891FA96}"/>
          </ac:picMkLst>
        </pc:picChg>
        <pc:picChg chg="mod ord">
          <ac:chgData name="Joelle Brehm" userId="a518f54c-6985-42c0-8041-2bb16a414839" providerId="ADAL" clId="{EC4E33A1-3A40-4A99-A232-1E6EEAE786EA}" dt="2023-08-02T20:19:14.499" v="37264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19:14.484" v="37205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20:53.039" v="39150"/>
        <pc:sldMkLst>
          <pc:docMk/>
          <pc:sldMk cId="1917659360" sldId="279"/>
        </pc:sldMkLst>
        <pc:spChg chg="add del mod ord">
          <ac:chgData name="Joelle Brehm" userId="a518f54c-6985-42c0-8041-2bb16a414839" providerId="ADAL" clId="{EC4E33A1-3A40-4A99-A232-1E6EEAE786EA}" dt="2023-08-02T20:20:26.846" v="37638" actId="478"/>
          <ac:spMkLst>
            <pc:docMk/>
            <pc:sldMk cId="1917659360" sldId="279"/>
            <ac:spMk id="2" creationId="{CAAB8B5B-A856-CA28-4186-1AE92383D672}"/>
          </ac:spMkLst>
        </pc:spChg>
        <pc:spChg chg="mod ord">
          <ac:chgData name="Joelle Brehm" userId="a518f54c-6985-42c0-8041-2bb16a414839" providerId="ADAL" clId="{EC4E33A1-3A40-4A99-A232-1E6EEAE786EA}" dt="2023-08-02T20:20:53.017" v="39144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EC4E33A1-3A40-4A99-A232-1E6EEAE786EA}" dt="2023-08-02T20:19:54.817" v="37541"/>
          <ac:spMkLst>
            <pc:docMk/>
            <pc:sldMk cId="1917659360" sldId="279"/>
            <ac:spMk id="5" creationId="{A948A219-4F72-6C5F-747F-9E0C4D1217C1}"/>
          </ac:spMkLst>
        </pc:spChg>
        <pc:spChg chg="mod ord">
          <ac:chgData name="Joelle Brehm" userId="a518f54c-6985-42c0-8041-2bb16a414839" providerId="ADAL" clId="{EC4E33A1-3A40-4A99-A232-1E6EEAE786EA}" dt="2023-08-02T20:20:52.982" v="39079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20:53.001" v="39109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EC4E33A1-3A40-4A99-A232-1E6EEAE786EA}" dt="2023-08-02T20:20:52.988" v="39090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20:52.985" v="39085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20:52.987" v="39088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20:52.986" v="39086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20:52.986" v="39087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20:52.985" v="39084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20:52.988" v="39089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20:52.990" v="39092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20:52.991" v="39093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20:52.991" v="39094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20:52.989" v="39091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20:52.992" v="39095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20:52.993" v="39097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20:52.996" v="39100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20:52.994" v="39098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20:52.995" v="39099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20:52.996" v="39101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20:52.997" v="39102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20:52.997" v="39103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20:52.998" v="39105"/>
          <ac:spMkLst>
            <pc:docMk/>
            <pc:sldMk cId="1917659360" sldId="279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20:53.001" v="39110"/>
          <ac:spMkLst>
            <pc:docMk/>
            <pc:sldMk cId="1917659360" sldId="279"/>
            <ac:spMk id="31" creationId="{F093A4C8-6E18-05C7-7E72-289C39311345}"/>
          </ac:spMkLst>
        </pc:spChg>
        <pc:spChg chg="mod">
          <ac:chgData name="Joelle Brehm" userId="a518f54c-6985-42c0-8041-2bb16a414839" providerId="ADAL" clId="{EC4E33A1-3A40-4A99-A232-1E6EEAE786EA}" dt="2023-08-02T20:20:53" v="39108"/>
          <ac:spMkLst>
            <pc:docMk/>
            <pc:sldMk cId="1917659360" sldId="279"/>
            <ac:spMk id="33" creationId="{EF1BE76E-3513-F867-5535-98776D038363}"/>
          </ac:spMkLst>
        </pc:spChg>
        <pc:spChg chg="mod">
          <ac:chgData name="Joelle Brehm" userId="a518f54c-6985-42c0-8041-2bb16a414839" providerId="ADAL" clId="{EC4E33A1-3A40-4A99-A232-1E6EEAE786EA}" dt="2023-08-02T20:20:53.004" v="39113"/>
          <ac:spMkLst>
            <pc:docMk/>
            <pc:sldMk cId="1917659360" sldId="279"/>
            <ac:spMk id="34" creationId="{3E8DCD8F-C1DE-43F0-D54C-AEB157F6432C}"/>
          </ac:spMkLst>
        </pc:spChg>
        <pc:spChg chg="mod">
          <ac:chgData name="Joelle Brehm" userId="a518f54c-6985-42c0-8041-2bb16a414839" providerId="ADAL" clId="{EC4E33A1-3A40-4A99-A232-1E6EEAE786EA}" dt="2023-08-02T20:20:53.005" v="39115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EC4E33A1-3A40-4A99-A232-1E6EEAE786EA}" dt="2023-08-02T20:20:53.004" v="39114"/>
          <ac:spMkLst>
            <pc:docMk/>
            <pc:sldMk cId="1917659360" sldId="279"/>
            <ac:spMk id="36" creationId="{1DD7BBF4-6C80-7EAE-8C4B-809D66ECE570}"/>
          </ac:spMkLst>
        </pc:spChg>
        <pc:spChg chg="mod">
          <ac:chgData name="Joelle Brehm" userId="a518f54c-6985-42c0-8041-2bb16a414839" providerId="ADAL" clId="{EC4E33A1-3A40-4A99-A232-1E6EEAE786EA}" dt="2023-08-02T20:20:53.005" v="39116"/>
          <ac:spMkLst>
            <pc:docMk/>
            <pc:sldMk cId="1917659360" sldId="279"/>
            <ac:spMk id="38" creationId="{F98146E0-0CDE-47DF-A82C-B29BE329AD84}"/>
          </ac:spMkLst>
        </pc:spChg>
        <pc:spChg chg="add del mod modVis">
          <ac:chgData name="Joelle Brehm" userId="a518f54c-6985-42c0-8041-2bb16a414839" providerId="ADAL" clId="{EC4E33A1-3A40-4A99-A232-1E6EEAE786EA}" dt="2023-08-02T20:20:36.944" v="37865"/>
          <ac:spMkLst>
            <pc:docMk/>
            <pc:sldMk cId="1917659360" sldId="279"/>
            <ac:spMk id="39" creationId="{92D0E015-528E-D7E2-7E74-BBB299965BCF}"/>
          </ac:spMkLst>
        </pc:spChg>
        <pc:spChg chg="mod">
          <ac:chgData name="Joelle Brehm" userId="a518f54c-6985-42c0-8041-2bb16a414839" providerId="ADAL" clId="{EC4E33A1-3A40-4A99-A232-1E6EEAE786EA}" dt="2023-08-02T20:20:53.002" v="39112"/>
          <ac:spMkLst>
            <pc:docMk/>
            <pc:sldMk cId="1917659360" sldId="279"/>
            <ac:spMk id="40" creationId="{5B5D62FB-4106-E270-7394-CAB5E92F046A}"/>
          </ac:spMkLst>
        </pc:spChg>
        <pc:spChg chg="add mod replST">
          <ac:chgData name="Joelle Brehm" userId="a518f54c-6985-42c0-8041-2bb16a414839" providerId="ADAL" clId="{EC4E33A1-3A40-4A99-A232-1E6EEAE786EA}" dt="2023-08-02T20:20:53.007" v="39119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EC4E33A1-3A40-4A99-A232-1E6EEAE786EA}" dt="2023-08-02T20:20:53.002" v="39111"/>
          <ac:spMkLst>
            <pc:docMk/>
            <pc:sldMk cId="1917659360" sldId="279"/>
            <ac:spMk id="44" creationId="{6D0C749E-E8C8-88F8-DDE8-851FCBBEB3E2}"/>
          </ac:spMkLst>
        </pc:spChg>
        <pc:spChg chg="add del mod modVis">
          <ac:chgData name="Joelle Brehm" userId="a518f54c-6985-42c0-8041-2bb16a414839" providerId="ADAL" clId="{EC4E33A1-3A40-4A99-A232-1E6EEAE786EA}" dt="2023-08-02T20:20:44.854" v="38582"/>
          <ac:spMkLst>
            <pc:docMk/>
            <pc:sldMk cId="1917659360" sldId="279"/>
            <ac:spMk id="45" creationId="{CF0FFF11-E0C4-01AE-57FD-263AAA7B407A}"/>
          </ac:spMkLst>
        </pc:spChg>
        <pc:spChg chg="mod">
          <ac:chgData name="Joelle Brehm" userId="a518f54c-6985-42c0-8041-2bb16a414839" providerId="ADAL" clId="{EC4E33A1-3A40-4A99-A232-1E6EEAE786EA}" dt="2023-08-02T20:20:53.006" v="39117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EC4E33A1-3A40-4A99-A232-1E6EEAE786EA}" dt="2023-08-02T20:20:53.006" v="39118"/>
          <ac:spMkLst>
            <pc:docMk/>
            <pc:sldMk cId="1917659360" sldId="279"/>
            <ac:spMk id="47" creationId="{698A62C7-0861-3196-719C-E48F5560BE43}"/>
          </ac:spMkLst>
        </pc:spChg>
        <pc:spChg chg="add del mod ord replST">
          <ac:chgData name="Joelle Brehm" userId="a518f54c-6985-42c0-8041-2bb16a414839" providerId="ADAL" clId="{EC4E33A1-3A40-4A99-A232-1E6EEAE786EA}" dt="2023-08-02T20:20:52.938" v="39067"/>
          <ac:spMkLst>
            <pc:docMk/>
            <pc:sldMk cId="1917659360" sldId="279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0:20:46.511" v="38790"/>
          <ac:spMkLst>
            <pc:docMk/>
            <pc:sldMk cId="1917659360" sldId="279"/>
            <ac:spMk id="50" creationId="{F68FD0E3-C6F5-8BDA-8A09-B55ADE83B340}"/>
          </ac:spMkLst>
        </pc:spChg>
        <pc:spChg chg="add del mod modVis">
          <ac:chgData name="Joelle Brehm" userId="a518f54c-6985-42c0-8041-2bb16a414839" providerId="ADAL" clId="{EC4E33A1-3A40-4A99-A232-1E6EEAE786EA}" dt="2023-08-02T20:20:49.203" v="38993"/>
          <ac:spMkLst>
            <pc:docMk/>
            <pc:sldMk cId="1917659360" sldId="279"/>
            <ac:spMk id="52" creationId="{5DA32A43-662A-82FC-DF21-7FD05DCAEB4A}"/>
          </ac:spMkLst>
        </pc:spChg>
        <pc:spChg chg="add del mod modVis">
          <ac:chgData name="Joelle Brehm" userId="a518f54c-6985-42c0-8041-2bb16a414839" providerId="ADAL" clId="{EC4E33A1-3A40-4A99-A232-1E6EEAE786EA}" dt="2023-08-02T20:20:53.020" v="39148"/>
          <ac:spMkLst>
            <pc:docMk/>
            <pc:sldMk cId="1917659360" sldId="279"/>
            <ac:spMk id="54" creationId="{3A50BB61-2206-EE70-C481-956CA267A157}"/>
          </ac:spMkLst>
        </pc:spChg>
        <pc:spChg chg="mod ord">
          <ac:chgData name="Joelle Brehm" userId="a518f54c-6985-42c0-8041-2bb16a414839" providerId="ADAL" clId="{EC4E33A1-3A40-4A99-A232-1E6EEAE786EA}" dt="2023-08-02T20:20:53.016" v="39142"/>
          <ac:spMkLst>
            <pc:docMk/>
            <pc:sldMk cId="1917659360" sldId="279"/>
            <ac:spMk id="58" creationId="{C2B29D16-5A5D-43B3-B972-0B57287E081A}"/>
          </ac:spMkLst>
        </pc:spChg>
        <pc:spChg chg="del mod">
          <ac:chgData name="Joelle Brehm" userId="a518f54c-6985-42c0-8041-2bb16a414839" providerId="ADAL" clId="{EC4E33A1-3A40-4A99-A232-1E6EEAE786EA}" dt="2023-08-02T20:20:48.829" v="38793"/>
          <ac:spMkLst>
            <pc:docMk/>
            <pc:sldMk cId="1917659360" sldId="279"/>
            <ac:spMk id="68" creationId="{172D3C4E-809D-7E4B-644C-D1FADA170FF0}"/>
          </ac:spMkLst>
        </pc:spChg>
        <pc:spChg chg="mod ord">
          <ac:chgData name="Joelle Brehm" userId="a518f54c-6985-42c0-8041-2bb16a414839" providerId="ADAL" clId="{EC4E33A1-3A40-4A99-A232-1E6EEAE786EA}" dt="2023-08-02T20:20:53.007" v="39121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20:53.008" v="39123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20:53.009" v="39125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20:53.009" v="39127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20:53.010" v="39129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20:53.011" v="39131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20:53.012" v="39134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0:53.013" v="39135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0:53.013" v="39136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0:53.014" v="39137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20:53.014" v="39138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20:53.039" v="39150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0:52.984" v="39083"/>
          <ac:graphicFrameMkLst>
            <pc:docMk/>
            <pc:sldMk cId="1917659360" sldId="279"/>
            <ac:graphicFrameMk id="8" creationId="{D6072E66-733B-AE13-BC11-BF77C4BFE1B8}"/>
          </ac:graphicFrameMkLst>
        </pc:graphicFrameChg>
        <pc:graphicFrameChg chg="del">
          <ac:chgData name="Joelle Brehm" userId="a518f54c-6985-42c0-8041-2bb16a414839" providerId="ADAL" clId="{EC4E33A1-3A40-4A99-A232-1E6EEAE786EA}" dt="2023-08-02T20:19:54.715" v="37456"/>
          <ac:graphicFrameMkLst>
            <pc:docMk/>
            <pc:sldMk cId="1917659360" sldId="279"/>
            <ac:graphicFrameMk id="9" creationId="{157E4DE3-5A04-ED68-A4A2-B362480702DC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0:53.012" v="39133"/>
          <ac:graphicFrameMkLst>
            <pc:docMk/>
            <pc:sldMk cId="1917659360" sldId="279"/>
            <ac:graphicFrameMk id="41" creationId="{4649841A-0C70-786F-3D17-8365114F9586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20:36.829" v="37786"/>
          <ac:graphicFrameMkLst>
            <pc:docMk/>
            <pc:sldMk cId="1917659360" sldId="279"/>
            <ac:graphicFrameMk id="43" creationId="{076EE40C-813C-9AAF-B75E-4C1C4329782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0:46.391" v="38688"/>
          <ac:graphicFrameMkLst>
            <pc:docMk/>
            <pc:sldMk cId="1917659360" sldId="279"/>
            <ac:graphicFrameMk id="49" creationId="{36A080E3-3965-0E8F-2AC4-370BAA305CB4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0:49.096" v="38912"/>
          <ac:graphicFrameMkLst>
            <pc:docMk/>
            <pc:sldMk cId="1917659360" sldId="279"/>
            <ac:graphicFrameMk id="51" creationId="{76B8D1A3-D149-C220-D920-971B72181DA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0:52.940" v="39069"/>
          <ac:graphicFrameMkLst>
            <pc:docMk/>
            <pc:sldMk cId="1917659360" sldId="279"/>
            <ac:graphicFrameMk id="53" creationId="{CF1CF68F-AF06-51AE-C5AD-81A82FDB8872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0:52.999" v="39107"/>
          <ac:graphicFrameMkLst>
            <pc:docMk/>
            <pc:sldMk cId="1917659360" sldId="279"/>
            <ac:graphicFrameMk id="55" creationId="{E626DA8D-BF62-8A16-255E-2BEECB8EB731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20:44.750" v="38494"/>
          <ac:graphicFrameMkLst>
            <pc:docMk/>
            <pc:sldMk cId="1917659360" sldId="279"/>
            <ac:graphicFrameMk id="77" creationId="{2993A761-BC9E-549F-FCDE-ABDC4D17DB8C}"/>
          </ac:graphicFrameMkLst>
        </pc:graphicFrameChg>
        <pc:picChg chg="del mod ord">
          <ac:chgData name="Joelle Brehm" userId="a518f54c-6985-42c0-8041-2bb16a414839" providerId="ADAL" clId="{EC4E33A1-3A40-4A99-A232-1E6EEAE786EA}" dt="2023-08-02T20:20:23.994" v="37637" actId="478"/>
          <ac:picMkLst>
            <pc:docMk/>
            <pc:sldMk cId="1917659360" sldId="279"/>
            <ac:picMk id="32" creationId="{D1C6F72B-09DA-8D1D-9076-CF59EAD9C21D}"/>
          </ac:picMkLst>
        </pc:picChg>
        <pc:picChg chg="add mod ord">
          <ac:chgData name="Joelle Brehm" userId="a518f54c-6985-42c0-8041-2bb16a414839" providerId="ADAL" clId="{EC4E33A1-3A40-4A99-A232-1E6EEAE786EA}" dt="2023-08-02T20:20:52.981" v="39077"/>
          <ac:picMkLst>
            <pc:docMk/>
            <pc:sldMk cId="1917659360" sldId="279"/>
            <ac:picMk id="37" creationId="{6B9EB36C-EFF1-C308-3B29-4C0CB4E0C340}"/>
          </ac:picMkLst>
        </pc:picChg>
        <pc:picChg chg="mod ord">
          <ac:chgData name="Joelle Brehm" userId="a518f54c-6985-42c0-8041-2bb16a414839" providerId="ADAL" clId="{EC4E33A1-3A40-4A99-A232-1E6EEAE786EA}" dt="2023-08-02T20:20:53.015" v="39140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20:52.983" v="39081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25:08.497" v="43075"/>
        <pc:sldMkLst>
          <pc:docMk/>
          <pc:sldMk cId="168389892" sldId="281"/>
        </pc:sldMkLst>
        <pc:spChg chg="mod ord">
          <ac:chgData name="Joelle Brehm" userId="a518f54c-6985-42c0-8041-2bb16a414839" providerId="ADAL" clId="{EC4E33A1-3A40-4A99-A232-1E6EEAE786EA}" dt="2023-08-02T20:25:08.463" v="43069"/>
          <ac:spMkLst>
            <pc:docMk/>
            <pc:sldMk cId="168389892" sldId="281"/>
            <ac:spMk id="2" creationId="{113280EF-7092-46F4-B9C0-9ADB445F51A4}"/>
          </ac:spMkLst>
        </pc:spChg>
        <pc:spChg chg="add del mod ord">
          <ac:chgData name="Joelle Brehm" userId="a518f54c-6985-42c0-8041-2bb16a414839" providerId="ADAL" clId="{EC4E33A1-3A40-4A99-A232-1E6EEAE786EA}" dt="2023-08-02T20:24:43.578" v="41949" actId="478"/>
          <ac:spMkLst>
            <pc:docMk/>
            <pc:sldMk cId="168389892" sldId="281"/>
            <ac:spMk id="3" creationId="{30A3B4DE-FBDB-F7D9-AFAA-757A2E84C3A1}"/>
          </ac:spMkLst>
        </pc:spChg>
        <pc:spChg chg="add del mod modVis">
          <ac:chgData name="Joelle Brehm" userId="a518f54c-6985-42c0-8041-2bb16a414839" providerId="ADAL" clId="{EC4E33A1-3A40-4A99-A232-1E6EEAE786EA}" dt="2023-08-02T20:24:13.930" v="41835"/>
          <ac:spMkLst>
            <pc:docMk/>
            <pc:sldMk cId="168389892" sldId="281"/>
            <ac:spMk id="5" creationId="{4D419609-8D45-3600-DC6C-889D4AB20093}"/>
          </ac:spMkLst>
        </pc:spChg>
        <pc:spChg chg="mod ord">
          <ac:chgData name="Joelle Brehm" userId="a518f54c-6985-42c0-8041-2bb16a414839" providerId="ADAL" clId="{EC4E33A1-3A40-4A99-A232-1E6EEAE786EA}" dt="2023-08-02T20:25:08.386" v="42982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25:08.428" v="43028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EC4E33A1-3A40-4A99-A232-1E6EEAE786EA}" dt="2023-08-02T20:25:08.395" v="42994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25:08.391" v="42988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25:08.393" v="42991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25:08.393" v="42990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25:08.394" v="42992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25:08.394" v="42993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25:08.391" v="42987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25:08.395" v="42995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25:08.397" v="42997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25:08.391" v="42989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25:08.398" v="42998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25:08.396" v="42996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25:08.400" v="43000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25:08.406" v="43005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25:08.404" v="43003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25:08.404" v="43004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25:08.409" v="43008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25:08.407" v="43006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25:08.408" v="43007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25:08.411" v="43011"/>
          <ac:spMkLst>
            <pc:docMk/>
            <pc:sldMk cId="168389892" sldId="281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25:08.425" v="43025"/>
          <ac:spMkLst>
            <pc:docMk/>
            <pc:sldMk cId="168389892" sldId="281"/>
            <ac:spMk id="31" creationId="{711541B8-27AE-44A5-8FC9-D12E6804FB92}"/>
          </ac:spMkLst>
        </pc:spChg>
        <pc:spChg chg="mod">
          <ac:chgData name="Joelle Brehm" userId="a518f54c-6985-42c0-8041-2bb16a414839" providerId="ADAL" clId="{EC4E33A1-3A40-4A99-A232-1E6EEAE786EA}" dt="2023-08-02T20:25:08.423" v="43023"/>
          <ac:spMkLst>
            <pc:docMk/>
            <pc:sldMk cId="168389892" sldId="281"/>
            <ac:spMk id="32" creationId="{267D9261-1F00-B849-706B-361467A439F9}"/>
          </ac:spMkLst>
        </pc:spChg>
        <pc:spChg chg="mod">
          <ac:chgData name="Joelle Brehm" userId="a518f54c-6985-42c0-8041-2bb16a414839" providerId="ADAL" clId="{EC4E33A1-3A40-4A99-A232-1E6EEAE786EA}" dt="2023-08-02T20:25:08.433" v="43033"/>
          <ac:spMkLst>
            <pc:docMk/>
            <pc:sldMk cId="168389892" sldId="281"/>
            <ac:spMk id="33" creationId="{B1E9DD7B-A017-14DB-FDC5-572B2A809BD1}"/>
          </ac:spMkLst>
        </pc:spChg>
        <pc:spChg chg="mod">
          <ac:chgData name="Joelle Brehm" userId="a518f54c-6985-42c0-8041-2bb16a414839" providerId="ADAL" clId="{EC4E33A1-3A40-4A99-A232-1E6EEAE786EA}" dt="2023-08-02T20:25:08.427" v="43027"/>
          <ac:spMkLst>
            <pc:docMk/>
            <pc:sldMk cId="168389892" sldId="281"/>
            <ac:spMk id="34" creationId="{A3449709-B02E-77EF-4F6F-B47BC234DA54}"/>
          </ac:spMkLst>
        </pc:spChg>
        <pc:spChg chg="mod">
          <ac:chgData name="Joelle Brehm" userId="a518f54c-6985-42c0-8041-2bb16a414839" providerId="ADAL" clId="{EC4E33A1-3A40-4A99-A232-1E6EEAE786EA}" dt="2023-08-02T20:25:08.426" v="43026"/>
          <ac:spMkLst>
            <pc:docMk/>
            <pc:sldMk cId="168389892" sldId="281"/>
            <ac:spMk id="35" creationId="{0B484CBC-5CE9-D383-6E19-BF1B45083FAC}"/>
          </ac:spMkLst>
        </pc:spChg>
        <pc:spChg chg="mod">
          <ac:chgData name="Joelle Brehm" userId="a518f54c-6985-42c0-8041-2bb16a414839" providerId="ADAL" clId="{EC4E33A1-3A40-4A99-A232-1E6EEAE786EA}" dt="2023-08-02T20:25:08.431" v="43031"/>
          <ac:spMkLst>
            <pc:docMk/>
            <pc:sldMk cId="168389892" sldId="281"/>
            <ac:spMk id="36" creationId="{36968B59-7E4B-5916-DE24-FBEDF12C1E49}"/>
          </ac:spMkLst>
        </pc:spChg>
        <pc:spChg chg="mod ord">
          <ac:chgData name="Joelle Brehm" userId="a518f54c-6985-42c0-8041-2bb16a414839" providerId="ADAL" clId="{EC4E33A1-3A40-4A99-A232-1E6EEAE786EA}" dt="2023-08-02T20:25:08.402" v="43002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0:25:08.429" v="43029"/>
          <ac:spMkLst>
            <pc:docMk/>
            <pc:sldMk cId="168389892" sldId="281"/>
            <ac:spMk id="38" creationId="{33D6C8F4-21B6-9786-940E-4D86B2714801}"/>
          </ac:spMkLst>
        </pc:spChg>
        <pc:spChg chg="mod">
          <ac:chgData name="Joelle Brehm" userId="a518f54c-6985-42c0-8041-2bb16a414839" providerId="ADAL" clId="{EC4E33A1-3A40-4A99-A232-1E6EEAE786EA}" dt="2023-08-02T20:25:08.421" v="43021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EC4E33A1-3A40-4A99-A232-1E6EEAE786EA}" dt="2023-08-02T20:25:08.437" v="43036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EC4E33A1-3A40-4A99-A232-1E6EEAE786EA}" dt="2023-08-02T20:25:08.436" v="43035"/>
          <ac:spMkLst>
            <pc:docMk/>
            <pc:sldMk cId="168389892" sldId="281"/>
            <ac:spMk id="41" creationId="{FDBDB5F4-8253-DAFB-C27E-59BA58987D05}"/>
          </ac:spMkLst>
        </pc:spChg>
        <pc:spChg chg="mod">
          <ac:chgData name="Joelle Brehm" userId="a518f54c-6985-42c0-8041-2bb16a414839" providerId="ADAL" clId="{EC4E33A1-3A40-4A99-A232-1E6EEAE786EA}" dt="2023-08-02T20:25:08.432" v="43032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EC4E33A1-3A40-4A99-A232-1E6EEAE786EA}" dt="2023-08-02T20:25:08.435" v="43034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EC4E33A1-3A40-4A99-A232-1E6EEAE786EA}" dt="2023-08-02T20:25:08.420" v="43019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17" v="43016"/>
          <ac:spMkLst>
            <pc:docMk/>
            <pc:sldMk cId="168389892" sldId="281"/>
            <ac:spMk id="4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20" v="43018"/>
          <ac:spMkLst>
            <pc:docMk/>
            <pc:sldMk cId="168389892" sldId="281"/>
            <ac:spMk id="4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16" v="43015"/>
          <ac:spMkLst>
            <pc:docMk/>
            <pc:sldMk cId="168389892" sldId="281"/>
            <ac:spMk id="4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39" v="43037"/>
          <ac:spMkLst>
            <pc:docMk/>
            <pc:sldMk cId="168389892" sldId="281"/>
            <ac:spMk id="48" creationId="{D7C724F5-3AF0-C1C4-489C-1D5CE45F0FB0}"/>
          </ac:spMkLst>
        </pc:spChg>
        <pc:spChg chg="mod">
          <ac:chgData name="Joelle Brehm" userId="a518f54c-6985-42c0-8041-2bb16a414839" providerId="ADAL" clId="{EC4E33A1-3A40-4A99-A232-1E6EEAE786EA}" dt="2023-08-02T20:25:08.418" v="43017"/>
          <ac:spMkLst>
            <pc:docMk/>
            <pc:sldMk cId="168389892" sldId="281"/>
            <ac:spMk id="5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30" v="43030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EC4E33A1-3A40-4A99-A232-1E6EEAE786EA}" dt="2023-08-02T20:25:08.422" v="43022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EC4E33A1-3A40-4A99-A232-1E6EEAE786EA}" dt="2023-08-02T20:25:08.443" v="43043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EC4E33A1-3A40-4A99-A232-1E6EEAE786EA}" dt="2023-08-02T20:25:08.440" v="43039"/>
          <ac:spMkLst>
            <pc:docMk/>
            <pc:sldMk cId="168389892" sldId="281"/>
            <ac:spMk id="54" creationId="{622603CE-58AD-807F-F76A-AA9426112C20}"/>
          </ac:spMkLst>
        </pc:spChg>
        <pc:spChg chg="mod">
          <ac:chgData name="Joelle Brehm" userId="a518f54c-6985-42c0-8041-2bb16a414839" providerId="ADAL" clId="{EC4E33A1-3A40-4A99-A232-1E6EEAE786EA}" dt="2023-08-02T20:25:08.439" v="43038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EC4E33A1-3A40-4A99-A232-1E6EEAE786EA}" dt="2023-08-02T20:25:08.441" v="43042"/>
          <ac:spMkLst>
            <pc:docMk/>
            <pc:sldMk cId="168389892" sldId="281"/>
            <ac:spMk id="57" creationId="{C5C40907-46F2-01D7-4DFC-21E722FD6F82}"/>
          </ac:spMkLst>
        </pc:spChg>
        <pc:spChg chg="add del mod modVis">
          <ac:chgData name="Joelle Brehm" userId="a518f54c-6985-42c0-8041-2bb16a414839" providerId="ADAL" clId="{EC4E33A1-3A40-4A99-A232-1E6EEAE786EA}" dt="2023-08-02T20:24:53.457" v="42185"/>
          <ac:spMkLst>
            <pc:docMk/>
            <pc:sldMk cId="168389892" sldId="281"/>
            <ac:spMk id="58" creationId="{CF8309A9-480A-FFA4-5E4B-16F44856F47E}"/>
          </ac:spMkLst>
        </pc:spChg>
        <pc:spChg chg="mod">
          <ac:chgData name="Joelle Brehm" userId="a518f54c-6985-42c0-8041-2bb16a414839" providerId="ADAL" clId="{EC4E33A1-3A40-4A99-A232-1E6EEAE786EA}" dt="2023-08-02T20:25:08.444" v="43044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EC4E33A1-3A40-4A99-A232-1E6EEAE786EA}" dt="2023-08-02T20:25:08.441" v="43041"/>
          <ac:spMkLst>
            <pc:docMk/>
            <pc:sldMk cId="168389892" sldId="281"/>
            <ac:spMk id="60" creationId="{E2CCABD6-E3A5-2DEA-E763-1A50AC421FC3}"/>
          </ac:spMkLst>
        </pc:spChg>
        <pc:spChg chg="add mod replST">
          <ac:chgData name="Joelle Brehm" userId="a518f54c-6985-42c0-8041-2bb16a414839" providerId="ADAL" clId="{EC4E33A1-3A40-4A99-A232-1E6EEAE786EA}" dt="2023-08-02T20:25:08.424" v="43024"/>
          <ac:spMkLst>
            <pc:docMk/>
            <pc:sldMk cId="168389892" sldId="281"/>
            <ac:spMk id="62" creationId="{DE7D5BF8-193E-8278-7BAE-2D4FE573EB09}"/>
          </ac:spMkLst>
        </pc:spChg>
        <pc:spChg chg="add del mod modVis">
          <ac:chgData name="Joelle Brehm" userId="a518f54c-6985-42c0-8041-2bb16a414839" providerId="ADAL" clId="{EC4E33A1-3A40-4A99-A232-1E6EEAE786EA}" dt="2023-08-02T20:25:01.912" v="42568"/>
          <ac:spMkLst>
            <pc:docMk/>
            <pc:sldMk cId="168389892" sldId="281"/>
            <ac:spMk id="63" creationId="{0D75D062-E8C8-50B2-F57B-D810409FEEA3}"/>
          </ac:spMkLst>
        </pc:spChg>
        <pc:spChg chg="add mod replST">
          <ac:chgData name="Joelle Brehm" userId="a518f54c-6985-42c0-8041-2bb16a414839" providerId="ADAL" clId="{EC4E33A1-3A40-4A99-A232-1E6EEAE786EA}" dt="2023-08-02T20:25:08.440" v="43040"/>
          <ac:spMkLst>
            <pc:docMk/>
            <pc:sldMk cId="168389892" sldId="281"/>
            <ac:spMk id="67" creationId="{7E34EA90-F698-215B-99E3-B598F96FF491}"/>
          </ac:spMkLst>
        </pc:spChg>
        <pc:spChg chg="add del mod modVis">
          <ac:chgData name="Joelle Brehm" userId="a518f54c-6985-42c0-8041-2bb16a414839" providerId="ADAL" clId="{EC4E33A1-3A40-4A99-A232-1E6EEAE786EA}" dt="2023-08-02T20:25:05.830" v="42812"/>
          <ac:spMkLst>
            <pc:docMk/>
            <pc:sldMk cId="168389892" sldId="281"/>
            <ac:spMk id="68" creationId="{1C226DC2-878A-87AE-19A8-420FEE15F487}"/>
          </ac:spMkLst>
        </pc:spChg>
        <pc:spChg chg="add del mod modVis">
          <ac:chgData name="Joelle Brehm" userId="a518f54c-6985-42c0-8041-2bb16a414839" providerId="ADAL" clId="{EC4E33A1-3A40-4A99-A232-1E6EEAE786EA}" dt="2023-08-02T20:25:08.468" v="43073"/>
          <ac:spMkLst>
            <pc:docMk/>
            <pc:sldMk cId="168389892" sldId="281"/>
            <ac:spMk id="70" creationId="{7658E1B3-6774-EB88-BEDB-7C9FC650118C}"/>
          </ac:spMkLst>
        </pc:spChg>
        <pc:spChg chg="mod">
          <ac:chgData name="Joelle Brehm" userId="a518f54c-6985-42c0-8041-2bb16a414839" providerId="ADAL" clId="{EC4E33A1-3A40-4A99-A232-1E6EEAE786EA}" dt="2023-08-02T20:25:08.409" v="43009"/>
          <ac:spMkLst>
            <pc:docMk/>
            <pc:sldMk cId="168389892" sldId="281"/>
            <ac:spMk id="74" creationId="{1E5392BC-349C-45B4-8F81-52F83DA74F43}"/>
          </ac:spMkLst>
        </pc:spChg>
        <pc:spChg chg="mod ord">
          <ac:chgData name="Joelle Brehm" userId="a518f54c-6985-42c0-8041-2bb16a414839" providerId="ADAL" clId="{EC4E33A1-3A40-4A99-A232-1E6EEAE786EA}" dt="2023-08-02T20:25:08.445" v="43046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25:08.447" v="43048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EC4E33A1-3A40-4A99-A232-1E6EEAE786EA}" dt="2023-08-02T20:25:08.414" v="43014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25:08.448" v="43050"/>
          <ac:spMkLst>
            <pc:docMk/>
            <pc:sldMk cId="168389892" sldId="281"/>
            <ac:spMk id="100" creationId="{8B5667AB-609C-4AEA-83B3-24E395C8F420}"/>
          </ac:spMkLst>
        </pc:spChg>
        <pc:spChg chg="mod">
          <ac:chgData name="Joelle Brehm" userId="a518f54c-6985-42c0-8041-2bb16a414839" providerId="ADAL" clId="{EC4E33A1-3A40-4A99-A232-1E6EEAE786EA}" dt="2023-08-02T20:25:08.421" v="43020"/>
          <ac:spMkLst>
            <pc:docMk/>
            <pc:sldMk cId="168389892" sldId="281"/>
            <ac:spMk id="101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25:08.451" v="43052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25:08.452" v="43054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25:08.453" v="43056"/>
          <ac:spMkLst>
            <pc:docMk/>
            <pc:sldMk cId="168389892" sldId="281"/>
            <ac:spMk id="110" creationId="{76D5A471-E342-4112-9B61-678EA0C3F282}"/>
          </ac:spMkLst>
        </pc:spChg>
        <pc:spChg chg="del mod">
          <ac:chgData name="Joelle Brehm" userId="a518f54c-6985-42c0-8041-2bb16a414839" providerId="ADAL" clId="{EC4E33A1-3A40-4A99-A232-1E6EEAE786EA}" dt="2023-08-02T20:25:08.039" v="42816"/>
          <ac:spMkLst>
            <pc:docMk/>
            <pc:sldMk cId="168389892" sldId="281"/>
            <ac:spMk id="111" creationId="{F322459F-CC51-9478-D518-8430E52F3C72}"/>
          </ac:spMkLst>
        </pc:spChg>
        <pc:spChg chg="del mod">
          <ac:chgData name="Joelle Brehm" userId="a518f54c-6985-42c0-8041-2bb16a414839" providerId="ADAL" clId="{EC4E33A1-3A40-4A99-A232-1E6EEAE786EA}" dt="2023-08-02T20:25:08.038" v="42815"/>
          <ac:spMkLst>
            <pc:docMk/>
            <pc:sldMk cId="168389892" sldId="281"/>
            <ac:spMk id="113" creationId="{8044FD4D-AA73-D843-176B-2B2326E5F341}"/>
          </ac:spMkLst>
        </pc:spChg>
        <pc:spChg chg="mod">
          <ac:chgData name="Joelle Brehm" userId="a518f54c-6985-42c0-8041-2bb16a414839" providerId="ADAL" clId="{EC4E33A1-3A40-4A99-A232-1E6EEAE786EA}" dt="2023-08-02T20:25:08.456" v="43059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57" v="43060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59" v="43062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25:08.459" v="43063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25:08.458" v="43061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25:08.497" v="43075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5:08.389" v="42986"/>
          <ac:graphicFrameMkLst>
            <pc:docMk/>
            <pc:sldMk cId="168389892" sldId="281"/>
            <ac:graphicFrameMk id="9" creationId="{997E625F-CFF6-9FDC-49ED-450728190A0D}"/>
          </ac:graphicFrameMkLst>
        </pc:graphicFrameChg>
        <pc:graphicFrameChg chg="del">
          <ac:chgData name="Joelle Brehm" userId="a518f54c-6985-42c0-8041-2bb16a414839" providerId="ADAL" clId="{EC4E33A1-3A40-4A99-A232-1E6EEAE786EA}" dt="2023-08-02T20:24:13.764" v="41726"/>
          <ac:graphicFrameMkLst>
            <pc:docMk/>
            <pc:sldMk cId="168389892" sldId="281"/>
            <ac:graphicFrameMk id="49" creationId="{759D36F9-39AC-F2F2-5DF0-FE1CFE18DA8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5:08.454" v="43058"/>
          <ac:graphicFrameMkLst>
            <pc:docMk/>
            <pc:sldMk cId="168389892" sldId="281"/>
            <ac:graphicFrameMk id="61" creationId="{A35CE645-D8E7-8225-3778-84E3213C281A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25:01.804" v="42466"/>
          <ac:graphicFrameMkLst>
            <pc:docMk/>
            <pc:sldMk cId="168389892" sldId="281"/>
            <ac:graphicFrameMk id="64" creationId="{430E6631-2918-7204-979B-DF552564830E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5:05.690" v="42709"/>
          <ac:graphicFrameMkLst>
            <pc:docMk/>
            <pc:sldMk cId="168389892" sldId="281"/>
            <ac:graphicFrameMk id="65" creationId="{6EA91872-365F-C223-EC84-126B3263CABC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24:53.342" v="42084"/>
          <ac:graphicFrameMkLst>
            <pc:docMk/>
            <pc:sldMk cId="168389892" sldId="281"/>
            <ac:graphicFrameMk id="66" creationId="{7F4ED86A-B052-556F-075C-10108AFB494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25:08.314" v="42972"/>
          <ac:graphicFrameMkLst>
            <pc:docMk/>
            <pc:sldMk cId="168389892" sldId="281"/>
            <ac:graphicFrameMk id="69" creationId="{63718E86-3657-E1CC-3388-969B8C31B654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25:08.413" v="43013"/>
          <ac:graphicFrameMkLst>
            <pc:docMk/>
            <pc:sldMk cId="168389892" sldId="281"/>
            <ac:graphicFrameMk id="71" creationId="{12BA7164-2EC0-CD87-04DB-A9B7D75DB26C}"/>
          </ac:graphicFrameMkLst>
        </pc:graphicFrameChg>
        <pc:picChg chg="del mod ord">
          <ac:chgData name="Joelle Brehm" userId="a518f54c-6985-42c0-8041-2bb16a414839" providerId="ADAL" clId="{EC4E33A1-3A40-4A99-A232-1E6EEAE786EA}" dt="2023-08-02T20:24:36.995" v="41944" actId="478"/>
          <ac:picMkLst>
            <pc:docMk/>
            <pc:sldMk cId="168389892" sldId="281"/>
            <ac:picMk id="8" creationId="{537E4840-97AF-6CAA-A87A-0723911D9AF0}"/>
          </ac:picMkLst>
        </pc:picChg>
        <pc:picChg chg="add mod ord">
          <ac:chgData name="Joelle Brehm" userId="a518f54c-6985-42c0-8041-2bb16a414839" providerId="ADAL" clId="{EC4E33A1-3A40-4A99-A232-1E6EEAE786EA}" dt="2023-08-02T20:25:08.385" v="42980"/>
          <ac:picMkLst>
            <pc:docMk/>
            <pc:sldMk cId="168389892" sldId="281"/>
            <ac:picMk id="55" creationId="{C6746876-6946-BBBF-AE2C-B7F9312CA023}"/>
          </ac:picMkLst>
        </pc:picChg>
        <pc:picChg chg="mod ord">
          <ac:chgData name="Joelle Brehm" userId="a518f54c-6985-42c0-8041-2bb16a414839" providerId="ADAL" clId="{EC4E33A1-3A40-4A99-A232-1E6EEAE786EA}" dt="2023-08-02T20:25:08.461" v="43067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EC4E33A1-3A40-4A99-A232-1E6EEAE786EA}" dt="2023-08-02T20:25:08.460" v="43065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25:08.388" v="42984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51:34.437" v="44770"/>
        <pc:sldMkLst>
          <pc:docMk/>
          <pc:sldMk cId="3564961532" sldId="282"/>
        </pc:sldMkLst>
        <pc:spChg chg="mod ord">
          <ac:chgData name="Joelle Brehm" userId="a518f54c-6985-42c0-8041-2bb16a414839" providerId="ADAL" clId="{EC4E33A1-3A40-4A99-A232-1E6EEAE786EA}" dt="2023-08-02T20:51:34.400" v="44764"/>
          <ac:spMkLst>
            <pc:docMk/>
            <pc:sldMk cId="3564961532" sldId="282"/>
            <ac:spMk id="2" creationId="{D4513B5B-A8C4-4146-9B42-032BB78B09F2}"/>
          </ac:spMkLst>
        </pc:spChg>
        <pc:spChg chg="add del mod ord">
          <ac:chgData name="Joelle Brehm" userId="a518f54c-6985-42c0-8041-2bb16a414839" providerId="ADAL" clId="{EC4E33A1-3A40-4A99-A232-1E6EEAE786EA}" dt="2023-08-02T20:50:25.215" v="43482" actId="478"/>
          <ac:spMkLst>
            <pc:docMk/>
            <pc:sldMk cId="3564961532" sldId="282"/>
            <ac:spMk id="3" creationId="{8747947C-DF96-8E02-85BF-DD365C7278A4}"/>
          </ac:spMkLst>
        </pc:spChg>
        <pc:spChg chg="add del mod modVis">
          <ac:chgData name="Joelle Brehm" userId="a518f54c-6985-42c0-8041-2bb16a414839" providerId="ADAL" clId="{EC4E33A1-3A40-4A99-A232-1E6EEAE786EA}" dt="2023-08-02T20:49:54.632" v="43361"/>
          <ac:spMkLst>
            <pc:docMk/>
            <pc:sldMk cId="3564961532" sldId="282"/>
            <ac:spMk id="5" creationId="{90AF8564-E807-2DB7-8EB9-471D06009F4D}"/>
          </ac:spMkLst>
        </pc:spChg>
        <pc:spChg chg="mod ord">
          <ac:chgData name="Joelle Brehm" userId="a518f54c-6985-42c0-8041-2bb16a414839" providerId="ADAL" clId="{EC4E33A1-3A40-4A99-A232-1E6EEAE786EA}" dt="2023-08-02T20:51:34.324" v="44676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51:34.371" v="44728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EC4E33A1-3A40-4A99-A232-1E6EEAE786EA}" dt="2023-08-02T20:51:34.334" v="44687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51:34.331" v="44684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51:34.332" v="44685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51:34.330" v="44683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51:34.329" v="44682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51:34.333" v="44686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51:34.335" v="44688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51:34.327" v="44681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51:34.336" v="44689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51:34.337" v="44690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51:34.338" v="44691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51:34.338" v="44692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51:34.339" v="44694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51:34.341" v="44697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51:34.344" v="44699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51:34.342" v="44698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51:34.347" v="44702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51:34.346" v="44701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51:34.348" v="44703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51:34.350" v="44705"/>
          <ac:spMkLst>
            <pc:docMk/>
            <pc:sldMk cId="3564961532" sldId="282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51:34.360" v="44717"/>
          <ac:spMkLst>
            <pc:docMk/>
            <pc:sldMk cId="3564961532" sldId="282"/>
            <ac:spMk id="31" creationId="{A6492FB9-8592-6D5F-05A0-3C55A9F0B290}"/>
          </ac:spMkLst>
        </pc:spChg>
        <pc:spChg chg="mod">
          <ac:chgData name="Joelle Brehm" userId="a518f54c-6985-42c0-8041-2bb16a414839" providerId="ADAL" clId="{EC4E33A1-3A40-4A99-A232-1E6EEAE786EA}" dt="2023-08-02T20:51:34.364" v="44720"/>
          <ac:spMkLst>
            <pc:docMk/>
            <pc:sldMk cId="3564961532" sldId="282"/>
            <ac:spMk id="32" creationId="{C76CF01D-E5C9-5360-86BE-563950D79635}"/>
          </ac:spMkLst>
        </pc:spChg>
        <pc:spChg chg="mod">
          <ac:chgData name="Joelle Brehm" userId="a518f54c-6985-42c0-8041-2bb16a414839" providerId="ADAL" clId="{EC4E33A1-3A40-4A99-A232-1E6EEAE786EA}" dt="2023-08-02T20:51:34.375" v="44732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EC4E33A1-3A40-4A99-A232-1E6EEAE786EA}" dt="2023-08-02T20:51:34.360" v="44718"/>
          <ac:spMkLst>
            <pc:docMk/>
            <pc:sldMk cId="3564961532" sldId="282"/>
            <ac:spMk id="34" creationId="{AE868296-AA73-04E8-5729-F60A467F8321}"/>
          </ac:spMkLst>
        </pc:spChg>
        <pc:spChg chg="mod">
          <ac:chgData name="Joelle Brehm" userId="a518f54c-6985-42c0-8041-2bb16a414839" providerId="ADAL" clId="{EC4E33A1-3A40-4A99-A232-1E6EEAE786EA}" dt="2023-08-02T20:51:34.365" v="44722"/>
          <ac:spMkLst>
            <pc:docMk/>
            <pc:sldMk cId="3564961532" sldId="282"/>
            <ac:spMk id="35" creationId="{08798804-7117-7252-16D9-FFE107CEB4CE}"/>
          </ac:spMkLst>
        </pc:spChg>
        <pc:spChg chg="mod">
          <ac:chgData name="Joelle Brehm" userId="a518f54c-6985-42c0-8041-2bb16a414839" providerId="ADAL" clId="{EC4E33A1-3A40-4A99-A232-1E6EEAE786EA}" dt="2023-08-02T20:51:34.365" v="44721"/>
          <ac:spMkLst>
            <pc:docMk/>
            <pc:sldMk cId="3564961532" sldId="282"/>
            <ac:spMk id="36" creationId="{D6260AD9-4FAC-BBE1-577F-7BE5C67AAFB3}"/>
          </ac:spMkLst>
        </pc:spChg>
        <pc:spChg chg="mod ord">
          <ac:chgData name="Joelle Brehm" userId="a518f54c-6985-42c0-8041-2bb16a414839" providerId="ADAL" clId="{EC4E33A1-3A40-4A99-A232-1E6EEAE786EA}" dt="2023-08-02T20:51:34.340" v="44696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0:51:34.366" v="44723"/>
          <ac:spMkLst>
            <pc:docMk/>
            <pc:sldMk cId="3564961532" sldId="282"/>
            <ac:spMk id="38" creationId="{1026F8B0-CCCC-40FF-9D5D-1CD95ABD906A}"/>
          </ac:spMkLst>
        </pc:spChg>
        <pc:spChg chg="mod">
          <ac:chgData name="Joelle Brehm" userId="a518f54c-6985-42c0-8041-2bb16a414839" providerId="ADAL" clId="{EC4E33A1-3A40-4A99-A232-1E6EEAE786EA}" dt="2023-08-02T20:51:34.368" v="44725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EC4E33A1-3A40-4A99-A232-1E6EEAE786EA}" dt="2023-08-02T20:51:34.372" v="44729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EC4E33A1-3A40-4A99-A232-1E6EEAE786EA}" dt="2023-08-02T20:51:34.370" v="44727"/>
          <ac:spMkLst>
            <pc:docMk/>
            <pc:sldMk cId="3564961532" sldId="282"/>
            <ac:spMk id="42" creationId="{029DF0F0-1819-B6C9-E910-A68F2546536E}"/>
          </ac:spMkLst>
        </pc:spChg>
        <pc:spChg chg="mod">
          <ac:chgData name="Joelle Brehm" userId="a518f54c-6985-42c0-8041-2bb16a414839" providerId="ADAL" clId="{EC4E33A1-3A40-4A99-A232-1E6EEAE786EA}" dt="2023-08-02T20:51:34.367" v="44724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EC4E33A1-3A40-4A99-A232-1E6EEAE786EA}" dt="2023-08-02T20:51:34.373" v="44730"/>
          <ac:spMkLst>
            <pc:docMk/>
            <pc:sldMk cId="3564961532" sldId="282"/>
            <ac:spMk id="44" creationId="{1F6C7A4E-3741-C604-E97F-BC7B1D2FF004}"/>
          </ac:spMkLst>
        </pc:spChg>
        <pc:spChg chg="mod">
          <ac:chgData name="Joelle Brehm" userId="a518f54c-6985-42c0-8041-2bb16a414839" providerId="ADAL" clId="{EC4E33A1-3A40-4A99-A232-1E6EEAE786EA}" dt="2023-08-02T20:51:34.359" v="44716"/>
          <ac:spMkLst>
            <pc:docMk/>
            <pc:sldMk cId="3564961532" sldId="282"/>
            <ac:spMk id="45" creationId="{13402A60-D873-7DF2-943A-0976851061CD}"/>
          </ac:spMkLst>
        </pc:spChg>
        <pc:spChg chg="mod">
          <ac:chgData name="Joelle Brehm" userId="a518f54c-6985-42c0-8041-2bb16a414839" providerId="ADAL" clId="{EC4E33A1-3A40-4A99-A232-1E6EEAE786EA}" dt="2023-08-02T20:51:34.357" v="44713"/>
          <ac:spMkLst>
            <pc:docMk/>
            <pc:sldMk cId="3564961532" sldId="282"/>
            <ac:spMk id="4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79" v="44738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EC4E33A1-3A40-4A99-A232-1E6EEAE786EA}" dt="2023-08-02T20:51:34.374" v="44731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EC4E33A1-3A40-4A99-A232-1E6EEAE786EA}" dt="2023-08-02T20:51:34.376" v="44734"/>
          <ac:spMkLst>
            <pc:docMk/>
            <pc:sldMk cId="3564961532" sldId="282"/>
            <ac:spMk id="50" creationId="{3DE8EAFC-BBA1-9B18-6EFA-0D04A3B96CC1}"/>
          </ac:spMkLst>
        </pc:spChg>
        <pc:spChg chg="add del mod modVis">
          <ac:chgData name="Joelle Brehm" userId="a518f54c-6985-42c0-8041-2bb16a414839" providerId="ADAL" clId="{EC4E33A1-3A40-4A99-A232-1E6EEAE786EA}" dt="2023-08-02T20:51:18.471" v="43802"/>
          <ac:spMkLst>
            <pc:docMk/>
            <pc:sldMk cId="3564961532" sldId="282"/>
            <ac:spMk id="51" creationId="{392C6421-7AFC-8F4D-ED76-852019189E07}"/>
          </ac:spMkLst>
        </pc:spChg>
        <pc:spChg chg="mod">
          <ac:chgData name="Joelle Brehm" userId="a518f54c-6985-42c0-8041-2bb16a414839" providerId="ADAL" clId="{EC4E33A1-3A40-4A99-A232-1E6EEAE786EA}" dt="2023-08-02T20:51:34.375" v="44733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EC4E33A1-3A40-4A99-A232-1E6EEAE786EA}" dt="2023-08-02T20:51:34.378" v="44736"/>
          <ac:spMkLst>
            <pc:docMk/>
            <pc:sldMk cId="3564961532" sldId="282"/>
            <ac:spMk id="53" creationId="{38705BBC-1969-2802-06B0-A9451DCAD493}"/>
          </ac:spMkLst>
        </pc:spChg>
        <pc:spChg chg="add mod replST">
          <ac:chgData name="Joelle Brehm" userId="a518f54c-6985-42c0-8041-2bb16a414839" providerId="ADAL" clId="{EC4E33A1-3A40-4A99-A232-1E6EEAE786EA}" dt="2023-08-02T20:51:34.381" v="44739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EC4E33A1-3A40-4A99-A232-1E6EEAE786EA}" dt="2023-08-02T20:51:34.377" v="44735"/>
          <ac:spMkLst>
            <pc:docMk/>
            <pc:sldMk cId="3564961532" sldId="282"/>
            <ac:spMk id="56" creationId="{524D0E2B-EC88-5451-10B4-9BAED81D2D7E}"/>
          </ac:spMkLst>
        </pc:spChg>
        <pc:spChg chg="add del mod modVis">
          <ac:chgData name="Joelle Brehm" userId="a518f54c-6985-42c0-8041-2bb16a414839" providerId="ADAL" clId="{EC4E33A1-3A40-4A99-A232-1E6EEAE786EA}" dt="2023-08-02T20:51:26.899" v="44203"/>
          <ac:spMkLst>
            <pc:docMk/>
            <pc:sldMk cId="3564961532" sldId="282"/>
            <ac:spMk id="57" creationId="{C10E7AE9-C5F9-2925-7B51-4EA0B08300C0}"/>
          </ac:spMkLst>
        </pc:spChg>
        <pc:spChg chg="add mod replST">
          <ac:chgData name="Joelle Brehm" userId="a518f54c-6985-42c0-8041-2bb16a414839" providerId="ADAL" clId="{EC4E33A1-3A40-4A99-A232-1E6EEAE786EA}" dt="2023-08-02T20:51:34.369" v="44726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EC4E33A1-3A40-4A99-A232-1E6EEAE786EA}" dt="2023-08-02T20:51:31.488" v="44459"/>
          <ac:spMkLst>
            <pc:docMk/>
            <pc:sldMk cId="3564961532" sldId="282"/>
            <ac:spMk id="60" creationId="{0CD01C3B-90B1-EE5A-0CF5-A5DB2A39E4F4}"/>
          </ac:spMkLst>
        </pc:spChg>
        <pc:spChg chg="mod">
          <ac:chgData name="Joelle Brehm" userId="a518f54c-6985-42c0-8041-2bb16a414839" providerId="ADAL" clId="{EC4E33A1-3A40-4A99-A232-1E6EEAE786EA}" dt="2023-08-02T20:51:34.362" v="44719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EC4E33A1-3A40-4A99-A232-1E6EEAE786EA}" dt="2023-08-02T20:51:34.404" v="44768"/>
          <ac:spMkLst>
            <pc:docMk/>
            <pc:sldMk cId="3564961532" sldId="282"/>
            <ac:spMk id="65" creationId="{701DBF83-3616-BC1A-E411-1AF9A05BA17C}"/>
          </ac:spMkLst>
        </pc:spChg>
        <pc:spChg chg="mod">
          <ac:chgData name="Joelle Brehm" userId="a518f54c-6985-42c0-8041-2bb16a414839" providerId="ADAL" clId="{EC4E33A1-3A40-4A99-A232-1E6EEAE786EA}" dt="2023-08-02T20:51:34.379" v="44737"/>
          <ac:spMkLst>
            <pc:docMk/>
            <pc:sldMk cId="3564961532" sldId="282"/>
            <ac:spMk id="66" creationId="{C4A33F4F-7FD9-EA78-EDDC-D0E322FB3032}"/>
          </ac:spMkLst>
        </pc:spChg>
        <pc:spChg chg="mod">
          <ac:chgData name="Joelle Brehm" userId="a518f54c-6985-42c0-8041-2bb16a414839" providerId="ADAL" clId="{EC4E33A1-3A40-4A99-A232-1E6EEAE786EA}" dt="2023-08-02T20:51:34.345" v="44700"/>
          <ac:spMkLst>
            <pc:docMk/>
            <pc:sldMk cId="3564961532" sldId="282"/>
            <ac:spMk id="74" creationId="{1E5392BC-349C-45B4-8F81-52F83DA74F43}"/>
          </ac:spMkLst>
        </pc:spChg>
        <pc:spChg chg="mod ord">
          <ac:chgData name="Joelle Brehm" userId="a518f54c-6985-42c0-8041-2bb16a414839" providerId="ADAL" clId="{EC4E33A1-3A40-4A99-A232-1E6EEAE786EA}" dt="2023-08-02T20:51:34.382" v="44741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51:34.384" v="44743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51:34.398" v="44762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EC4E33A1-3A40-4A99-A232-1E6EEAE786EA}" dt="2023-08-02T20:51:34.354" v="44709"/>
          <ac:spMkLst>
            <pc:docMk/>
            <pc:sldMk cId="3564961532" sldId="282"/>
            <ac:spMk id="9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57" v="44714"/>
          <ac:spMkLst>
            <pc:docMk/>
            <pc:sldMk cId="3564961532" sldId="282"/>
            <ac:spMk id="99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51:34.384" v="44745"/>
          <ac:spMkLst>
            <pc:docMk/>
            <pc:sldMk cId="3564961532" sldId="282"/>
            <ac:spMk id="100" creationId="{8B5667AB-609C-4AEA-83B3-24E395C8F420}"/>
          </ac:spMkLst>
        </pc:spChg>
        <pc:spChg chg="del mod">
          <ac:chgData name="Joelle Brehm" userId="a518f54c-6985-42c0-8041-2bb16a414839" providerId="ADAL" clId="{EC4E33A1-3A40-4A99-A232-1E6EEAE786EA}" dt="2023-08-02T20:51:34.055" v="44529"/>
          <ac:spMkLst>
            <pc:docMk/>
            <pc:sldMk cId="3564961532" sldId="282"/>
            <ac:spMk id="10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52" v="44708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20:51:34.385" v="44747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51:34.386" v="44749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51:34.388" v="44751"/>
          <ac:spMkLst>
            <pc:docMk/>
            <pc:sldMk cId="3564961532" sldId="282"/>
            <ac:spMk id="110" creationId="{76D5A471-E342-4112-9B61-678EA0C3F282}"/>
          </ac:spMkLst>
        </pc:spChg>
        <pc:spChg chg="del mod">
          <ac:chgData name="Joelle Brehm" userId="a518f54c-6985-42c0-8041-2bb16a414839" providerId="ADAL" clId="{EC4E33A1-3A40-4A99-A232-1E6EEAE786EA}" dt="2023-08-02T20:51:33.846" v="44463"/>
          <ac:spMkLst>
            <pc:docMk/>
            <pc:sldMk cId="3564961532" sldId="282"/>
            <ac:spMk id="112" creationId="{68F1D3ED-F4B0-C696-164B-09DBF31508C0}"/>
          </ac:spMkLst>
        </pc:spChg>
        <pc:spChg chg="del mod">
          <ac:chgData name="Joelle Brehm" userId="a518f54c-6985-42c0-8041-2bb16a414839" providerId="ADAL" clId="{EC4E33A1-3A40-4A99-A232-1E6EEAE786EA}" dt="2023-08-02T20:51:33.845" v="44462"/>
          <ac:spMkLst>
            <pc:docMk/>
            <pc:sldMk cId="3564961532" sldId="282"/>
            <ac:spMk id="115" creationId="{55632136-075D-51AA-E04E-F07B6A30E0C3}"/>
          </ac:spMkLst>
        </pc:spChg>
        <pc:spChg chg="mod">
          <ac:chgData name="Joelle Brehm" userId="a518f54c-6985-42c0-8041-2bb16a414839" providerId="ADAL" clId="{EC4E33A1-3A40-4A99-A232-1E6EEAE786EA}" dt="2023-08-02T20:51:34.355" v="44711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58" v="44715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54" v="44710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56" v="44712"/>
          <ac:spMkLst>
            <pc:docMk/>
            <pc:sldMk cId="3564961532" sldId="282"/>
            <ac:spMk id="122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20:51:34.054" v="44528"/>
          <ac:spMkLst>
            <pc:docMk/>
            <pc:sldMk cId="3564961532" sldId="282"/>
            <ac:spMk id="12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91" v="44755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90" v="44754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92" v="44756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1:34.394" v="44758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51:34.393" v="44757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51:34.437" v="44770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1:34.326" v="44680"/>
          <ac:graphicFrameMkLst>
            <pc:docMk/>
            <pc:sldMk cId="3564961532" sldId="282"/>
            <ac:graphicFrameMk id="8" creationId="{7CF8AB4B-F270-E248-59C6-B93FFA005B5A}"/>
          </ac:graphicFrameMkLst>
        </pc:graphicFrameChg>
        <pc:graphicFrameChg chg="del">
          <ac:chgData name="Joelle Brehm" userId="a518f54c-6985-42c0-8041-2bb16a414839" providerId="ADAL" clId="{EC4E33A1-3A40-4A99-A232-1E6EEAE786EA}" dt="2023-08-02T20:49:54.490" v="43249"/>
          <ac:graphicFrameMkLst>
            <pc:docMk/>
            <pc:sldMk cId="3564961532" sldId="282"/>
            <ac:graphicFrameMk id="9" creationId="{DD79649E-8D66-3250-F7A0-132891EA36C6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1:34.389" v="44753"/>
          <ac:graphicFrameMkLst>
            <pc:docMk/>
            <pc:sldMk cId="3564961532" sldId="282"/>
            <ac:graphicFrameMk id="54" creationId="{B573E6D6-6B93-2284-41DD-62148ACFF25D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51:31.363" v="44353"/>
          <ac:graphicFrameMkLst>
            <pc:docMk/>
            <pc:sldMk cId="3564961532" sldId="282"/>
            <ac:graphicFrameMk id="58" creationId="{94F98667-12AB-E7D9-BA0E-8B516EE11056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51:26.795" v="44098"/>
          <ac:graphicFrameMkLst>
            <pc:docMk/>
            <pc:sldMk cId="3564961532" sldId="282"/>
            <ac:graphicFrameMk id="61" creationId="{F4CEF775-1F1B-734F-8DBF-086CEDD5F66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51:34.263" v="44666"/>
          <ac:graphicFrameMkLst>
            <pc:docMk/>
            <pc:sldMk cId="3564961532" sldId="282"/>
            <ac:graphicFrameMk id="63" creationId="{13E0101A-D045-2253-45DE-63E9606DF4F8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51:18.399" v="43698"/>
          <ac:graphicFrameMkLst>
            <pc:docMk/>
            <pc:sldMk cId="3564961532" sldId="282"/>
            <ac:graphicFrameMk id="64" creationId="{BC6FA8D2-EC11-A843-B667-E259D73DA205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1:34.351" v="44707"/>
          <ac:graphicFrameMkLst>
            <pc:docMk/>
            <pc:sldMk cId="3564961532" sldId="282"/>
            <ac:graphicFrameMk id="67" creationId="{DBCACDED-D730-1F74-877B-3D0E795E51DE}"/>
          </ac:graphicFrameMkLst>
        </pc:graphicFrameChg>
        <pc:picChg chg="add mod ord">
          <ac:chgData name="Joelle Brehm" userId="a518f54c-6985-42c0-8041-2bb16a414839" providerId="ADAL" clId="{EC4E33A1-3A40-4A99-A232-1E6EEAE786EA}" dt="2023-08-02T20:51:34.323" v="44674"/>
          <ac:picMkLst>
            <pc:docMk/>
            <pc:sldMk cId="3564961532" sldId="282"/>
            <ac:picMk id="39" creationId="{923AC5E5-AA69-2146-688A-C535F3DEA5DF}"/>
          </ac:picMkLst>
        </pc:picChg>
        <pc:picChg chg="del mod ord">
          <ac:chgData name="Joelle Brehm" userId="a518f54c-6985-42c0-8041-2bb16a414839" providerId="ADAL" clId="{EC4E33A1-3A40-4A99-A232-1E6EEAE786EA}" dt="2023-08-02T20:50:21.231" v="43481" actId="478"/>
          <ac:picMkLst>
            <pc:docMk/>
            <pc:sldMk cId="3564961532" sldId="282"/>
            <ac:picMk id="46" creationId="{97A3E199-CFC7-BAF7-109C-28589D87892B}"/>
          </ac:picMkLst>
        </pc:picChg>
        <pc:picChg chg="mod ord">
          <ac:chgData name="Joelle Brehm" userId="a518f54c-6985-42c0-8041-2bb16a414839" providerId="ADAL" clId="{EC4E33A1-3A40-4A99-A232-1E6EEAE786EA}" dt="2023-08-02T20:51:34.396" v="44760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51:34.325" v="44678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55:09.527" v="47133"/>
        <pc:sldMkLst>
          <pc:docMk/>
          <pc:sldMk cId="2958919186" sldId="284"/>
        </pc:sldMkLst>
        <pc:spChg chg="mod ord">
          <ac:chgData name="Joelle Brehm" userId="a518f54c-6985-42c0-8041-2bb16a414839" providerId="ADAL" clId="{EC4E33A1-3A40-4A99-A232-1E6EEAE786EA}" dt="2023-08-02T20:55:09.495" v="47127"/>
          <ac:spMkLst>
            <pc:docMk/>
            <pc:sldMk cId="2958919186" sldId="284"/>
            <ac:spMk id="2" creationId="{E0BBFF4A-7EEF-43CB-94FA-0BDC45C7239C}"/>
          </ac:spMkLst>
        </pc:spChg>
        <pc:spChg chg="add del mod ord">
          <ac:chgData name="Joelle Brehm" userId="a518f54c-6985-42c0-8041-2bb16a414839" providerId="ADAL" clId="{EC4E33A1-3A40-4A99-A232-1E6EEAE786EA}" dt="2023-08-02T20:54:31.926" v="45169" actId="478"/>
          <ac:spMkLst>
            <pc:docMk/>
            <pc:sldMk cId="2958919186" sldId="284"/>
            <ac:spMk id="3" creationId="{CFC5B924-DD94-61CE-0A7E-78E989C4E275}"/>
          </ac:spMkLst>
        </pc:spChg>
        <pc:spChg chg="add del mod modVis">
          <ac:chgData name="Joelle Brehm" userId="a518f54c-6985-42c0-8041-2bb16a414839" providerId="ADAL" clId="{EC4E33A1-3A40-4A99-A232-1E6EEAE786EA}" dt="2023-08-02T20:53:25.056" v="45055"/>
          <ac:spMkLst>
            <pc:docMk/>
            <pc:sldMk cId="2958919186" sldId="284"/>
            <ac:spMk id="5" creationId="{913FC5AD-1BC9-4D79-6C08-69D77B65C5EF}"/>
          </ac:spMkLst>
        </pc:spChg>
        <pc:spChg chg="mod ord">
          <ac:chgData name="Joelle Brehm" userId="a518f54c-6985-42c0-8041-2bb16a414839" providerId="ADAL" clId="{EC4E33A1-3A40-4A99-A232-1E6EEAE786EA}" dt="2023-08-02T20:55:09.427" v="47039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55:09.457" v="47081"/>
          <ac:spMkLst>
            <pc:docMk/>
            <pc:sldMk cId="2958919186" sldId="284"/>
            <ac:spMk id="9" creationId="{581018D9-D474-E6D8-4FB0-2F2B587E2BA8}"/>
          </ac:spMkLst>
        </pc:spChg>
        <pc:spChg chg="mod">
          <ac:chgData name="Joelle Brehm" userId="a518f54c-6985-42c0-8041-2bb16a414839" providerId="ADAL" clId="{EC4E33A1-3A40-4A99-A232-1E6EEAE786EA}" dt="2023-08-02T20:55:09.432" v="47052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55:09.430" v="47048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55:09.428" v="47044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55:09.429" v="47045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55:09.429" v="47046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55:09.430" v="47049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55:09.431" v="47050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55:09.432" v="47051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55:09.433" v="47053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55:09.434" v="47054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55:09.434" v="47055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55:09.430" v="47047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55:09.435" v="47057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55:09.439" v="47062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55:09.436" v="47059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55:09.436" v="47058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55:09.441" v="47065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55:09.441" v="47064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55:09.440" v="47063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55:09.443" v="47068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55:09.462" v="47088"/>
          <ac:spMkLst>
            <pc:docMk/>
            <pc:sldMk cId="2958919186" sldId="284"/>
            <ac:spMk id="31" creationId="{125088B1-BC05-E61C-E778-A5953B0A5CC9}"/>
          </ac:spMkLst>
        </pc:spChg>
        <pc:spChg chg="mod">
          <ac:chgData name="Joelle Brehm" userId="a518f54c-6985-42c0-8041-2bb16a414839" providerId="ADAL" clId="{EC4E33A1-3A40-4A99-A232-1E6EEAE786EA}" dt="2023-08-02T20:55:09.456" v="47080"/>
          <ac:spMkLst>
            <pc:docMk/>
            <pc:sldMk cId="2958919186" sldId="284"/>
            <ac:spMk id="32" creationId="{7DC518E0-B6F8-2016-02E9-5BDCE98B8BD2}"/>
          </ac:spMkLst>
        </pc:spChg>
        <pc:spChg chg="mod">
          <ac:chgData name="Joelle Brehm" userId="a518f54c-6985-42c0-8041-2bb16a414839" providerId="ADAL" clId="{EC4E33A1-3A40-4A99-A232-1E6EEAE786EA}" dt="2023-08-02T20:55:09.461" v="47087"/>
          <ac:spMkLst>
            <pc:docMk/>
            <pc:sldMk cId="2958919186" sldId="284"/>
            <ac:spMk id="33" creationId="{4B94C134-301E-FFE0-B344-351A0F3A058C}"/>
          </ac:spMkLst>
        </pc:spChg>
        <pc:spChg chg="mod">
          <ac:chgData name="Joelle Brehm" userId="a518f54c-6985-42c0-8041-2bb16a414839" providerId="ADAL" clId="{EC4E33A1-3A40-4A99-A232-1E6EEAE786EA}" dt="2023-08-02T20:55:09.457" v="47082"/>
          <ac:spMkLst>
            <pc:docMk/>
            <pc:sldMk cId="2958919186" sldId="284"/>
            <ac:spMk id="34" creationId="{1D083AF9-5BB6-268F-E100-556C500563FF}"/>
          </ac:spMkLst>
        </pc:spChg>
        <pc:spChg chg="mod">
          <ac:chgData name="Joelle Brehm" userId="a518f54c-6985-42c0-8041-2bb16a414839" providerId="ADAL" clId="{EC4E33A1-3A40-4A99-A232-1E6EEAE786EA}" dt="2023-08-02T20:55:09.470" v="47098"/>
          <ac:spMkLst>
            <pc:docMk/>
            <pc:sldMk cId="2958919186" sldId="284"/>
            <ac:spMk id="35" creationId="{CCB6D4E8-4FEE-67A7-4C47-E83C2C523E98}"/>
          </ac:spMkLst>
        </pc:spChg>
        <pc:spChg chg="mod">
          <ac:chgData name="Joelle Brehm" userId="a518f54c-6985-42c0-8041-2bb16a414839" providerId="ADAL" clId="{EC4E33A1-3A40-4A99-A232-1E6EEAE786EA}" dt="2023-08-02T20:55:09.458" v="47083"/>
          <ac:spMkLst>
            <pc:docMk/>
            <pc:sldMk cId="2958919186" sldId="284"/>
            <ac:spMk id="36" creationId="{2B31A95E-66FE-6A51-6096-E25DEE4F6185}"/>
          </ac:spMkLst>
        </pc:spChg>
        <pc:spChg chg="mod ord">
          <ac:chgData name="Joelle Brehm" userId="a518f54c-6985-42c0-8041-2bb16a414839" providerId="ADAL" clId="{EC4E33A1-3A40-4A99-A232-1E6EEAE786EA}" dt="2023-08-02T20:55:09.437" v="47061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0:55:09.459" v="47085"/>
          <ac:spMkLst>
            <pc:docMk/>
            <pc:sldMk cId="2958919186" sldId="284"/>
            <ac:spMk id="38" creationId="{64FE4593-24F9-360D-B61A-345C6A72C704}"/>
          </ac:spMkLst>
        </pc:spChg>
        <pc:spChg chg="mod">
          <ac:chgData name="Joelle Brehm" userId="a518f54c-6985-42c0-8041-2bb16a414839" providerId="ADAL" clId="{EC4E33A1-3A40-4A99-A232-1E6EEAE786EA}" dt="2023-08-02T20:55:09.455" v="47079"/>
          <ac:spMkLst>
            <pc:docMk/>
            <pc:sldMk cId="2958919186" sldId="284"/>
            <ac:spMk id="39" creationId="{F91A3A97-9514-6870-9E95-5ED2A350A37A}"/>
          </ac:spMkLst>
        </pc:spChg>
        <pc:spChg chg="mod">
          <ac:chgData name="Joelle Brehm" userId="a518f54c-6985-42c0-8041-2bb16a414839" providerId="ADAL" clId="{EC4E33A1-3A40-4A99-A232-1E6EEAE786EA}" dt="2023-08-02T20:55:09.463" v="47089"/>
          <ac:spMkLst>
            <pc:docMk/>
            <pc:sldMk cId="2958919186" sldId="284"/>
            <ac:spMk id="40" creationId="{65B69A5C-0F9E-A4F4-3815-34C5AD49C7B7}"/>
          </ac:spMkLst>
        </pc:spChg>
        <pc:spChg chg="mod ord">
          <ac:chgData name="Joelle Brehm" userId="a518f54c-6985-42c0-8041-2bb16a414839" providerId="ADAL" clId="{EC4E33A1-3A40-4A99-A232-1E6EEAE786EA}" dt="2023-08-02T20:55:09.471" v="47100"/>
          <ac:spMkLst>
            <pc:docMk/>
            <pc:sldMk cId="2958919186" sldId="284"/>
            <ac:spMk id="41" creationId="{6F6FCB65-B77A-CEE3-3C55-1C7EB0F7E454}"/>
          </ac:spMkLst>
        </pc:spChg>
        <pc:spChg chg="del mod">
          <ac:chgData name="Joelle Brehm" userId="a518f54c-6985-42c0-8041-2bb16a414839" providerId="ADAL" clId="{EC4E33A1-3A40-4A99-A232-1E6EEAE786EA}" dt="2023-08-02T20:54:41.717" v="45659"/>
          <ac:spMkLst>
            <pc:docMk/>
            <pc:sldMk cId="2958919186" sldId="284"/>
            <ac:spMk id="42" creationId="{026EDF48-DE18-A716-70D8-5353E3BD0BF3}"/>
          </ac:spMkLst>
        </pc:spChg>
        <pc:spChg chg="mod">
          <ac:chgData name="Joelle Brehm" userId="a518f54c-6985-42c0-8041-2bb16a414839" providerId="ADAL" clId="{EC4E33A1-3A40-4A99-A232-1E6EEAE786EA}" dt="2023-08-02T20:55:09.458" v="47084"/>
          <ac:spMkLst>
            <pc:docMk/>
            <pc:sldMk cId="2958919186" sldId="284"/>
            <ac:spMk id="43" creationId="{37188F03-F6CA-EE9D-F6C7-47E8CCD42E86}"/>
          </ac:spMkLst>
        </pc:spChg>
        <pc:spChg chg="del mod">
          <ac:chgData name="Joelle Brehm" userId="a518f54c-6985-42c0-8041-2bb16a414839" providerId="ADAL" clId="{EC4E33A1-3A40-4A99-A232-1E6EEAE786EA}" dt="2023-08-02T20:54:51.049" v="45833"/>
          <ac:spMkLst>
            <pc:docMk/>
            <pc:sldMk cId="2958919186" sldId="284"/>
            <ac:spMk id="4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5:09.474" v="47102"/>
          <ac:spMkLst>
            <pc:docMk/>
            <pc:sldMk cId="2958919186" sldId="284"/>
            <ac:spMk id="45" creationId="{BA6D2150-ACED-DB3B-247D-B1C7D75594BC}"/>
          </ac:spMkLst>
        </pc:spChg>
        <pc:spChg chg="mod">
          <ac:chgData name="Joelle Brehm" userId="a518f54c-6985-42c0-8041-2bb16a414839" providerId="ADAL" clId="{EC4E33A1-3A40-4A99-A232-1E6EEAE786EA}" dt="2023-08-02T20:55:09.469" v="47097"/>
          <ac:spMkLst>
            <pc:docMk/>
            <pc:sldMk cId="2958919186" sldId="284"/>
            <ac:spMk id="46" creationId="{57979B6E-92A7-E2CD-D125-48728C290A15}"/>
          </ac:spMkLst>
        </pc:spChg>
        <pc:spChg chg="mod">
          <ac:chgData name="Joelle Brehm" userId="a518f54c-6985-42c0-8041-2bb16a414839" providerId="ADAL" clId="{EC4E33A1-3A40-4A99-A232-1E6EEAE786EA}" dt="2023-08-02T20:55:09.467" v="47095"/>
          <ac:spMkLst>
            <pc:docMk/>
            <pc:sldMk cId="2958919186" sldId="284"/>
            <ac:spMk id="47" creationId="{F1368363-5333-B95D-BCFC-162A180EC1E3}"/>
          </ac:spMkLst>
        </pc:spChg>
        <pc:spChg chg="del mod">
          <ac:chgData name="Joelle Brehm" userId="a518f54c-6985-42c0-8041-2bb16a414839" providerId="ADAL" clId="{EC4E33A1-3A40-4A99-A232-1E6EEAE786EA}" dt="2023-08-02T20:54:51.046" v="45831"/>
          <ac:spMkLst>
            <pc:docMk/>
            <pc:sldMk cId="2958919186" sldId="284"/>
            <ac:spMk id="48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20:54:51.048" v="45832"/>
          <ac:spMkLst>
            <pc:docMk/>
            <pc:sldMk cId="2958919186" sldId="284"/>
            <ac:spMk id="49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5:09.464" v="47091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EC4E33A1-3A40-4A99-A232-1E6EEAE786EA}" dt="2023-08-02T20:55:09.464" v="47090"/>
          <ac:spMkLst>
            <pc:docMk/>
            <pc:sldMk cId="2958919186" sldId="284"/>
            <ac:spMk id="53" creationId="{7BFBA14E-9C06-1228-89A6-C1CD785143C9}"/>
          </ac:spMkLst>
        </pc:spChg>
        <pc:spChg chg="add mod replST">
          <ac:chgData name="Joelle Brehm" userId="a518f54c-6985-42c0-8041-2bb16a414839" providerId="ADAL" clId="{EC4E33A1-3A40-4A99-A232-1E6EEAE786EA}" dt="2023-08-02T20:55:09.465" v="47092"/>
          <ac:spMkLst>
            <pc:docMk/>
            <pc:sldMk cId="2958919186" sldId="284"/>
            <ac:spMk id="54" creationId="{6B5CA9E5-6CAB-32F9-DC0A-F88273FB2B4F}"/>
          </ac:spMkLst>
        </pc:spChg>
        <pc:spChg chg="add mod replST">
          <ac:chgData name="Joelle Brehm" userId="a518f54c-6985-42c0-8041-2bb16a414839" providerId="ADAL" clId="{EC4E33A1-3A40-4A99-A232-1E6EEAE786EA}" dt="2023-08-02T20:55:09.468" v="47096"/>
          <ac:spMkLst>
            <pc:docMk/>
            <pc:sldMk cId="2958919186" sldId="284"/>
            <ac:spMk id="55" creationId="{2BAA32C5-1C92-8614-2678-B94A36FCDC54}"/>
          </ac:spMkLst>
        </pc:spChg>
        <pc:spChg chg="add del mod modVis">
          <ac:chgData name="Joelle Brehm" userId="a518f54c-6985-42c0-8041-2bb16a414839" providerId="ADAL" clId="{EC4E33A1-3A40-4A99-A232-1E6EEAE786EA}" dt="2023-08-02T20:54:40.573" v="45574"/>
          <ac:spMkLst>
            <pc:docMk/>
            <pc:sldMk cId="2958919186" sldId="284"/>
            <ac:spMk id="56" creationId="{5DAF9150-E4F7-5407-060F-81D5D641DEEA}"/>
          </ac:spMkLst>
        </pc:spChg>
        <pc:spChg chg="mod">
          <ac:chgData name="Joelle Brehm" userId="a518f54c-6985-42c0-8041-2bb16a414839" providerId="ADAL" clId="{EC4E33A1-3A40-4A99-A232-1E6EEAE786EA}" dt="2023-08-02T20:55:09.467" v="47094"/>
          <ac:spMkLst>
            <pc:docMk/>
            <pc:sldMk cId="2958919186" sldId="284"/>
            <ac:spMk id="58" creationId="{1FE8095F-70AA-80E7-5AB4-793D17F07A13}"/>
          </ac:spMkLst>
        </pc:spChg>
        <pc:spChg chg="add del mod modVis">
          <ac:chgData name="Joelle Brehm" userId="a518f54c-6985-42c0-8041-2bb16a414839" providerId="ADAL" clId="{EC4E33A1-3A40-4A99-A232-1E6EEAE786EA}" dt="2023-08-02T20:54:41.890" v="45768"/>
          <ac:spMkLst>
            <pc:docMk/>
            <pc:sldMk cId="2958919186" sldId="284"/>
            <ac:spMk id="59" creationId="{22F3AB50-3407-6F8D-6E59-0E3B5C3C1D19}"/>
          </ac:spMkLst>
        </pc:spChg>
        <pc:spChg chg="mod">
          <ac:chgData name="Joelle Brehm" userId="a518f54c-6985-42c0-8041-2bb16a414839" providerId="ADAL" clId="{EC4E33A1-3A40-4A99-A232-1E6EEAE786EA}" dt="2023-08-02T20:55:09.465" v="47093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EC4E33A1-3A40-4A99-A232-1E6EEAE786EA}" dt="2023-08-02T20:55:09.460" v="47086"/>
          <ac:spMkLst>
            <pc:docMk/>
            <pc:sldMk cId="2958919186" sldId="284"/>
            <ac:spMk id="61" creationId="{C2E8F2D5-0EFE-8256-D3A3-FD39CD48ED50}"/>
          </ac:spMkLst>
        </pc:spChg>
        <pc:spChg chg="mod">
          <ac:chgData name="Joelle Brehm" userId="a518f54c-6985-42c0-8041-2bb16a414839" providerId="ADAL" clId="{EC4E33A1-3A40-4A99-A232-1E6EEAE786EA}" dt="2023-08-02T20:55:09.471" v="47099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EC4E33A1-3A40-4A99-A232-1E6EEAE786EA}" dt="2023-08-02T20:54:52.329" v="46615"/>
          <ac:spMkLst>
            <pc:docMk/>
            <pc:sldMk cId="2958919186" sldId="284"/>
            <ac:spMk id="65" creationId="{70758090-28F7-63C1-112D-835DA4EE623C}"/>
          </ac:spMkLst>
        </pc:spChg>
        <pc:spChg chg="add mod replST">
          <ac:chgData name="Joelle Brehm" userId="a518f54c-6985-42c0-8041-2bb16a414839" providerId="ADAL" clId="{EC4E33A1-3A40-4A99-A232-1E6EEAE786EA}" dt="2023-08-02T20:55:09.451" v="47076"/>
          <ac:spMkLst>
            <pc:docMk/>
            <pc:sldMk cId="2958919186" sldId="284"/>
            <ac:spMk id="67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55:09.446" v="47071"/>
          <ac:spMkLst>
            <pc:docMk/>
            <pc:sldMk cId="2958919186" sldId="284"/>
            <ac:spMk id="68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55:09.453" v="47077"/>
          <ac:spMkLst>
            <pc:docMk/>
            <pc:sldMk cId="2958919186" sldId="284"/>
            <ac:spMk id="69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55:09.454" v="47078"/>
          <ac:spMkLst>
            <pc:docMk/>
            <pc:sldMk cId="2958919186" sldId="284"/>
            <ac:spMk id="70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55:09.447" v="47073"/>
          <ac:spMkLst>
            <pc:docMk/>
            <pc:sldMk cId="2958919186" sldId="284"/>
            <ac:spMk id="71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55:09.449" v="47075"/>
          <ac:spMkLst>
            <pc:docMk/>
            <pc:sldMk cId="2958919186" sldId="284"/>
            <ac:spMk id="72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20:55:09.448" v="47074"/>
          <ac:spMkLst>
            <pc:docMk/>
            <pc:sldMk cId="2958919186" sldId="284"/>
            <ac:spMk id="7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5:09.441" v="47066"/>
          <ac:spMkLst>
            <pc:docMk/>
            <pc:sldMk cId="2958919186" sldId="284"/>
            <ac:spMk id="74" creationId="{1E5392BC-349C-45B4-8F81-52F83DA74F43}"/>
          </ac:spMkLst>
        </pc:spChg>
        <pc:spChg chg="add mod replST">
          <ac:chgData name="Joelle Brehm" userId="a518f54c-6985-42c0-8041-2bb16a414839" providerId="ADAL" clId="{EC4E33A1-3A40-4A99-A232-1E6EEAE786EA}" dt="2023-08-02T20:55:09.473" v="47101"/>
          <ac:spMkLst>
            <pc:docMk/>
            <pc:sldMk cId="2958919186" sldId="284"/>
            <ac:spMk id="76" creationId="{8974FF74-9912-6A62-3246-A52A3C2CFCAD}"/>
          </ac:spMkLst>
        </pc:spChg>
        <pc:spChg chg="add del mod modVis">
          <ac:chgData name="Joelle Brehm" userId="a518f54c-6985-42c0-8041-2bb16a414839" providerId="ADAL" clId="{EC4E33A1-3A40-4A99-A232-1E6EEAE786EA}" dt="2023-08-02T20:54:56.634" v="46865"/>
          <ac:spMkLst>
            <pc:docMk/>
            <pc:sldMk cId="2958919186" sldId="284"/>
            <ac:spMk id="77" creationId="{CBB4E8DC-B5ED-0CB3-5E8B-1FD160691A33}"/>
          </ac:spMkLst>
        </pc:spChg>
        <pc:spChg chg="mod ord">
          <ac:chgData name="Joelle Brehm" userId="a518f54c-6985-42c0-8041-2bb16a414839" providerId="ADAL" clId="{EC4E33A1-3A40-4A99-A232-1E6EEAE786EA}" dt="2023-08-02T20:55:09.474" v="47104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55:09.476" v="47106"/>
          <ac:spMkLst>
            <pc:docMk/>
            <pc:sldMk cId="2958919186" sldId="284"/>
            <ac:spMk id="79" creationId="{F1476AC4-694B-4D83-BFD8-8DCAA4BB1923}"/>
          </ac:spMkLst>
        </pc:spChg>
        <pc:spChg chg="add del mod modVis">
          <ac:chgData name="Joelle Brehm" userId="a518f54c-6985-42c0-8041-2bb16a414839" providerId="ADAL" clId="{EC4E33A1-3A40-4A99-A232-1E6EEAE786EA}" dt="2023-08-02T20:55:09.498" v="47131"/>
          <ac:spMkLst>
            <pc:docMk/>
            <pc:sldMk cId="2958919186" sldId="284"/>
            <ac:spMk id="81" creationId="{B99A1E27-8D7D-5DC8-C3B1-77351030BC31}"/>
          </ac:spMkLst>
        </pc:spChg>
        <pc:spChg chg="del mod">
          <ac:chgData name="Joelle Brehm" userId="a518f54c-6985-42c0-8041-2bb16a414839" providerId="ADAL" clId="{EC4E33A1-3A40-4A99-A232-1E6EEAE786EA}" dt="2023-08-02T20:54:50.915" v="45772"/>
          <ac:spMkLst>
            <pc:docMk/>
            <pc:sldMk cId="2958919186" sldId="284"/>
            <ac:spMk id="89" creationId="{6FE8F8C9-1796-37A4-4BF3-536F80614899}"/>
          </ac:spMkLst>
        </pc:spChg>
        <pc:spChg chg="mod ord">
          <ac:chgData name="Joelle Brehm" userId="a518f54c-6985-42c0-8041-2bb16a414839" providerId="ADAL" clId="{EC4E33A1-3A40-4A99-A232-1E6EEAE786EA}" dt="2023-08-02T20:55:09.493" v="47125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EC4E33A1-3A40-4A99-A232-1E6EEAE786EA}" dt="2023-08-02T20:55:09.478" v="47108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55:09.479" v="47110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55:09.480" v="47112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55:09.482" v="47114"/>
          <ac:spMkLst>
            <pc:docMk/>
            <pc:sldMk cId="2958919186" sldId="284"/>
            <ac:spMk id="110" creationId="{76D5A471-E342-4112-9B61-678EA0C3F282}"/>
          </ac:spMkLst>
        </pc:spChg>
        <pc:spChg chg="del mod">
          <ac:chgData name="Joelle Brehm" userId="a518f54c-6985-42c0-8041-2bb16a414839" providerId="ADAL" clId="{EC4E33A1-3A40-4A99-A232-1E6EEAE786EA}" dt="2023-08-02T20:54:50.911" v="45771"/>
          <ac:spMkLst>
            <pc:docMk/>
            <pc:sldMk cId="2958919186" sldId="284"/>
            <ac:spMk id="115" creationId="{CDC3C9AC-C6D8-BD1E-C18E-7E0760B6F0EA}"/>
          </ac:spMkLst>
        </pc:spChg>
        <pc:spChg chg="mod">
          <ac:chgData name="Joelle Brehm" userId="a518f54c-6985-42c0-8041-2bb16a414839" providerId="ADAL" clId="{EC4E33A1-3A40-4A99-A232-1E6EEAE786EA}" dt="2023-08-02T20:55:09.485" v="47117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5:09.488" v="47119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5:09.489" v="47120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5:09.486" v="47118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55:09.490" v="47121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EC4E33A1-3A40-4A99-A232-1E6EEAE786EA}" dt="2023-08-02T20:55:09.446" v="47072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EC4E33A1-3A40-4A99-A232-1E6EEAE786EA}" dt="2023-08-02T20:55:09.527" v="47133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20:53:24.926" v="44951"/>
          <ac:graphicFrameMkLst>
            <pc:docMk/>
            <pc:sldMk cId="2958919186" sldId="284"/>
            <ac:graphicFrameMk id="8" creationId="{4EAB4B87-263F-F94F-F207-C9025946197A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5:09.428" v="47043"/>
          <ac:graphicFrameMkLst>
            <pc:docMk/>
            <pc:sldMk cId="2958919186" sldId="284"/>
            <ac:graphicFrameMk id="50" creationId="{C2B524D0-3E97-F105-C345-AF59A28BB3C2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54:41.745" v="45668"/>
          <ac:graphicFrameMkLst>
            <pc:docMk/>
            <pc:sldMk cId="2958919186" sldId="284"/>
            <ac:graphicFrameMk id="57" creationId="{14C90D18-2883-B2B8-C174-74157439F1FF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54:52.241" v="46514"/>
          <ac:graphicFrameMkLst>
            <pc:docMk/>
            <pc:sldMk cId="2958919186" sldId="284"/>
            <ac:graphicFrameMk id="62" creationId="{D0C94640-D4C7-4435-3B9F-4D045138363B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54:40.443" v="45473"/>
          <ac:graphicFrameMkLst>
            <pc:docMk/>
            <pc:sldMk cId="2958919186" sldId="284"/>
            <ac:graphicFrameMk id="63" creationId="{BFDFCBE0-3CCC-06BC-A74D-8CC58D08D713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55:09.390" v="47029"/>
          <ac:graphicFrameMkLst>
            <pc:docMk/>
            <pc:sldMk cId="2958919186" sldId="284"/>
            <ac:graphicFrameMk id="66" creationId="{EE761744-F2B8-4BF3-8BF6-F751AC99C09A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54:56.516" v="46763"/>
          <ac:graphicFrameMkLst>
            <pc:docMk/>
            <pc:sldMk cId="2958919186" sldId="284"/>
            <ac:graphicFrameMk id="75" creationId="{FDF0A588-4484-B4B0-F838-4DEF7BAFA948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5:09.445" v="47070"/>
          <ac:graphicFrameMkLst>
            <pc:docMk/>
            <pc:sldMk cId="2958919186" sldId="284"/>
            <ac:graphicFrameMk id="80" creationId="{DA0A631F-DF20-7FE5-5E74-27D9801687C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5:09.482" v="47116"/>
          <ac:graphicFrameMkLst>
            <pc:docMk/>
            <pc:sldMk cId="2958919186" sldId="284"/>
            <ac:graphicFrameMk id="82" creationId="{3A186399-26B3-770C-1A55-50FBE9BCD4C0}"/>
          </ac:graphicFrameMkLst>
        </pc:graphicFrameChg>
        <pc:picChg chg="del mod ord">
          <ac:chgData name="Joelle Brehm" userId="a518f54c-6985-42c0-8041-2bb16a414839" providerId="ADAL" clId="{EC4E33A1-3A40-4A99-A232-1E6EEAE786EA}" dt="2023-08-02T20:54:27.191" v="45166" actId="478"/>
          <ac:picMkLst>
            <pc:docMk/>
            <pc:sldMk cId="2958919186" sldId="284"/>
            <ac:picMk id="10" creationId="{3C28DE20-2D78-946E-A840-603555FC1A9D}"/>
          </ac:picMkLst>
        </pc:picChg>
        <pc:picChg chg="add mod ord">
          <ac:chgData name="Joelle Brehm" userId="a518f54c-6985-42c0-8041-2bb16a414839" providerId="ADAL" clId="{EC4E33A1-3A40-4A99-A232-1E6EEAE786EA}" dt="2023-08-02T20:55:09.426" v="47037"/>
          <ac:picMkLst>
            <pc:docMk/>
            <pc:sldMk cId="2958919186" sldId="284"/>
            <ac:picMk id="51" creationId="{2E0047FB-8918-18E9-ED79-58331009B534}"/>
          </ac:picMkLst>
        </pc:picChg>
        <pc:picChg chg="mod ord">
          <ac:chgData name="Joelle Brehm" userId="a518f54c-6985-42c0-8041-2bb16a414839" providerId="ADAL" clId="{EC4E33A1-3A40-4A99-A232-1E6EEAE786EA}" dt="2023-08-02T20:55:09.492" v="47123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55:09.427" v="47041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0:57:58.387" v="48773"/>
        <pc:sldMkLst>
          <pc:docMk/>
          <pc:sldMk cId="3959601197" sldId="285"/>
        </pc:sldMkLst>
        <pc:spChg chg="mod ord">
          <ac:chgData name="Joelle Brehm" userId="a518f54c-6985-42c0-8041-2bb16a414839" providerId="ADAL" clId="{EC4E33A1-3A40-4A99-A232-1E6EEAE786EA}" dt="2023-08-02T20:57:58.348" v="48767"/>
          <ac:spMkLst>
            <pc:docMk/>
            <pc:sldMk cId="3959601197" sldId="285"/>
            <ac:spMk id="2" creationId="{834E3642-3BF8-4D50-9A2A-9ADF91017D8B}"/>
          </ac:spMkLst>
        </pc:spChg>
        <pc:spChg chg="add del mod ord">
          <ac:chgData name="Joelle Brehm" userId="a518f54c-6985-42c0-8041-2bb16a414839" providerId="ADAL" clId="{EC4E33A1-3A40-4A99-A232-1E6EEAE786EA}" dt="2023-08-02T20:57:33.019" v="47494" actId="478"/>
          <ac:spMkLst>
            <pc:docMk/>
            <pc:sldMk cId="3959601197" sldId="285"/>
            <ac:spMk id="3" creationId="{D8C506E9-C9F9-67BC-01C7-33DA31DF3070}"/>
          </ac:spMkLst>
        </pc:spChg>
        <pc:spChg chg="add del mod modVis">
          <ac:chgData name="Joelle Brehm" userId="a518f54c-6985-42c0-8041-2bb16a414839" providerId="ADAL" clId="{EC4E33A1-3A40-4A99-A232-1E6EEAE786EA}" dt="2023-08-02T20:57:08.135" v="47401"/>
          <ac:spMkLst>
            <pc:docMk/>
            <pc:sldMk cId="3959601197" sldId="285"/>
            <ac:spMk id="5" creationId="{0D200A72-79E9-390C-06E7-D6AD36613F0A}"/>
          </ac:spMkLst>
        </pc:spChg>
        <pc:spChg chg="mod ord">
          <ac:chgData name="Joelle Brehm" userId="a518f54c-6985-42c0-8041-2bb16a414839" providerId="ADAL" clId="{EC4E33A1-3A40-4A99-A232-1E6EEAE786EA}" dt="2023-08-02T20:57:58.299" v="48699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0:57:58.321" v="48736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EC4E33A1-3A40-4A99-A232-1E6EEAE786EA}" dt="2023-08-02T20:57:58.302" v="48704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0:57:58.306" v="48709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0:57:58.307" v="48711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0:57:58.304" v="48706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0:57:58.305" v="48707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0:57:58.303" v="48705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0:57:58.305" v="48708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0:57:58.308" v="48712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0:57:58.309" v="48713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0:57:58.309" v="48714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0:57:58.309" v="48715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0:57:58.306" v="48710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0:57:58.311" v="48717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0:57:58.313" v="48719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0:57:58.312" v="48718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0:57:58.314" v="48720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0:57:58.316" v="48724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0:57:58.315" v="48723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0:57:58.317" v="48726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0:57:58.318" v="48728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0:57:58.319" v="48731"/>
          <ac:spMkLst>
            <pc:docMk/>
            <pc:sldMk cId="3959601197" sldId="285"/>
            <ac:spMk id="31" creationId="{9D8A59E9-C471-9618-6B0F-F3E414CCD2A7}"/>
          </ac:spMkLst>
        </pc:spChg>
        <pc:spChg chg="mod">
          <ac:chgData name="Joelle Brehm" userId="a518f54c-6985-42c0-8041-2bb16a414839" providerId="ADAL" clId="{EC4E33A1-3A40-4A99-A232-1E6EEAE786EA}" dt="2023-08-02T20:57:58.322" v="48737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EC4E33A1-3A40-4A99-A232-1E6EEAE786EA}" dt="2023-08-02T20:57:58.320" v="48732"/>
          <ac:spMkLst>
            <pc:docMk/>
            <pc:sldMk cId="3959601197" sldId="285"/>
            <ac:spMk id="33" creationId="{C5132F62-12DF-25F1-3C35-C772E0E4C2D8}"/>
          </ac:spMkLst>
        </pc:spChg>
        <pc:spChg chg="mod">
          <ac:chgData name="Joelle Brehm" userId="a518f54c-6985-42c0-8041-2bb16a414839" providerId="ADAL" clId="{EC4E33A1-3A40-4A99-A232-1E6EEAE786EA}" dt="2023-08-02T20:57:58.321" v="48734"/>
          <ac:spMkLst>
            <pc:docMk/>
            <pc:sldMk cId="3959601197" sldId="285"/>
            <ac:spMk id="34" creationId="{7296A792-C9A5-603D-0DFE-510144F74B20}"/>
          </ac:spMkLst>
        </pc:spChg>
        <pc:spChg chg="mod">
          <ac:chgData name="Joelle Brehm" userId="a518f54c-6985-42c0-8041-2bb16a414839" providerId="ADAL" clId="{EC4E33A1-3A40-4A99-A232-1E6EEAE786EA}" dt="2023-08-02T20:57:58.320" v="48733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EC4E33A1-3A40-4A99-A232-1E6EEAE786EA}" dt="2023-08-02T20:57:58.315" v="48722"/>
          <ac:spMkLst>
            <pc:docMk/>
            <pc:sldMk cId="3959601197" sldId="285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0:57:58.325" v="48741"/>
          <ac:spMkLst>
            <pc:docMk/>
            <pc:sldMk cId="3959601197" sldId="285"/>
            <ac:spMk id="39" creationId="{49E3BF94-A3A3-6D9E-A640-936C4D588482}"/>
          </ac:spMkLst>
        </pc:spChg>
        <pc:spChg chg="add mod replST">
          <ac:chgData name="Joelle Brehm" userId="a518f54c-6985-42c0-8041-2bb16a414839" providerId="ADAL" clId="{EC4E33A1-3A40-4A99-A232-1E6EEAE786EA}" dt="2023-08-02T20:57:58.326" v="48742"/>
          <ac:spMkLst>
            <pc:docMk/>
            <pc:sldMk cId="3959601197" sldId="285"/>
            <ac:spMk id="40" creationId="{EA599A54-45AC-0837-D7C5-3771AA871AAD}"/>
          </ac:spMkLst>
        </pc:spChg>
        <pc:spChg chg="add del mod modVis">
          <ac:chgData name="Joelle Brehm" userId="a518f54c-6985-42c0-8041-2bb16a414839" providerId="ADAL" clId="{EC4E33A1-3A40-4A99-A232-1E6EEAE786EA}" dt="2023-08-02T20:57:40.410" v="48113"/>
          <ac:spMkLst>
            <pc:docMk/>
            <pc:sldMk cId="3959601197" sldId="285"/>
            <ac:spMk id="41" creationId="{41379AD0-24C0-6B6A-5089-049DF93AE2F4}"/>
          </ac:spMkLst>
        </pc:spChg>
        <pc:spChg chg="mod">
          <ac:chgData name="Joelle Brehm" userId="a518f54c-6985-42c0-8041-2bb16a414839" providerId="ADAL" clId="{EC4E33A1-3A40-4A99-A232-1E6EEAE786EA}" dt="2023-08-02T20:57:58.324" v="48739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EC4E33A1-3A40-4A99-A232-1E6EEAE786EA}" dt="2023-08-02T20:57:58.323" v="48738"/>
          <ac:spMkLst>
            <pc:docMk/>
            <pc:sldMk cId="3959601197" sldId="285"/>
            <ac:spMk id="43" creationId="{7A0654C5-E72A-A91E-A2D8-90D96122F7D7}"/>
          </ac:spMkLst>
        </pc:spChg>
        <pc:spChg chg="mod">
          <ac:chgData name="Joelle Brehm" userId="a518f54c-6985-42c0-8041-2bb16a414839" providerId="ADAL" clId="{EC4E33A1-3A40-4A99-A232-1E6EEAE786EA}" dt="2023-08-02T20:57:58.321" v="48735"/>
          <ac:spMkLst>
            <pc:docMk/>
            <pc:sldMk cId="3959601197" sldId="285"/>
            <ac:spMk id="45" creationId="{C0C2677E-B02A-A9FD-C32D-94A1D148E0A5}"/>
          </ac:spMkLst>
        </pc:spChg>
        <pc:spChg chg="add del mod modVis">
          <ac:chgData name="Joelle Brehm" userId="a518f54c-6985-42c0-8041-2bb16a414839" providerId="ADAL" clId="{EC4E33A1-3A40-4A99-A232-1E6EEAE786EA}" dt="2023-08-02T20:57:41.847" v="48324"/>
          <ac:spMkLst>
            <pc:docMk/>
            <pc:sldMk cId="3959601197" sldId="285"/>
            <ac:spMk id="46" creationId="{F4F7CE5B-B5A5-1824-7305-3CC0A8C21C64}"/>
          </ac:spMkLst>
        </pc:spChg>
        <pc:spChg chg="mod">
          <ac:chgData name="Joelle Brehm" userId="a518f54c-6985-42c0-8041-2bb16a414839" providerId="ADAL" clId="{EC4E33A1-3A40-4A99-A232-1E6EEAE786EA}" dt="2023-08-02T20:57:58.324" v="48740"/>
          <ac:spMkLst>
            <pc:docMk/>
            <pc:sldMk cId="3959601197" sldId="285"/>
            <ac:spMk id="47" creationId="{E68B1E78-8D9D-3E69-597C-1E05491CF1D5}"/>
          </ac:spMkLst>
        </pc:spChg>
        <pc:spChg chg="add del mod modVis">
          <ac:chgData name="Joelle Brehm" userId="a518f54c-6985-42c0-8041-2bb16a414839" providerId="ADAL" clId="{EC4E33A1-3A40-4A99-A232-1E6EEAE786EA}" dt="2023-08-02T20:57:44.787" v="48524"/>
          <ac:spMkLst>
            <pc:docMk/>
            <pc:sldMk cId="3959601197" sldId="285"/>
            <ac:spMk id="49" creationId="{83E6A1A3-ABD3-6821-D943-53875AE406EC}"/>
          </ac:spMkLst>
        </pc:spChg>
        <pc:spChg chg="add del mod modVis">
          <ac:chgData name="Joelle Brehm" userId="a518f54c-6985-42c0-8041-2bb16a414839" providerId="ADAL" clId="{EC4E33A1-3A40-4A99-A232-1E6EEAE786EA}" dt="2023-08-02T20:57:58.351" v="48771"/>
          <ac:spMkLst>
            <pc:docMk/>
            <pc:sldMk cId="3959601197" sldId="285"/>
            <ac:spMk id="53" creationId="{DA5E0A89-C270-ABD8-5598-5E56818D1F71}"/>
          </ac:spMkLst>
        </pc:spChg>
        <pc:spChg chg="del mod">
          <ac:chgData name="Joelle Brehm" userId="a518f54c-6985-42c0-8041-2bb16a414839" providerId="ADAL" clId="{EC4E33A1-3A40-4A99-A232-1E6EEAE786EA}" dt="2023-08-02T20:57:44.462" v="48327"/>
          <ac:spMkLst>
            <pc:docMk/>
            <pc:sldMk cId="3959601197" sldId="285"/>
            <ac:spMk id="68" creationId="{DEFABF45-FA4F-8FCA-5A28-35602D22E667}"/>
          </ac:spMkLst>
        </pc:spChg>
        <pc:spChg chg="mod">
          <ac:chgData name="Joelle Brehm" userId="a518f54c-6985-42c0-8041-2bb16a414839" providerId="ADAL" clId="{EC4E33A1-3A40-4A99-A232-1E6EEAE786EA}" dt="2023-08-02T20:57:58.316" v="48725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EC4E33A1-3A40-4A99-A232-1E6EEAE786EA}" dt="2023-08-02T20:57:58.327" v="48744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0:57:58.329" v="48746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0:57:58.346" v="48765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EC4E33A1-3A40-4A99-A232-1E6EEAE786EA}" dt="2023-08-02T20:57:58.331" v="48748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0:57:58.332" v="48750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0:57:58.333" v="48752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0:57:58.335" v="48754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0:57:58.337" v="48757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7:58.338" v="48758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7:58.339" v="48759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0:57:58.340" v="48760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0:57:58.342" v="48761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0:57:58.387" v="48773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20:57:07.972" v="47313"/>
          <ac:graphicFrameMkLst>
            <pc:docMk/>
            <pc:sldMk cId="3959601197" sldId="285"/>
            <ac:graphicFrameMk id="8" creationId="{B0DC1E5F-7034-BC65-5FDD-EBE48EAD2F40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7:58.301" v="48703"/>
          <ac:graphicFrameMkLst>
            <pc:docMk/>
            <pc:sldMk cId="3959601197" sldId="285"/>
            <ac:graphicFrameMk id="36" creationId="{AC217BBC-C545-4E5C-2248-59B57994927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57:41.694" v="48219"/>
          <ac:graphicFrameMkLst>
            <pc:docMk/>
            <pc:sldMk cId="3959601197" sldId="285"/>
            <ac:graphicFrameMk id="44" creationId="{44D2542C-847E-1734-60BA-3AB44A944D01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0:57:44.686" v="48442"/>
          <ac:graphicFrameMkLst>
            <pc:docMk/>
            <pc:sldMk cId="3959601197" sldId="285"/>
            <ac:graphicFrameMk id="48" creationId="{686CDA4C-2F3E-9F23-1F77-A5869E700416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57:40.264" v="48022"/>
          <ac:graphicFrameMkLst>
            <pc:docMk/>
            <pc:sldMk cId="3959601197" sldId="285"/>
            <ac:graphicFrameMk id="50" creationId="{1568B771-AE38-A27F-9554-B6927D2C499F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7:58.318" v="48730"/>
          <ac:graphicFrameMkLst>
            <pc:docMk/>
            <pc:sldMk cId="3959601197" sldId="285"/>
            <ac:graphicFrameMk id="51" creationId="{B987CBDD-4ADA-694E-793A-F73D20606FEC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0:57:58.216" v="48689"/>
          <ac:graphicFrameMkLst>
            <pc:docMk/>
            <pc:sldMk cId="3959601197" sldId="285"/>
            <ac:graphicFrameMk id="52" creationId="{3636AFA9-D32C-19A4-5C21-23335161C5B2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0:57:58.336" v="48756"/>
          <ac:graphicFrameMkLst>
            <pc:docMk/>
            <pc:sldMk cId="3959601197" sldId="285"/>
            <ac:graphicFrameMk id="54" creationId="{CC38BD52-1DF8-93A3-EC24-F03EE737632F}"/>
          </ac:graphicFrameMkLst>
        </pc:graphicFrameChg>
        <pc:picChg chg="del mod ord">
          <ac:chgData name="Joelle Brehm" userId="a518f54c-6985-42c0-8041-2bb16a414839" providerId="ADAL" clId="{EC4E33A1-3A40-4A99-A232-1E6EEAE786EA}" dt="2023-08-02T20:57:25.325" v="47493" actId="478"/>
          <ac:picMkLst>
            <pc:docMk/>
            <pc:sldMk cId="3959601197" sldId="285"/>
            <ac:picMk id="10" creationId="{E4AFF92D-AF45-2B8F-D158-8639082F179D}"/>
          </ac:picMkLst>
        </pc:picChg>
        <pc:picChg chg="add mod ord">
          <ac:chgData name="Joelle Brehm" userId="a518f54c-6985-42c0-8041-2bb16a414839" providerId="ADAL" clId="{EC4E33A1-3A40-4A99-A232-1E6EEAE786EA}" dt="2023-08-02T20:57:58.298" v="48697"/>
          <ac:picMkLst>
            <pc:docMk/>
            <pc:sldMk cId="3959601197" sldId="285"/>
            <ac:picMk id="38" creationId="{6DC3BD6A-4FB9-BD1F-0FA4-7264B8E18DED}"/>
          </ac:picMkLst>
        </pc:picChg>
        <pc:picChg chg="mod ord">
          <ac:chgData name="Joelle Brehm" userId="a518f54c-6985-42c0-8041-2bb16a414839" providerId="ADAL" clId="{EC4E33A1-3A40-4A99-A232-1E6EEAE786EA}" dt="2023-08-02T20:57:58.345" v="48763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0:57:58.301" v="48701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1:00:16.744" v="50540"/>
        <pc:sldMkLst>
          <pc:docMk/>
          <pc:sldMk cId="3093897313" sldId="286"/>
        </pc:sldMkLst>
        <pc:spChg chg="mod ord">
          <ac:chgData name="Joelle Brehm" userId="a518f54c-6985-42c0-8041-2bb16a414839" providerId="ADAL" clId="{EC4E33A1-3A40-4A99-A232-1E6EEAE786EA}" dt="2023-08-02T21:00:16.722" v="50534"/>
          <ac:spMkLst>
            <pc:docMk/>
            <pc:sldMk cId="3093897313" sldId="286"/>
            <ac:spMk id="2" creationId="{F7E4C1AF-4B86-49C2-BCE8-3BD8367EC27A}"/>
          </ac:spMkLst>
        </pc:spChg>
        <pc:spChg chg="add del mod ord">
          <ac:chgData name="Joelle Brehm" userId="a518f54c-6985-42c0-8041-2bb16a414839" providerId="ADAL" clId="{EC4E33A1-3A40-4A99-A232-1E6EEAE786EA}" dt="2023-08-02T20:59:51.753" v="49132" actId="478"/>
          <ac:spMkLst>
            <pc:docMk/>
            <pc:sldMk cId="3093897313" sldId="286"/>
            <ac:spMk id="3" creationId="{4F7CF71A-B643-6F9E-855E-D2E0922CF625}"/>
          </ac:spMkLst>
        </pc:spChg>
        <pc:spChg chg="add del mod modVis">
          <ac:chgData name="Joelle Brehm" userId="a518f54c-6985-42c0-8041-2bb16a414839" providerId="ADAL" clId="{EC4E33A1-3A40-4A99-A232-1E6EEAE786EA}" dt="2023-08-02T20:59:05.884" v="49037"/>
          <ac:spMkLst>
            <pc:docMk/>
            <pc:sldMk cId="3093897313" sldId="286"/>
            <ac:spMk id="5" creationId="{E1924D01-DC26-8E23-7109-E40F09EB763F}"/>
          </ac:spMkLst>
        </pc:spChg>
        <pc:spChg chg="mod ord">
          <ac:chgData name="Joelle Brehm" userId="a518f54c-6985-42c0-8041-2bb16a414839" providerId="ADAL" clId="{EC4E33A1-3A40-4A99-A232-1E6EEAE786EA}" dt="2023-08-02T21:00:16.690" v="50466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1:00:16.708" v="50504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EC4E33A1-3A40-4A99-A232-1E6EEAE786EA}" dt="2023-08-02T21:00:16.694" v="50474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1:00:16.695" v="50477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1:00:16.696" v="50478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1:00:16.691" v="50471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1:00:16.692" v="50472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1:00:16.696" v="50479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1:00:16.695" v="50476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1:00:16.692" v="50473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1:00:16.697" v="50480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1:00:16.697" v="50481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1:00:16.694" v="50475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1:00:16.697" v="50482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1:00:16.698" v="50484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1:00:16.700" v="50489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1:00:16.699" v="50485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1:00:16.699" v="50486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1:00:16.701" v="50490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1:00:16.702" v="50491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1:00:16.703" v="50493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1:00:16.705" v="50495"/>
          <ac:spMkLst>
            <pc:docMk/>
            <pc:sldMk cId="3093897313" sldId="286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1:00:16.706" v="50499"/>
          <ac:spMkLst>
            <pc:docMk/>
            <pc:sldMk cId="3093897313" sldId="286"/>
            <ac:spMk id="31" creationId="{D74F390C-8EAC-8563-0D4D-5C8848394552}"/>
          </ac:spMkLst>
        </pc:spChg>
        <pc:spChg chg="mod">
          <ac:chgData name="Joelle Brehm" userId="a518f54c-6985-42c0-8041-2bb16a414839" providerId="ADAL" clId="{EC4E33A1-3A40-4A99-A232-1E6EEAE786EA}" dt="2023-08-02T21:00:16.706" v="50500"/>
          <ac:spMkLst>
            <pc:docMk/>
            <pc:sldMk cId="3093897313" sldId="286"/>
            <ac:spMk id="32" creationId="{5F8F84C4-6A6C-C5DC-AE29-77E5B4E909D7}"/>
          </ac:spMkLst>
        </pc:spChg>
        <pc:spChg chg="mod">
          <ac:chgData name="Joelle Brehm" userId="a518f54c-6985-42c0-8041-2bb16a414839" providerId="ADAL" clId="{EC4E33A1-3A40-4A99-A232-1E6EEAE786EA}" dt="2023-08-02T21:00:16.706" v="50498"/>
          <ac:spMkLst>
            <pc:docMk/>
            <pc:sldMk cId="3093897313" sldId="286"/>
            <ac:spMk id="33" creationId="{1334CF39-A6F8-7069-C022-3F7175A20401}"/>
          </ac:spMkLst>
        </pc:spChg>
        <pc:spChg chg="mod">
          <ac:chgData name="Joelle Brehm" userId="a518f54c-6985-42c0-8041-2bb16a414839" providerId="ADAL" clId="{EC4E33A1-3A40-4A99-A232-1E6EEAE786EA}" dt="2023-08-02T21:00:16.707" v="50502"/>
          <ac:spMkLst>
            <pc:docMk/>
            <pc:sldMk cId="3093897313" sldId="286"/>
            <ac:spMk id="34" creationId="{99F86B53-3C14-F4B7-5920-953490F3E4CD}"/>
          </ac:spMkLst>
        </pc:spChg>
        <pc:spChg chg="mod">
          <ac:chgData name="Joelle Brehm" userId="a518f54c-6985-42c0-8041-2bb16a414839" providerId="ADAL" clId="{EC4E33A1-3A40-4A99-A232-1E6EEAE786EA}" dt="2023-08-02T21:00:16.707" v="50501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EC4E33A1-3A40-4A99-A232-1E6EEAE786EA}" dt="2023-08-02T21:00:16.700" v="50488"/>
          <ac:spMkLst>
            <pc:docMk/>
            <pc:sldMk cId="3093897313" sldId="286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1:00:16.710" v="50508"/>
          <ac:spMkLst>
            <pc:docMk/>
            <pc:sldMk cId="3093897313" sldId="286"/>
            <ac:spMk id="39" creationId="{148BD74F-B08A-D055-2827-72B7638D08C5}"/>
          </ac:spMkLst>
        </pc:spChg>
        <pc:spChg chg="mod">
          <ac:chgData name="Joelle Brehm" userId="a518f54c-6985-42c0-8041-2bb16a414839" providerId="ADAL" clId="{EC4E33A1-3A40-4A99-A232-1E6EEAE786EA}" dt="2023-08-02T21:00:16.707" v="50503"/>
          <ac:spMkLst>
            <pc:docMk/>
            <pc:sldMk cId="3093897313" sldId="286"/>
            <ac:spMk id="40" creationId="{C9855917-BD95-0D5A-6B07-14EBAD7B2828}"/>
          </ac:spMkLst>
        </pc:spChg>
        <pc:spChg chg="add mod replST">
          <ac:chgData name="Joelle Brehm" userId="a518f54c-6985-42c0-8041-2bb16a414839" providerId="ADAL" clId="{EC4E33A1-3A40-4A99-A232-1E6EEAE786EA}" dt="2023-08-02T21:00:16.711" v="50509"/>
          <ac:spMkLst>
            <pc:docMk/>
            <pc:sldMk cId="3093897313" sldId="286"/>
            <ac:spMk id="41" creationId="{FA3F9D1B-56DF-7D88-3CCF-9C83CF37CE74}"/>
          </ac:spMkLst>
        </pc:spChg>
        <pc:spChg chg="mod">
          <ac:chgData name="Joelle Brehm" userId="a518f54c-6985-42c0-8041-2bb16a414839" providerId="ADAL" clId="{EC4E33A1-3A40-4A99-A232-1E6EEAE786EA}" dt="2023-08-02T21:00:16.708" v="50505"/>
          <ac:spMkLst>
            <pc:docMk/>
            <pc:sldMk cId="3093897313" sldId="286"/>
            <ac:spMk id="42" creationId="{D859979A-C7CC-20E7-C4CA-F18D382485A8}"/>
          </ac:spMkLst>
        </pc:spChg>
        <pc:spChg chg="add del mod modVis">
          <ac:chgData name="Joelle Brehm" userId="a518f54c-6985-42c0-8041-2bb16a414839" providerId="ADAL" clId="{EC4E33A1-3A40-4A99-A232-1E6EEAE786EA}" dt="2023-08-02T21:00:02.234" v="49847"/>
          <ac:spMkLst>
            <pc:docMk/>
            <pc:sldMk cId="3093897313" sldId="286"/>
            <ac:spMk id="43" creationId="{6AE3AC98-4761-4947-F7AA-6335A7D7B9BB}"/>
          </ac:spMkLst>
        </pc:spChg>
        <pc:spChg chg="mod">
          <ac:chgData name="Joelle Brehm" userId="a518f54c-6985-42c0-8041-2bb16a414839" providerId="ADAL" clId="{EC4E33A1-3A40-4A99-A232-1E6EEAE786EA}" dt="2023-08-02T21:00:16.709" v="50506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EC4E33A1-3A40-4A99-A232-1E6EEAE786EA}" dt="2023-08-02T21:00:16.710" v="50507"/>
          <ac:spMkLst>
            <pc:docMk/>
            <pc:sldMk cId="3093897313" sldId="286"/>
            <ac:spMk id="45" creationId="{0F9CEF9A-7834-B39E-CB12-DD7EDCF963B1}"/>
          </ac:spMkLst>
        </pc:spChg>
        <pc:spChg chg="add del mod ord replST">
          <ac:chgData name="Joelle Brehm" userId="a518f54c-6985-42c0-8041-2bb16a414839" providerId="ADAL" clId="{EC4E33A1-3A40-4A99-A232-1E6EEAE786EA}" dt="2023-08-02T21:00:07.129" v="50135"/>
          <ac:spMkLst>
            <pc:docMk/>
            <pc:sldMk cId="3093897313" sldId="286"/>
            <ac:spMk id="46" creationId="{7CAA3B95-4C78-4122-BECA-B5FB0F3F3764}"/>
          </ac:spMkLst>
        </pc:spChg>
        <pc:spChg chg="add del mod ord replST">
          <ac:chgData name="Joelle Brehm" userId="a518f54c-6985-42c0-8041-2bb16a414839" providerId="ADAL" clId="{EC4E33A1-3A40-4A99-A232-1E6EEAE786EA}" dt="2023-08-02T21:00:07.179" v="50171"/>
          <ac:spMkLst>
            <pc:docMk/>
            <pc:sldMk cId="3093897313" sldId="286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1:00:04.445" v="50060"/>
          <ac:spMkLst>
            <pc:docMk/>
            <pc:sldMk cId="3093897313" sldId="286"/>
            <ac:spMk id="49" creationId="{E2A35BFA-4059-42B6-2F8A-3F07CD54A465}"/>
          </ac:spMkLst>
        </pc:spChg>
        <pc:spChg chg="add del mod modVis">
          <ac:chgData name="Joelle Brehm" userId="a518f54c-6985-42c0-8041-2bb16a414839" providerId="ADAL" clId="{EC4E33A1-3A40-4A99-A232-1E6EEAE786EA}" dt="2023-08-02T21:00:07.318" v="50264"/>
          <ac:spMkLst>
            <pc:docMk/>
            <pc:sldMk cId="3093897313" sldId="286"/>
            <ac:spMk id="51" creationId="{E68D4EE5-6C08-A57B-A411-B338BB82DE54}"/>
          </ac:spMkLst>
        </pc:spChg>
        <pc:spChg chg="add del mod modVis">
          <ac:chgData name="Joelle Brehm" userId="a518f54c-6985-42c0-8041-2bb16a414839" providerId="ADAL" clId="{EC4E33A1-3A40-4A99-A232-1E6EEAE786EA}" dt="2023-08-02T21:00:16.724" v="50538"/>
          <ac:spMkLst>
            <pc:docMk/>
            <pc:sldMk cId="3093897313" sldId="286"/>
            <ac:spMk id="54" creationId="{98F97379-5488-A420-B48E-0BAF458765E0}"/>
          </ac:spMkLst>
        </pc:spChg>
        <pc:spChg chg="del mod">
          <ac:chgData name="Joelle Brehm" userId="a518f54c-6985-42c0-8041-2bb16a414839" providerId="ADAL" clId="{EC4E33A1-3A40-4A99-A232-1E6EEAE786EA}" dt="2023-08-02T21:00:06.930" v="50063"/>
          <ac:spMkLst>
            <pc:docMk/>
            <pc:sldMk cId="3093897313" sldId="286"/>
            <ac:spMk id="66" creationId="{D24BFD29-661B-4491-5975-FE849427D9EF}"/>
          </ac:spMkLst>
        </pc:spChg>
        <pc:spChg chg="mod">
          <ac:chgData name="Joelle Brehm" userId="a518f54c-6985-42c0-8041-2bb16a414839" providerId="ADAL" clId="{EC4E33A1-3A40-4A99-A232-1E6EEAE786EA}" dt="2023-08-02T21:00:16.702" v="50492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EC4E33A1-3A40-4A99-A232-1E6EEAE786EA}" dt="2023-08-02T21:00:16.712" v="50511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1:00:16.712" v="50513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1:00:16.721" v="50532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EC4E33A1-3A40-4A99-A232-1E6EEAE786EA}" dt="2023-08-02T21:00:16.713" v="50515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1:00:16.714" v="50517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1:00:16.715" v="50519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1:00:16.716" v="50521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1:00:16.718" v="50525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0:16.718" v="50526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0:16.717" v="50524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0:16.719" v="50527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1:00:16.720" v="50528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1:00:16.744" v="50540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20:59:05.742" v="48949"/>
          <ac:graphicFrameMkLst>
            <pc:docMk/>
            <pc:sldMk cId="3093897313" sldId="286"/>
            <ac:graphicFrameMk id="8" creationId="{4C135EF1-F64C-836E-3F21-6A30E63EF0C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0:16.691" v="50470"/>
          <ac:graphicFrameMkLst>
            <pc:docMk/>
            <pc:sldMk cId="3093897313" sldId="286"/>
            <ac:graphicFrameMk id="35" creationId="{E65FFAA4-F718-A3BC-8F3E-CE712CC90724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0:04.306" v="49953"/>
          <ac:graphicFrameMkLst>
            <pc:docMk/>
            <pc:sldMk cId="3093897313" sldId="286"/>
            <ac:graphicFrameMk id="48" creationId="{456B92C5-4333-07AD-ECFC-A3B14BDD3D5D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0:07.192" v="50182"/>
          <ac:graphicFrameMkLst>
            <pc:docMk/>
            <pc:sldMk cId="3093897313" sldId="286"/>
            <ac:graphicFrameMk id="50" creationId="{60848722-8B15-8A46-4C04-667BD9CCC512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0:02.124" v="49740"/>
          <ac:graphicFrameMkLst>
            <pc:docMk/>
            <pc:sldMk cId="3093897313" sldId="286"/>
            <ac:graphicFrameMk id="52" creationId="{F06A9197-FA2B-2534-2D5C-34A3AEBA662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0:16.705" v="50497"/>
          <ac:graphicFrameMkLst>
            <pc:docMk/>
            <pc:sldMk cId="3093897313" sldId="286"/>
            <ac:graphicFrameMk id="53" creationId="{F89075C2-9D79-14CB-22DA-3E84C5C88774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0:16.643" v="50456"/>
          <ac:graphicFrameMkLst>
            <pc:docMk/>
            <pc:sldMk cId="3093897313" sldId="286"/>
            <ac:graphicFrameMk id="55" creationId="{2FB7335E-A905-7904-48AB-2BA4AB4CD75C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0:16.717" v="50523"/>
          <ac:graphicFrameMkLst>
            <pc:docMk/>
            <pc:sldMk cId="3093897313" sldId="286"/>
            <ac:graphicFrameMk id="56" creationId="{CDFA42C4-F1B7-2567-046C-21E0127A23CA}"/>
          </ac:graphicFrameMkLst>
        </pc:graphicFrameChg>
        <pc:picChg chg="del mod ord">
          <ac:chgData name="Joelle Brehm" userId="a518f54c-6985-42c0-8041-2bb16a414839" providerId="ADAL" clId="{EC4E33A1-3A40-4A99-A232-1E6EEAE786EA}" dt="2023-08-02T20:59:41.044" v="49130" actId="478"/>
          <ac:picMkLst>
            <pc:docMk/>
            <pc:sldMk cId="3093897313" sldId="286"/>
            <ac:picMk id="9" creationId="{933A6701-45AD-093E-DCC6-6235E3FFB218}"/>
          </ac:picMkLst>
        </pc:picChg>
        <pc:picChg chg="add mod ord">
          <ac:chgData name="Joelle Brehm" userId="a518f54c-6985-42c0-8041-2bb16a414839" providerId="ADAL" clId="{EC4E33A1-3A40-4A99-A232-1E6EEAE786EA}" dt="2023-08-02T21:00:16.689" v="50464"/>
          <ac:picMkLst>
            <pc:docMk/>
            <pc:sldMk cId="3093897313" sldId="286"/>
            <ac:picMk id="38" creationId="{D1A4ED94-63E9-02EC-111A-4727F454DF7A}"/>
          </ac:picMkLst>
        </pc:picChg>
        <pc:picChg chg="mod ord">
          <ac:chgData name="Joelle Brehm" userId="a518f54c-6985-42c0-8041-2bb16a414839" providerId="ADAL" clId="{EC4E33A1-3A40-4A99-A232-1E6EEAE786EA}" dt="2023-08-02T21:00:16.721" v="50530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1:00:16.690" v="50468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1:01:27.881" v="52492"/>
        <pc:sldMkLst>
          <pc:docMk/>
          <pc:sldMk cId="1459118046" sldId="288"/>
        </pc:sldMkLst>
        <pc:spChg chg="mod ord">
          <ac:chgData name="Joelle Brehm" userId="a518f54c-6985-42c0-8041-2bb16a414839" providerId="ADAL" clId="{EC4E33A1-3A40-4A99-A232-1E6EEAE786EA}" dt="2023-08-02T21:01:27.814" v="52456"/>
          <ac:spMkLst>
            <pc:docMk/>
            <pc:sldMk cId="1459118046" sldId="288"/>
            <ac:spMk id="2" creationId="{845E990D-F1AA-419F-97F0-12FFB2CEF6D1}"/>
          </ac:spMkLst>
        </pc:spChg>
        <pc:spChg chg="add del mod ord">
          <ac:chgData name="Joelle Brehm" userId="a518f54c-6985-42c0-8041-2bb16a414839" providerId="ADAL" clId="{EC4E33A1-3A40-4A99-A232-1E6EEAE786EA}" dt="2023-08-02T21:01:04.870" v="50908" actId="478"/>
          <ac:spMkLst>
            <pc:docMk/>
            <pc:sldMk cId="1459118046" sldId="288"/>
            <ac:spMk id="3" creationId="{A8CC9090-0E36-C9A1-E1AF-0C5AEC28DCE4}"/>
          </ac:spMkLst>
        </pc:spChg>
        <pc:spChg chg="add del mod modVis">
          <ac:chgData name="Joelle Brehm" userId="a518f54c-6985-42c0-8041-2bb16a414839" providerId="ADAL" clId="{EC4E33A1-3A40-4A99-A232-1E6EEAE786EA}" dt="2023-08-02T21:00:43.386" v="50809"/>
          <ac:spMkLst>
            <pc:docMk/>
            <pc:sldMk cId="1459118046" sldId="288"/>
            <ac:spMk id="5" creationId="{5EF3A17D-5C83-9749-809D-0A90EEE55220}"/>
          </ac:spMkLst>
        </pc:spChg>
        <pc:spChg chg="mod ord">
          <ac:chgData name="Joelle Brehm" userId="a518f54c-6985-42c0-8041-2bb16a414839" providerId="ADAL" clId="{EC4E33A1-3A40-4A99-A232-1E6EEAE786EA}" dt="2023-08-02T21:01:27.786" v="52418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1:01:27.795" v="52430"/>
          <ac:spMkLst>
            <pc:docMk/>
            <pc:sldMk cId="1459118046" sldId="288"/>
            <ac:spMk id="8" creationId="{76022A0B-4CC0-BD01-B601-16975F52FDC8}"/>
          </ac:spMkLst>
        </pc:spChg>
        <pc:spChg chg="mod">
          <ac:chgData name="Joelle Brehm" userId="a518f54c-6985-42c0-8041-2bb16a414839" providerId="ADAL" clId="{EC4E33A1-3A40-4A99-A232-1E6EEAE786EA}" dt="2023-08-02T21:01:27.793" v="52428"/>
          <ac:spMkLst>
            <pc:docMk/>
            <pc:sldMk cId="1459118046" sldId="288"/>
            <ac:spMk id="11" creationId="{DC53A836-E5C3-0006-CBB8-57FCA1C2DBA6}"/>
          </ac:spMkLst>
        </pc:spChg>
        <pc:spChg chg="mod">
          <ac:chgData name="Joelle Brehm" userId="a518f54c-6985-42c0-8041-2bb16a414839" providerId="ADAL" clId="{EC4E33A1-3A40-4A99-A232-1E6EEAE786EA}" dt="2023-08-02T21:01:27.794" v="52429"/>
          <ac:spMkLst>
            <pc:docMk/>
            <pc:sldMk cId="1459118046" sldId="288"/>
            <ac:spMk id="13" creationId="{3F6C20EF-E32A-5D01-E3DC-3079317054CC}"/>
          </ac:spMkLst>
        </pc:spChg>
        <pc:spChg chg="mod">
          <ac:chgData name="Joelle Brehm" userId="a518f54c-6985-42c0-8041-2bb16a414839" providerId="ADAL" clId="{EC4E33A1-3A40-4A99-A232-1E6EEAE786EA}" dt="2023-08-02T21:01:27.796" v="52432"/>
          <ac:spMkLst>
            <pc:docMk/>
            <pc:sldMk cId="1459118046" sldId="288"/>
            <ac:spMk id="14" creationId="{25D946D5-9986-579D-41E4-6C10E6C340A5}"/>
          </ac:spMkLst>
        </pc:spChg>
        <pc:spChg chg="mod">
          <ac:chgData name="Joelle Brehm" userId="a518f54c-6985-42c0-8041-2bb16a414839" providerId="ADAL" clId="{EC4E33A1-3A40-4A99-A232-1E6EEAE786EA}" dt="2023-08-02T21:01:27.792" v="52427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EC4E33A1-3A40-4A99-A232-1E6EEAE786EA}" dt="2023-08-02T21:01:27.796" v="52431"/>
          <ac:spMkLst>
            <pc:docMk/>
            <pc:sldMk cId="1459118046" sldId="288"/>
            <ac:spMk id="17" creationId="{DBE0A1F6-A1CF-2057-B929-F159E2F0790D}"/>
          </ac:spMkLst>
        </pc:spChg>
        <pc:spChg chg="add mod replST">
          <ac:chgData name="Joelle Brehm" userId="a518f54c-6985-42c0-8041-2bb16a414839" providerId="ADAL" clId="{EC4E33A1-3A40-4A99-A232-1E6EEAE786EA}" dt="2023-08-02T21:01:27.803" v="52438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EC4E33A1-3A40-4A99-A232-1E6EEAE786EA}" dt="2023-08-02T21:01:27.797" v="52433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EC4E33A1-3A40-4A99-A232-1E6EEAE786EA}" dt="2023-08-02T21:01:27.798" v="52434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EC4E33A1-3A40-4A99-A232-1E6EEAE786EA}" dt="2023-08-02T21:01:27.802" v="52437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EC4E33A1-3A40-4A99-A232-1E6EEAE786EA}" dt="2023-08-02T21:01:27.789" v="52422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1:01:27.799" v="52435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EC4E33A1-3A40-4A99-A232-1E6EEAE786EA}" dt="2023-08-02T21:01:10.075" v="51548"/>
          <ac:spMkLst>
            <pc:docMk/>
            <pc:sldMk cId="1459118046" sldId="288"/>
            <ac:spMk id="25" creationId="{B8A3E741-CEA9-506C-33C6-284316FA86B1}"/>
          </ac:spMkLst>
        </pc:spChg>
        <pc:spChg chg="add del mod modVis">
          <ac:chgData name="Joelle Brehm" userId="a518f54c-6985-42c0-8041-2bb16a414839" providerId="ADAL" clId="{EC4E33A1-3A40-4A99-A232-1E6EEAE786EA}" dt="2023-08-02T21:01:11.084" v="51757"/>
          <ac:spMkLst>
            <pc:docMk/>
            <pc:sldMk cId="1459118046" sldId="288"/>
            <ac:spMk id="27" creationId="{D297A6A9-FE0D-49E3-4E8C-45D058B0DE76}"/>
          </ac:spMkLst>
        </pc:spChg>
        <pc:spChg chg="add del mod modVis">
          <ac:chgData name="Joelle Brehm" userId="a518f54c-6985-42c0-8041-2bb16a414839" providerId="ADAL" clId="{EC4E33A1-3A40-4A99-A232-1E6EEAE786EA}" dt="2023-08-02T21:01:14.372" v="52070"/>
          <ac:spMkLst>
            <pc:docMk/>
            <pc:sldMk cId="1459118046" sldId="288"/>
            <ac:spMk id="29" creationId="{5E4C4504-099D-52AE-5690-A45BA441DCBC}"/>
          </ac:spMkLst>
        </pc:spChg>
        <pc:spChg chg="mod ord">
          <ac:chgData name="Joelle Brehm" userId="a518f54c-6985-42c0-8041-2bb16a414839" providerId="ADAL" clId="{EC4E33A1-3A40-4A99-A232-1E6EEAE786EA}" dt="2023-08-02T21:01:27.790" v="52424"/>
          <ac:spMkLst>
            <pc:docMk/>
            <pc:sldMk cId="1459118046" sldId="288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1:01:27.801" v="52436"/>
          <ac:spMkLst>
            <pc:docMk/>
            <pc:sldMk cId="1459118046" sldId="288"/>
            <ac:spMk id="32" creationId="{B550E4F3-9753-AC19-5B37-AFDADA6A889D}"/>
          </ac:spMkLst>
        </pc:spChg>
        <pc:spChg chg="add del mod ord replST">
          <ac:chgData name="Joelle Brehm" userId="a518f54c-6985-42c0-8041-2bb16a414839" providerId="ADAL" clId="{EC4E33A1-3A40-4A99-A232-1E6EEAE786EA}" dt="2023-08-02T21:01:18.128" v="52145"/>
          <ac:spMkLst>
            <pc:docMk/>
            <pc:sldMk cId="1459118046" sldId="288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1:01:18.178" v="52229"/>
          <ac:spMkLst>
            <pc:docMk/>
            <pc:sldMk cId="1459118046" sldId="288"/>
            <ac:spMk id="35" creationId="{5494604B-F5DC-3CCA-425B-E5CE26352F61}"/>
          </ac:spMkLst>
        </pc:spChg>
        <pc:spChg chg="add del mod modVis">
          <ac:chgData name="Joelle Brehm" userId="a518f54c-6985-42c0-8041-2bb16a414839" providerId="ADAL" clId="{EC4E33A1-3A40-4A99-A232-1E6EEAE786EA}" dt="2023-08-02T21:01:27.845" v="52490"/>
          <ac:spMkLst>
            <pc:docMk/>
            <pc:sldMk cId="1459118046" sldId="288"/>
            <ac:spMk id="37" creationId="{4FB147BB-51FC-A246-4ABF-C7FFDF1E929C}"/>
          </ac:spMkLst>
        </pc:spChg>
        <pc:spChg chg="del mod">
          <ac:chgData name="Joelle Brehm" userId="a518f54c-6985-42c0-8041-2bb16a414839" providerId="ADAL" clId="{EC4E33A1-3A40-4A99-A232-1E6EEAE786EA}" dt="2023-08-02T21:01:13.800" v="51760"/>
          <ac:spMkLst>
            <pc:docMk/>
            <pc:sldMk cId="1459118046" sldId="288"/>
            <ac:spMk id="69" creationId="{E3515AE7-81C8-44F5-EAE8-D82D93DDACD6}"/>
          </ac:spMkLst>
        </pc:spChg>
        <pc:spChg chg="mod ord">
          <ac:chgData name="Joelle Brehm" userId="a518f54c-6985-42c0-8041-2bb16a414839" providerId="ADAL" clId="{EC4E33A1-3A40-4A99-A232-1E6EEAE786EA}" dt="2023-08-02T21:01:27.804" v="52440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1:01:27.806" v="52442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EC4E33A1-3A40-4A99-A232-1E6EEAE786EA}" dt="2023-08-02T21:01:27.825" v="52470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EC4E33A1-3A40-4A99-A232-1E6EEAE786EA}" dt="2023-08-02T21:01:27.817" v="52461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EC4E33A1-3A40-4A99-A232-1E6EEAE786EA}" dt="2023-08-02T21:01:27.813" v="52454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EC4E33A1-3A40-4A99-A232-1E6EEAE786EA}" dt="2023-08-02T21:01:27.822" v="52466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EC4E33A1-3A40-4A99-A232-1E6EEAE786EA}" dt="2023-08-02T21:01:27.819" v="52463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EC4E33A1-3A40-4A99-A232-1E6EEAE786EA}" dt="2023-08-02T21:01:27.821" v="52465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EC4E33A1-3A40-4A99-A232-1E6EEAE786EA}" dt="2023-08-02T21:01:27.808" v="52444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EC4E33A1-3A40-4A99-A232-1E6EEAE786EA}" dt="2023-08-02T21:01:27.820" v="52464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EC4E33A1-3A40-4A99-A232-1E6EEAE786EA}" dt="2023-08-02T21:01:27.817" v="52460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EC4E33A1-3A40-4A99-A232-1E6EEAE786EA}" dt="2023-08-02T21:01:27.816" v="52459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EC4E33A1-3A40-4A99-A232-1E6EEAE786EA}" dt="2023-08-02T21:01:27.818" v="52462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EC4E33A1-3A40-4A99-A232-1E6EEAE786EA}" dt="2023-08-02T21:01:27.822" v="52467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EC4E33A1-3A40-4A99-A232-1E6EEAE786EA}" dt="2023-08-02T21:01:27.823" v="52468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EC4E33A1-3A40-4A99-A232-1E6EEAE786EA}" dt="2023-08-02T21:01:27.824" v="52469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EC4E33A1-3A40-4A99-A232-1E6EEAE786EA}" dt="2023-08-02T21:01:27.810" v="52446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1:01:27.811" v="52448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1:01:27.811" v="52450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1:01:27.826" v="52471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EC4E33A1-3A40-4A99-A232-1E6EEAE786EA}" dt="2023-08-02T21:01:27.828" v="52473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EC4E33A1-3A40-4A99-A232-1E6EEAE786EA}" dt="2023-08-02T21:01:27.827" v="52472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EC4E33A1-3A40-4A99-A232-1E6EEAE786EA}" dt="2023-08-02T21:01:27.829" v="52475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EC4E33A1-3A40-4A99-A232-1E6EEAE786EA}" dt="2023-08-02T21:01:27.830" v="52476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EC4E33A1-3A40-4A99-A232-1E6EEAE786EA}" dt="2023-08-02T21:01:27.832" v="52478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EC4E33A1-3A40-4A99-A232-1E6EEAE786EA}" dt="2023-08-02T21:01:27.831" v="52477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EC4E33A1-3A40-4A99-A232-1E6EEAE786EA}" dt="2023-08-02T21:01:27.834" v="52479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EC4E33A1-3A40-4A99-A232-1E6EEAE786EA}" dt="2023-08-02T21:01:27.840" v="52486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EC4E33A1-3A40-4A99-A232-1E6EEAE786EA}" dt="2023-08-02T21:01:27.837" v="52483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EC4E33A1-3A40-4A99-A232-1E6EEAE786EA}" dt="2023-08-02T21:01:27.836" v="52482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EC4E33A1-3A40-4A99-A232-1E6EEAE786EA}" dt="2023-08-02T21:01:27.839" v="52485"/>
          <ac:spMkLst>
            <pc:docMk/>
            <pc:sldMk cId="1459118046" sldId="288"/>
            <ac:spMk id="179" creationId="{2DB7AD78-1CB7-4520-A137-CDF9BD645C94}"/>
          </ac:spMkLst>
        </pc:spChg>
        <pc:spChg chg="mod">
          <ac:chgData name="Joelle Brehm" userId="a518f54c-6985-42c0-8041-2bb16a414839" providerId="ADAL" clId="{EC4E33A1-3A40-4A99-A232-1E6EEAE786EA}" dt="2023-08-02T21:01:27.838" v="52484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EC4E33A1-3A40-4A99-A232-1E6EEAE786EA}" dt="2023-08-02T21:01:27.881" v="52492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1:27.815" v="52458"/>
          <ac:graphicFrameMkLst>
            <pc:docMk/>
            <pc:sldMk cId="1459118046" sldId="288"/>
            <ac:graphicFrameMk id="9" creationId="{B9C2F945-21ED-861E-36DE-609601E0329F}"/>
          </ac:graphicFrameMkLst>
        </pc:graphicFrameChg>
        <pc:graphicFrameChg chg="del">
          <ac:chgData name="Joelle Brehm" userId="a518f54c-6985-42c0-8041-2bb16a414839" providerId="ADAL" clId="{EC4E33A1-3A40-4A99-A232-1E6EEAE786EA}" dt="2023-08-02T21:00:43.296" v="50723"/>
          <ac:graphicFrameMkLst>
            <pc:docMk/>
            <pc:sldMk cId="1459118046" sldId="288"/>
            <ac:graphicFrameMk id="10" creationId="{89B7085A-D3F7-2717-2756-2DD234E2282D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1:27.713" v="52408"/>
          <ac:graphicFrameMkLst>
            <pc:docMk/>
            <pc:sldMk cId="1459118046" sldId="288"/>
            <ac:graphicFrameMk id="20" creationId="{D7190168-3072-ECAB-AF8B-5AE94940ED7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1:10.985" v="51654"/>
          <ac:graphicFrameMkLst>
            <pc:docMk/>
            <pc:sldMk cId="1459118046" sldId="288"/>
            <ac:graphicFrameMk id="26" creationId="{CDEEF199-958E-7719-F125-1822A8CEB90F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1:14.240" v="51966"/>
          <ac:graphicFrameMkLst>
            <pc:docMk/>
            <pc:sldMk cId="1459118046" sldId="288"/>
            <ac:graphicFrameMk id="28" creationId="{66DEA606-66B2-A856-61A4-88F77E96AC34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1:09.992" v="51459"/>
          <ac:graphicFrameMkLst>
            <pc:docMk/>
            <pc:sldMk cId="1459118046" sldId="288"/>
            <ac:graphicFrameMk id="31" creationId="{D0443434-548E-A59F-D9CC-CA6AD1DD82E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1:18.130" v="52147"/>
          <ac:graphicFrameMkLst>
            <pc:docMk/>
            <pc:sldMk cId="1459118046" sldId="288"/>
            <ac:graphicFrameMk id="34" creationId="{71928326-6C07-80BA-0F87-068534B4219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1:27.791" v="52426"/>
          <ac:graphicFrameMkLst>
            <pc:docMk/>
            <pc:sldMk cId="1459118046" sldId="288"/>
            <ac:graphicFrameMk id="36" creationId="{903E99EA-82B6-A0E3-6DB6-9F82712F8E76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1:27.835" v="52481"/>
          <ac:graphicFrameMkLst>
            <pc:docMk/>
            <pc:sldMk cId="1459118046" sldId="288"/>
            <ac:graphicFrameMk id="38" creationId="{AC9BD649-DEAB-7B5A-6FEE-4971D9C40939}"/>
          </ac:graphicFrameMkLst>
        </pc:graphicFrameChg>
        <pc:picChg chg="del mod ord">
          <ac:chgData name="Joelle Brehm" userId="a518f54c-6985-42c0-8041-2bb16a414839" providerId="ADAL" clId="{EC4E33A1-3A40-4A99-A232-1E6EEAE786EA}" dt="2023-08-02T21:01:00.109" v="50906" actId="478"/>
          <ac:picMkLst>
            <pc:docMk/>
            <pc:sldMk cId="1459118046" sldId="288"/>
            <ac:picMk id="12" creationId="{F81E21AF-1C09-4316-A550-C52F9AD18B0B}"/>
          </ac:picMkLst>
        </pc:picChg>
        <pc:picChg chg="add mod ord">
          <ac:chgData name="Joelle Brehm" userId="a518f54c-6985-42c0-8041-2bb16a414839" providerId="ADAL" clId="{EC4E33A1-3A40-4A99-A232-1E6EEAE786EA}" dt="2023-08-02T21:01:27.784" v="52416"/>
          <ac:picMkLst>
            <pc:docMk/>
            <pc:sldMk cId="1459118046" sldId="288"/>
            <ac:picMk id="15" creationId="{A9605862-389D-E25D-72CB-6BAF8F60BBC6}"/>
          </ac:picMkLst>
        </pc:picChg>
        <pc:picChg chg="mod ord">
          <ac:chgData name="Joelle Brehm" userId="a518f54c-6985-42c0-8041-2bb16a414839" providerId="ADAL" clId="{EC4E33A1-3A40-4A99-A232-1E6EEAE786EA}" dt="2023-08-02T21:01:27.812" v="52452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1:01:27.788" v="52420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1:02:50.931" v="54477"/>
        <pc:sldMkLst>
          <pc:docMk/>
          <pc:sldMk cId="10849840" sldId="290"/>
        </pc:sldMkLst>
        <pc:spChg chg="add del mod ord">
          <ac:chgData name="Joelle Brehm" userId="a518f54c-6985-42c0-8041-2bb16a414839" providerId="ADAL" clId="{EC4E33A1-3A40-4A99-A232-1E6EEAE786EA}" dt="2023-08-02T21:02:18.096" v="52866" actId="478"/>
          <ac:spMkLst>
            <pc:docMk/>
            <pc:sldMk cId="10849840" sldId="290"/>
            <ac:spMk id="2" creationId="{EF687E74-F2C4-F38B-9C19-2EF67C07B8F8}"/>
          </ac:spMkLst>
        </pc:spChg>
        <pc:spChg chg="mod ord">
          <ac:chgData name="Joelle Brehm" userId="a518f54c-6985-42c0-8041-2bb16a414839" providerId="ADAL" clId="{EC4E33A1-3A40-4A99-A232-1E6EEAE786EA}" dt="2023-08-02T21:02:50.890" v="54471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EC4E33A1-3A40-4A99-A232-1E6EEAE786EA}" dt="2023-08-02T21:02:50.867" v="54442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EC4E33A1-3A40-4A99-A232-1E6EEAE786EA}" dt="2023-08-02T21:02:50.781" v="54401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EC4E33A1-3A40-4A99-A232-1E6EEAE786EA}" dt="2023-08-02T21:01:53.716" v="52767"/>
          <ac:spMkLst>
            <pc:docMk/>
            <pc:sldMk cId="10849840" sldId="290"/>
            <ac:spMk id="8" creationId="{4BB194CF-BB40-0AA8-367D-0B8A68321557}"/>
          </ac:spMkLst>
        </pc:spChg>
        <pc:spChg chg="mod">
          <ac:chgData name="Joelle Brehm" userId="a518f54c-6985-42c0-8041-2bb16a414839" providerId="ADAL" clId="{EC4E33A1-3A40-4A99-A232-1E6EEAE786EA}" dt="2023-08-02T21:02:50.785" v="54406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1:02:50.790" v="54410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1:02:50.811" v="54412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1:02:50.788" v="54408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1:02:50.790" v="54411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1:02:50.786" v="54407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1:02:50.813" v="54413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1:02:50.789" v="54409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1:02:50.814" v="54414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1:02:50.822" v="54415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1:02:50.823" v="54416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1:02:50.826" v="54417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1:02:50.828" v="54419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1:02:50.831" v="54422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1:02:50.830" v="54421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1:02:50.829" v="54420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1:02:50.840" v="54427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1:02:50.838" v="54425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1:02:50.839" v="54426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1:02:50.849" v="54430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1:02:50.855" v="54437"/>
          <ac:spMkLst>
            <pc:docMk/>
            <pc:sldMk cId="10849840" sldId="290"/>
            <ac:spMk id="31" creationId="{7AB81A3E-9DE7-CB71-14B7-5B53FD3178AE}"/>
          </ac:spMkLst>
        </pc:spChg>
        <pc:spChg chg="mod">
          <ac:chgData name="Joelle Brehm" userId="a518f54c-6985-42c0-8041-2bb16a414839" providerId="ADAL" clId="{EC4E33A1-3A40-4A99-A232-1E6EEAE786EA}" dt="2023-08-02T21:02:50.852" v="54434"/>
          <ac:spMkLst>
            <pc:docMk/>
            <pc:sldMk cId="10849840" sldId="290"/>
            <ac:spMk id="32" creationId="{47DE593B-1A30-2341-AF40-57CA8B07E1EE}"/>
          </ac:spMkLst>
        </pc:spChg>
        <pc:spChg chg="mod">
          <ac:chgData name="Joelle Brehm" userId="a518f54c-6985-42c0-8041-2bb16a414839" providerId="ADAL" clId="{EC4E33A1-3A40-4A99-A232-1E6EEAE786EA}" dt="2023-08-02T21:02:50.868" v="54443"/>
          <ac:spMkLst>
            <pc:docMk/>
            <pc:sldMk cId="10849840" sldId="290"/>
            <ac:spMk id="33" creationId="{A55B1EF4-73C4-D584-0203-A74707EA08E2}"/>
          </ac:spMkLst>
        </pc:spChg>
        <pc:spChg chg="mod">
          <ac:chgData name="Joelle Brehm" userId="a518f54c-6985-42c0-8041-2bb16a414839" providerId="ADAL" clId="{EC4E33A1-3A40-4A99-A232-1E6EEAE786EA}" dt="2023-08-02T21:02:50.856" v="54438"/>
          <ac:spMkLst>
            <pc:docMk/>
            <pc:sldMk cId="10849840" sldId="290"/>
            <ac:spMk id="34" creationId="{2324DD3B-E106-01D1-4B12-42A8E001839F}"/>
          </ac:spMkLst>
        </pc:spChg>
        <pc:spChg chg="mod">
          <ac:chgData name="Joelle Brehm" userId="a518f54c-6985-42c0-8041-2bb16a414839" providerId="ADAL" clId="{EC4E33A1-3A40-4A99-A232-1E6EEAE786EA}" dt="2023-08-02T21:02:50.853" v="54435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EC4E33A1-3A40-4A99-A232-1E6EEAE786EA}" dt="2023-08-02T21:02:50.857" v="54439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EC4E33A1-3A40-4A99-A232-1E6EEAE786EA}" dt="2023-08-02T21:02:50.837" v="54424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1:02:50.854" v="54436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EC4E33A1-3A40-4A99-A232-1E6EEAE786EA}" dt="2023-08-02T21:02:50.851" v="54433"/>
          <ac:spMkLst>
            <pc:docMk/>
            <pc:sldMk cId="10849840" sldId="290"/>
            <ac:spMk id="39" creationId="{810C784D-B902-D4A3-E0DE-5483A97F9C49}"/>
          </ac:spMkLst>
        </pc:spChg>
        <pc:spChg chg="add mod replST">
          <ac:chgData name="Joelle Brehm" userId="a518f54c-6985-42c0-8041-2bb16a414839" providerId="ADAL" clId="{EC4E33A1-3A40-4A99-A232-1E6EEAE786EA}" dt="2023-08-02T21:02:50.869" v="54444"/>
          <ac:spMkLst>
            <pc:docMk/>
            <pc:sldMk cId="10849840" sldId="290"/>
            <ac:spMk id="42" creationId="{FFCC1BC0-06CA-CDAD-EEFE-FE2FB52A38E0}"/>
          </ac:spMkLst>
        </pc:spChg>
        <pc:spChg chg="add del mod modVis">
          <ac:chgData name="Joelle Brehm" userId="a518f54c-6985-42c0-8041-2bb16a414839" providerId="ADAL" clId="{EC4E33A1-3A40-4A99-A232-1E6EEAE786EA}" dt="2023-08-02T21:02:23.654" v="53499"/>
          <ac:spMkLst>
            <pc:docMk/>
            <pc:sldMk cId="10849840" sldId="290"/>
            <ac:spMk id="43" creationId="{7DA87D7B-3D48-FB01-6073-211B6D33DC33}"/>
          </ac:spMkLst>
        </pc:spChg>
        <pc:spChg chg="mod">
          <ac:chgData name="Joelle Brehm" userId="a518f54c-6985-42c0-8041-2bb16a414839" providerId="ADAL" clId="{EC4E33A1-3A40-4A99-A232-1E6EEAE786EA}" dt="2023-08-02T21:02:50.865" v="54440"/>
          <ac:spMkLst>
            <pc:docMk/>
            <pc:sldMk cId="10849840" sldId="290"/>
            <ac:spMk id="44" creationId="{16E8BB2B-0284-4130-9494-7152E71E09E4}"/>
          </ac:spMkLst>
        </pc:spChg>
        <pc:spChg chg="add mod ord replST">
          <ac:chgData name="Joelle Brehm" userId="a518f54c-6985-42c0-8041-2bb16a414839" providerId="ADAL" clId="{EC4E33A1-3A40-4A99-A232-1E6EEAE786EA}" dt="2023-08-02T21:02:50.870" v="54446"/>
          <ac:spMkLst>
            <pc:docMk/>
            <pc:sldMk cId="10849840" sldId="290"/>
            <ac:spMk id="4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2:50.866" v="54441"/>
          <ac:spMkLst>
            <pc:docMk/>
            <pc:sldMk cId="10849840" sldId="290"/>
            <ac:spMk id="46" creationId="{3E1C433A-5376-E641-B9A1-4367058A9B7F}"/>
          </ac:spMkLst>
        </pc:spChg>
        <pc:spChg chg="add del mod modVis">
          <ac:chgData name="Joelle Brehm" userId="a518f54c-6985-42c0-8041-2bb16a414839" providerId="ADAL" clId="{EC4E33A1-3A40-4A99-A232-1E6EEAE786EA}" dt="2023-08-02T21:02:25.796" v="53707"/>
          <ac:spMkLst>
            <pc:docMk/>
            <pc:sldMk cId="10849840" sldId="290"/>
            <ac:spMk id="48" creationId="{288E1DB4-7984-1EF6-CFAC-907A5B3930E8}"/>
          </ac:spMkLst>
        </pc:spChg>
        <pc:spChg chg="add del mod modVis">
          <ac:chgData name="Joelle Brehm" userId="a518f54c-6985-42c0-8041-2bb16a414839" providerId="ADAL" clId="{EC4E33A1-3A40-4A99-A232-1E6EEAE786EA}" dt="2023-08-02T21:02:29.388" v="53906"/>
          <ac:spMkLst>
            <pc:docMk/>
            <pc:sldMk cId="10849840" sldId="290"/>
            <ac:spMk id="51" creationId="{4B375632-0ECF-0B62-4D3A-D627C65C063D}"/>
          </ac:spMkLst>
        </pc:spChg>
        <pc:spChg chg="add del mod modVis">
          <ac:chgData name="Joelle Brehm" userId="a518f54c-6985-42c0-8041-2bb16a414839" providerId="ADAL" clId="{EC4E33A1-3A40-4A99-A232-1E6EEAE786EA}" dt="2023-08-02T21:02:33.141" v="54066"/>
          <ac:spMkLst>
            <pc:docMk/>
            <pc:sldMk cId="10849840" sldId="290"/>
            <ac:spMk id="53" creationId="{FF4FBE7A-E1C8-28EC-9DD2-6C71F1B76D42}"/>
          </ac:spMkLst>
        </pc:spChg>
        <pc:spChg chg="add del mod modVis">
          <ac:chgData name="Joelle Brehm" userId="a518f54c-6985-42c0-8041-2bb16a414839" providerId="ADAL" clId="{EC4E33A1-3A40-4A99-A232-1E6EEAE786EA}" dt="2023-08-02T21:02:40.851" v="54327"/>
          <ac:spMkLst>
            <pc:docMk/>
            <pc:sldMk cId="10849840" sldId="290"/>
            <ac:spMk id="56" creationId="{A2456654-BBAE-64D7-B793-3EA1CA92F622}"/>
          </ac:spMkLst>
        </pc:spChg>
        <pc:spChg chg="add del mod modVis">
          <ac:chgData name="Joelle Brehm" userId="a518f54c-6985-42c0-8041-2bb16a414839" providerId="ADAL" clId="{EC4E33A1-3A40-4A99-A232-1E6EEAE786EA}" dt="2023-08-02T21:02:50.893" v="54475"/>
          <ac:spMkLst>
            <pc:docMk/>
            <pc:sldMk cId="10849840" sldId="290"/>
            <ac:spMk id="58" creationId="{B894555E-4143-B524-C3F8-0471520E8AE8}"/>
          </ac:spMkLst>
        </pc:spChg>
        <pc:spChg chg="mod ord">
          <ac:chgData name="Joelle Brehm" userId="a518f54c-6985-42c0-8041-2bb16a414839" providerId="ADAL" clId="{EC4E33A1-3A40-4A99-A232-1E6EEAE786EA}" dt="2023-08-02T21:02:50.889" v="54469"/>
          <ac:spMkLst>
            <pc:docMk/>
            <pc:sldMk cId="10849840" sldId="290"/>
            <ac:spMk id="60" creationId="{AB5689A7-20F6-4DF1-88AE-FB8557333BFB}"/>
          </ac:spMkLst>
        </pc:spChg>
        <pc:spChg chg="del mod">
          <ac:chgData name="Joelle Brehm" userId="a518f54c-6985-42c0-8041-2bb16a414839" providerId="ADAL" clId="{EC4E33A1-3A40-4A99-A232-1E6EEAE786EA}" dt="2023-08-02T21:02:29.192" v="53710"/>
          <ac:spMkLst>
            <pc:docMk/>
            <pc:sldMk cId="10849840" sldId="290"/>
            <ac:spMk id="65" creationId="{08A8FFCA-5E7A-95C9-8AC6-A7A03935606F}"/>
          </ac:spMkLst>
        </pc:spChg>
        <pc:spChg chg="mod">
          <ac:chgData name="Joelle Brehm" userId="a518f54c-6985-42c0-8041-2bb16a414839" providerId="ADAL" clId="{EC4E33A1-3A40-4A99-A232-1E6EEAE786EA}" dt="2023-08-02T21:02:50.845" v="54428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EC4E33A1-3A40-4A99-A232-1E6EEAE786EA}" dt="2023-08-02T21:02:50.871" v="54448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1:02:50.872" v="54450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1:02:50.873" v="54452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1:02:50.876" v="54454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1:02:50.877" v="54456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1:02:50.878" v="54458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1:02:50.882" v="54462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2:50.884" v="54463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2:50.881" v="54461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2:50.886" v="54464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1:02:50.886" v="54465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1:02:50.931" v="54477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EC4E33A1-3A40-4A99-A232-1E6EEAE786EA}" dt="2023-08-02T21:01:53.570" v="52677"/>
          <ac:graphicFrameMkLst>
            <pc:docMk/>
            <pc:sldMk cId="10849840" sldId="290"/>
            <ac:graphicFrameMk id="9" creationId="{E874FC03-B00A-B90E-589D-54E262551C5B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2:50.785" v="54405"/>
          <ac:graphicFrameMkLst>
            <pc:docMk/>
            <pc:sldMk cId="10849840" sldId="290"/>
            <ac:graphicFrameMk id="40" creationId="{99BD0220-95BB-0465-FD99-2C64540E511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2:25.687" v="53602"/>
          <ac:graphicFrameMkLst>
            <pc:docMk/>
            <pc:sldMk cId="10849840" sldId="290"/>
            <ac:graphicFrameMk id="47" creationId="{7251D77D-44DB-5BAC-3E6C-6E6D27F5D72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2:29.317" v="53822"/>
          <ac:graphicFrameMkLst>
            <pc:docMk/>
            <pc:sldMk cId="10849840" sldId="290"/>
            <ac:graphicFrameMk id="49" creationId="{D790C275-9434-0CC3-66E6-BABA49D3B22E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2:23.541" v="53408"/>
          <ac:graphicFrameMkLst>
            <pc:docMk/>
            <pc:sldMk cId="10849840" sldId="290"/>
            <ac:graphicFrameMk id="50" creationId="{456A5922-BB38-2A81-3F2E-64649E8D8A2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2:33.092" v="53982"/>
          <ac:graphicFrameMkLst>
            <pc:docMk/>
            <pc:sldMk cId="10849840" sldId="290"/>
            <ac:graphicFrameMk id="52" creationId="{86901B62-708A-2F84-3ADE-416912E1E559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2:40.755" v="54243"/>
          <ac:graphicFrameMkLst>
            <pc:docMk/>
            <pc:sldMk cId="10849840" sldId="290"/>
            <ac:graphicFrameMk id="54" creationId="{ABA1E2FE-F92C-5F0D-A70E-1B613352FC7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2:50.850" v="54432"/>
          <ac:graphicFrameMkLst>
            <pc:docMk/>
            <pc:sldMk cId="10849840" sldId="290"/>
            <ac:graphicFrameMk id="55" creationId="{9372F34C-8305-33BF-E2C7-E0DF26633D4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2:50.692" v="54391"/>
          <ac:graphicFrameMkLst>
            <pc:docMk/>
            <pc:sldMk cId="10849840" sldId="290"/>
            <ac:graphicFrameMk id="57" creationId="{FA8C7872-39A6-A506-FA1E-3D1F833ED554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2:50.880" v="54460"/>
          <ac:graphicFrameMkLst>
            <pc:docMk/>
            <pc:sldMk cId="10849840" sldId="290"/>
            <ac:graphicFrameMk id="59" creationId="{26B49780-5413-2D59-9240-B8A7C103BD6D}"/>
          </ac:graphicFrameMkLst>
        </pc:graphicFrameChg>
        <pc:picChg chg="del mod ord">
          <ac:chgData name="Joelle Brehm" userId="a518f54c-6985-42c0-8041-2bb16a414839" providerId="ADAL" clId="{EC4E33A1-3A40-4A99-A232-1E6EEAE786EA}" dt="2023-08-02T21:02:14.865" v="52865" actId="478"/>
          <ac:picMkLst>
            <pc:docMk/>
            <pc:sldMk cId="10849840" sldId="290"/>
            <ac:picMk id="10" creationId="{FC6D1DAC-028D-0828-84C7-E7751A8ACD85}"/>
          </ac:picMkLst>
        </pc:picChg>
        <pc:picChg chg="add mod ord">
          <ac:chgData name="Joelle Brehm" userId="a518f54c-6985-42c0-8041-2bb16a414839" providerId="ADAL" clId="{EC4E33A1-3A40-4A99-A232-1E6EEAE786EA}" dt="2023-08-02T21:02:50.780" v="54399"/>
          <ac:picMkLst>
            <pc:docMk/>
            <pc:sldMk cId="10849840" sldId="290"/>
            <ac:picMk id="41" creationId="{6C0B11AC-9F9E-05E0-C8CB-622ABA6C4EB4}"/>
          </ac:picMkLst>
        </pc:picChg>
        <pc:picChg chg="mod ord">
          <ac:chgData name="Joelle Brehm" userId="a518f54c-6985-42c0-8041-2bb16a414839" providerId="ADAL" clId="{EC4E33A1-3A40-4A99-A232-1E6EEAE786EA}" dt="2023-08-02T21:02:50.888" v="54467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1:02:50.783" v="54403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1:05:20.396" v="58184"/>
        <pc:sldMkLst>
          <pc:docMk/>
          <pc:sldMk cId="996393659" sldId="291"/>
        </pc:sldMkLst>
        <pc:spChg chg="mod ord">
          <ac:chgData name="Joelle Brehm" userId="a518f54c-6985-42c0-8041-2bb16a414839" providerId="ADAL" clId="{EC4E33A1-3A40-4A99-A232-1E6EEAE786EA}" dt="2023-08-02T21:05:20.347" v="58178"/>
          <ac:spMkLst>
            <pc:docMk/>
            <pc:sldMk cId="996393659" sldId="291"/>
            <ac:spMk id="2" creationId="{903BD9AC-C420-4F19-B1D1-731DE7D9A596}"/>
          </ac:spMkLst>
        </pc:spChg>
        <pc:spChg chg="add del mod ord">
          <ac:chgData name="Joelle Brehm" userId="a518f54c-6985-42c0-8041-2bb16a414839" providerId="ADAL" clId="{EC4E33A1-3A40-4A99-A232-1E6EEAE786EA}" dt="2023-08-02T21:04:54.965" v="56538" actId="478"/>
          <ac:spMkLst>
            <pc:docMk/>
            <pc:sldMk cId="996393659" sldId="291"/>
            <ac:spMk id="3" creationId="{1F8B1E66-E456-EC4F-CA1F-122FCF27FCFE}"/>
          </ac:spMkLst>
        </pc:spChg>
        <pc:spChg chg="add del mod modVis">
          <ac:chgData name="Joelle Brehm" userId="a518f54c-6985-42c0-8041-2bb16a414839" providerId="ADAL" clId="{EC4E33A1-3A40-4A99-A232-1E6EEAE786EA}" dt="2023-08-02T21:04:31.001" v="56443"/>
          <ac:spMkLst>
            <pc:docMk/>
            <pc:sldMk cId="996393659" sldId="291"/>
            <ac:spMk id="5" creationId="{7F54C0FB-DAFD-542B-9AE6-3EC878C84360}"/>
          </ac:spMkLst>
        </pc:spChg>
        <pc:spChg chg="mod ord">
          <ac:chgData name="Joelle Brehm" userId="a518f54c-6985-42c0-8041-2bb16a414839" providerId="ADAL" clId="{EC4E33A1-3A40-4A99-A232-1E6EEAE786EA}" dt="2023-08-02T21:05:20.326" v="58110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1:05:20.330" v="58122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1:05:20.329" v="58119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1:05:20.329" v="58120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1:05:20.328" v="58116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1:05:20.328" v="58118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1:05:20.327" v="58115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1:05:20.328" v="58117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1:05:20.329" v="58121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1:05:20.330" v="58123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1:05:20.330" v="58124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1:05:20.330" v="58125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1:05:20.331" v="58126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1:05:20.331" v="58128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1:05:20.333" v="58131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1:05:20.332" v="58129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1:05:20.332" v="58130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1:05:20.334" v="58135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1:05:20.335" v="58136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1:05:20.335" v="58137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1:05:20.336" v="58139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1:05:20.338" v="58147"/>
          <ac:spMkLst>
            <pc:docMk/>
            <pc:sldMk cId="996393659" sldId="291"/>
            <ac:spMk id="31" creationId="{18F84874-BF1C-CE57-E4F7-12A82924407E}"/>
          </ac:spMkLst>
        </pc:spChg>
        <pc:spChg chg="mod">
          <ac:chgData name="Joelle Brehm" userId="a518f54c-6985-42c0-8041-2bb16a414839" providerId="ADAL" clId="{EC4E33A1-3A40-4A99-A232-1E6EEAE786EA}" dt="2023-08-02T21:05:20.339" v="58149"/>
          <ac:spMkLst>
            <pc:docMk/>
            <pc:sldMk cId="996393659" sldId="291"/>
            <ac:spMk id="33" creationId="{7F65E50F-0922-5AA2-A553-47A66BCD0434}"/>
          </ac:spMkLst>
        </pc:spChg>
        <pc:spChg chg="mod">
          <ac:chgData name="Joelle Brehm" userId="a518f54c-6985-42c0-8041-2bb16a414839" providerId="ADAL" clId="{EC4E33A1-3A40-4A99-A232-1E6EEAE786EA}" dt="2023-08-02T21:05:20.338" v="58146"/>
          <ac:spMkLst>
            <pc:docMk/>
            <pc:sldMk cId="996393659" sldId="291"/>
            <ac:spMk id="34" creationId="{93CE5F4B-80AA-6CF5-D97D-0127CD5DB126}"/>
          </ac:spMkLst>
        </pc:spChg>
        <pc:spChg chg="mod">
          <ac:chgData name="Joelle Brehm" userId="a518f54c-6985-42c0-8041-2bb16a414839" providerId="ADAL" clId="{EC4E33A1-3A40-4A99-A232-1E6EEAE786EA}" dt="2023-08-02T21:05:20.337" v="58145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EC4E33A1-3A40-4A99-A232-1E6EEAE786EA}" dt="2023-08-02T21:05:20.337" v="58144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EC4E33A1-3A40-4A99-A232-1E6EEAE786EA}" dt="2023-08-02T21:05:20.333" v="58133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1:05:20.339" v="58150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EC4E33A1-3A40-4A99-A232-1E6EEAE786EA}" dt="2023-08-02T21:05:20.336" v="58142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EC4E33A1-3A40-4A99-A232-1E6EEAE786EA}" dt="2023-08-02T21:05:20.340" v="58152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EC4E33A1-3A40-4A99-A232-1E6EEAE786EA}" dt="2023-08-02T21:05:20.340" v="58153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EC4E33A1-3A40-4A99-A232-1E6EEAE786EA}" dt="2023-08-02T21:05:20.339" v="58151"/>
          <ac:spMkLst>
            <pc:docMk/>
            <pc:sldMk cId="996393659" sldId="291"/>
            <ac:spMk id="42" creationId="{165CFD82-DBAB-71C3-50A2-9207D199C08E}"/>
          </ac:spMkLst>
        </pc:spChg>
        <pc:spChg chg="add mod replST">
          <ac:chgData name="Joelle Brehm" userId="a518f54c-6985-42c0-8041-2bb16a414839" providerId="ADAL" clId="{EC4E33A1-3A40-4A99-A232-1E6EEAE786EA}" dt="2023-08-02T21:05:20.337" v="58143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EC4E33A1-3A40-4A99-A232-1E6EEAE786EA}" dt="2023-08-02T21:05:20.338" v="58148"/>
          <ac:spMkLst>
            <pc:docMk/>
            <pc:sldMk cId="996393659" sldId="291"/>
            <ac:spMk id="44" creationId="{DFD20995-23FA-9A59-8153-A2DE50612FF0}"/>
          </ac:spMkLst>
        </pc:spChg>
        <pc:spChg chg="add del mod modVis">
          <ac:chgData name="Joelle Brehm" userId="a518f54c-6985-42c0-8041-2bb16a414839" providerId="ADAL" clId="{EC4E33A1-3A40-4A99-A232-1E6EEAE786EA}" dt="2023-08-02T21:05:01.265" v="57256"/>
          <ac:spMkLst>
            <pc:docMk/>
            <pc:sldMk cId="996393659" sldId="291"/>
            <ac:spMk id="45" creationId="{0656FDFD-699A-C6D7-8A2C-35C0B7C2C44D}"/>
          </ac:spMkLst>
        </pc:spChg>
        <pc:spChg chg="add del mod ord replST">
          <ac:chgData name="Joelle Brehm" userId="a518f54c-6985-42c0-8041-2bb16a414839" providerId="ADAL" clId="{EC4E33A1-3A40-4A99-A232-1E6EEAE786EA}" dt="2023-08-02T21:05:04.793" v="57670"/>
          <ac:spMkLst>
            <pc:docMk/>
            <pc:sldMk cId="996393659" sldId="291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1:05:02.009" v="57466"/>
          <ac:spMkLst>
            <pc:docMk/>
            <pc:sldMk cId="996393659" sldId="291"/>
            <ac:spMk id="48" creationId="{4B74FAE8-4C1C-0212-810A-50A7A08C0DE7}"/>
          </ac:spMkLst>
        </pc:spChg>
        <pc:spChg chg="add del mod modVis">
          <ac:chgData name="Joelle Brehm" userId="a518f54c-6985-42c0-8041-2bb16a414839" providerId="ADAL" clId="{EC4E33A1-3A40-4A99-A232-1E6EEAE786EA}" dt="2023-08-02T21:05:04.958" v="57780"/>
          <ac:spMkLst>
            <pc:docMk/>
            <pc:sldMk cId="996393659" sldId="291"/>
            <ac:spMk id="50" creationId="{8360A31D-00E5-10A4-C12B-7D9788B1C4EE}"/>
          </ac:spMkLst>
        </pc:spChg>
        <pc:spChg chg="add del mod ord replST">
          <ac:chgData name="Joelle Brehm" userId="a518f54c-6985-42c0-8041-2bb16a414839" providerId="ADAL" clId="{EC4E33A1-3A40-4A99-A232-1E6EEAE786EA}" dt="2023-08-02T21:05:20.298" v="58098"/>
          <ac:spMkLst>
            <pc:docMk/>
            <pc:sldMk cId="996393659" sldId="291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21:05:14.151" v="58027"/>
          <ac:spMkLst>
            <pc:docMk/>
            <pc:sldMk cId="996393659" sldId="291"/>
            <ac:spMk id="55" creationId="{BF0C61C8-557E-68DF-4F52-A74BEED1CB31}"/>
          </ac:spMkLst>
        </pc:spChg>
        <pc:spChg chg="add del mod modVis">
          <ac:chgData name="Joelle Brehm" userId="a518f54c-6985-42c0-8041-2bb16a414839" providerId="ADAL" clId="{EC4E33A1-3A40-4A99-A232-1E6EEAE786EA}" dt="2023-08-02T21:05:20.348" v="58182"/>
          <ac:spMkLst>
            <pc:docMk/>
            <pc:sldMk cId="996393659" sldId="291"/>
            <ac:spMk id="57" creationId="{22AC401C-D858-E7FE-FB96-E04E5425613F}"/>
          </ac:spMkLst>
        </pc:spChg>
        <pc:spChg chg="del mod">
          <ac:chgData name="Joelle Brehm" userId="a518f54c-6985-42c0-8041-2bb16a414839" providerId="ADAL" clId="{EC4E33A1-3A40-4A99-A232-1E6EEAE786EA}" dt="2023-08-02T21:05:04.326" v="57469"/>
          <ac:spMkLst>
            <pc:docMk/>
            <pc:sldMk cId="996393659" sldId="291"/>
            <ac:spMk id="67" creationId="{E8964985-DC27-BEA5-4249-CD30EFCD5B61}"/>
          </ac:spMkLst>
        </pc:spChg>
        <pc:spChg chg="mod">
          <ac:chgData name="Joelle Brehm" userId="a518f54c-6985-42c0-8041-2bb16a414839" providerId="ADAL" clId="{EC4E33A1-3A40-4A99-A232-1E6EEAE786EA}" dt="2023-08-02T21:05:20.334" v="58134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EC4E33A1-3A40-4A99-A232-1E6EEAE786EA}" dt="2023-08-02T21:05:20.341" v="58155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1:05:20.341" v="58157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1:05:20.346" v="58176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EC4E33A1-3A40-4A99-A232-1E6EEAE786EA}" dt="2023-08-02T21:05:20.342" v="58159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1:05:20.342" v="58161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1:05:20.343" v="58163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1:05:20.343" v="58165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1:05:20.344" v="58169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5:20.344" v="58170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5:20.345" v="58171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5:20.344" v="58168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1:05:20.345" v="58172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1:05:20.396" v="58184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5:20.327" v="58114"/>
          <ac:graphicFrameMkLst>
            <pc:docMk/>
            <pc:sldMk cId="996393659" sldId="291"/>
            <ac:graphicFrameMk id="8" creationId="{C566AE58-3460-1AE8-7EA4-14A74B589245}"/>
          </ac:graphicFrameMkLst>
        </pc:graphicFrameChg>
        <pc:graphicFrameChg chg="del">
          <ac:chgData name="Joelle Brehm" userId="a518f54c-6985-42c0-8041-2bb16a414839" providerId="ADAL" clId="{EC4E33A1-3A40-4A99-A232-1E6EEAE786EA}" dt="2023-08-02T21:04:30.877" v="56357"/>
          <ac:graphicFrameMkLst>
            <pc:docMk/>
            <pc:sldMk cId="996393659" sldId="291"/>
            <ac:graphicFrameMk id="9" creationId="{DAD606CE-2786-2377-7DF2-1290CDD9426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5:01.832" v="57359"/>
          <ac:graphicFrameMkLst>
            <pc:docMk/>
            <pc:sldMk cId="996393659" sldId="291"/>
            <ac:graphicFrameMk id="47" creationId="{B122F7B1-4A79-0F6B-2993-962180AF747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5:04.798" v="57674"/>
          <ac:graphicFrameMkLst>
            <pc:docMk/>
            <pc:sldMk cId="996393659" sldId="291"/>
            <ac:graphicFrameMk id="49" creationId="{20FB51E5-F170-919C-AF10-8B8B8A303392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5:01.110" v="57149"/>
          <ac:graphicFrameMkLst>
            <pc:docMk/>
            <pc:sldMk cId="996393659" sldId="291"/>
            <ac:graphicFrameMk id="52" creationId="{4E2CC400-A874-4EE9-3F1A-AF9D1B0FC9AF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5:20.300" v="58100"/>
          <ac:graphicFrameMkLst>
            <pc:docMk/>
            <pc:sldMk cId="996393659" sldId="291"/>
            <ac:graphicFrameMk id="53" creationId="{34F52A71-5E3D-187D-0AD9-714EB00E6F3E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5:14.055" v="57943"/>
          <ac:graphicFrameMkLst>
            <pc:docMk/>
            <pc:sldMk cId="996393659" sldId="291"/>
            <ac:graphicFrameMk id="54" creationId="{8302C87C-93BD-68CB-C10A-B5CC76FCEEC2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5:20.343" v="58167"/>
          <ac:graphicFrameMkLst>
            <pc:docMk/>
            <pc:sldMk cId="996393659" sldId="291"/>
            <ac:graphicFrameMk id="56" creationId="{65B7D10E-B63E-86F4-A73D-7AB31EC2BC7A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5:20.336" v="58141"/>
          <ac:graphicFrameMkLst>
            <pc:docMk/>
            <pc:sldMk cId="996393659" sldId="291"/>
            <ac:graphicFrameMk id="58" creationId="{8F1D8708-EC4C-EE9D-98BD-70F4097A78A8}"/>
          </ac:graphicFrameMkLst>
        </pc:graphicFrameChg>
        <pc:picChg chg="del mod ord">
          <ac:chgData name="Joelle Brehm" userId="a518f54c-6985-42c0-8041-2bb16a414839" providerId="ADAL" clId="{EC4E33A1-3A40-4A99-A232-1E6EEAE786EA}" dt="2023-08-02T21:04:52.996" v="56537" actId="478"/>
          <ac:picMkLst>
            <pc:docMk/>
            <pc:sldMk cId="996393659" sldId="291"/>
            <ac:picMk id="10" creationId="{315B440E-736D-D300-F5A1-BB699DC63389}"/>
          </ac:picMkLst>
        </pc:picChg>
        <pc:picChg chg="add mod ord">
          <ac:chgData name="Joelle Brehm" userId="a518f54c-6985-42c0-8041-2bb16a414839" providerId="ADAL" clId="{EC4E33A1-3A40-4A99-A232-1E6EEAE786EA}" dt="2023-08-02T21:05:20.326" v="58108"/>
          <ac:picMkLst>
            <pc:docMk/>
            <pc:sldMk cId="996393659" sldId="291"/>
            <ac:picMk id="32" creationId="{D714BEF2-33D3-898D-D4B4-73CC8CE6924A}"/>
          </ac:picMkLst>
        </pc:picChg>
        <pc:picChg chg="mod ord">
          <ac:chgData name="Joelle Brehm" userId="a518f54c-6985-42c0-8041-2bb16a414839" providerId="ADAL" clId="{EC4E33A1-3A40-4A99-A232-1E6EEAE786EA}" dt="2023-08-02T21:05:20.345" v="58174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1:05:20.327" v="58112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21:04:10.778" v="56176"/>
        <pc:sldMkLst>
          <pc:docMk/>
          <pc:sldMk cId="3635637425" sldId="292"/>
        </pc:sldMkLst>
        <pc:spChg chg="mod ord">
          <ac:chgData name="Joelle Brehm" userId="a518f54c-6985-42c0-8041-2bb16a414839" providerId="ADAL" clId="{EC4E33A1-3A40-4A99-A232-1E6EEAE786EA}" dt="2023-08-02T21:04:10.766" v="56172"/>
          <ac:spMkLst>
            <pc:docMk/>
            <pc:sldMk cId="3635637425" sldId="292"/>
            <ac:spMk id="2" creationId="{9445A78E-5217-4459-B540-57B5B2359A2E}"/>
          </ac:spMkLst>
        </pc:spChg>
        <pc:spChg chg="add del mod ord">
          <ac:chgData name="Joelle Brehm" userId="a518f54c-6985-42c0-8041-2bb16a414839" providerId="ADAL" clId="{EC4E33A1-3A40-4A99-A232-1E6EEAE786EA}" dt="2023-08-02T21:03:44.349" v="54844" actId="478"/>
          <ac:spMkLst>
            <pc:docMk/>
            <pc:sldMk cId="3635637425" sldId="292"/>
            <ac:spMk id="3" creationId="{AE60BE83-00EB-8503-CB33-1EAAAB8F35F4}"/>
          </ac:spMkLst>
        </pc:spChg>
        <pc:spChg chg="add del mod modVis">
          <ac:chgData name="Joelle Brehm" userId="a518f54c-6985-42c0-8041-2bb16a414839" providerId="ADAL" clId="{EC4E33A1-3A40-4A99-A232-1E6EEAE786EA}" dt="2023-08-02T21:03:17.120" v="54749"/>
          <ac:spMkLst>
            <pc:docMk/>
            <pc:sldMk cId="3635637425" sldId="292"/>
            <ac:spMk id="5" creationId="{D5EE9128-38D9-3D37-33D4-07670CCA4FE4}"/>
          </ac:spMkLst>
        </pc:spChg>
        <pc:spChg chg="mod ord">
          <ac:chgData name="Joelle Brehm" userId="a518f54c-6985-42c0-8041-2bb16a414839" providerId="ADAL" clId="{EC4E33A1-3A40-4A99-A232-1E6EEAE786EA}" dt="2023-08-02T21:04:10.747" v="56104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EC4E33A1-3A40-4A99-A232-1E6EEAE786EA}" dt="2023-08-02T21:04:10.751" v="56116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EC4E33A1-3A40-4A99-A232-1E6EEAE786EA}" dt="2023-08-02T21:04:10.749" v="56111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EC4E33A1-3A40-4A99-A232-1E6EEAE786EA}" dt="2023-08-02T21:04:10.750" v="56113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EC4E33A1-3A40-4A99-A232-1E6EEAE786EA}" dt="2023-08-02T21:04:10.750" v="56112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EC4E33A1-3A40-4A99-A232-1E6EEAE786EA}" dt="2023-08-02T21:04:10.749" v="56110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EC4E33A1-3A40-4A99-A232-1E6EEAE786EA}" dt="2023-08-02T21:04:10.750" v="56114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EC4E33A1-3A40-4A99-A232-1E6EEAE786EA}" dt="2023-08-02T21:04:10.750" v="56115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EC4E33A1-3A40-4A99-A232-1E6EEAE786EA}" dt="2023-08-02T21:04:10.749" v="56109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EC4E33A1-3A40-4A99-A232-1E6EEAE786EA}" dt="2023-08-02T21:04:10.751" v="56118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EC4E33A1-3A40-4A99-A232-1E6EEAE786EA}" dt="2023-08-02T21:04:10.751" v="56119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EC4E33A1-3A40-4A99-A232-1E6EEAE786EA}" dt="2023-08-02T21:04:10.751" v="56117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EC4E33A1-3A40-4A99-A232-1E6EEAE786EA}" dt="2023-08-02T21:04:10.752" v="56120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EC4E33A1-3A40-4A99-A232-1E6EEAE786EA}" dt="2023-08-02T21:04:10.752" v="56122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EC4E33A1-3A40-4A99-A232-1E6EEAE786EA}" dt="2023-08-02T21:04:10.753" v="56125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EC4E33A1-3A40-4A99-A232-1E6EEAE786EA}" dt="2023-08-02T21:04:10.753" v="56124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EC4E33A1-3A40-4A99-A232-1E6EEAE786EA}" dt="2023-08-02T21:04:10.753" v="56123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EC4E33A1-3A40-4A99-A232-1E6EEAE786EA}" dt="2023-08-02T21:04:10.754" v="56129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EC4E33A1-3A40-4A99-A232-1E6EEAE786EA}" dt="2023-08-02T21:04:10.754" v="56128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EC4E33A1-3A40-4A99-A232-1E6EEAE786EA}" dt="2023-08-02T21:04:10.755" v="56130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EC4E33A1-3A40-4A99-A232-1E6EEAE786EA}" dt="2023-08-02T21:04:10.756" v="56133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EC4E33A1-3A40-4A99-A232-1E6EEAE786EA}" dt="2023-08-02T21:04:10.758" v="56140"/>
          <ac:spMkLst>
            <pc:docMk/>
            <pc:sldMk cId="3635637425" sldId="292"/>
            <ac:spMk id="31" creationId="{75814527-E466-B01B-1983-40ECB343B6BF}"/>
          </ac:spMkLst>
        </pc:spChg>
        <pc:spChg chg="mod">
          <ac:chgData name="Joelle Brehm" userId="a518f54c-6985-42c0-8041-2bb16a414839" providerId="ADAL" clId="{EC4E33A1-3A40-4A99-A232-1E6EEAE786EA}" dt="2023-08-02T21:04:10.756" v="56136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EC4E33A1-3A40-4A99-A232-1E6EEAE786EA}" dt="2023-08-02T21:04:10.757" v="56137"/>
          <ac:spMkLst>
            <pc:docMk/>
            <pc:sldMk cId="3635637425" sldId="292"/>
            <ac:spMk id="33" creationId="{3D97C813-EA7E-2516-68C7-9A8F0022EEB9}"/>
          </ac:spMkLst>
        </pc:spChg>
        <pc:spChg chg="mod">
          <ac:chgData name="Joelle Brehm" userId="a518f54c-6985-42c0-8041-2bb16a414839" providerId="ADAL" clId="{EC4E33A1-3A40-4A99-A232-1E6EEAE786EA}" dt="2023-08-02T21:04:10.758" v="56141"/>
          <ac:spMkLst>
            <pc:docMk/>
            <pc:sldMk cId="3635637425" sldId="292"/>
            <ac:spMk id="34" creationId="{2D56DCBB-CAC0-D3CA-B5B2-D6B7B1E4A4D6}"/>
          </ac:spMkLst>
        </pc:spChg>
        <pc:spChg chg="mod">
          <ac:chgData name="Joelle Brehm" userId="a518f54c-6985-42c0-8041-2bb16a414839" providerId="ADAL" clId="{EC4E33A1-3A40-4A99-A232-1E6EEAE786EA}" dt="2023-08-02T21:04:10.758" v="56143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EC4E33A1-3A40-4A99-A232-1E6EEAE786EA}" dt="2023-08-02T21:04:10.754" v="56127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EC4E33A1-3A40-4A99-A232-1E6EEAE786EA}" dt="2023-08-02T21:04:10.757" v="56139"/>
          <ac:spMkLst>
            <pc:docMk/>
            <pc:sldMk cId="3635637425" sldId="292"/>
            <ac:spMk id="38" creationId="{3FFCD1FD-A1E7-E0E9-3B0A-272DB96B6E85}"/>
          </ac:spMkLst>
        </pc:spChg>
        <pc:spChg chg="mod">
          <ac:chgData name="Joelle Brehm" userId="a518f54c-6985-42c0-8041-2bb16a414839" providerId="ADAL" clId="{EC4E33A1-3A40-4A99-A232-1E6EEAE786EA}" dt="2023-08-02T21:04:10.759" v="56145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EC4E33A1-3A40-4A99-A232-1E6EEAE786EA}" dt="2023-08-02T21:04:10.759" v="56146"/>
          <ac:spMkLst>
            <pc:docMk/>
            <pc:sldMk cId="3635637425" sldId="292"/>
            <ac:spMk id="40" creationId="{320B27A3-949F-FEDA-9F13-4419FD0BBD63}"/>
          </ac:spMkLst>
        </pc:spChg>
        <pc:spChg chg="add mod replST">
          <ac:chgData name="Joelle Brehm" userId="a518f54c-6985-42c0-8041-2bb16a414839" providerId="ADAL" clId="{EC4E33A1-3A40-4A99-A232-1E6EEAE786EA}" dt="2023-08-02T21:04:10.760" v="56147"/>
          <ac:spMkLst>
            <pc:docMk/>
            <pc:sldMk cId="3635637425" sldId="292"/>
            <ac:spMk id="41" creationId="{CAD662BE-DA77-C496-2C1F-D8B2218DD0E5}"/>
          </ac:spMkLst>
        </pc:spChg>
        <pc:spChg chg="mod">
          <ac:chgData name="Joelle Brehm" userId="a518f54c-6985-42c0-8041-2bb16a414839" providerId="ADAL" clId="{EC4E33A1-3A40-4A99-A232-1E6EEAE786EA}" dt="2023-08-02T21:04:10.758" v="56142"/>
          <ac:spMkLst>
            <pc:docMk/>
            <pc:sldMk cId="3635637425" sldId="292"/>
            <ac:spMk id="42" creationId="{668AF5D9-4E8D-2E4B-2079-072182484759}"/>
          </ac:spMkLst>
        </pc:spChg>
        <pc:spChg chg="add del mod modVis">
          <ac:chgData name="Joelle Brehm" userId="a518f54c-6985-42c0-8041-2bb16a414839" providerId="ADAL" clId="{EC4E33A1-3A40-4A99-A232-1E6EEAE786EA}" dt="2023-08-02T21:03:51.576" v="55393"/>
          <ac:spMkLst>
            <pc:docMk/>
            <pc:sldMk cId="3635637425" sldId="292"/>
            <ac:spMk id="43" creationId="{AC339110-A0B2-A6BB-17D7-EAFDDFA9C201}"/>
          </ac:spMkLst>
        </pc:spChg>
        <pc:spChg chg="mod">
          <ac:chgData name="Joelle Brehm" userId="a518f54c-6985-42c0-8041-2bb16a414839" providerId="ADAL" clId="{EC4E33A1-3A40-4A99-A232-1E6EEAE786EA}" dt="2023-08-02T21:04:10.759" v="56144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EC4E33A1-3A40-4A99-A232-1E6EEAE786EA}" dt="2023-08-02T21:04:10.757" v="56138"/>
          <ac:spMkLst>
            <pc:docMk/>
            <pc:sldMk cId="3635637425" sldId="292"/>
            <ac:spMk id="46" creationId="{38D3D6F2-A854-D543-7C6D-CB3894DB11AC}"/>
          </ac:spMkLst>
        </pc:spChg>
        <pc:spChg chg="add del mod modVis">
          <ac:chgData name="Joelle Brehm" userId="a518f54c-6985-42c0-8041-2bb16a414839" providerId="ADAL" clId="{EC4E33A1-3A40-4A99-A232-1E6EEAE786EA}" dt="2023-08-02T21:03:53.250" v="55598"/>
          <ac:spMkLst>
            <pc:docMk/>
            <pc:sldMk cId="3635637425" sldId="292"/>
            <ac:spMk id="47" creationId="{DEE92866-47F4-D809-2239-01A923D8A438}"/>
          </ac:spMkLst>
        </pc:spChg>
        <pc:spChg chg="add del mod modVis">
          <ac:chgData name="Joelle Brehm" userId="a518f54c-6985-42c0-8041-2bb16a414839" providerId="ADAL" clId="{EC4E33A1-3A40-4A99-A232-1E6EEAE786EA}" dt="2023-08-02T21:03:55.818" v="55810"/>
          <ac:spMkLst>
            <pc:docMk/>
            <pc:sldMk cId="3635637425" sldId="292"/>
            <ac:spMk id="50" creationId="{88BC4CAE-66E6-063A-E7DB-DAFB2D64E8F3}"/>
          </ac:spMkLst>
        </pc:spChg>
        <pc:spChg chg="add del mod modVis">
          <ac:chgData name="Joelle Brehm" userId="a518f54c-6985-42c0-8041-2bb16a414839" providerId="ADAL" clId="{EC4E33A1-3A40-4A99-A232-1E6EEAE786EA}" dt="2023-08-02T21:04:07.182" v="56071"/>
          <ac:spMkLst>
            <pc:docMk/>
            <pc:sldMk cId="3635637425" sldId="292"/>
            <ac:spMk id="53" creationId="{9FAFED84-D768-7177-1AE7-3A78D9361D9B}"/>
          </ac:spMkLst>
        </pc:spChg>
        <pc:spChg chg="mod ord">
          <ac:chgData name="Joelle Brehm" userId="a518f54c-6985-42c0-8041-2bb16a414839" providerId="ADAL" clId="{EC4E33A1-3A40-4A99-A232-1E6EEAE786EA}" dt="2023-08-02T21:04:10.766" v="56170"/>
          <ac:spMkLst>
            <pc:docMk/>
            <pc:sldMk cId="3635637425" sldId="292"/>
            <ac:spMk id="60" creationId="{8AFF754E-1785-41DB-892C-A30765DCA565}"/>
          </ac:spMkLst>
        </pc:spChg>
        <pc:spChg chg="del mod">
          <ac:chgData name="Joelle Brehm" userId="a518f54c-6985-42c0-8041-2bb16a414839" providerId="ADAL" clId="{EC4E33A1-3A40-4A99-A232-1E6EEAE786EA}" dt="2023-08-02T21:03:55.578" v="55601"/>
          <ac:spMkLst>
            <pc:docMk/>
            <pc:sldMk cId="3635637425" sldId="292"/>
            <ac:spMk id="70" creationId="{11E248BC-BF48-30A1-6494-256B48A0B38F}"/>
          </ac:spMkLst>
        </pc:spChg>
        <pc:spChg chg="mod">
          <ac:chgData name="Joelle Brehm" userId="a518f54c-6985-42c0-8041-2bb16a414839" providerId="ADAL" clId="{EC4E33A1-3A40-4A99-A232-1E6EEAE786EA}" dt="2023-08-02T21:04:10.755" v="56131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EC4E33A1-3A40-4A99-A232-1E6EEAE786EA}" dt="2023-08-02T21:04:10.760" v="56149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EC4E33A1-3A40-4A99-A232-1E6EEAE786EA}" dt="2023-08-02T21:04:10.760" v="56151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EC4E33A1-3A40-4A99-A232-1E6EEAE786EA}" dt="2023-08-02T21:04:10.761" v="56153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EC4E33A1-3A40-4A99-A232-1E6EEAE786EA}" dt="2023-08-02T21:04:10.761" v="56155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EC4E33A1-3A40-4A99-A232-1E6EEAE786EA}" dt="2023-08-02T21:04:10.762" v="56157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EC4E33A1-3A40-4A99-A232-1E6EEAE786EA}" dt="2023-08-02T21:04:10.762" v="56159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EC4E33A1-3A40-4A99-A232-1E6EEAE786EA}" dt="2023-08-02T21:04:10.763" v="56163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4:10.764" v="56164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4:10.763" v="56162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21:04:10.764" v="56165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EC4E33A1-3A40-4A99-A232-1E6EEAE786EA}" dt="2023-08-02T21:04:10.764" v="56166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EC4E33A1-3A40-4A99-A232-1E6EEAE786EA}" dt="2023-08-02T21:04:10.778" v="56176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4:10.748" v="56108"/>
          <ac:graphicFrameMkLst>
            <pc:docMk/>
            <pc:sldMk cId="3635637425" sldId="292"/>
            <ac:graphicFrameMk id="8" creationId="{3BB65A73-970A-2CF2-8C91-676EBE921D61}"/>
          </ac:graphicFrameMkLst>
        </pc:graphicFrameChg>
        <pc:graphicFrameChg chg="del">
          <ac:chgData name="Joelle Brehm" userId="a518f54c-6985-42c0-8041-2bb16a414839" providerId="ADAL" clId="{EC4E33A1-3A40-4A99-A232-1E6EEAE786EA}" dt="2023-08-02T21:03:17.030" v="54661"/>
          <ac:graphicFrameMkLst>
            <pc:docMk/>
            <pc:sldMk cId="3635637425" sldId="292"/>
            <ac:graphicFrameMk id="9" creationId="{CDD58CF5-50BC-E22B-F8C0-BF4EC9109E9F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3:53.132" v="55493"/>
          <ac:graphicFrameMkLst>
            <pc:docMk/>
            <pc:sldMk cId="3635637425" sldId="292"/>
            <ac:graphicFrameMk id="45" creationId="{F5A8B05B-3A3E-E753-74F1-064585A4DD14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3:55.748" v="55728"/>
          <ac:graphicFrameMkLst>
            <pc:docMk/>
            <pc:sldMk cId="3635637425" sldId="292"/>
            <ac:graphicFrameMk id="48" creationId="{7596B778-79CE-3775-7448-30B34CD3CF15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3:51.479" v="55302"/>
          <ac:graphicFrameMkLst>
            <pc:docMk/>
            <pc:sldMk cId="3635637425" sldId="292"/>
            <ac:graphicFrameMk id="49" creationId="{0C9B0A7B-45A4-F870-C542-361F4749E20E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4:10.756" v="56135"/>
          <ac:graphicFrameMkLst>
            <pc:docMk/>
            <pc:sldMk cId="3635637425" sldId="292"/>
            <ac:graphicFrameMk id="51" creationId="{870FF888-7137-5D3E-D90F-1F3251D4A29C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21:04:07.074" v="55989"/>
          <ac:graphicFrameMkLst>
            <pc:docMk/>
            <pc:sldMk cId="3635637425" sldId="292"/>
            <ac:graphicFrameMk id="52" creationId="{2BC7633B-2BB8-BFCC-DD7D-3418A6F8E024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21:04:10.708" v="56094"/>
          <ac:graphicFrameMkLst>
            <pc:docMk/>
            <pc:sldMk cId="3635637425" sldId="292"/>
            <ac:graphicFrameMk id="54" creationId="{575915FA-A18D-B02D-A25D-516A91FE3482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21:04:10.763" v="56161"/>
          <ac:graphicFrameMkLst>
            <pc:docMk/>
            <pc:sldMk cId="3635637425" sldId="292"/>
            <ac:graphicFrameMk id="55" creationId="{1D18DDEC-9784-125E-42E8-F7F79FD66054}"/>
          </ac:graphicFrameMkLst>
        </pc:graphicFrameChg>
        <pc:picChg chg="add mod ord">
          <ac:chgData name="Joelle Brehm" userId="a518f54c-6985-42c0-8041-2bb16a414839" providerId="ADAL" clId="{EC4E33A1-3A40-4A99-A232-1E6EEAE786EA}" dt="2023-08-02T21:04:10.747" v="56102"/>
          <ac:picMkLst>
            <pc:docMk/>
            <pc:sldMk cId="3635637425" sldId="292"/>
            <ac:picMk id="10" creationId="{B22B2A5F-9F48-564E-8B73-A4377A1A7811}"/>
          </ac:picMkLst>
        </pc:picChg>
        <pc:picChg chg="del mod ord">
          <ac:chgData name="Joelle Brehm" userId="a518f54c-6985-42c0-8041-2bb16a414839" providerId="ADAL" clId="{EC4E33A1-3A40-4A99-A232-1E6EEAE786EA}" dt="2023-08-02T21:03:39.004" v="54843" actId="478"/>
          <ac:picMkLst>
            <pc:docMk/>
            <pc:sldMk cId="3635637425" sldId="292"/>
            <ac:picMk id="35" creationId="{94BF9BC5-2287-2A19-2C26-B7D0762083B7}"/>
          </ac:picMkLst>
        </pc:picChg>
        <pc:picChg chg="mod ord">
          <ac:chgData name="Joelle Brehm" userId="a518f54c-6985-42c0-8041-2bb16a414839" providerId="ADAL" clId="{EC4E33A1-3A40-4A99-A232-1E6EEAE786EA}" dt="2023-08-02T21:04:10.765" v="56168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EC4E33A1-3A40-4A99-A232-1E6EEAE786EA}" dt="2023-08-02T21:04:10.748" v="56106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EC4E33A1-3A40-4A99-A232-1E6EEAE786EA}" dt="2023-08-02T18:55:09.434" v="1113" actId="1076"/>
        <pc:sldMkLst>
          <pc:docMk/>
          <pc:sldMk cId="4143996880" sldId="293"/>
        </pc:sldMkLst>
        <pc:spChg chg="mod ord">
          <ac:chgData name="Joelle Brehm" userId="a518f54c-6985-42c0-8041-2bb16a414839" providerId="ADAL" clId="{EC4E33A1-3A40-4A99-A232-1E6EEAE786EA}" dt="2023-08-02T18:53:20.061" v="1097"/>
          <ac:spMkLst>
            <pc:docMk/>
            <pc:sldMk cId="4143996880" sldId="293"/>
            <ac:spMk id="2" creationId="{01E014B2-1FBF-48C6-9093-6CFE20AFFCCE}"/>
          </ac:spMkLst>
        </pc:spChg>
        <pc:spChg chg="add del mod">
          <ac:chgData name="Joelle Brehm" userId="a518f54c-6985-42c0-8041-2bb16a414839" providerId="ADAL" clId="{EC4E33A1-3A40-4A99-A232-1E6EEAE786EA}" dt="2023-08-02T18:52:18.656" v="587" actId="478"/>
          <ac:spMkLst>
            <pc:docMk/>
            <pc:sldMk cId="4143996880" sldId="293"/>
            <ac:spMk id="3" creationId="{769C75FB-6208-3801-B387-82537F4A25C1}"/>
          </ac:spMkLst>
        </pc:spChg>
        <pc:spChg chg="mod ord">
          <ac:chgData name="Joelle Brehm" userId="a518f54c-6985-42c0-8041-2bb16a414839" providerId="ADAL" clId="{EC4E33A1-3A40-4A99-A232-1E6EEAE786EA}" dt="2023-08-02T18:53:20.049" v="1072"/>
          <ac:spMkLst>
            <pc:docMk/>
            <pc:sldMk cId="4143996880" sldId="293"/>
            <ac:spMk id="5" creationId="{7B827F87-784E-46DA-B4AC-26C5F16C015D}"/>
          </ac:spMkLst>
        </pc:spChg>
        <pc:spChg chg="mod">
          <ac:chgData name="Joelle Brehm" userId="a518f54c-6985-42c0-8041-2bb16a414839" providerId="ADAL" clId="{EC4E33A1-3A40-4A99-A232-1E6EEAE786EA}" dt="2023-08-02T18:53:20.051" v="1077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EC4E33A1-3A40-4A99-A232-1E6EEAE786EA}" dt="2023-08-02T18:53:20.052" v="1079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EC4E33A1-3A40-4A99-A232-1E6EEAE786EA}" dt="2023-08-02T18:53:20.051" v="1076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EC4E33A1-3A40-4A99-A232-1E6EEAE786EA}" dt="2023-08-02T18:53:20.051" v="1075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EC4E33A1-3A40-4A99-A232-1E6EEAE786EA}" dt="2023-08-02T18:53:20.053" v="1080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EC4E33A1-3A40-4A99-A232-1E6EEAE786EA}" dt="2023-08-02T18:53:20.056" v="1085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EC4E33A1-3A40-4A99-A232-1E6EEAE786EA}" dt="2023-08-02T18:53:20.054" v="1082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EC4E33A1-3A40-4A99-A232-1E6EEAE786EA}" dt="2023-08-02T18:53:20.054" v="1081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EC4E33A1-3A40-4A99-A232-1E6EEAE786EA}" dt="2023-08-02T18:53:20.052" v="1078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EC4E33A1-3A40-4A99-A232-1E6EEAE786EA}" dt="2023-08-02T18:53:20.055" v="1084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EC4E33A1-3A40-4A99-A232-1E6EEAE786EA}" dt="2023-08-02T18:53:20.055" v="1083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EC4E33A1-3A40-4A99-A232-1E6EEAE786EA}" dt="2023-08-02T18:53:20.056" v="1086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EC4E33A1-3A40-4A99-A232-1E6EEAE786EA}" dt="2023-08-02T18:53:20.057" v="1088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EC4E33A1-3A40-4A99-A232-1E6EEAE786EA}" dt="2023-08-02T18:53:20.058" v="1090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EC4E33A1-3A40-4A99-A232-1E6EEAE786EA}" dt="2023-08-02T18:53:20.066" v="1105"/>
          <ac:spMkLst>
            <pc:docMk/>
            <pc:sldMk cId="4143996880" sldId="293"/>
            <ac:spMk id="23" creationId="{EBD1389E-81BA-8A64-8C82-1BB38D7BE374}"/>
          </ac:spMkLst>
        </pc:spChg>
        <pc:spChg chg="mod ord">
          <ac:chgData name="Joelle Brehm" userId="a518f54c-6985-42c0-8041-2bb16a414839" providerId="ADAL" clId="{EC4E33A1-3A40-4A99-A232-1E6EEAE786EA}" dt="2023-08-02T18:53:20.062" v="1099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EC4E33A1-3A40-4A99-A232-1E6EEAE786EA}" dt="2023-08-02T18:53:20.059" v="1092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EC4E33A1-3A40-4A99-A232-1E6EEAE786EA}" dt="2023-08-02T18:53:20.059" v="1094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EC4E33A1-3A40-4A99-A232-1E6EEAE786EA}" dt="2023-08-02T18:53:20.077" v="1107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8:53:20.050" v="1074"/>
          <ac:graphicFrameMkLst>
            <pc:docMk/>
            <pc:sldMk cId="4143996880" sldId="293"/>
            <ac:graphicFrameMk id="24" creationId="{55788BA3-C91A-675D-0756-FECBA54E7912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8:53:20.019" v="1062"/>
          <ac:graphicFrameMkLst>
            <pc:docMk/>
            <pc:sldMk cId="4143996880" sldId="293"/>
            <ac:graphicFrameMk id="25" creationId="{42B73EBE-8738-C25E-0EB7-F1F1D2123BF1}"/>
          </ac:graphicFrameMkLst>
        </pc:graphicFrameChg>
        <pc:picChg chg="add mod">
          <ac:chgData name="Joelle Brehm" userId="a518f54c-6985-42c0-8041-2bb16a414839" providerId="ADAL" clId="{EC4E33A1-3A40-4A99-A232-1E6EEAE786EA}" dt="2023-08-02T18:55:09.434" v="1113" actId="1076"/>
          <ac:picMkLst>
            <pc:docMk/>
            <pc:sldMk cId="4143996880" sldId="293"/>
            <ac:picMk id="3" creationId="{DBEA5D42-A659-FF17-AA1D-8DC91AF6612C}"/>
          </ac:picMkLst>
        </pc:picChg>
        <pc:picChg chg="add mod ord">
          <ac:chgData name="Joelle Brehm" userId="a518f54c-6985-42c0-8041-2bb16a414839" providerId="ADAL" clId="{EC4E33A1-3A40-4A99-A232-1E6EEAE786EA}" dt="2023-08-02T18:53:20.049" v="1070"/>
          <ac:picMkLst>
            <pc:docMk/>
            <pc:sldMk cId="4143996880" sldId="293"/>
            <ac:picMk id="6" creationId="{7034BB77-89CE-D302-A994-5638821A2A72}"/>
          </ac:picMkLst>
        </pc:picChg>
        <pc:picChg chg="del mod ord">
          <ac:chgData name="Joelle Brehm" userId="a518f54c-6985-42c0-8041-2bb16a414839" providerId="ADAL" clId="{EC4E33A1-3A40-4A99-A232-1E6EEAE786EA}" dt="2023-08-02T18:53:31.352" v="1108" actId="478"/>
          <ac:picMkLst>
            <pc:docMk/>
            <pc:sldMk cId="4143996880" sldId="293"/>
            <ac:picMk id="7" creationId="{DAE0FEA7-C441-97EF-870C-4A465CF5C03E}"/>
          </ac:picMkLst>
        </pc:picChg>
        <pc:picChg chg="del mod ord">
          <ac:chgData name="Joelle Brehm" userId="a518f54c-6985-42c0-8041-2bb16a414839" providerId="ADAL" clId="{EC4E33A1-3A40-4A99-A232-1E6EEAE786EA}" dt="2023-08-02T18:52:30.189" v="630" actId="478"/>
          <ac:picMkLst>
            <pc:docMk/>
            <pc:sldMk cId="4143996880" sldId="293"/>
            <ac:picMk id="22" creationId="{808CE40F-72D5-0F18-2090-4A8108BB482D}"/>
          </ac:picMkLst>
        </pc:picChg>
        <pc:picChg chg="add del mod">
          <ac:chgData name="Joelle Brehm" userId="a518f54c-6985-42c0-8041-2bb16a414839" providerId="ADAL" clId="{EC4E33A1-3A40-4A99-A232-1E6EEAE786EA}" dt="2023-08-02T18:53:38.068" v="1111" actId="478"/>
          <ac:picMkLst>
            <pc:docMk/>
            <pc:sldMk cId="4143996880" sldId="293"/>
            <ac:picMk id="26" creationId="{F1A4A9BD-C4AB-3383-9027-A0E91EF3C267}"/>
          </ac:picMkLst>
        </pc:picChg>
        <pc:picChg chg="mod">
          <ac:chgData name="Joelle Brehm" userId="a518f54c-6985-42c0-8041-2bb16a414839" providerId="ADAL" clId="{EC4E33A1-3A40-4A99-A232-1E6EEAE786EA}" dt="2023-08-02T18:53:20.060" v="1095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EC4E33A1-3A40-4A99-A232-1E6EEAE786EA}" dt="2023-08-02T18:59:06.638" v="6592"/>
        <pc:sldMkLst>
          <pc:docMk/>
          <pc:sldMk cId="77660323" sldId="295"/>
        </pc:sldMkLst>
        <pc:spChg chg="add del mod">
          <ac:chgData name="Joelle Brehm" userId="a518f54c-6985-42c0-8041-2bb16a414839" providerId="ADAL" clId="{EC4E33A1-3A40-4A99-A232-1E6EEAE786EA}" dt="2023-08-02T18:56:44.966" v="1115" actId="478"/>
          <ac:spMkLst>
            <pc:docMk/>
            <pc:sldMk cId="77660323" sldId="295"/>
            <ac:spMk id="2" creationId="{0112383A-69D5-7740-B058-D0734744C40C}"/>
          </ac:spMkLst>
        </pc:spChg>
        <pc:spChg chg="mod ord">
          <ac:chgData name="Joelle Brehm" userId="a518f54c-6985-42c0-8041-2bb16a414839" providerId="ADAL" clId="{EC4E33A1-3A40-4A99-A232-1E6EEAE786EA}" dt="2023-08-02T18:59:06.579" v="6485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EC4E33A1-3A40-4A99-A232-1E6EEAE786EA}" dt="2023-08-02T18:59:06.592" v="6515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EC4E33A1-3A40-4A99-A232-1E6EEAE786EA}" dt="2023-08-02T18:59:06.592" v="6516"/>
          <ac:spMkLst>
            <pc:docMk/>
            <pc:sldMk cId="77660323" sldId="295"/>
            <ac:spMk id="7" creationId="{AC248985-01B4-CD8C-E025-DF4D35603919}"/>
          </ac:spMkLst>
        </pc:spChg>
        <pc:spChg chg="add del mod modVis">
          <ac:chgData name="Joelle Brehm" userId="a518f54c-6985-42c0-8041-2bb16a414839" providerId="ADAL" clId="{EC4E33A1-3A40-4A99-A232-1E6EEAE786EA}" dt="2023-08-02T18:57:19.607" v="1304"/>
          <ac:spMkLst>
            <pc:docMk/>
            <pc:sldMk cId="77660323" sldId="295"/>
            <ac:spMk id="9" creationId="{30F3EF77-4FCC-AA9E-AC51-8E0C47F39546}"/>
          </ac:spMkLst>
        </pc:spChg>
        <pc:spChg chg="add mod replST">
          <ac:chgData name="Joelle Brehm" userId="a518f54c-6985-42c0-8041-2bb16a414839" providerId="ADAL" clId="{EC4E33A1-3A40-4A99-A232-1E6EEAE786EA}" dt="2023-08-02T18:59:06.593" v="6518"/>
          <ac:spMkLst>
            <pc:docMk/>
            <pc:sldMk cId="77660323" sldId="295"/>
            <ac:spMk id="11" creationId="{4D142ECA-E2D8-9285-6C24-1D82A2038821}"/>
          </ac:spMkLst>
        </pc:spChg>
        <pc:spChg chg="add del mod modVis">
          <ac:chgData name="Joelle Brehm" userId="a518f54c-6985-42c0-8041-2bb16a414839" providerId="ADAL" clId="{EC4E33A1-3A40-4A99-A232-1E6EEAE786EA}" dt="2023-08-02T18:57:42.600" v="1676"/>
          <ac:spMkLst>
            <pc:docMk/>
            <pc:sldMk cId="77660323" sldId="295"/>
            <ac:spMk id="12" creationId="{B7773E5F-A64A-E816-C9F5-4C04663CBFC9}"/>
          </ac:spMkLst>
        </pc:spChg>
        <pc:spChg chg="add del mod modVis">
          <ac:chgData name="Joelle Brehm" userId="a518f54c-6985-42c0-8041-2bb16a414839" providerId="ADAL" clId="{EC4E33A1-3A40-4A99-A232-1E6EEAE786EA}" dt="2023-08-02T18:57:43.932" v="1946"/>
          <ac:spMkLst>
            <pc:docMk/>
            <pc:sldMk cId="77660323" sldId="295"/>
            <ac:spMk id="14" creationId="{6D948D63-CC15-FAB1-0147-67C506DB5E24}"/>
          </ac:spMkLst>
        </pc:spChg>
        <pc:spChg chg="mod">
          <ac:chgData name="Joelle Brehm" userId="a518f54c-6985-42c0-8041-2bb16a414839" providerId="ADAL" clId="{EC4E33A1-3A40-4A99-A232-1E6EEAE786EA}" dt="2023-08-02T18:59:06.605" v="6552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EC4E33A1-3A40-4A99-A232-1E6EEAE786EA}" dt="2023-08-02T18:59:06.606" v="6553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EC4E33A1-3A40-4A99-A232-1E6EEAE786EA}" dt="2023-08-02T18:59:06.593" v="6517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EC4E33A1-3A40-4A99-A232-1E6EEAE786EA}" dt="2023-08-02T18:57:51.946" v="2216"/>
          <ac:spMkLst>
            <pc:docMk/>
            <pc:sldMk cId="77660323" sldId="295"/>
            <ac:spMk id="19" creationId="{0CC2D33F-C906-A83D-1659-870915A23C4D}"/>
          </ac:spMkLst>
        </pc:spChg>
        <pc:spChg chg="add del mod modVis">
          <ac:chgData name="Joelle Brehm" userId="a518f54c-6985-42c0-8041-2bb16a414839" providerId="ADAL" clId="{EC4E33A1-3A40-4A99-A232-1E6EEAE786EA}" dt="2023-08-02T18:57:56.345" v="2811"/>
          <ac:spMkLst>
            <pc:docMk/>
            <pc:sldMk cId="77660323" sldId="295"/>
            <ac:spMk id="21" creationId="{3EC9D614-6660-D2A6-9984-F5D33E6E3A20}"/>
          </ac:spMkLst>
        </pc:spChg>
        <pc:spChg chg="add mod replST">
          <ac:chgData name="Joelle Brehm" userId="a518f54c-6985-42c0-8041-2bb16a414839" providerId="ADAL" clId="{EC4E33A1-3A40-4A99-A232-1E6EEAE786EA}" dt="2023-08-02T18:59:06.587" v="6504"/>
          <ac:spMkLst>
            <pc:docMk/>
            <pc:sldMk cId="77660323" sldId="295"/>
            <ac:spMk id="22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18:59:06.588" v="6505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0" v="6567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EC4E33A1-3A40-4A99-A232-1E6EEAE786EA}" dt="2023-08-02T18:59:06.603" v="6545"/>
          <ac:spMkLst>
            <pc:docMk/>
            <pc:sldMk cId="77660323" sldId="295"/>
            <ac:spMk id="26" creationId="{229D53A9-9359-D14F-5FFD-DB340E8A2769}"/>
          </ac:spMkLst>
        </pc:spChg>
        <pc:spChg chg="add mod replST">
          <ac:chgData name="Joelle Brehm" userId="a518f54c-6985-42c0-8041-2bb16a414839" providerId="ADAL" clId="{EC4E33A1-3A40-4A99-A232-1E6EEAE786EA}" dt="2023-08-02T18:59:06.588" v="6506"/>
          <ac:spMkLst>
            <pc:docMk/>
            <pc:sldMk cId="77660323" sldId="295"/>
            <ac:spMk id="27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18:59:06.587" v="6503"/>
          <ac:spMkLst>
            <pc:docMk/>
            <pc:sldMk cId="77660323" sldId="295"/>
            <ac:spMk id="28" creationId="{7CAA3B95-4C78-4122-BECA-B5FB0F3F3764}"/>
          </ac:spMkLst>
        </pc:spChg>
        <pc:spChg chg="add mod replST">
          <ac:chgData name="Joelle Brehm" userId="a518f54c-6985-42c0-8041-2bb16a414839" providerId="ADAL" clId="{EC4E33A1-3A40-4A99-A232-1E6EEAE786EA}" dt="2023-08-02T18:59:06.606" v="6554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EC4E33A1-3A40-4A99-A232-1E6EEAE786EA}" dt="2023-08-02T18:59:06.598" v="6535"/>
          <ac:spMkLst>
            <pc:docMk/>
            <pc:sldMk cId="77660323" sldId="295"/>
            <ac:spMk id="31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18:58:28.211" v="3605"/>
          <ac:spMkLst>
            <pc:docMk/>
            <pc:sldMk cId="77660323" sldId="295"/>
            <ac:spMk id="32" creationId="{795D245A-31AB-8337-92BD-DB756726693A}"/>
          </ac:spMkLst>
        </pc:spChg>
        <pc:spChg chg="mod">
          <ac:chgData name="Joelle Brehm" userId="a518f54c-6985-42c0-8041-2bb16a414839" providerId="ADAL" clId="{EC4E33A1-3A40-4A99-A232-1E6EEAE786EA}" dt="2023-08-02T18:59:06.600" v="6537"/>
          <ac:spMkLst>
            <pc:docMk/>
            <pc:sldMk cId="77660323" sldId="295"/>
            <ac:spMk id="33" creationId="{7CAA3B95-4C78-4122-BECA-B5FB0F3F3764}"/>
          </ac:spMkLst>
        </pc:spChg>
        <pc:spChg chg="add del mod ord replST">
          <ac:chgData name="Joelle Brehm" userId="a518f54c-6985-42c0-8041-2bb16a414839" providerId="ADAL" clId="{EC4E33A1-3A40-4A99-A232-1E6EEAE786EA}" dt="2023-08-02T18:58:39.569" v="4524"/>
          <ac:spMkLst>
            <pc:docMk/>
            <pc:sldMk cId="77660323" sldId="295"/>
            <ac:spMk id="34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18:58:28.616" v="3822"/>
          <ac:spMkLst>
            <pc:docMk/>
            <pc:sldMk cId="77660323" sldId="295"/>
            <ac:spMk id="36" creationId="{377951ED-C74C-E127-D540-0A011AF6EE52}"/>
          </ac:spMkLst>
        </pc:spChg>
        <pc:spChg chg="add del mod modVis">
          <ac:chgData name="Joelle Brehm" userId="a518f54c-6985-42c0-8041-2bb16a414839" providerId="ADAL" clId="{EC4E33A1-3A40-4A99-A232-1E6EEAE786EA}" dt="2023-08-02T18:58:32.302" v="4091"/>
          <ac:spMkLst>
            <pc:docMk/>
            <pc:sldMk cId="77660323" sldId="295"/>
            <ac:spMk id="38" creationId="{A8E3D9CA-0680-9C07-34B1-327C6C30B01A}"/>
          </ac:spMkLst>
        </pc:spChg>
        <pc:spChg chg="add del mod modVis">
          <ac:chgData name="Joelle Brehm" userId="a518f54c-6985-42c0-8041-2bb16a414839" providerId="ADAL" clId="{EC4E33A1-3A40-4A99-A232-1E6EEAE786EA}" dt="2023-08-02T18:58:35.784" v="4447"/>
          <ac:spMkLst>
            <pc:docMk/>
            <pc:sldMk cId="77660323" sldId="295"/>
            <ac:spMk id="40" creationId="{F1BD1141-6208-BD9A-56A6-6CC55A638084}"/>
          </ac:spMkLst>
        </pc:spChg>
        <pc:spChg chg="add del mod ord replST">
          <ac:chgData name="Joelle Brehm" userId="a518f54c-6985-42c0-8041-2bb16a414839" providerId="ADAL" clId="{EC4E33A1-3A40-4A99-A232-1E6EEAE786EA}" dt="2023-08-02T18:58:43.439" v="4717"/>
          <ac:spMkLst>
            <pc:docMk/>
            <pc:sldMk cId="77660323" sldId="295"/>
            <ac:spMk id="4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0" v="6536"/>
          <ac:spMkLst>
            <pc:docMk/>
            <pc:sldMk cId="77660323" sldId="295"/>
            <ac:spMk id="42" creationId="{A32B7D8C-DAE5-D336-7D31-9ECFB1F6E20C}"/>
          </ac:spMkLst>
        </pc:spChg>
        <pc:spChg chg="add del mod modVis">
          <ac:chgData name="Joelle Brehm" userId="a518f54c-6985-42c0-8041-2bb16a414839" providerId="ADAL" clId="{EC4E33A1-3A40-4A99-A232-1E6EEAE786EA}" dt="2023-08-02T18:58:39.692" v="4641"/>
          <ac:spMkLst>
            <pc:docMk/>
            <pc:sldMk cId="77660323" sldId="295"/>
            <ac:spMk id="44" creationId="{B0556A36-F93E-41E2-7F4C-3651CB35412B}"/>
          </ac:spMkLst>
        </pc:spChg>
        <pc:spChg chg="mod">
          <ac:chgData name="Joelle Brehm" userId="a518f54c-6985-42c0-8041-2bb16a414839" providerId="ADAL" clId="{EC4E33A1-3A40-4A99-A232-1E6EEAE786EA}" dt="2023-08-02T18:59:06.614" v="6576"/>
          <ac:spMkLst>
            <pc:docMk/>
            <pc:sldMk cId="77660323" sldId="295"/>
            <ac:spMk id="45" creationId="{7B959589-9B04-0960-03A9-FE10F7C63094}"/>
          </ac:spMkLst>
        </pc:spChg>
        <pc:spChg chg="add del mod modVis">
          <ac:chgData name="Joelle Brehm" userId="a518f54c-6985-42c0-8041-2bb16a414839" providerId="ADAL" clId="{EC4E33A1-3A40-4A99-A232-1E6EEAE786EA}" dt="2023-08-02T18:58:43.585" v="4832"/>
          <ac:spMkLst>
            <pc:docMk/>
            <pc:sldMk cId="77660323" sldId="295"/>
            <ac:spMk id="47" creationId="{8B16B9F2-E85E-CF94-2675-8369EB256F45}"/>
          </ac:spMkLst>
        </pc:spChg>
        <pc:spChg chg="mod">
          <ac:chgData name="Joelle Brehm" userId="a518f54c-6985-42c0-8041-2bb16a414839" providerId="ADAL" clId="{EC4E33A1-3A40-4A99-A232-1E6EEAE786EA}" dt="2023-08-02T18:59:06.614" v="6575"/>
          <ac:spMkLst>
            <pc:docMk/>
            <pc:sldMk cId="77660323" sldId="295"/>
            <ac:spMk id="48" creationId="{4728F697-F070-C96F-B941-0750AF77863D}"/>
          </ac:spMkLst>
        </pc:spChg>
        <pc:spChg chg="add mod replST">
          <ac:chgData name="Joelle Brehm" userId="a518f54c-6985-42c0-8041-2bb16a414839" providerId="ADAL" clId="{EC4E33A1-3A40-4A99-A232-1E6EEAE786EA}" dt="2023-08-02T18:59:06.613" v="6574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EC4E33A1-3A40-4A99-A232-1E6EEAE786EA}" dt="2023-08-02T18:58:53.689" v="5532"/>
          <ac:spMkLst>
            <pc:docMk/>
            <pc:sldMk cId="77660323" sldId="295"/>
            <ac:spMk id="51" creationId="{FFEA97BF-A3C2-A538-2A86-564CEA521AA2}"/>
          </ac:spMkLst>
        </pc:spChg>
        <pc:spChg chg="add del mod modVis">
          <ac:chgData name="Joelle Brehm" userId="a518f54c-6985-42c0-8041-2bb16a414839" providerId="ADAL" clId="{EC4E33A1-3A40-4A99-A232-1E6EEAE786EA}" dt="2023-08-02T18:58:55.117" v="5752"/>
          <ac:spMkLst>
            <pc:docMk/>
            <pc:sldMk cId="77660323" sldId="295"/>
            <ac:spMk id="53" creationId="{5CB87339-0C71-481F-FEE6-2028E314B068}"/>
          </ac:spMkLst>
        </pc:spChg>
        <pc:spChg chg="add del mod modVis">
          <ac:chgData name="Joelle Brehm" userId="a518f54c-6985-42c0-8041-2bb16a414839" providerId="ADAL" clId="{EC4E33A1-3A40-4A99-A232-1E6EEAE786EA}" dt="2023-08-02T18:58:57.447" v="6024"/>
          <ac:spMkLst>
            <pc:docMk/>
            <pc:sldMk cId="77660323" sldId="295"/>
            <ac:spMk id="55" creationId="{DFA68FCF-F3FE-38B6-ED3B-A2B1E2062194}"/>
          </ac:spMkLst>
        </pc:spChg>
        <pc:spChg chg="add del mod modVis">
          <ac:chgData name="Joelle Brehm" userId="a518f54c-6985-42c0-8041-2bb16a414839" providerId="ADAL" clId="{EC4E33A1-3A40-4A99-A232-1E6EEAE786EA}" dt="2023-08-02T18:59:02.399" v="6385"/>
          <ac:spMkLst>
            <pc:docMk/>
            <pc:sldMk cId="77660323" sldId="295"/>
            <ac:spMk id="58" creationId="{D1F0BF89-9690-6D24-6FBF-F7CFA2427B35}"/>
          </ac:spMkLst>
        </pc:spChg>
        <pc:spChg chg="add mod ord replST">
          <ac:chgData name="Joelle Brehm" userId="a518f54c-6985-42c0-8041-2bb16a414839" providerId="ADAL" clId="{EC4E33A1-3A40-4A99-A232-1E6EEAE786EA}" dt="2023-08-02T18:59:06.615" v="6578"/>
          <ac:spMkLst>
            <pc:docMk/>
            <pc:sldMk cId="77660323" sldId="295"/>
            <ac:spMk id="59" creationId="{7CAA3B95-4C78-4122-BECA-B5FB0F3F3764}"/>
          </ac:spMkLst>
        </pc:spChg>
        <pc:spChg chg="add del mod modVis">
          <ac:chgData name="Joelle Brehm" userId="a518f54c-6985-42c0-8041-2bb16a414839" providerId="ADAL" clId="{EC4E33A1-3A40-4A99-A232-1E6EEAE786EA}" dt="2023-08-02T18:59:06.619" v="6590"/>
          <ac:spMkLst>
            <pc:docMk/>
            <pc:sldMk cId="77660323" sldId="295"/>
            <ac:spMk id="61" creationId="{5B742974-E750-F08D-D265-787C8CBAC426}"/>
          </ac:spMkLst>
        </pc:spChg>
        <pc:spChg chg="del mod">
          <ac:chgData name="Joelle Brehm" userId="a518f54c-6985-42c0-8041-2bb16a414839" providerId="ADAL" clId="{EC4E33A1-3A40-4A99-A232-1E6EEAE786EA}" dt="2023-08-02T18:59:00.949" v="6027"/>
          <ac:spMkLst>
            <pc:docMk/>
            <pc:sldMk cId="77660323" sldId="295"/>
            <ac:spMk id="78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1" v="6569"/>
          <ac:spMkLst>
            <pc:docMk/>
            <pc:sldMk cId="77660323" sldId="295"/>
            <ac:spMk id="79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0" v="6568"/>
          <ac:spMkLst>
            <pc:docMk/>
            <pc:sldMk cId="77660323" sldId="295"/>
            <ac:spMk id="8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1" v="6571"/>
          <ac:spMkLst>
            <pc:docMk/>
            <pc:sldMk cId="77660323" sldId="295"/>
            <ac:spMk id="8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0" v="6566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1" v="6570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9" v="6565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2" v="6572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12" v="6573"/>
          <ac:spMkLst>
            <pc:docMk/>
            <pc:sldMk cId="77660323" sldId="295"/>
            <ac:spMk id="87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18:57:54.963" v="2219"/>
          <ac:spMkLst>
            <pc:docMk/>
            <pc:sldMk cId="77660323" sldId="295"/>
            <ac:spMk id="95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18:59:06.581" v="6491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EC4E33A1-3A40-4A99-A232-1E6EEAE786EA}" dt="2023-08-02T18:59:06.581" v="6493"/>
          <ac:spMkLst>
            <pc:docMk/>
            <pc:sldMk cId="77660323" sldId="295"/>
            <ac:spMk id="97" creationId="{64B2B8D7-E8A8-4757-99A4-69F1EAA48321}"/>
          </ac:spMkLst>
        </pc:spChg>
        <pc:spChg chg="mod">
          <ac:chgData name="Joelle Brehm" userId="a518f54c-6985-42c0-8041-2bb16a414839" providerId="ADAL" clId="{EC4E33A1-3A40-4A99-A232-1E6EEAE786EA}" dt="2023-08-02T18:59:06.589" v="6509"/>
          <ac:spMkLst>
            <pc:docMk/>
            <pc:sldMk cId="77660323" sldId="295"/>
            <ac:spMk id="98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90" v="6510"/>
          <ac:spMkLst>
            <pc:docMk/>
            <pc:sldMk cId="77660323" sldId="295"/>
            <ac:spMk id="99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85" v="6500"/>
          <ac:spMkLst>
            <pc:docMk/>
            <pc:sldMk cId="77660323" sldId="295"/>
            <ac:spMk id="100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89" v="6508"/>
          <ac:spMkLst>
            <pc:docMk/>
            <pc:sldMk cId="77660323" sldId="295"/>
            <ac:spMk id="10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90" v="6511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18:59:06.580" v="6487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EC4E33A1-3A40-4A99-A232-1E6EEAE786EA}" dt="2023-08-02T18:59:06.585" v="6499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91" v="6512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88" v="6507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91" v="6513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91" v="6514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86" v="6501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86" v="6502"/>
          <ac:spMkLst>
            <pc:docMk/>
            <pc:sldMk cId="77660323" sldId="295"/>
            <ac:spMk id="136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584" v="6498"/>
          <ac:spMkLst>
            <pc:docMk/>
            <pc:sldMk cId="77660323" sldId="295"/>
            <ac:spMk id="154" creationId="{7CAA3B95-4C78-4122-BECA-B5FB0F3F3764}"/>
          </ac:spMkLst>
        </pc:spChg>
        <pc:spChg chg="del mod">
          <ac:chgData name="Joelle Brehm" userId="a518f54c-6985-42c0-8041-2bb16a414839" providerId="ADAL" clId="{EC4E33A1-3A40-4A99-A232-1E6EEAE786EA}" dt="2023-08-02T18:57:55.155" v="2277"/>
          <ac:spMkLst>
            <pc:docMk/>
            <pc:sldMk cId="77660323" sldId="295"/>
            <ac:spMk id="171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18:59:06.581" v="6495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EC4E33A1-3A40-4A99-A232-1E6EEAE786EA}" dt="2023-08-02T18:59:06.601" v="6540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EC4E33A1-3A40-4A99-A232-1E6EEAE786EA}" dt="2023-08-02T18:59:06.608" v="6561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EC4E33A1-3A40-4A99-A232-1E6EEAE786EA}" dt="2023-08-02T18:59:06.608" v="6562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EC4E33A1-3A40-4A99-A232-1E6EEAE786EA}" dt="2023-08-02T18:59:06.617" v="6585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EC4E33A1-3A40-4A99-A232-1E6EEAE786EA}" dt="2023-08-02T18:59:06.617" v="6586"/>
          <ac:spMkLst>
            <pc:docMk/>
            <pc:sldMk cId="77660323" sldId="295"/>
            <ac:spMk id="402" creationId="{54A50511-8137-91F0-6AA8-1D657EEE3E68}"/>
          </ac:spMkLst>
        </pc:spChg>
        <pc:spChg chg="mod ord">
          <ac:chgData name="Joelle Brehm" userId="a518f54c-6985-42c0-8041-2bb16a414839" providerId="ADAL" clId="{EC4E33A1-3A40-4A99-A232-1E6EEAE786EA}" dt="2023-08-02T18:59:06.597" v="6532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EC4E33A1-3A40-4A99-A232-1E6EEAE786EA}" dt="2023-08-02T18:59:06.596" v="6528"/>
          <ac:spMkLst>
            <pc:docMk/>
            <pc:sldMk cId="77660323" sldId="295"/>
            <ac:spMk id="485" creationId="{0E817BE1-E587-06E4-D9FC-07EC7C45C787}"/>
          </ac:spMkLst>
        </pc:spChg>
        <pc:spChg chg="del mod">
          <ac:chgData name="Joelle Brehm" userId="a518f54c-6985-42c0-8041-2bb16a414839" providerId="ADAL" clId="{EC4E33A1-3A40-4A99-A232-1E6EEAE786EA}" dt="2023-08-02T18:58:35.052" v="4094"/>
          <ac:spMkLst>
            <pc:docMk/>
            <pc:sldMk cId="77660323" sldId="295"/>
            <ac:spMk id="488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4" v="6548"/>
          <ac:spMkLst>
            <pc:docMk/>
            <pc:sldMk cId="77660323" sldId="295"/>
            <ac:spMk id="489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18:59:06.597" v="6530"/>
          <ac:spMkLst>
            <pc:docMk/>
            <pc:sldMk cId="77660323" sldId="295"/>
            <ac:spMk id="490" creationId="{9C81118A-E471-58E2-D54E-14C43A3A7D15}"/>
          </ac:spMkLst>
        </pc:spChg>
        <pc:spChg chg="mod">
          <ac:chgData name="Joelle Brehm" userId="a518f54c-6985-42c0-8041-2bb16a414839" providerId="ADAL" clId="{EC4E33A1-3A40-4A99-A232-1E6EEAE786EA}" dt="2023-08-02T18:59:06.604" v="6549"/>
          <ac:spMkLst>
            <pc:docMk/>
            <pc:sldMk cId="77660323" sldId="295"/>
            <ac:spMk id="491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2" v="6544"/>
          <ac:spMkLst>
            <pc:docMk/>
            <pc:sldMk cId="77660323" sldId="295"/>
            <ac:spMk id="492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3" v="6547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3" v="6546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4" v="6550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0" v="6538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EC4E33A1-3A40-4A99-A232-1E6EEAE786EA}" dt="2023-08-02T18:59:06.602" v="6543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EC4E33A1-3A40-4A99-A232-1E6EEAE786EA}" dt="2023-08-02T18:59:06.605" v="6551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EC4E33A1-3A40-4A99-A232-1E6EEAE786EA}" dt="2023-08-02T18:59:06.598" v="6534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EC4E33A1-3A40-4A99-A232-1E6EEAE786EA}" dt="2023-08-02T18:59:06.607" v="6560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EC4E33A1-3A40-4A99-A232-1E6EEAE786EA}" dt="2023-08-02T18:59:06.617" v="6584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EC4E33A1-3A40-4A99-A232-1E6EEAE786EA}" dt="2023-08-02T18:59:06.638" v="6592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7:43.670" v="1787"/>
          <ac:graphicFrameMkLst>
            <pc:docMk/>
            <pc:sldMk cId="77660323" sldId="295"/>
            <ac:graphicFrameMk id="13" creationId="{A3AB7E6B-C214-4B7F-09C7-3139458F25F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7:51.766" v="2057"/>
          <ac:graphicFrameMkLst>
            <pc:docMk/>
            <pc:sldMk cId="77660323" sldId="295"/>
            <ac:graphicFrameMk id="18" creationId="{2CFB9D99-4924-7A6D-FA33-C08B4AD9936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7:56.163" v="2650"/>
          <ac:graphicFrameMkLst>
            <pc:docMk/>
            <pc:sldMk cId="77660323" sldId="295"/>
            <ac:graphicFrameMk id="20" creationId="{8148597C-A141-5D9B-CBC6-80221E14A82D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8:57:42.340" v="1517"/>
          <ac:graphicFrameMkLst>
            <pc:docMk/>
            <pc:sldMk cId="77660323" sldId="295"/>
            <ac:graphicFrameMk id="23" creationId="{82377DAC-D955-542D-9A59-3C3C941FC9E7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8:59:06.583" v="6497"/>
          <ac:graphicFrameMkLst>
            <pc:docMk/>
            <pc:sldMk cId="77660323" sldId="295"/>
            <ac:graphicFrameMk id="29" creationId="{79B1290B-1F2A-3978-DD3B-246B0F5A113D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8:28.464" v="3682"/>
          <ac:graphicFrameMkLst>
            <pc:docMk/>
            <pc:sldMk cId="77660323" sldId="295"/>
            <ac:graphicFrameMk id="35" creationId="{061F2C82-52CF-DBC8-F57E-12568BDFD99B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8:32.078" v="3928"/>
          <ac:graphicFrameMkLst>
            <pc:docMk/>
            <pc:sldMk cId="77660323" sldId="295"/>
            <ac:graphicFrameMk id="37" creationId="{D068282D-FE85-F30F-DBB6-B484C7F31C68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8:35.527" v="4283"/>
          <ac:graphicFrameMkLst>
            <pc:docMk/>
            <pc:sldMk cId="77660323" sldId="295"/>
            <ac:graphicFrameMk id="39" creationId="{60495281-B0DC-0432-0700-DC0D35785C8C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8:39.572" v="4526"/>
          <ac:graphicFrameMkLst>
            <pc:docMk/>
            <pc:sldMk cId="77660323" sldId="295"/>
            <ac:graphicFrameMk id="43" creationId="{86C43DB9-6861-1E4C-05DC-8DE2E8BE4809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8:43.443" v="4719"/>
          <ac:graphicFrameMkLst>
            <pc:docMk/>
            <pc:sldMk cId="77660323" sldId="295"/>
            <ac:graphicFrameMk id="46" creationId="{EFDDC543-C7ED-12C3-3B33-B1AE494C2D80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8:59:06.601" v="6542"/>
          <ac:graphicFrameMkLst>
            <pc:docMk/>
            <pc:sldMk cId="77660323" sldId="295"/>
            <ac:graphicFrameMk id="49" creationId="{DBDE81FA-7CEB-884A-99B6-E9DF9871E69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8:54.883" v="5614"/>
          <ac:graphicFrameMkLst>
            <pc:docMk/>
            <pc:sldMk cId="77660323" sldId="295"/>
            <ac:graphicFrameMk id="52" creationId="{1968A511-9907-3F5B-9BFD-5C764F7F1B60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8:57.238" v="5863"/>
          <ac:graphicFrameMkLst>
            <pc:docMk/>
            <pc:sldMk cId="77660323" sldId="295"/>
            <ac:graphicFrameMk id="54" creationId="{75AB6003-52AE-2D32-E333-D0F6FEC931A0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8:58:53.512" v="5384"/>
          <ac:graphicFrameMkLst>
            <pc:docMk/>
            <pc:sldMk cId="77660323" sldId="295"/>
            <ac:graphicFrameMk id="56" creationId="{7CA415EB-797D-4E07-63D9-881CAC591DA5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9:01.972" v="6223"/>
          <ac:graphicFrameMkLst>
            <pc:docMk/>
            <pc:sldMk cId="77660323" sldId="295"/>
            <ac:graphicFrameMk id="57" creationId="{200DC151-8A77-CAFD-6377-A0F341C49C13}"/>
          </ac:graphicFrameMkLst>
        </pc:graphicFrameChg>
        <pc:graphicFrameChg chg="add del mod ord replST">
          <ac:chgData name="Joelle Brehm" userId="a518f54c-6985-42c0-8041-2bb16a414839" providerId="ADAL" clId="{EC4E33A1-3A40-4A99-A232-1E6EEAE786EA}" dt="2023-08-02T18:59:06.538" v="6475"/>
          <ac:graphicFrameMkLst>
            <pc:docMk/>
            <pc:sldMk cId="77660323" sldId="295"/>
            <ac:graphicFrameMk id="60" creationId="{CFACA18B-5684-FED6-92D5-60B52709CF50}"/>
          </ac:graphicFrameMkLst>
        </pc:graphicFrameChg>
        <pc:graphicFrameChg chg="del mod ord">
          <ac:chgData name="Joelle Brehm" userId="a518f54c-6985-42c0-8041-2bb16a414839" providerId="ADAL" clId="{EC4E33A1-3A40-4A99-A232-1E6EEAE786EA}" dt="2023-08-02T18:58:28.016" v="3455"/>
          <ac:graphicFrameMkLst>
            <pc:docMk/>
            <pc:sldMk cId="77660323" sldId="295"/>
            <ac:graphicFrameMk id="62" creationId="{BBD6E093-1F80-156A-CE37-4AD49D848826}"/>
          </ac:graphicFrameMkLst>
        </pc:graphicFrameChg>
        <pc:graphicFrameChg chg="add mod ord replST">
          <ac:chgData name="Joelle Brehm" userId="a518f54c-6985-42c0-8041-2bb16a414839" providerId="ADAL" clId="{EC4E33A1-3A40-4A99-A232-1E6EEAE786EA}" dt="2023-08-02T18:59:06.609" v="6564"/>
          <ac:graphicFrameMkLst>
            <pc:docMk/>
            <pc:sldMk cId="77660323" sldId="295"/>
            <ac:graphicFrameMk id="63" creationId="{3E5EDD94-E6E7-305D-F4DD-E3AE89A1C8BF}"/>
          </ac:graphicFrameMkLst>
        </pc:graphicFrameChg>
        <pc:picChg chg="mod ord">
          <ac:chgData name="Joelle Brehm" userId="a518f54c-6985-42c0-8041-2bb16a414839" providerId="ADAL" clId="{EC4E33A1-3A40-4A99-A232-1E6EEAE786EA}" dt="2023-08-02T18:59:06.580" v="6489"/>
          <ac:picMkLst>
            <pc:docMk/>
            <pc:sldMk cId="77660323" sldId="295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EC4E33A1-3A40-4A99-A232-1E6EEAE786EA}" dt="2023-08-02T18:59:06.579" v="6483"/>
          <ac:picMkLst>
            <pc:docMk/>
            <pc:sldMk cId="77660323" sldId="295"/>
            <ac:picMk id="8" creationId="{549C50B8-DC98-9828-57CE-24D96851D8DF}"/>
          </ac:picMkLst>
        </pc:picChg>
        <pc:picChg chg="del mod ord">
          <ac:chgData name="Joelle Brehm" userId="a518f54c-6985-42c0-8041-2bb16a414839" providerId="ADAL" clId="{EC4E33A1-3A40-4A99-A232-1E6EEAE786EA}" dt="2023-08-02T18:57:21.787" v="1307" actId="478"/>
          <ac:picMkLst>
            <pc:docMk/>
            <pc:sldMk cId="77660323" sldId="295"/>
            <ac:picMk id="10" creationId="{DBBC873E-B9B5-9E03-399C-B1D86F95BE5D}"/>
          </ac:picMkLst>
        </pc:picChg>
        <pc:cxnChg chg="mod ord">
          <ac:chgData name="Joelle Brehm" userId="a518f54c-6985-42c0-8041-2bb16a414839" providerId="ADAL" clId="{EC4E33A1-3A40-4A99-A232-1E6EEAE786EA}" dt="2023-08-02T18:59:06.594" v="6520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EC4E33A1-3A40-4A99-A232-1E6EEAE786EA}" dt="2023-08-02T18:59:06.595" v="6522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EC4E33A1-3A40-4A99-A232-1E6EEAE786EA}" dt="2023-08-02T18:59:06.595" v="6524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EC4E33A1-3A40-4A99-A232-1E6EEAE786EA}" dt="2023-08-02T18:59:06.607" v="6556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EC4E33A1-3A40-4A99-A232-1E6EEAE786EA}" dt="2023-08-02T18:59:06.607" v="6558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EC4E33A1-3A40-4A99-A232-1E6EEAE786EA}" dt="2023-08-02T18:59:06.616" v="6582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EC4E33A1-3A40-4A99-A232-1E6EEAE786EA}" dt="2023-08-02T18:59:06.615" v="6580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EC4E33A1-3A40-4A99-A232-1E6EEAE786EA}" dt="2023-08-02T18:59:06.596" v="6526"/>
          <ac:cxnSpMkLst>
            <pc:docMk/>
            <pc:sldMk cId="77660323" sldId="295"/>
            <ac:cxnSpMk id="499" creationId="{03F78B4F-B1A0-4DEB-C1BE-2365D8B94D05}"/>
          </ac:cxnSpMkLst>
        </pc:cxnChg>
      </pc:sldChg>
    </pc:docChg>
  </pc:docChgLst>
  <pc:docChgLst>
    <pc:chgData name="Joelle Brehm" userId="a518f54c-6985-42c0-8041-2bb16a414839" providerId="ADAL" clId="{BE3A2103-5170-40FE-A99F-CB737D9F76BC}"/>
    <pc:docChg chg="undo custSel addSld delSld modSld replTag">
      <pc:chgData name="Joelle Brehm" userId="a518f54c-6985-42c0-8041-2bb16a414839" providerId="ADAL" clId="{BE3A2103-5170-40FE-A99F-CB737D9F76BC}" dt="2023-10-04T15:27:46.337" v="63911" actId="478"/>
      <pc:docMkLst>
        <pc:docMk/>
      </pc:docMkLst>
      <pc:sldChg chg="delSp modSp mod">
        <pc:chgData name="Joelle Brehm" userId="a518f54c-6985-42c0-8041-2bb16a414839" providerId="ADAL" clId="{BE3A2103-5170-40FE-A99F-CB737D9F76BC}" dt="2023-10-04T15:27:46.337" v="63911" actId="478"/>
        <pc:sldMkLst>
          <pc:docMk/>
          <pc:sldMk cId="3839614074" sldId="258"/>
        </pc:sldMkLst>
        <pc:spChg chg="del mod">
          <ac:chgData name="Joelle Brehm" userId="a518f54c-6985-42c0-8041-2bb16a414839" providerId="ADAL" clId="{BE3A2103-5170-40FE-A99F-CB737D9F76BC}" dt="2023-10-04T15:27:46.337" v="63911" actId="478"/>
          <ac:spMkLst>
            <pc:docMk/>
            <pc:sldMk cId="3839614074" sldId="258"/>
            <ac:spMk id="2" creationId="{987A7DCF-2FCB-8853-4889-D5200D0F4834}"/>
          </ac:spMkLst>
        </pc:spChg>
        <pc:spChg chg="mod">
          <ac:chgData name="Joelle Brehm" userId="a518f54c-6985-42c0-8041-2bb16a414839" providerId="ADAL" clId="{BE3A2103-5170-40FE-A99F-CB737D9F76BC}" dt="2023-10-04T15:27:33.072" v="63910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BE3A2103-5170-40FE-A99F-CB737D9F76BC}" dt="2023-10-02T20:33:39.508" v="1179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BE3A2103-5170-40FE-A99F-CB737D9F76BC}" dt="2023-10-02T21:04:22.100" v="14579"/>
        <pc:sldMkLst>
          <pc:docMk/>
          <pc:sldMk cId="3798164587" sldId="259"/>
        </pc:sldMkLst>
        <pc:spChg chg="mod ord">
          <ac:chgData name="Joelle Brehm" userId="a518f54c-6985-42c0-8041-2bb16a414839" providerId="ADAL" clId="{BE3A2103-5170-40FE-A99F-CB737D9F76BC}" dt="2023-10-02T21:04:22.086" v="14573"/>
          <ac:spMkLst>
            <pc:docMk/>
            <pc:sldMk cId="3798164587" sldId="259"/>
            <ac:spMk id="2" creationId="{8EDF2A74-9587-4C1D-91CA-8D21248ED6E8}"/>
          </ac:spMkLst>
        </pc:spChg>
        <pc:spChg chg="del">
          <ac:chgData name="Joelle Brehm" userId="a518f54c-6985-42c0-8041-2bb16a414839" providerId="ADAL" clId="{BE3A2103-5170-40FE-A99F-CB737D9F76BC}" dt="2023-10-02T21:02:55.126" v="13059" actId="478"/>
          <ac:spMkLst>
            <pc:docMk/>
            <pc:sldMk cId="3798164587" sldId="259"/>
            <ac:spMk id="3" creationId="{456CE297-7C1B-5BD5-F22E-26D1D8BADCC8}"/>
          </ac:spMkLst>
        </pc:spChg>
        <pc:spChg chg="mod ord">
          <ac:chgData name="Joelle Brehm" userId="a518f54c-6985-42c0-8041-2bb16a414839" providerId="ADAL" clId="{BE3A2103-5170-40FE-A99F-CB737D9F76BC}" dt="2023-10-02T21:04:22.054" v="14491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BE3A2103-5170-40FE-A99F-CB737D9F76BC}" dt="2023-10-02T21:03:16.261" v="13338"/>
          <ac:spMkLst>
            <pc:docMk/>
            <pc:sldMk cId="3798164587" sldId="259"/>
            <ac:spMk id="8" creationId="{989DC45B-B8A1-F330-8229-DB4869652950}"/>
          </ac:spMkLst>
        </pc:spChg>
        <pc:spChg chg="mod">
          <ac:chgData name="Joelle Brehm" userId="a518f54c-6985-42c0-8041-2bb16a414839" providerId="ADAL" clId="{BE3A2103-5170-40FE-A99F-CB737D9F76BC}" dt="2023-10-02T21:04:22.059" v="14503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04:22.058" v="14499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04:22.057" v="14497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04:22.057" v="14496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04:22.057" v="14498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04:22.058" v="14501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04:22.059" v="14502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04:22.058" v="14500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04:22.059" v="14504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04:22.059" v="14505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04:22.060" v="14506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04:22.060" v="14507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04:22.061" v="14509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04:22.062" v="14511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04:22.062" v="14510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04:22.063" v="14512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04:22.063" v="14514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04:22.063" v="14513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04:22.064" v="14515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04:22.065" v="14517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04:22.078" v="14548"/>
          <ac:spMkLst>
            <pc:docMk/>
            <pc:sldMk cId="3798164587" sldId="259"/>
            <ac:spMk id="32" creationId="{2EFC59B1-C208-1816-2539-FFF2F0D2CED4}"/>
          </ac:spMkLst>
        </pc:spChg>
        <pc:spChg chg="add del mod modVis">
          <ac:chgData name="Joelle Brehm" userId="a518f54c-6985-42c0-8041-2bb16a414839" providerId="ADAL" clId="{BE3A2103-5170-40FE-A99F-CB737D9F76BC}" dt="2023-10-02T21:04:09.555" v="13676"/>
          <ac:spMkLst>
            <pc:docMk/>
            <pc:sldMk cId="3798164587" sldId="259"/>
            <ac:spMk id="33" creationId="{AF611C69-C3FB-7CFA-F23A-DC41D3976390}"/>
          </ac:spMkLst>
        </pc:spChg>
        <pc:spChg chg="mod">
          <ac:chgData name="Joelle Brehm" userId="a518f54c-6985-42c0-8041-2bb16a414839" providerId="ADAL" clId="{BE3A2103-5170-40FE-A99F-CB737D9F76BC}" dt="2023-10-02T21:04:22.078" v="14546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BE3A2103-5170-40FE-A99F-CB737D9F76BC}" dt="2023-10-02T21:04:22.074" v="14544"/>
          <ac:spMkLst>
            <pc:docMk/>
            <pc:sldMk cId="3798164587" sldId="259"/>
            <ac:spMk id="35" creationId="{1ACE69F8-F1AC-EF80-230F-4DB2F50E9D36}"/>
          </ac:spMkLst>
        </pc:spChg>
        <pc:spChg chg="del mod">
          <ac:chgData name="Joelle Brehm" userId="a518f54c-6985-42c0-8041-2bb16a414839" providerId="ADAL" clId="{BE3A2103-5170-40FE-A99F-CB737D9F76BC}" dt="2023-10-02T21:04:21.862" v="14321"/>
          <ac:spMkLst>
            <pc:docMk/>
            <pc:sldMk cId="3798164587" sldId="259"/>
            <ac:spMk id="36" creationId="{17FE84B0-8441-0A09-95B5-2EDD40F6EB1C}"/>
          </ac:spMkLst>
        </pc:spChg>
        <pc:spChg chg="mod">
          <ac:chgData name="Joelle Brehm" userId="a518f54c-6985-42c0-8041-2bb16a414839" providerId="ADAL" clId="{BE3A2103-5170-40FE-A99F-CB737D9F76BC}" dt="2023-10-02T21:04:22.071" v="14530"/>
          <ac:spMkLst>
            <pc:docMk/>
            <pc:sldMk cId="3798164587" sldId="259"/>
            <ac:spMk id="37" creationId="{E3EAC238-37CE-FE97-F754-1E4E04FB6278}"/>
          </ac:spMkLst>
        </pc:spChg>
        <pc:spChg chg="mod">
          <ac:chgData name="Joelle Brehm" userId="a518f54c-6985-42c0-8041-2bb16a414839" providerId="ADAL" clId="{BE3A2103-5170-40FE-A99F-CB737D9F76BC}" dt="2023-10-02T21:04:22.072" v="14531"/>
          <ac:spMkLst>
            <pc:docMk/>
            <pc:sldMk cId="3798164587" sldId="259"/>
            <ac:spMk id="38" creationId="{F9718545-2C79-73C0-B314-2B5D8CF60E56}"/>
          </ac:spMkLst>
        </pc:spChg>
        <pc:spChg chg="mod">
          <ac:chgData name="Joelle Brehm" userId="a518f54c-6985-42c0-8041-2bb16a414839" providerId="ADAL" clId="{BE3A2103-5170-40FE-A99F-CB737D9F76BC}" dt="2023-10-02T21:04:22.078" v="14547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BE3A2103-5170-40FE-A99F-CB737D9F76BC}" dt="2023-10-02T21:04:22.071" v="14529"/>
          <ac:spMkLst>
            <pc:docMk/>
            <pc:sldMk cId="3798164587" sldId="259"/>
            <ac:spMk id="41" creationId="{AAEA4991-6EDC-4585-53B3-43FCB8287F41}"/>
          </ac:spMkLst>
        </pc:spChg>
        <pc:spChg chg="mod">
          <ac:chgData name="Joelle Brehm" userId="a518f54c-6985-42c0-8041-2bb16a414839" providerId="ADAL" clId="{BE3A2103-5170-40FE-A99F-CB737D9F76BC}" dt="2023-10-02T21:04:22.073" v="14533"/>
          <ac:spMkLst>
            <pc:docMk/>
            <pc:sldMk cId="3798164587" sldId="259"/>
            <ac:spMk id="42" creationId="{17E5CF1F-B68A-803E-7A46-9E4C2586B04A}"/>
          </ac:spMkLst>
        </pc:spChg>
        <pc:spChg chg="mod">
          <ac:chgData name="Joelle Brehm" userId="a518f54c-6985-42c0-8041-2bb16a414839" providerId="ADAL" clId="{BE3A2103-5170-40FE-A99F-CB737D9F76BC}" dt="2023-10-02T21:04:22.074" v="14534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BE3A2103-5170-40FE-A99F-CB737D9F76BC}" dt="2023-10-02T21:04:22.074" v="14539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BE3A2103-5170-40FE-A99F-CB737D9F76BC}" dt="2023-10-02T21:04:22.067" v="14521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67" v="14522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69" v="14525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BE3A2103-5170-40FE-A99F-CB737D9F76BC}" dt="2023-10-02T21:04:22.070" v="14528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BE3A2103-5170-40FE-A99F-CB737D9F76BC}" dt="2023-10-02T21:04:22.074" v="14542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BE3A2103-5170-40FE-A99F-CB737D9F76BC}" dt="2023-10-02T21:04:22.074" v="14538"/>
          <ac:spMkLst>
            <pc:docMk/>
            <pc:sldMk cId="3798164587" sldId="259"/>
            <ac:spMk id="50" creationId="{6E0EEE28-854C-B3D5-8CC6-BD69B0BE61B8}"/>
          </ac:spMkLst>
        </pc:spChg>
        <pc:spChg chg="mod">
          <ac:chgData name="Joelle Brehm" userId="a518f54c-6985-42c0-8041-2bb16a414839" providerId="ADAL" clId="{BE3A2103-5170-40FE-A99F-CB737D9F76BC}" dt="2023-10-02T21:04:22.074" v="14545"/>
          <ac:spMkLst>
            <pc:docMk/>
            <pc:sldMk cId="3798164587" sldId="259"/>
            <ac:spMk id="51" creationId="{3CCC5AEF-7BB6-2440-B43E-35D020EB1B82}"/>
          </ac:spMkLst>
        </pc:spChg>
        <pc:spChg chg="mod">
          <ac:chgData name="Joelle Brehm" userId="a518f54c-6985-42c0-8041-2bb16a414839" providerId="ADAL" clId="{BE3A2103-5170-40FE-A99F-CB737D9F76BC}" dt="2023-10-02T21:04:22.070" v="14527"/>
          <ac:spMkLst>
            <pc:docMk/>
            <pc:sldMk cId="3798164587" sldId="259"/>
            <ac:spMk id="52" creationId="{D8EE27B5-3F46-02AD-6192-2B83C625A7E3}"/>
          </ac:spMkLst>
        </pc:spChg>
        <pc:spChg chg="add mod replST">
          <ac:chgData name="Joelle Brehm" userId="a518f54c-6985-42c0-8041-2bb16a414839" providerId="ADAL" clId="{BE3A2103-5170-40FE-A99F-CB737D9F76BC}" dt="2023-10-02T21:04:22.078" v="14549"/>
          <ac:spMkLst>
            <pc:docMk/>
            <pc:sldMk cId="3798164587" sldId="259"/>
            <ac:spMk id="54" creationId="{2CEA7E2C-E3CA-7941-ACCF-262308344C45}"/>
          </ac:spMkLst>
        </pc:spChg>
        <pc:spChg chg="add mod replST">
          <ac:chgData name="Joelle Brehm" userId="a518f54c-6985-42c0-8041-2bb16a414839" providerId="ADAL" clId="{BE3A2103-5170-40FE-A99F-CB737D9F76BC}" dt="2023-10-02T21:04:22.079" v="14550"/>
          <ac:spMkLst>
            <pc:docMk/>
            <pc:sldMk cId="3798164587" sldId="259"/>
            <ac:spMk id="55" creationId="{02AD7D81-8D13-B15E-2594-BD31882D675C}"/>
          </ac:spMkLst>
        </pc:spChg>
        <pc:spChg chg="add del mod modVis">
          <ac:chgData name="Joelle Brehm" userId="a518f54c-6985-42c0-8041-2bb16a414839" providerId="ADAL" clId="{BE3A2103-5170-40FE-A99F-CB737D9F76BC}" dt="2023-10-02T21:04:18.134" v="14090"/>
          <ac:spMkLst>
            <pc:docMk/>
            <pc:sldMk cId="3798164587" sldId="259"/>
            <ac:spMk id="56" creationId="{2CA7E16C-2668-C83F-1A7F-F1011FA65CB2}"/>
          </ac:spMkLst>
        </pc:spChg>
        <pc:spChg chg="add del mod modVis">
          <ac:chgData name="Joelle Brehm" userId="a518f54c-6985-42c0-8041-2bb16a414839" providerId="ADAL" clId="{BE3A2103-5170-40FE-A99F-CB737D9F76BC}" dt="2023-10-02T21:04:19.784" v="14318"/>
          <ac:spMkLst>
            <pc:docMk/>
            <pc:sldMk cId="3798164587" sldId="259"/>
            <ac:spMk id="59" creationId="{A7F1DB2A-9395-CCFD-0F57-C0D4445BB405}"/>
          </ac:spMkLst>
        </pc:spChg>
        <pc:spChg chg="mod">
          <ac:chgData name="Joelle Brehm" userId="a518f54c-6985-42c0-8041-2bb16a414839" providerId="ADAL" clId="{BE3A2103-5170-40FE-A99F-CB737D9F76BC}" dt="2023-10-02T21:04:22.067" v="14520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BE3A2103-5170-40FE-A99F-CB737D9F76BC}" dt="2023-10-02T21:04:22.068" v="14523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BE3A2103-5170-40FE-A99F-CB737D9F76BC}" dt="2023-10-02T21:04:22.068" v="14524"/>
          <ac:spMkLst>
            <pc:docMk/>
            <pc:sldMk cId="3798164587" sldId="259"/>
            <ac:spMk id="64" creationId="{28987B1A-D33C-4BEB-B42D-5DE09D6199E9}"/>
          </ac:spMkLst>
        </pc:spChg>
        <pc:spChg chg="add del mod modVis">
          <ac:chgData name="Joelle Brehm" userId="a518f54c-6985-42c0-8041-2bb16a414839" providerId="ADAL" clId="{BE3A2103-5170-40FE-A99F-CB737D9F76BC}" dt="2023-10-02T21:04:22.088" v="14577"/>
          <ac:spMkLst>
            <pc:docMk/>
            <pc:sldMk cId="3798164587" sldId="259"/>
            <ac:spMk id="65" creationId="{7F810F12-B4B4-15E4-CA42-DD504669998F}"/>
          </ac:spMkLst>
        </pc:spChg>
        <pc:spChg chg="mod ord">
          <ac:chgData name="Joelle Brehm" userId="a518f54c-6985-42c0-8041-2bb16a414839" providerId="ADAL" clId="{BE3A2103-5170-40FE-A99F-CB737D9F76BC}" dt="2023-10-02T21:04:22.079" v="14552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04:22.080" v="14554"/>
          <ac:spMkLst>
            <pc:docMk/>
            <pc:sldMk cId="3798164587" sldId="259"/>
            <ac:spMk id="79" creationId="{F1476AC4-694B-4D83-BFD8-8DCAA4BB1923}"/>
          </ac:spMkLst>
        </pc:spChg>
        <pc:spChg chg="del mod">
          <ac:chgData name="Joelle Brehm" userId="a518f54c-6985-42c0-8041-2bb16a414839" providerId="ADAL" clId="{BE3A2103-5170-40FE-A99F-CB737D9F76BC}" dt="2023-10-02T21:04:21.863" v="14322"/>
          <ac:spMkLst>
            <pc:docMk/>
            <pc:sldMk cId="3798164587" sldId="259"/>
            <ac:spMk id="8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73" v="14532"/>
          <ac:spMkLst>
            <pc:docMk/>
            <pc:sldMk cId="3798164587" sldId="259"/>
            <ac:spMk id="8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74" v="14535"/>
          <ac:spMkLst>
            <pc:docMk/>
            <pc:sldMk cId="3798164587" sldId="259"/>
            <ac:spMk id="89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74" v="14537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69" v="14526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74" v="14540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74" v="14541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74" v="14536"/>
          <ac:spMkLst>
            <pc:docMk/>
            <pc:sldMk cId="3798164587" sldId="259"/>
            <ac:spMk id="95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04:22.081" v="14556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BE3A2103-5170-40FE-A99F-CB737D9F76BC}" dt="2023-10-02T21:04:22.074" v="14543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04:22.081" v="14558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04:22.082" v="14560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04:22.083" v="14562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04:22.084" v="14567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85" v="14568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85" v="14569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4:22.084" v="14566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04:22.084" v="14565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04:22.100" v="14579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1:03:16.197" v="13236"/>
          <ac:graphicFrameMkLst>
            <pc:docMk/>
            <pc:sldMk cId="3798164587" sldId="259"/>
            <ac:graphicFrameMk id="9" creationId="{BD15BEAB-8761-5643-206C-0595051CCC13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4:22.056" v="14495"/>
          <ac:graphicFrameMkLst>
            <pc:docMk/>
            <pc:sldMk cId="3798164587" sldId="259"/>
            <ac:graphicFrameMk id="10" creationId="{BD6FBAC1-F01A-B74A-3FB0-AB5DCDB0A859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4:22.083" v="14564"/>
          <ac:graphicFrameMkLst>
            <pc:docMk/>
            <pc:sldMk cId="3798164587" sldId="259"/>
            <ac:graphicFrameMk id="53" creationId="{0C5655C0-5E56-2174-6EBE-834B5631FB1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4:19.697" v="14218"/>
          <ac:graphicFrameMkLst>
            <pc:docMk/>
            <pc:sldMk cId="3798164587" sldId="259"/>
            <ac:graphicFrameMk id="57" creationId="{037265D6-96D5-58C3-AABB-0AF963C4D933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04:18.053" v="13990"/>
          <ac:graphicFrameMkLst>
            <pc:docMk/>
            <pc:sldMk cId="3798164587" sldId="259"/>
            <ac:graphicFrameMk id="58" creationId="{0C8E7156-34E9-E53C-3916-77840224F45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4:22.021" v="14479"/>
          <ac:graphicFrameMkLst>
            <pc:docMk/>
            <pc:sldMk cId="3798164587" sldId="259"/>
            <ac:graphicFrameMk id="60" creationId="{0125077B-3AF0-F953-455A-381D3C74F191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04:09.504" v="13578"/>
          <ac:graphicFrameMkLst>
            <pc:docMk/>
            <pc:sldMk cId="3798164587" sldId="259"/>
            <ac:graphicFrameMk id="63" creationId="{50469942-152E-7D14-5F01-6FD80674CD6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4:22.066" v="14519"/>
          <ac:graphicFrameMkLst>
            <pc:docMk/>
            <pc:sldMk cId="3798164587" sldId="259"/>
            <ac:graphicFrameMk id="66" creationId="{AC537ADB-2671-1CB1-E193-68DA029AE04F}"/>
          </ac:graphicFrameMkLst>
        </pc:graphicFrameChg>
        <pc:picChg chg="mod ord">
          <ac:chgData name="Joelle Brehm" userId="a518f54c-6985-42c0-8041-2bb16a414839" providerId="ADAL" clId="{BE3A2103-5170-40FE-A99F-CB737D9F76BC}" dt="2023-10-02T21:04:22.053" v="14489"/>
          <ac:picMkLst>
            <pc:docMk/>
            <pc:sldMk cId="3798164587" sldId="259"/>
            <ac:picMk id="5" creationId="{8F4A2CF4-0CF3-47E4-B23B-AC49D50CFFA1}"/>
          </ac:picMkLst>
        </pc:picChg>
        <pc:picChg chg="add mod ord">
          <ac:chgData name="Joelle Brehm" userId="a518f54c-6985-42c0-8041-2bb16a414839" providerId="ADAL" clId="{BE3A2103-5170-40FE-A99F-CB737D9F76BC}" dt="2023-10-02T21:04:22.053" v="14487"/>
          <ac:picMkLst>
            <pc:docMk/>
            <pc:sldMk cId="3798164587" sldId="259"/>
            <ac:picMk id="31" creationId="{546A8B7D-66B3-8F80-8908-98BD8704BCC1}"/>
          </ac:picMkLst>
        </pc:picChg>
        <pc:picChg chg="del mod ord">
          <ac:chgData name="Joelle Brehm" userId="a518f54c-6985-42c0-8041-2bb16a414839" providerId="ADAL" clId="{BE3A2103-5170-40FE-A99F-CB737D9F76BC}" dt="2023-10-02T21:03:58.477" v="13444" actId="478"/>
          <ac:picMkLst>
            <pc:docMk/>
            <pc:sldMk cId="3798164587" sldId="259"/>
            <ac:picMk id="39" creationId="{581F16CE-2F28-EC12-E0A0-CCF39F4CDFE8}"/>
          </ac:picMkLst>
        </pc:picChg>
        <pc:picChg chg="mod ord">
          <ac:chgData name="Joelle Brehm" userId="a518f54c-6985-42c0-8041-2bb16a414839" providerId="ADAL" clId="{BE3A2103-5170-40FE-A99F-CB737D9F76BC}" dt="2023-10-02T21:04:22.086" v="14571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04:22.054" v="14493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delSp modSp mod">
        <pc:chgData name="Joelle Brehm" userId="a518f54c-6985-42c0-8041-2bb16a414839" providerId="ADAL" clId="{BE3A2103-5170-40FE-A99F-CB737D9F76BC}" dt="2023-10-02T20:40:20.265" v="1240" actId="478"/>
        <pc:sldMkLst>
          <pc:docMk/>
          <pc:sldMk cId="2525895214" sldId="262"/>
        </pc:sldMkLst>
        <pc:spChg chg="del mod">
          <ac:chgData name="Joelle Brehm" userId="a518f54c-6985-42c0-8041-2bb16a414839" providerId="ADAL" clId="{BE3A2103-5170-40FE-A99F-CB737D9F76BC}" dt="2023-10-02T20:40:20.265" v="1240" actId="478"/>
          <ac:spMkLst>
            <pc:docMk/>
            <pc:sldMk cId="2525895214" sldId="262"/>
            <ac:spMk id="3" creationId="{9512C0A6-EA64-A9BC-9E7E-BD4183E39B28}"/>
          </ac:spMkLst>
        </pc:spChg>
        <pc:graphicFrameChg chg="mod modGraphic">
          <ac:chgData name="Joelle Brehm" userId="a518f54c-6985-42c0-8041-2bb16a414839" providerId="ADAL" clId="{BE3A2103-5170-40FE-A99F-CB737D9F76BC}" dt="2023-10-02T20:40:16.154" v="1239" actId="20577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BE3A2103-5170-40FE-A99F-CB737D9F76BC}" dt="2023-10-02T20:04:40.526" v="565"/>
        <pc:sldMkLst>
          <pc:docMk/>
          <pc:sldMk cId="3980989934" sldId="263"/>
        </pc:sldMkLst>
        <pc:spChg chg="mod ord">
          <ac:chgData name="Joelle Brehm" userId="a518f54c-6985-42c0-8041-2bb16a414839" providerId="ADAL" clId="{BE3A2103-5170-40FE-A99F-CB737D9F76BC}" dt="2023-10-02T20:04:40.508" v="557"/>
          <ac:spMkLst>
            <pc:docMk/>
            <pc:sldMk cId="3980989934" sldId="263"/>
            <ac:spMk id="2" creationId="{75C72E1E-661F-4997-A353-2798333F5BE3}"/>
          </ac:spMkLst>
        </pc:spChg>
        <pc:spChg chg="del">
          <ac:chgData name="Joelle Brehm" userId="a518f54c-6985-42c0-8041-2bb16a414839" providerId="ADAL" clId="{BE3A2103-5170-40FE-A99F-CB737D9F76BC}" dt="2023-10-02T20:03:16.326" v="0" actId="478"/>
          <ac:spMkLst>
            <pc:docMk/>
            <pc:sldMk cId="3980989934" sldId="263"/>
            <ac:spMk id="3" creationId="{509E18EA-ED33-BCA4-1F6F-10CDA4258CD1}"/>
          </ac:spMkLst>
        </pc:spChg>
        <pc:spChg chg="mod ord">
          <ac:chgData name="Joelle Brehm" userId="a518f54c-6985-42c0-8041-2bb16a414839" providerId="ADAL" clId="{BE3A2103-5170-40FE-A99F-CB737D9F76BC}" dt="2023-10-02T20:04:40.501" v="532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BE3A2103-5170-40FE-A99F-CB737D9F76BC}" dt="2023-10-02T20:04:40.504" v="543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BE3A2103-5170-40FE-A99F-CB737D9F76BC}" dt="2023-10-02T20:04:40.504" v="541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BE3A2103-5170-40FE-A99F-CB737D9F76BC}" dt="2023-10-02T20:04:40.502" v="535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BE3A2103-5170-40FE-A99F-CB737D9F76BC}" dt="2023-10-02T20:04:40.503" v="539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BE3A2103-5170-40FE-A99F-CB737D9F76BC}" dt="2023-10-02T20:04:40.503" v="538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BE3A2103-5170-40FE-A99F-CB737D9F76BC}" dt="2023-10-02T20:04:40.502" v="536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BE3A2103-5170-40FE-A99F-CB737D9F76BC}" dt="2023-10-02T20:04:40.502" v="537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BE3A2103-5170-40FE-A99F-CB737D9F76BC}" dt="2023-10-02T20:04:40.503" v="540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BE3A2103-5170-40FE-A99F-CB737D9F76BC}" dt="2023-10-02T20:04:40.504" v="542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BE3A2103-5170-40FE-A99F-CB737D9F76BC}" dt="2023-10-02T20:04:40.504" v="544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BE3A2103-5170-40FE-A99F-CB737D9F76BC}" dt="2023-10-02T20:04:40.505" v="545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BE3A2103-5170-40FE-A99F-CB737D9F76BC}" dt="2023-10-02T20:04:40.505" v="546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BE3A2103-5170-40FE-A99F-CB737D9F76BC}" dt="2023-10-02T20:04:40.506" v="548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BE3A2103-5170-40FE-A99F-CB737D9F76BC}" dt="2023-10-02T20:04:40.506" v="550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BE3A2103-5170-40FE-A99F-CB737D9F76BC}" dt="2023-10-02T20:04:40.510" v="563"/>
          <ac:spMkLst>
            <pc:docMk/>
            <pc:sldMk cId="3980989934" sldId="263"/>
            <ac:spMk id="24" creationId="{5F4E90F5-0BEA-0CE3-96AD-0CA7600C5161}"/>
          </ac:spMkLst>
        </pc:spChg>
        <pc:spChg chg="mod ord">
          <ac:chgData name="Joelle Brehm" userId="a518f54c-6985-42c0-8041-2bb16a414839" providerId="ADAL" clId="{BE3A2103-5170-40FE-A99F-CB737D9F76BC}" dt="2023-10-02T20:04:40.509" v="559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BE3A2103-5170-40FE-A99F-CB737D9F76BC}" dt="2023-10-02T20:04:40.507" v="552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BE3A2103-5170-40FE-A99F-CB737D9F76BC}" dt="2023-10-02T20:04:40.507" v="554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BE3A2103-5170-40FE-A99F-CB737D9F76BC}" dt="2023-10-02T20:04:40.526" v="565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0:04:40.474" v="520"/>
          <ac:graphicFrameMkLst>
            <pc:docMk/>
            <pc:sldMk cId="3980989934" sldId="263"/>
            <ac:graphicFrameMk id="23" creationId="{6CFA81F5-517E-2ACF-24DD-CF7493E26DF0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0:04:40.501" v="534"/>
          <ac:graphicFrameMkLst>
            <pc:docMk/>
            <pc:sldMk cId="3980989934" sldId="263"/>
            <ac:graphicFrameMk id="25" creationId="{7748D1F0-F143-FE74-45EC-BB2DB2A1E989}"/>
          </ac:graphicFrameMkLst>
        </pc:graphicFrameChg>
        <pc:picChg chg="add mod ord">
          <ac:chgData name="Joelle Brehm" userId="a518f54c-6985-42c0-8041-2bb16a414839" providerId="ADAL" clId="{BE3A2103-5170-40FE-A99F-CB737D9F76BC}" dt="2023-10-02T20:04:40.500" v="530"/>
          <ac:picMkLst>
            <pc:docMk/>
            <pc:sldMk cId="3980989934" sldId="263"/>
            <ac:picMk id="6" creationId="{28656ACD-C276-1E37-7D66-7758F71AB875}"/>
          </ac:picMkLst>
        </pc:picChg>
        <pc:picChg chg="del mod ord">
          <ac:chgData name="Joelle Brehm" userId="a518f54c-6985-42c0-8041-2bb16a414839" providerId="ADAL" clId="{BE3A2103-5170-40FE-A99F-CB737D9F76BC}" dt="2023-10-02T20:04:15.742" v="85" actId="478"/>
          <ac:picMkLst>
            <pc:docMk/>
            <pc:sldMk cId="3980989934" sldId="263"/>
            <ac:picMk id="7" creationId="{5A177D1A-8364-C458-9C99-3555A2098EA4}"/>
          </ac:picMkLst>
        </pc:picChg>
        <pc:picChg chg="add mod ord">
          <ac:chgData name="Joelle Brehm" userId="a518f54c-6985-42c0-8041-2bb16a414839" providerId="ADAL" clId="{BE3A2103-5170-40FE-A99F-CB737D9F76BC}" dt="2023-10-02T20:04:40.500" v="528"/>
          <ac:picMkLst>
            <pc:docMk/>
            <pc:sldMk cId="3980989934" sldId="263"/>
            <ac:picMk id="22" creationId="{6300EF9F-41E7-FC57-4A02-30277E2D4BEF}"/>
          </ac:picMkLst>
        </pc:picChg>
        <pc:picChg chg="del mod ord">
          <ac:chgData name="Joelle Brehm" userId="a518f54c-6985-42c0-8041-2bb16a414839" providerId="ADAL" clId="{BE3A2103-5170-40FE-A99F-CB737D9F76BC}" dt="2023-10-02T20:03:40.955" v="43" actId="478"/>
          <ac:picMkLst>
            <pc:docMk/>
            <pc:sldMk cId="3980989934" sldId="263"/>
            <ac:picMk id="26" creationId="{0D5A7FF5-B54E-15DA-ED9D-5905FF10C7CB}"/>
          </ac:picMkLst>
        </pc:picChg>
        <pc:picChg chg="mod">
          <ac:chgData name="Joelle Brehm" userId="a518f54c-6985-42c0-8041-2bb16a414839" providerId="ADAL" clId="{BE3A2103-5170-40FE-A99F-CB737D9F76BC}" dt="2023-10-02T20:04:40.508" v="555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add del mod">
        <pc:chgData name="Joelle Brehm" userId="a518f54c-6985-42c0-8041-2bb16a414839" providerId="ADAL" clId="{BE3A2103-5170-40FE-A99F-CB737D9F76BC}" dt="2023-10-04T15:18:24.138" v="63819"/>
        <pc:sldMkLst>
          <pc:docMk/>
          <pc:sldMk cId="1450446987" sldId="264"/>
        </pc:sldMkLst>
        <pc:spChg chg="del mod ord">
          <ac:chgData name="Joelle Brehm" userId="a518f54c-6985-42c0-8041-2bb16a414839" providerId="ADAL" clId="{BE3A2103-5170-40FE-A99F-CB737D9F76BC}" dt="2023-10-04T15:17:33.044" v="61084" actId="478"/>
          <ac:spMkLst>
            <pc:docMk/>
            <pc:sldMk cId="1450446987" sldId="264"/>
            <ac:spMk id="2" creationId="{FFD1B176-73AD-EDF5-60BC-81301E7BCBEB}"/>
          </ac:spMkLst>
        </pc:spChg>
        <pc:spChg chg="mod ord">
          <ac:chgData name="Joelle Brehm" userId="a518f54c-6985-42c0-8041-2bb16a414839" providerId="ADAL" clId="{BE3A2103-5170-40FE-A99F-CB737D9F76BC}" dt="2023-10-04T15:18:24.090" v="63679"/>
          <ac:spMkLst>
            <pc:docMk/>
            <pc:sldMk cId="1450446987" sldId="264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BE3A2103-5170-40FE-A99F-CB737D9F76BC}" dt="2023-10-04T15:17:42.474" v="61442"/>
          <ac:spMkLst>
            <pc:docMk/>
            <pc:sldMk cId="1450446987" sldId="264"/>
            <ac:spMk id="6" creationId="{3070CCCA-65D6-1C68-5772-F93D76994817}"/>
          </ac:spMkLst>
        </pc:spChg>
        <pc:spChg chg="del mod">
          <ac:chgData name="Joelle Brehm" userId="a518f54c-6985-42c0-8041-2bb16a414839" providerId="ADAL" clId="{BE3A2103-5170-40FE-A99F-CB737D9F76BC}" dt="2023-10-02T20:43:56.873" v="6653"/>
          <ac:spMkLst>
            <pc:docMk/>
            <pc:sldMk cId="1450446987" sldId="264"/>
            <ac:spMk id="6" creationId="{C68F5169-412D-ED3A-1A99-F1B307B865FB}"/>
          </ac:spMkLst>
        </pc:spChg>
        <pc:spChg chg="add mod replST">
          <ac:chgData name="Joelle Brehm" userId="a518f54c-6985-42c0-8041-2bb16a414839" providerId="ADAL" clId="{BE3A2103-5170-40FE-A99F-CB737D9F76BC}" dt="2023-10-04T15:18:24.106" v="63744"/>
          <ac:spMkLst>
            <pc:docMk/>
            <pc:sldMk cId="1450446987" sldId="264"/>
            <ac:spMk id="7" creationId="{DE57A07F-6746-6404-6ACC-31B88A8A6B3A}"/>
          </ac:spMkLst>
        </pc:spChg>
        <pc:spChg chg="add del mod modVis">
          <ac:chgData name="Joelle Brehm" userId="a518f54c-6985-42c0-8041-2bb16a414839" providerId="ADAL" clId="{BE3A2103-5170-40FE-A99F-CB737D9F76BC}" dt="2023-10-02T20:43:55.055" v="6649"/>
          <ac:spMkLst>
            <pc:docMk/>
            <pc:sldMk cId="1450446987" sldId="264"/>
            <ac:spMk id="8" creationId="{4702CDB8-4A07-9442-CA95-4AFB9C4E049D}"/>
          </ac:spMkLst>
        </pc:spChg>
        <pc:spChg chg="add mod replST">
          <ac:chgData name="Joelle Brehm" userId="a518f54c-6985-42c0-8041-2bb16a414839" providerId="ADAL" clId="{BE3A2103-5170-40FE-A99F-CB737D9F76BC}" dt="2023-10-04T15:18:24.122" v="63774"/>
          <ac:spMkLst>
            <pc:docMk/>
            <pc:sldMk cId="1450446987" sldId="264"/>
            <ac:spMk id="9" creationId="{A42B53DE-B1C5-8D0E-D036-2DF5C8FBC8A0}"/>
          </ac:spMkLst>
        </pc:spChg>
        <pc:spChg chg="mod">
          <ac:chgData name="Joelle Brehm" userId="a518f54c-6985-42c0-8041-2bb16a414839" providerId="ADAL" clId="{BE3A2103-5170-40FE-A99F-CB737D9F76BC}" dt="2023-10-04T15:18:24.106" v="63739"/>
          <ac:spMkLst>
            <pc:docMk/>
            <pc:sldMk cId="1450446987" sldId="264"/>
            <ac:spMk id="10" creationId="{0B5A57DD-7EDA-25CF-0BB0-3E0418CFBDB6}"/>
          </ac:spMkLst>
        </pc:spChg>
        <pc:spChg chg="del mod">
          <ac:chgData name="Joelle Brehm" userId="a518f54c-6985-42c0-8041-2bb16a414839" providerId="ADAL" clId="{BE3A2103-5170-40FE-A99F-CB737D9F76BC}" dt="2023-10-02T20:43:56.872" v="6652"/>
          <ac:spMkLst>
            <pc:docMk/>
            <pc:sldMk cId="1450446987" sldId="264"/>
            <ac:spMk id="11" creationId="{A6526291-8335-68F9-3992-BACCF85E017D}"/>
          </ac:spMkLst>
        </pc:spChg>
        <pc:spChg chg="add del mod modVis">
          <ac:chgData name="Joelle Brehm" userId="a518f54c-6985-42c0-8041-2bb16a414839" providerId="ADAL" clId="{BE3A2103-5170-40FE-A99F-CB737D9F76BC}" dt="2023-10-04T15:17:47.627" v="61665"/>
          <ac:spMkLst>
            <pc:docMk/>
            <pc:sldMk cId="1450446987" sldId="264"/>
            <ac:spMk id="11" creationId="{E6019525-0818-39A5-EF8E-7705A5FAC127}"/>
          </ac:spMkLst>
        </pc:spChg>
        <pc:spChg chg="mod">
          <ac:chgData name="Joelle Brehm" userId="a518f54c-6985-42c0-8041-2bb16a414839" providerId="ADAL" clId="{BE3A2103-5170-40FE-A99F-CB737D9F76BC}" dt="2023-10-04T15:18:24.106" v="63748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BE3A2103-5170-40FE-A99F-CB737D9F76BC}" dt="2023-10-04T15:18:24.106" v="63741"/>
          <ac:spMkLst>
            <pc:docMk/>
            <pc:sldMk cId="1450446987" sldId="264"/>
            <ac:spMk id="13" creationId="{ADECDCFA-1E1B-DA79-857B-6C2FA278DB11}"/>
          </ac:spMkLst>
        </pc:spChg>
        <pc:spChg chg="add del mod replST">
          <ac:chgData name="Joelle Brehm" userId="a518f54c-6985-42c0-8041-2bb16a414839" providerId="ADAL" clId="{BE3A2103-5170-40FE-A99F-CB737D9F76BC}" dt="2023-10-04T15:17:50.937" v="61743"/>
          <ac:spMkLst>
            <pc:docMk/>
            <pc:sldMk cId="1450446987" sldId="264"/>
            <ac:spMk id="15" creationId="{1323713C-0F27-CACE-D52B-A7FDBC8F45D3}"/>
          </ac:spMkLst>
        </pc:spChg>
        <pc:spChg chg="del mod">
          <ac:chgData name="Joelle Brehm" userId="a518f54c-6985-42c0-8041-2bb16a414839" providerId="ADAL" clId="{BE3A2103-5170-40FE-A99F-CB737D9F76BC}" dt="2023-10-02T20:45:14.005" v="11032"/>
          <ac:spMkLst>
            <pc:docMk/>
            <pc:sldMk cId="1450446987" sldId="264"/>
            <ac:spMk id="15" creationId="{5B084CC3-E175-D9CA-87E6-954E2FBF59B5}"/>
          </ac:spMkLst>
        </pc:spChg>
        <pc:spChg chg="mod ord">
          <ac:chgData name="Joelle Brehm" userId="a518f54c-6985-42c0-8041-2bb16a414839" providerId="ADAL" clId="{BE3A2103-5170-40FE-A99F-CB737D9F76BC}" dt="2023-10-04T15:18:24.122" v="63783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BE3A2103-5170-40FE-A99F-CB737D9F76BC}" dt="2023-10-04T15:18:24.106" v="63740"/>
          <ac:spMkLst>
            <pc:docMk/>
            <pc:sldMk cId="1450446987" sldId="264"/>
            <ac:spMk id="17" creationId="{9F3E8293-6A80-77D9-FC6A-6EEAEB0893E2}"/>
          </ac:spMkLst>
        </pc:spChg>
        <pc:spChg chg="mod">
          <ac:chgData name="Joelle Brehm" userId="a518f54c-6985-42c0-8041-2bb16a414839" providerId="ADAL" clId="{BE3A2103-5170-40FE-A99F-CB737D9F76BC}" dt="2023-10-04T15:18:24.122" v="63794"/>
          <ac:spMkLst>
            <pc:docMk/>
            <pc:sldMk cId="1450446987" sldId="264"/>
            <ac:spMk id="18" creationId="{7CE63A35-6A90-6D8B-CF40-7241933EF0EF}"/>
          </ac:spMkLst>
        </pc:spChg>
        <pc:spChg chg="del mod">
          <ac:chgData name="Joelle Brehm" userId="a518f54c-6985-42c0-8041-2bb16a414839" providerId="ADAL" clId="{BE3A2103-5170-40FE-A99F-CB737D9F76BC}" dt="2023-10-02T20:45:14.004" v="11031"/>
          <ac:spMkLst>
            <pc:docMk/>
            <pc:sldMk cId="1450446987" sldId="264"/>
            <ac:spMk id="19" creationId="{609141C7-071C-280D-1E22-F588C79AA2D4}"/>
          </ac:spMkLst>
        </pc:spChg>
        <pc:spChg chg="add del mod modVis">
          <ac:chgData name="Joelle Brehm" userId="a518f54c-6985-42c0-8041-2bb16a414839" providerId="ADAL" clId="{BE3A2103-5170-40FE-A99F-CB737D9F76BC}" dt="2023-10-04T15:17:51" v="61902"/>
          <ac:spMkLst>
            <pc:docMk/>
            <pc:sldMk cId="1450446987" sldId="264"/>
            <ac:spMk id="19" creationId="{DFBB1EBE-9DB7-C56D-6C3D-754BD9162BA8}"/>
          </ac:spMkLst>
        </pc:spChg>
        <pc:spChg chg="mod">
          <ac:chgData name="Joelle Brehm" userId="a518f54c-6985-42c0-8041-2bb16a414839" providerId="ADAL" clId="{BE3A2103-5170-40FE-A99F-CB737D9F76BC}" dt="2023-10-04T15:18:24.106" v="63755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BE3A2103-5170-40FE-A99F-CB737D9F76BC}" dt="2023-10-04T15:18:24.106" v="63742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BE3A2103-5170-40FE-A99F-CB737D9F76BC}" dt="2023-10-04T15:18:24.122" v="63807"/>
          <ac:spMkLst>
            <pc:docMk/>
            <pc:sldMk cId="1450446987" sldId="264"/>
            <ac:spMk id="22" creationId="{B45231BA-E7B8-18D3-4011-260830A47021}"/>
          </ac:spMkLst>
        </pc:spChg>
        <pc:spChg chg="del mod">
          <ac:chgData name="Joelle Brehm" userId="a518f54c-6985-42c0-8041-2bb16a414839" providerId="ADAL" clId="{BE3A2103-5170-40FE-A99F-CB737D9F76BC}" dt="2023-10-02T20:45:51.829" v="12320"/>
          <ac:spMkLst>
            <pc:docMk/>
            <pc:sldMk cId="1450446987" sldId="264"/>
            <ac:spMk id="23" creationId="{1C8A8CD9-592C-1226-E7D9-8A782BAF6ADF}"/>
          </ac:spMkLst>
        </pc:spChg>
        <pc:spChg chg="mod">
          <ac:chgData name="Joelle Brehm" userId="a518f54c-6985-42c0-8041-2bb16a414839" providerId="ADAL" clId="{BE3A2103-5170-40FE-A99F-CB737D9F76BC}" dt="2023-10-04T15:18:24.090" v="63686"/>
          <ac:spMkLst>
            <pc:docMk/>
            <pc:sldMk cId="1450446987" sldId="264"/>
            <ac:spMk id="24" creationId="{033E07CF-73C8-D4DB-8DB3-DC68E9322327}"/>
          </ac:spMkLst>
        </pc:spChg>
        <pc:spChg chg="mod">
          <ac:chgData name="Joelle Brehm" userId="a518f54c-6985-42c0-8041-2bb16a414839" providerId="ADAL" clId="{BE3A2103-5170-40FE-A99F-CB737D9F76BC}" dt="2023-10-04T15:18:24.106" v="63752"/>
          <ac:spMkLst>
            <pc:docMk/>
            <pc:sldMk cId="1450446987" sldId="264"/>
            <ac:spMk id="25" creationId="{DDCB9CFD-6336-9FEE-8109-046E7B1EDE09}"/>
          </ac:spMkLst>
        </pc:spChg>
        <pc:spChg chg="add del mod modVis">
          <ac:chgData name="Joelle Brehm" userId="a518f54c-6985-42c0-8041-2bb16a414839" providerId="ADAL" clId="{BE3A2103-5170-40FE-A99F-CB737D9F76BC}" dt="2023-10-04T15:17:59.214" v="62120"/>
          <ac:spMkLst>
            <pc:docMk/>
            <pc:sldMk cId="1450446987" sldId="264"/>
            <ac:spMk id="26" creationId="{956B6E8D-DC9C-5D8E-8E94-5644E384E95D}"/>
          </ac:spMkLst>
        </pc:spChg>
        <pc:spChg chg="del mod">
          <ac:chgData name="Joelle Brehm" userId="a518f54c-6985-42c0-8041-2bb16a414839" providerId="ADAL" clId="{BE3A2103-5170-40FE-A99F-CB737D9F76BC}" dt="2023-10-02T20:45:51.827" v="12319"/>
          <ac:spMkLst>
            <pc:docMk/>
            <pc:sldMk cId="1450446987" sldId="264"/>
            <ac:spMk id="26" creationId="{CF9D487A-C1AA-6A8A-6FDD-D507F2BA7550}"/>
          </ac:spMkLst>
        </pc:spChg>
        <pc:spChg chg="mod">
          <ac:chgData name="Joelle Brehm" userId="a518f54c-6985-42c0-8041-2bb16a414839" providerId="ADAL" clId="{BE3A2103-5170-40FE-A99F-CB737D9F76BC}" dt="2023-10-04T15:18:24.106" v="63743"/>
          <ac:spMkLst>
            <pc:docMk/>
            <pc:sldMk cId="1450446987" sldId="264"/>
            <ac:spMk id="27" creationId="{7F5EB4C1-D71D-BF03-066C-3EB62DE130E1}"/>
          </ac:spMkLst>
        </pc:spChg>
        <pc:spChg chg="mod">
          <ac:chgData name="Joelle Brehm" userId="a518f54c-6985-42c0-8041-2bb16a414839" providerId="ADAL" clId="{BE3A2103-5170-40FE-A99F-CB737D9F76BC}" dt="2023-10-04T15:18:24.090" v="63699"/>
          <ac:spMkLst>
            <pc:docMk/>
            <pc:sldMk cId="1450446987" sldId="264"/>
            <ac:spMk id="28" creationId="{CCA5008F-57EC-C24D-08AD-B7F154B6F4E7}"/>
          </ac:spMkLst>
        </pc:spChg>
        <pc:spChg chg="mod">
          <ac:chgData name="Joelle Brehm" userId="a518f54c-6985-42c0-8041-2bb16a414839" providerId="ADAL" clId="{BE3A2103-5170-40FE-A99F-CB737D9F76BC}" dt="2023-10-04T15:18:24.090" v="63688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BE3A2103-5170-40FE-A99F-CB737D9F76BC}" dt="2023-10-04T15:18:24.106" v="63757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BE3A2103-5170-40FE-A99F-CB737D9F76BC}" dt="2023-10-04T15:18:24.106" v="63750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BE3A2103-5170-40FE-A99F-CB737D9F76BC}" dt="2023-10-04T15:18:24.090" v="63701"/>
          <ac:spMkLst>
            <pc:docMk/>
            <pc:sldMk cId="1450446987" sldId="264"/>
            <ac:spMk id="32" creationId="{AA10C851-A6B4-C67A-2815-80E945AB6CF4}"/>
          </ac:spMkLst>
        </pc:spChg>
        <pc:spChg chg="mod">
          <ac:chgData name="Joelle Brehm" userId="a518f54c-6985-42c0-8041-2bb16a414839" providerId="ADAL" clId="{BE3A2103-5170-40FE-A99F-CB737D9F76BC}" dt="2023-10-04T15:18:24.106" v="63747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BE3A2103-5170-40FE-A99F-CB737D9F76BC}" dt="2023-10-04T15:18:24.106" v="63751"/>
          <ac:spMkLst>
            <pc:docMk/>
            <pc:sldMk cId="1450446987" sldId="264"/>
            <ac:spMk id="35" creationId="{693A4766-C773-96C2-36A2-80D63FCE1E41}"/>
          </ac:spMkLst>
        </pc:spChg>
        <pc:spChg chg="add mod replST">
          <ac:chgData name="Joelle Brehm" userId="a518f54c-6985-42c0-8041-2bb16a414839" providerId="ADAL" clId="{BE3A2103-5170-40FE-A99F-CB737D9F76BC}" dt="2023-10-04T15:18:24.106" v="63761"/>
          <ac:spMkLst>
            <pc:docMk/>
            <pc:sldMk cId="1450446987" sldId="264"/>
            <ac:spMk id="36" creationId="{5466AA20-EB86-7A1C-8579-3543FFC14509}"/>
          </ac:spMkLst>
        </pc:spChg>
        <pc:spChg chg="mod">
          <ac:chgData name="Joelle Brehm" userId="a518f54c-6985-42c0-8041-2bb16a414839" providerId="ADAL" clId="{BE3A2103-5170-40FE-A99F-CB737D9F76BC}" dt="2023-10-04T15:18:24.106" v="63749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BE3A2103-5170-40FE-A99F-CB737D9F76BC}" dt="2023-10-04T15:18:24.106" v="63756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BE3A2103-5170-40FE-A99F-CB737D9F76BC}" dt="2023-10-04T15:18:24.090" v="63687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BE3A2103-5170-40FE-A99F-CB737D9F76BC}" dt="2023-10-04T15:18:24.106" v="63745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BE3A2103-5170-40FE-A99F-CB737D9F76BC}" dt="2023-10-04T15:18:24.106" v="63728"/>
          <ac:spMkLst>
            <pc:docMk/>
            <pc:sldMk cId="1450446987" sldId="264"/>
            <ac:spMk id="41" creationId="{17283985-5541-D643-07F1-12A6C1BB03BE}"/>
          </ac:spMkLst>
        </pc:spChg>
        <pc:spChg chg="mod">
          <ac:chgData name="Joelle Brehm" userId="a518f54c-6985-42c0-8041-2bb16a414839" providerId="ADAL" clId="{BE3A2103-5170-40FE-A99F-CB737D9F76BC}" dt="2023-10-04T15:18:24.106" v="63753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BE3A2103-5170-40FE-A99F-CB737D9F76BC}" dt="2023-10-04T15:18:24.090" v="63691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BE3A2103-5170-40FE-A99F-CB737D9F76BC}" dt="2023-10-04T15:18:24.090" v="63703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BE3A2103-5170-40FE-A99F-CB737D9F76BC}" dt="2023-10-04T15:18:24.106" v="63758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BE3A2103-5170-40FE-A99F-CB737D9F76BC}" dt="2023-10-04T15:18:24.090" v="63689"/>
          <ac:spMkLst>
            <pc:docMk/>
            <pc:sldMk cId="1450446987" sldId="264"/>
            <ac:spMk id="46" creationId="{42ABD060-FEE1-EDE0-E99B-69A399E6BFE4}"/>
          </ac:spMkLst>
        </pc:spChg>
        <pc:spChg chg="add del mod modVis">
          <ac:chgData name="Joelle Brehm" userId="a518f54c-6985-42c0-8041-2bb16a414839" providerId="ADAL" clId="{BE3A2103-5170-40FE-A99F-CB737D9F76BC}" dt="2023-10-04T15:18:02.779" v="62423"/>
          <ac:spMkLst>
            <pc:docMk/>
            <pc:sldMk cId="1450446987" sldId="264"/>
            <ac:spMk id="47" creationId="{11968D70-7AAD-0971-9FAF-AE0A70E0FDA4}"/>
          </ac:spMkLst>
        </pc:spChg>
        <pc:spChg chg="add del mod modVis">
          <ac:chgData name="Joelle Brehm" userId="a518f54c-6985-42c0-8041-2bb16a414839" providerId="ADAL" clId="{BE3A2103-5170-40FE-A99F-CB737D9F76BC}" dt="2023-10-02T20:44:15.103" v="7117"/>
          <ac:spMkLst>
            <pc:docMk/>
            <pc:sldMk cId="1450446987" sldId="264"/>
            <ac:spMk id="47" creationId="{C4D4C241-1636-1683-00B0-9FFF403D8B5E}"/>
          </ac:spMkLst>
        </pc:spChg>
        <pc:spChg chg="add del mod replST">
          <ac:chgData name="Joelle Brehm" userId="a518f54c-6985-42c0-8041-2bb16a414839" providerId="ADAL" clId="{BE3A2103-5170-40FE-A99F-CB737D9F76BC}" dt="2023-10-04T15:18:03.682" v="62496"/>
          <ac:spMkLst>
            <pc:docMk/>
            <pc:sldMk cId="1450446987" sldId="264"/>
            <ac:spMk id="48" creationId="{7CAA3B95-4C78-4122-BECA-B5FB0F3F3764}"/>
          </ac:spMkLst>
        </pc:spChg>
        <pc:spChg chg="add del mod ord replST">
          <ac:chgData name="Joelle Brehm" userId="a518f54c-6985-42c0-8041-2bb16a414839" providerId="ADAL" clId="{BE3A2103-5170-40FE-A99F-CB737D9F76BC}" dt="2023-10-02T20:44:56.280" v="10209"/>
          <ac:spMkLst>
            <pc:docMk/>
            <pc:sldMk cId="1450446987" sldId="264"/>
            <ac:spMk id="49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4T15:18:24.106" v="63754"/>
          <ac:spMkLst>
            <pc:docMk/>
            <pc:sldMk cId="1450446987" sldId="264"/>
            <ac:spMk id="50" creationId="{5FE9258F-A945-F4FF-832B-478FD9BAC76D}"/>
          </ac:spMkLst>
        </pc:spChg>
        <pc:spChg chg="mod">
          <ac:chgData name="Joelle Brehm" userId="a518f54c-6985-42c0-8041-2bb16a414839" providerId="ADAL" clId="{BE3A2103-5170-40FE-A99F-CB737D9F76BC}" dt="2023-10-04T15:18:24.090" v="63702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BE3A2103-5170-40FE-A99F-CB737D9F76BC}" dt="2023-10-04T15:18:24.122" v="63797"/>
          <ac:spMkLst>
            <pc:docMk/>
            <pc:sldMk cId="1450446987" sldId="264"/>
            <ac:spMk id="52" creationId="{35E94CE7-373A-9E4A-3654-13C7C305FD02}"/>
          </ac:spMkLst>
        </pc:spChg>
        <pc:spChg chg="add del mod modVis">
          <ac:chgData name="Joelle Brehm" userId="a518f54c-6985-42c0-8041-2bb16a414839" providerId="ADAL" clId="{BE3A2103-5170-40FE-A99F-CB737D9F76BC}" dt="2023-10-02T20:44:22.712" v="7464"/>
          <ac:spMkLst>
            <pc:docMk/>
            <pc:sldMk cId="1450446987" sldId="264"/>
            <ac:spMk id="53" creationId="{D004213B-0F2B-ECC9-A19F-80ABB4485003}"/>
          </ac:spMkLst>
        </pc:spChg>
        <pc:spChg chg="add del mod modVis">
          <ac:chgData name="Joelle Brehm" userId="a518f54c-6985-42c0-8041-2bb16a414839" providerId="ADAL" clId="{BE3A2103-5170-40FE-A99F-CB737D9F76BC}" dt="2023-10-04T15:18:03.777" v="62649"/>
          <ac:spMkLst>
            <pc:docMk/>
            <pc:sldMk cId="1450446987" sldId="264"/>
            <ac:spMk id="53" creationId="{F3CF9075-B20D-1C1E-118E-DAF8C9254D68}"/>
          </ac:spMkLst>
        </pc:spChg>
        <pc:spChg chg="mod">
          <ac:chgData name="Joelle Brehm" userId="a518f54c-6985-42c0-8041-2bb16a414839" providerId="ADAL" clId="{BE3A2103-5170-40FE-A99F-CB737D9F76BC}" dt="2023-10-04T15:18:24.090" v="63700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BE3A2103-5170-40FE-A99F-CB737D9F76BC}" dt="2023-10-04T15:18:24.090" v="63690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BE3A2103-5170-40FE-A99F-CB737D9F76BC}" dt="2023-10-04T15:18:24.122" v="63806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BE3A2103-5170-40FE-A99F-CB737D9F76BC}" dt="2023-10-04T15:18:24.090" v="63692"/>
          <ac:spMkLst>
            <pc:docMk/>
            <pc:sldMk cId="1450446987" sldId="264"/>
            <ac:spMk id="57" creationId="{691D1289-3B15-0AD2-5838-E87715C40325}"/>
          </ac:spMkLst>
        </pc:spChg>
        <pc:spChg chg="mod">
          <ac:chgData name="Joelle Brehm" userId="a518f54c-6985-42c0-8041-2bb16a414839" providerId="ADAL" clId="{BE3A2103-5170-40FE-A99F-CB737D9F76BC}" dt="2023-10-04T15:18:24.090" v="63693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BE3A2103-5170-40FE-A99F-CB737D9F76BC}" dt="2023-10-04T15:18:24.106" v="63763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BE3A2103-5170-40FE-A99F-CB737D9F76BC}" dt="2023-10-04T15:18:24.122" v="63765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BE3A2103-5170-40FE-A99F-CB737D9F76BC}" dt="2023-10-04T15:18:24.122" v="63767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BE3A2103-5170-40FE-A99F-CB737D9F76BC}" dt="2023-10-04T15:18:24.090" v="63718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BE3A2103-5170-40FE-A99F-CB737D9F76BC}" dt="2023-10-04T15:18:24.106" v="63746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BE3A2103-5170-40FE-A99F-CB737D9F76BC}" dt="2023-10-04T15:18:24.090" v="63704"/>
          <ac:spMkLst>
            <pc:docMk/>
            <pc:sldMk cId="1450446987" sldId="264"/>
            <ac:spMk id="65" creationId="{3157109A-3120-04A6-D693-60F57F766A08}"/>
          </ac:spMkLst>
        </pc:spChg>
        <pc:spChg chg="add del mod modVis">
          <ac:chgData name="Joelle Brehm" userId="a518f54c-6985-42c0-8041-2bb16a414839" providerId="ADAL" clId="{BE3A2103-5170-40FE-A99F-CB737D9F76BC}" dt="2023-10-04T15:18:09.072" v="62956"/>
          <ac:spMkLst>
            <pc:docMk/>
            <pc:sldMk cId="1450446987" sldId="264"/>
            <ac:spMk id="66" creationId="{D3D92FCA-4B74-A293-C0FA-C2088B19B8D9}"/>
          </ac:spMkLst>
        </pc:spChg>
        <pc:spChg chg="mod">
          <ac:chgData name="Joelle Brehm" userId="a518f54c-6985-42c0-8041-2bb16a414839" providerId="ADAL" clId="{BE3A2103-5170-40FE-A99F-CB737D9F76BC}" dt="2023-10-04T15:18:24.106" v="63730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BE3A2103-5170-40FE-A99F-CB737D9F76BC}" dt="2023-10-04T15:18:24.090" v="63705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BE3A2103-5170-40FE-A99F-CB737D9F76BC}" dt="2023-10-04T15:18:24.122" v="63798"/>
          <ac:spMkLst>
            <pc:docMk/>
            <pc:sldMk cId="1450446987" sldId="264"/>
            <ac:spMk id="69" creationId="{DE2291CF-E337-7DDA-5968-40B109D88D57}"/>
          </ac:spMkLst>
        </pc:spChg>
        <pc:spChg chg="add mod replST">
          <ac:chgData name="Joelle Brehm" userId="a518f54c-6985-42c0-8041-2bb16a414839" providerId="ADAL" clId="{BE3A2103-5170-40FE-A99F-CB737D9F76BC}" dt="2023-10-04T15:18:24.122" v="63780"/>
          <ac:spMkLst>
            <pc:docMk/>
            <pc:sldMk cId="1450446987" sldId="264"/>
            <ac:spMk id="70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4T15:18:12.292" v="63198"/>
          <ac:spMkLst>
            <pc:docMk/>
            <pc:sldMk cId="1450446987" sldId="264"/>
            <ac:spMk id="72" creationId="{E145B7C2-353D-BFE2-0891-EDD51010855C}"/>
          </ac:spMkLst>
        </pc:spChg>
        <pc:spChg chg="mod">
          <ac:chgData name="Joelle Brehm" userId="a518f54c-6985-42c0-8041-2bb16a414839" providerId="ADAL" clId="{BE3A2103-5170-40FE-A99F-CB737D9F76BC}" dt="2023-10-04T15:18:24.090" v="63715"/>
          <ac:spMkLst>
            <pc:docMk/>
            <pc:sldMk cId="1450446987" sldId="264"/>
            <ac:spMk id="73" creationId="{9222FB5E-7628-BAAE-A4E4-E9F13F9B74EE}"/>
          </ac:spMkLst>
        </pc:spChg>
        <pc:spChg chg="mod">
          <ac:chgData name="Joelle Brehm" userId="a518f54c-6985-42c0-8041-2bb16a414839" providerId="ADAL" clId="{BE3A2103-5170-40FE-A99F-CB737D9F76BC}" dt="2023-10-04T15:18:24.090" v="63712"/>
          <ac:spMkLst>
            <pc:docMk/>
            <pc:sldMk cId="1450446987" sldId="264"/>
            <ac:spMk id="74" creationId="{F958F86A-808B-E798-783E-1A1F613E0728}"/>
          </ac:spMkLst>
        </pc:spChg>
        <pc:spChg chg="mod">
          <ac:chgData name="Joelle Brehm" userId="a518f54c-6985-42c0-8041-2bb16a414839" providerId="ADAL" clId="{BE3A2103-5170-40FE-A99F-CB737D9F76BC}" dt="2023-10-04T15:18:24.090" v="63695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BE3A2103-5170-40FE-A99F-CB737D9F76BC}" dt="2023-10-04T15:18:24.122" v="63775"/>
          <ac:spMkLst>
            <pc:docMk/>
            <pc:sldMk cId="1450446987" sldId="264"/>
            <ac:spMk id="77" creationId="{60F97E40-1529-395D-816D-8834F0F881FD}"/>
          </ac:spMkLst>
        </pc:spChg>
        <pc:spChg chg="add del mod modVis">
          <ac:chgData name="Joelle Brehm" userId="a518f54c-6985-42c0-8041-2bb16a414839" providerId="ADAL" clId="{BE3A2103-5170-40FE-A99F-CB737D9F76BC}" dt="2023-10-04T15:18:13.372" v="63432"/>
          <ac:spMkLst>
            <pc:docMk/>
            <pc:sldMk cId="1450446987" sldId="264"/>
            <ac:spMk id="78" creationId="{4F1EBF87-2BDC-6CF6-6470-BB1EDF1EE25C}"/>
          </ac:spMkLst>
        </pc:spChg>
        <pc:spChg chg="mod">
          <ac:chgData name="Joelle Brehm" userId="a518f54c-6985-42c0-8041-2bb16a414839" providerId="ADAL" clId="{BE3A2103-5170-40FE-A99F-CB737D9F76BC}" dt="2023-10-04T15:18:24.106" v="63727"/>
          <ac:spMkLst>
            <pc:docMk/>
            <pc:sldMk cId="1450446987" sldId="264"/>
            <ac:spMk id="79" creationId="{7839083A-6222-21DF-942E-D412CB0A038D}"/>
          </ac:spMkLst>
        </pc:spChg>
        <pc:spChg chg="mod">
          <ac:chgData name="Joelle Brehm" userId="a518f54c-6985-42c0-8041-2bb16a414839" providerId="ADAL" clId="{BE3A2103-5170-40FE-A99F-CB737D9F76BC}" dt="2023-10-04T15:18:24.122" v="63796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BE3A2103-5170-40FE-A99F-CB737D9F76BC}" dt="2023-10-04T15:18:24.106" v="63719"/>
          <ac:spMkLst>
            <pc:docMk/>
            <pc:sldMk cId="1450446987" sldId="264"/>
            <ac:spMk id="81" creationId="{6F4C96C8-F30F-B7F9-162B-D0B13BC90C2B}"/>
          </ac:spMkLst>
        </pc:spChg>
        <pc:spChg chg="del mod">
          <ac:chgData name="Joelle Brehm" userId="a518f54c-6985-42c0-8041-2bb16a414839" providerId="ADAL" clId="{BE3A2103-5170-40FE-A99F-CB737D9F76BC}" dt="2023-10-04T15:18:22.011" v="63436"/>
          <ac:spMkLst>
            <pc:docMk/>
            <pc:sldMk cId="1450446987" sldId="264"/>
            <ac:spMk id="82" creationId="{47495649-1334-BE38-2A0B-39662035FACE}"/>
          </ac:spMkLst>
        </pc:spChg>
        <pc:spChg chg="add del mod modVis">
          <ac:chgData name="Joelle Brehm" userId="a518f54c-6985-42c0-8041-2bb16a414839" providerId="ADAL" clId="{BE3A2103-5170-40FE-A99F-CB737D9F76BC}" dt="2023-10-02T20:44:52.231" v="10146" actId="962"/>
          <ac:spMkLst>
            <pc:docMk/>
            <pc:sldMk cId="1450446987" sldId="264"/>
            <ac:spMk id="83" creationId="{A9C483E9-09C5-3691-B22D-147554DB373B}"/>
          </ac:spMkLst>
        </pc:spChg>
        <pc:spChg chg="mod">
          <ac:chgData name="Joelle Brehm" userId="a518f54c-6985-42c0-8041-2bb16a414839" providerId="ADAL" clId="{BE3A2103-5170-40FE-A99F-CB737D9F76BC}" dt="2023-10-04T15:18:24.122" v="63799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BE3A2103-5170-40FE-A99F-CB737D9F76BC}" dt="2023-10-04T15:18:24.090" v="63694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BE3A2103-5170-40FE-A99F-CB737D9F76BC}" dt="2023-10-04T15:18:24.106" v="63721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BE3A2103-5170-40FE-A99F-CB737D9F76BC}" dt="2023-10-04T15:18:24.106" v="63759"/>
          <ac:spMkLst>
            <pc:docMk/>
            <pc:sldMk cId="1450446987" sldId="264"/>
            <ac:spMk id="87" creationId="{06946997-7AFB-6327-F61E-B25533F6C115}"/>
          </ac:spMkLst>
        </pc:spChg>
        <pc:spChg chg="mod">
          <ac:chgData name="Joelle Brehm" userId="a518f54c-6985-42c0-8041-2bb16a414839" providerId="ADAL" clId="{BE3A2103-5170-40FE-A99F-CB737D9F76BC}" dt="2023-10-04T15:18:24.122" v="63808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BE3A2103-5170-40FE-A99F-CB737D9F76BC}" dt="2023-10-04T15:18:24.106" v="63733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BE3A2103-5170-40FE-A99F-CB737D9F76BC}" dt="2023-10-04T15:18:24.122" v="63790"/>
          <ac:spMkLst>
            <pc:docMk/>
            <pc:sldMk cId="1450446987" sldId="264"/>
            <ac:spMk id="91" creationId="{CC94F927-3930-8FBB-F700-00F80B097138}"/>
          </ac:spMkLst>
        </pc:spChg>
        <pc:spChg chg="add del mod modVis">
          <ac:chgData name="Joelle Brehm" userId="a518f54c-6985-42c0-8041-2bb16a414839" providerId="ADAL" clId="{BE3A2103-5170-40FE-A99F-CB737D9F76BC}" dt="2023-10-04T15:18:24.138" v="63817"/>
          <ac:spMkLst>
            <pc:docMk/>
            <pc:sldMk cId="1450446987" sldId="264"/>
            <ac:spMk id="92" creationId="{702F9816-D8C5-B246-DDD3-48AEEF8CB7D6}"/>
          </ac:spMkLst>
        </pc:spChg>
        <pc:spChg chg="add del mod modVis">
          <ac:chgData name="Joelle Brehm" userId="a518f54c-6985-42c0-8041-2bb16a414839" providerId="ADAL" clId="{BE3A2103-5170-40FE-A99F-CB737D9F76BC}" dt="2023-10-02T20:44:51.232" v="10043" actId="962"/>
          <ac:spMkLst>
            <pc:docMk/>
            <pc:sldMk cId="1450446987" sldId="264"/>
            <ac:spMk id="92" creationId="{F9BB7919-E7C0-05BE-D3F9-FCBDC85ACC38}"/>
          </ac:spMkLst>
        </pc:spChg>
        <pc:spChg chg="mod">
          <ac:chgData name="Joelle Brehm" userId="a518f54c-6985-42c0-8041-2bb16a414839" providerId="ADAL" clId="{BE3A2103-5170-40FE-A99F-CB737D9F76BC}" dt="2023-10-04T15:18:24.122" v="63792"/>
          <ac:spMkLst>
            <pc:docMk/>
            <pc:sldMk cId="1450446987" sldId="264"/>
            <ac:spMk id="93" creationId="{E3535E8F-2FE1-602D-1DEE-9C3D3425F046}"/>
          </ac:spMkLst>
        </pc:spChg>
        <pc:spChg chg="mod">
          <ac:chgData name="Joelle Brehm" userId="a518f54c-6985-42c0-8041-2bb16a414839" providerId="ADAL" clId="{BE3A2103-5170-40FE-A99F-CB737D9F76BC}" dt="2023-10-04T15:18:24.090" v="63697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BE3A2103-5170-40FE-A99F-CB737D9F76BC}" dt="2023-10-04T15:18:24.090" v="63706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BE3A2103-5170-40FE-A99F-CB737D9F76BC}" dt="2023-10-04T15:18:24.122" v="63769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BE3A2103-5170-40FE-A99F-CB737D9F76BC}" dt="2023-10-04T15:18:24.122" v="63771"/>
          <ac:spMkLst>
            <pc:docMk/>
            <pc:sldMk cId="1450446987" sldId="264"/>
            <ac:spMk id="97" creationId="{64B2B8D7-E8A8-4757-99A4-69F1EAA48321}"/>
          </ac:spMkLst>
        </pc:spChg>
        <pc:spChg chg="mod">
          <ac:chgData name="Joelle Brehm" userId="a518f54c-6985-42c0-8041-2bb16a414839" providerId="ADAL" clId="{BE3A2103-5170-40FE-A99F-CB737D9F76BC}" dt="2023-10-04T15:18:24.122" v="63803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BE3A2103-5170-40FE-A99F-CB737D9F76BC}" dt="2023-10-02T20:44:50.128" v="9946" actId="962"/>
          <ac:spMkLst>
            <pc:docMk/>
            <pc:sldMk cId="1450446987" sldId="264"/>
            <ac:spMk id="100" creationId="{AED83430-6914-A2A5-36B6-7424581AE595}"/>
          </ac:spMkLst>
        </pc:spChg>
        <pc:spChg chg="add mod ord replST delST">
          <ac:chgData name="Joelle Brehm" userId="a518f54c-6985-42c0-8041-2bb16a414839" providerId="ADAL" clId="{BE3A2103-5170-40FE-A99F-CB737D9F76BC}" dt="2023-10-02T20:44:48.674" v="9853"/>
          <ac:spMkLst>
            <pc:docMk/>
            <pc:sldMk cId="1450446987" sldId="264"/>
            <ac:spMk id="102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0:44:48.674" v="9853"/>
          <ac:spMkLst>
            <pc:docMk/>
            <pc:sldMk cId="1450446987" sldId="264"/>
            <ac:spMk id="103" creationId="{FC13C9AF-0F84-0F6E-B0CC-FA21F65BF5B5}"/>
          </ac:spMkLst>
        </pc:spChg>
        <pc:spChg chg="mod">
          <ac:chgData name="Joelle Brehm" userId="a518f54c-6985-42c0-8041-2bb16a414839" providerId="ADAL" clId="{BE3A2103-5170-40FE-A99F-CB737D9F76BC}" dt="2023-10-04T15:18:24.106" v="63720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BE3A2103-5170-40FE-A99F-CB737D9F76BC}" dt="2023-10-04T15:18:24.122" v="63800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BE3A2103-5170-40FE-A99F-CB737D9F76BC}" dt="2023-10-04T15:18:24.090" v="63681"/>
          <ac:spMkLst>
            <pc:docMk/>
            <pc:sldMk cId="1450446987" sldId="264"/>
            <ac:spMk id="106" creationId="{58013157-8B72-4777-A1DA-B9BACD5A28D4}"/>
          </ac:spMkLst>
        </pc:spChg>
        <pc:spChg chg="mod">
          <ac:chgData name="Joelle Brehm" userId="a518f54c-6985-42c0-8041-2bb16a414839" providerId="ADAL" clId="{BE3A2103-5170-40FE-A99F-CB737D9F76BC}" dt="2023-10-04T15:18:24.106" v="63732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BE3A2103-5170-40FE-A99F-CB737D9F76BC}" dt="2023-10-04T15:18:24.106" v="63722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BE3A2103-5170-40FE-A99F-CB737D9F76BC}" dt="2023-10-04T15:18:24.090" v="63707"/>
          <ac:spMkLst>
            <pc:docMk/>
            <pc:sldMk cId="1450446987" sldId="264"/>
            <ac:spMk id="110" creationId="{3E9DFF71-BC3D-F5AB-9F34-2E7EB64B1AD3}"/>
          </ac:spMkLst>
        </pc:spChg>
        <pc:spChg chg="mod">
          <ac:chgData name="Joelle Brehm" userId="a518f54c-6985-42c0-8041-2bb16a414839" providerId="ADAL" clId="{BE3A2103-5170-40FE-A99F-CB737D9F76BC}" dt="2023-10-04T15:18:24.122" v="63781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BE3A2103-5170-40FE-A99F-CB737D9F76BC}" dt="2023-10-04T15:18:24.090" v="63714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BE3A2103-5170-40FE-A99F-CB737D9F76BC}" dt="2023-10-04T15:18:24.122" v="63785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BE3A2103-5170-40FE-A99F-CB737D9F76BC}" dt="2023-10-04T15:18:24.122" v="63795"/>
          <ac:spMkLst>
            <pc:docMk/>
            <pc:sldMk cId="1450446987" sldId="264"/>
            <ac:spMk id="116" creationId="{E6B2D068-E691-A10D-15D8-F8578EFD4C29}"/>
          </ac:spMkLst>
        </pc:spChg>
        <pc:spChg chg="add del mod modVis">
          <ac:chgData name="Joelle Brehm" userId="a518f54c-6985-42c0-8041-2bb16a414839" providerId="ADAL" clId="{BE3A2103-5170-40FE-A99F-CB737D9F76BC}" dt="2023-10-02T20:44:47.687" v="9675" actId="962"/>
          <ac:spMkLst>
            <pc:docMk/>
            <pc:sldMk cId="1450446987" sldId="264"/>
            <ac:spMk id="118" creationId="{B2DE1AB6-9FEE-654E-2464-D9190B546432}"/>
          </ac:spMkLst>
        </pc:spChg>
        <pc:spChg chg="mod">
          <ac:chgData name="Joelle Brehm" userId="a518f54c-6985-42c0-8041-2bb16a414839" providerId="ADAL" clId="{BE3A2103-5170-40FE-A99F-CB737D9F76BC}" dt="2023-10-04T15:18:24.122" v="63776"/>
          <ac:spMkLst>
            <pc:docMk/>
            <pc:sldMk cId="1450446987" sldId="264"/>
            <ac:spMk id="119" creationId="{7CAA3B95-4C78-4122-BECA-B5FB0F3F3764}"/>
          </ac:spMkLst>
        </pc:spChg>
        <pc:spChg chg="del mod">
          <ac:chgData name="Joelle Brehm" userId="a518f54c-6985-42c0-8041-2bb16a414839" providerId="ADAL" clId="{BE3A2103-5170-40FE-A99F-CB737D9F76BC}" dt="2023-10-04T15:18:22.011" v="63435"/>
          <ac:spMkLst>
            <pc:docMk/>
            <pc:sldMk cId="1450446987" sldId="264"/>
            <ac:spMk id="120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0:44:56.459" v="10487"/>
          <ac:spMkLst>
            <pc:docMk/>
            <pc:sldMk cId="1450446987" sldId="264"/>
            <ac:spMk id="122" creationId="{4FADC2EA-BABD-5EF2-80CE-EEF51C45ED34}"/>
          </ac:spMkLst>
        </pc:spChg>
        <pc:spChg chg="mod">
          <ac:chgData name="Joelle Brehm" userId="a518f54c-6985-42c0-8041-2bb16a414839" providerId="ADAL" clId="{BE3A2103-5170-40FE-A99F-CB737D9F76BC}" dt="2023-10-04T15:18:24.106" v="63725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BE3A2103-5170-40FE-A99F-CB737D9F76BC}" dt="2023-10-04T15:18:24.122" v="63801"/>
          <ac:spMkLst>
            <pc:docMk/>
            <pc:sldMk cId="1450446987" sldId="264"/>
            <ac:spMk id="125" creationId="{7946676C-3436-BEA2-4ED0-A4B3DECD2026}"/>
          </ac:spMkLst>
        </pc:spChg>
        <pc:spChg chg="add mod replST">
          <ac:chgData name="Joelle Brehm" userId="a518f54c-6985-42c0-8041-2bb16a414839" providerId="ADAL" clId="{BE3A2103-5170-40FE-A99F-CB737D9F76BC}" dt="2023-10-04T15:18:24.090" v="63698"/>
          <ac:spMkLst>
            <pc:docMk/>
            <pc:sldMk cId="1450446987" sldId="264"/>
            <ac:spMk id="126" creationId="{3D7E089F-9664-F836-3178-72CAB009D5F9}"/>
          </ac:spMkLst>
        </pc:spChg>
        <pc:spChg chg="mod">
          <ac:chgData name="Joelle Brehm" userId="a518f54c-6985-42c0-8041-2bb16a414839" providerId="ADAL" clId="{BE3A2103-5170-40FE-A99F-CB737D9F76BC}" dt="2023-10-04T15:18:24.106" v="63734"/>
          <ac:spMkLst>
            <pc:docMk/>
            <pc:sldMk cId="1450446987" sldId="264"/>
            <ac:spMk id="127" creationId="{2CF9A986-1E95-AE1A-FD0F-F8AD045E4589}"/>
          </ac:spMkLst>
        </pc:spChg>
        <pc:spChg chg="add del mod modVis">
          <ac:chgData name="Joelle Brehm" userId="a518f54c-6985-42c0-8041-2bb16a414839" providerId="ADAL" clId="{BE3A2103-5170-40FE-A99F-CB737D9F76BC}" dt="2023-10-02T20:45:06.257" v="10779"/>
          <ac:spMkLst>
            <pc:docMk/>
            <pc:sldMk cId="1450446987" sldId="264"/>
            <ac:spMk id="128" creationId="{29C80F50-34AF-B561-240F-C23F112954C0}"/>
          </ac:spMkLst>
        </pc:spChg>
        <pc:spChg chg="add mod replST">
          <ac:chgData name="Joelle Brehm" userId="a518f54c-6985-42c0-8041-2bb16a414839" providerId="ADAL" clId="{BE3A2103-5170-40FE-A99F-CB737D9F76BC}" dt="2023-10-04T15:18:24.090" v="63709"/>
          <ac:spMkLst>
            <pc:docMk/>
            <pc:sldMk cId="1450446987" sldId="264"/>
            <ac:spMk id="130" creationId="{DB0A6969-9BE6-DD88-9511-7F8FD934DA11}"/>
          </ac:spMkLst>
        </pc:spChg>
        <pc:spChg chg="mod">
          <ac:chgData name="Joelle Brehm" userId="a518f54c-6985-42c0-8041-2bb16a414839" providerId="ADAL" clId="{BE3A2103-5170-40FE-A99F-CB737D9F76BC}" dt="2023-10-04T15:18:24.122" v="63809"/>
          <ac:spMkLst>
            <pc:docMk/>
            <pc:sldMk cId="1450446987" sldId="264"/>
            <ac:spMk id="132" creationId="{8E856E10-A2C3-3BD4-C02F-F3D2D343989C}"/>
          </ac:spMkLst>
        </pc:spChg>
        <pc:spChg chg="add del mod modVis">
          <ac:chgData name="Joelle Brehm" userId="a518f54c-6985-42c0-8041-2bb16a414839" providerId="ADAL" clId="{BE3A2103-5170-40FE-A99F-CB737D9F76BC}" dt="2023-10-02T20:45:10.638" v="11028"/>
          <ac:spMkLst>
            <pc:docMk/>
            <pc:sldMk cId="1450446987" sldId="264"/>
            <ac:spMk id="133" creationId="{9E3295E1-BD86-1ACF-A1A2-9FAB4D25249F}"/>
          </ac:spMkLst>
        </pc:spChg>
        <pc:spChg chg="mod">
          <ac:chgData name="Joelle Brehm" userId="a518f54c-6985-42c0-8041-2bb16a414839" providerId="ADAL" clId="{BE3A2103-5170-40FE-A99F-CB737D9F76BC}" dt="2023-10-04T15:18:24.106" v="63738"/>
          <ac:spMkLst>
            <pc:docMk/>
            <pc:sldMk cId="1450446987" sldId="264"/>
            <ac:spMk id="134" creationId="{4B21D98E-CBDB-7AFB-94BD-6B7A23D60EC2}"/>
          </ac:spMkLst>
        </pc:spChg>
        <pc:spChg chg="mod">
          <ac:chgData name="Joelle Brehm" userId="a518f54c-6985-42c0-8041-2bb16a414839" providerId="ADAL" clId="{BE3A2103-5170-40FE-A99F-CB737D9F76BC}" dt="2023-10-04T15:18:24.122" v="63779"/>
          <ac:spMkLst>
            <pc:docMk/>
            <pc:sldMk cId="1450446987" sldId="264"/>
            <ac:spMk id="136" creationId="{B0880886-62C0-5AA0-11B4-1A12280C6771}"/>
          </ac:spMkLst>
        </pc:spChg>
        <pc:spChg chg="add mod replST">
          <ac:chgData name="Joelle Brehm" userId="a518f54c-6985-42c0-8041-2bb16a414839" providerId="ADAL" clId="{BE3A2103-5170-40FE-A99F-CB737D9F76BC}" dt="2023-10-04T15:18:24.122" v="63804"/>
          <ac:spMkLst>
            <pc:docMk/>
            <pc:sldMk cId="1450446987" sldId="264"/>
            <ac:spMk id="138" creationId="{DA86F810-5DF9-CBB1-F1F5-C2AD168769DF}"/>
          </ac:spMkLst>
        </pc:spChg>
        <pc:spChg chg="mod">
          <ac:chgData name="Joelle Brehm" userId="a518f54c-6985-42c0-8041-2bb16a414839" providerId="ADAL" clId="{BE3A2103-5170-40FE-A99F-CB737D9F76BC}" dt="2023-10-04T15:18:24.106" v="63724"/>
          <ac:spMkLst>
            <pc:docMk/>
            <pc:sldMk cId="1450446987" sldId="264"/>
            <ac:spMk id="139" creationId="{90D6C27A-2B60-467B-C5C7-9CCE43964040}"/>
          </ac:spMkLst>
        </pc:spChg>
        <pc:spChg chg="add del mod modVis">
          <ac:chgData name="Joelle Brehm" userId="a518f54c-6985-42c0-8041-2bb16a414839" providerId="ADAL" clId="{BE3A2103-5170-40FE-A99F-CB737D9F76BC}" dt="2023-10-02T20:45:20.400" v="11562"/>
          <ac:spMkLst>
            <pc:docMk/>
            <pc:sldMk cId="1450446987" sldId="264"/>
            <ac:spMk id="140" creationId="{C7DDFFB1-8D99-0078-5870-BD9469A00E85}"/>
          </ac:spMkLst>
        </pc:spChg>
        <pc:spChg chg="mod">
          <ac:chgData name="Joelle Brehm" userId="a518f54c-6985-42c0-8041-2bb16a414839" providerId="ADAL" clId="{BE3A2103-5170-40FE-A99F-CB737D9F76BC}" dt="2023-10-04T15:18:24.106" v="63760"/>
          <ac:spMkLst>
            <pc:docMk/>
            <pc:sldMk cId="1450446987" sldId="264"/>
            <ac:spMk id="141" creationId="{E36F4C8D-EC2C-AF10-792A-6324A776E04A}"/>
          </ac:spMkLst>
        </pc:spChg>
        <pc:spChg chg="del mod">
          <ac:chgData name="Joelle Brehm" userId="a518f54c-6985-42c0-8041-2bb16a414839" providerId="ADAL" clId="{BE3A2103-5170-40FE-A99F-CB737D9F76BC}" dt="2023-10-02T20:45:22.078" v="11565"/>
          <ac:spMkLst>
            <pc:docMk/>
            <pc:sldMk cId="1450446987" sldId="264"/>
            <ac:spMk id="142" creationId="{4C243CA7-30C6-C41B-1F6A-8A2CF12A5651}"/>
          </ac:spMkLst>
        </pc:spChg>
        <pc:spChg chg="mod">
          <ac:chgData name="Joelle Brehm" userId="a518f54c-6985-42c0-8041-2bb16a414839" providerId="ADAL" clId="{BE3A2103-5170-40FE-A99F-CB737D9F76BC}" dt="2023-10-04T15:18:24.090" v="63716"/>
          <ac:spMkLst>
            <pc:docMk/>
            <pc:sldMk cId="1450446987" sldId="264"/>
            <ac:spMk id="143" creationId="{8B4F9978-6CBD-ADA8-09AB-786FD14471F8}"/>
          </ac:spMkLst>
        </pc:spChg>
        <pc:spChg chg="add mod replST">
          <ac:chgData name="Joelle Brehm" userId="a518f54c-6985-42c0-8041-2bb16a414839" providerId="ADAL" clId="{BE3A2103-5170-40FE-A99F-CB737D9F76BC}" dt="2023-10-04T15:18:24.122" v="63811"/>
          <ac:spMkLst>
            <pc:docMk/>
            <pc:sldMk cId="1450446987" sldId="264"/>
            <ac:spMk id="146" creationId="{6414DE83-49A9-C649-08EC-1FB84B54E2EA}"/>
          </ac:spMkLst>
        </pc:spChg>
        <pc:spChg chg="mod">
          <ac:chgData name="Joelle Brehm" userId="a518f54c-6985-42c0-8041-2bb16a414839" providerId="ADAL" clId="{BE3A2103-5170-40FE-A99F-CB737D9F76BC}" dt="2023-10-04T15:18:24.090" v="63696"/>
          <ac:spMkLst>
            <pc:docMk/>
            <pc:sldMk cId="1450446987" sldId="264"/>
            <ac:spMk id="148" creationId="{82F554A9-08CC-6620-02ED-77323B513A8D}"/>
          </ac:spMkLst>
        </pc:spChg>
        <pc:spChg chg="mod">
          <ac:chgData name="Joelle Brehm" userId="a518f54c-6985-42c0-8041-2bb16a414839" providerId="ADAL" clId="{BE3A2103-5170-40FE-A99F-CB737D9F76BC}" dt="2023-10-04T15:18:24.090" v="63708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BE3A2103-5170-40FE-A99F-CB737D9F76BC}" dt="2023-10-02T20:45:41.626" v="12023"/>
          <ac:spMkLst>
            <pc:docMk/>
            <pc:sldMk cId="1450446987" sldId="264"/>
            <ac:spMk id="150" creationId="{3D16E34A-361D-E0D8-5B1B-B01A4647D4E1}"/>
          </ac:spMkLst>
        </pc:spChg>
        <pc:spChg chg="mod">
          <ac:chgData name="Joelle Brehm" userId="a518f54c-6985-42c0-8041-2bb16a414839" providerId="ADAL" clId="{BE3A2103-5170-40FE-A99F-CB737D9F76BC}" dt="2023-10-04T15:18:24.122" v="63791"/>
          <ac:spMkLst>
            <pc:docMk/>
            <pc:sldMk cId="1450446987" sldId="264"/>
            <ac:spMk id="151" creationId="{7EF7CCB6-B417-DC51-1AB2-68262CB2FA75}"/>
          </ac:spMkLst>
        </pc:spChg>
        <pc:spChg chg="mod">
          <ac:chgData name="Joelle Brehm" userId="a518f54c-6985-42c0-8041-2bb16a414839" providerId="ADAL" clId="{BE3A2103-5170-40FE-A99F-CB737D9F76BC}" dt="2023-10-04T15:18:24.122" v="63793"/>
          <ac:spMkLst>
            <pc:docMk/>
            <pc:sldMk cId="1450446987" sldId="264"/>
            <ac:spMk id="152" creationId="{DA6FB46B-FE82-345B-FD6E-877AEF916054}"/>
          </ac:spMkLst>
        </pc:spChg>
        <pc:spChg chg="add mod replST">
          <ac:chgData name="Joelle Brehm" userId="a518f54c-6985-42c0-8041-2bb16a414839" providerId="ADAL" clId="{BE3A2103-5170-40FE-A99F-CB737D9F76BC}" dt="2023-10-04T15:18:24.106" v="63726"/>
          <ac:spMkLst>
            <pc:docMk/>
            <pc:sldMk cId="1450446987" sldId="264"/>
            <ac:spMk id="154" creationId="{A61E4EE9-FC3E-9FF2-7995-0C75440B927B}"/>
          </ac:spMkLst>
        </pc:spChg>
        <pc:spChg chg="add del mod modVis">
          <ac:chgData name="Joelle Brehm" userId="a518f54c-6985-42c0-8041-2bb16a414839" providerId="ADAL" clId="{BE3A2103-5170-40FE-A99F-CB737D9F76BC}" dt="2023-10-02T20:45:49.469" v="12316"/>
          <ac:spMkLst>
            <pc:docMk/>
            <pc:sldMk cId="1450446987" sldId="264"/>
            <ac:spMk id="155" creationId="{553D46DA-1771-442B-033E-CEDAD9CC6005}"/>
          </ac:spMkLst>
        </pc:spChg>
        <pc:spChg chg="mod">
          <ac:chgData name="Joelle Brehm" userId="a518f54c-6985-42c0-8041-2bb16a414839" providerId="ADAL" clId="{BE3A2103-5170-40FE-A99F-CB737D9F76BC}" dt="2023-10-04T15:18:24.106" v="63723"/>
          <ac:spMkLst>
            <pc:docMk/>
            <pc:sldMk cId="1450446987" sldId="264"/>
            <ac:spMk id="157" creationId="{59183E0F-2F9E-0EB4-0583-D09B06FA12EC}"/>
          </ac:spMkLst>
        </pc:spChg>
        <pc:spChg chg="mod">
          <ac:chgData name="Joelle Brehm" userId="a518f54c-6985-42c0-8041-2bb16a414839" providerId="ADAL" clId="{BE3A2103-5170-40FE-A99F-CB737D9F76BC}" dt="2023-10-04T15:18:24.106" v="63731"/>
          <ac:spMkLst>
            <pc:docMk/>
            <pc:sldMk cId="1450446987" sldId="264"/>
            <ac:spMk id="158" creationId="{5B6F19F9-65BC-D043-328A-0D4F88644681}"/>
          </ac:spMkLst>
        </pc:spChg>
        <pc:spChg chg="mod">
          <ac:chgData name="Joelle Brehm" userId="a518f54c-6985-42c0-8041-2bb16a414839" providerId="ADAL" clId="{BE3A2103-5170-40FE-A99F-CB737D9F76BC}" dt="2023-10-04T15:18:24.122" v="63777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BE3A2103-5170-40FE-A99F-CB737D9F76BC}" dt="2023-10-04T15:18:24.122" v="63784"/>
          <ac:spMkLst>
            <pc:docMk/>
            <pc:sldMk cId="1450446987" sldId="264"/>
            <ac:spMk id="162" creationId="{A162EB60-F907-7F32-BE30-A5DD5012E9B2}"/>
          </ac:spMkLst>
        </pc:spChg>
        <pc:spChg chg="add mod replST">
          <ac:chgData name="Joelle Brehm" userId="a518f54c-6985-42c0-8041-2bb16a414839" providerId="ADAL" clId="{BE3A2103-5170-40FE-A99F-CB737D9F76BC}" dt="2023-10-04T15:18:24.106" v="63735"/>
          <ac:spMkLst>
            <pc:docMk/>
            <pc:sldMk cId="1450446987" sldId="264"/>
            <ac:spMk id="163" creationId="{B4BF5702-9B69-493D-938D-23FA87022A8B}"/>
          </ac:spMkLst>
        </pc:spChg>
        <pc:spChg chg="add del mod modVis">
          <ac:chgData name="Joelle Brehm" userId="a518f54c-6985-42c0-8041-2bb16a414839" providerId="ADAL" clId="{BE3A2103-5170-40FE-A99F-CB737D9F76BC}" dt="2023-10-02T20:46:00.615" v="12786"/>
          <ac:spMkLst>
            <pc:docMk/>
            <pc:sldMk cId="1450446987" sldId="264"/>
            <ac:spMk id="164" creationId="{095C12FA-6177-C72D-D01F-6CF3B4119EBF}"/>
          </ac:spMkLst>
        </pc:spChg>
        <pc:spChg chg="mod">
          <ac:chgData name="Joelle Brehm" userId="a518f54c-6985-42c0-8041-2bb16a414839" providerId="ADAL" clId="{BE3A2103-5170-40FE-A99F-CB737D9F76BC}" dt="2023-10-04T15:18:24.122" v="63802"/>
          <ac:spMkLst>
            <pc:docMk/>
            <pc:sldMk cId="1450446987" sldId="264"/>
            <ac:spMk id="166" creationId="{7AD10AD6-42C2-4283-AA98-7E6D620D7841}"/>
          </ac:spMkLst>
        </pc:spChg>
        <pc:spChg chg="mod">
          <ac:chgData name="Joelle Brehm" userId="a518f54c-6985-42c0-8041-2bb16a414839" providerId="ADAL" clId="{BE3A2103-5170-40FE-A99F-CB737D9F76BC}" dt="2023-10-04T15:18:24.122" v="63810"/>
          <ac:spMkLst>
            <pc:docMk/>
            <pc:sldMk cId="1450446987" sldId="264"/>
            <ac:spMk id="167" creationId="{F4E87B54-979D-3FF4-CD65-15E354C7960B}"/>
          </ac:spMkLst>
        </pc:spChg>
        <pc:spChg chg="mod">
          <ac:chgData name="Joelle Brehm" userId="a518f54c-6985-42c0-8041-2bb16a414839" providerId="ADAL" clId="{BE3A2103-5170-40FE-A99F-CB737D9F76BC}" dt="2023-10-04T15:18:24.122" v="63805"/>
          <ac:spMkLst>
            <pc:docMk/>
            <pc:sldMk cId="1450446987" sldId="264"/>
            <ac:spMk id="183" creationId="{AF9B10EE-106F-F48F-396B-6E0A5755F50A}"/>
          </ac:spMkLst>
        </pc:spChg>
        <pc:spChg chg="mod">
          <ac:chgData name="Joelle Brehm" userId="a518f54c-6985-42c0-8041-2bb16a414839" providerId="ADAL" clId="{BE3A2103-5170-40FE-A99F-CB737D9F76BC}" dt="2023-10-04T15:18:24.122" v="63778"/>
          <ac:spMkLst>
            <pc:docMk/>
            <pc:sldMk cId="1450446987" sldId="264"/>
            <ac:spMk id="188" creationId="{3EAD5544-D356-497E-99A8-A208C0CDD275}"/>
          </ac:spMkLst>
        </pc:spChg>
        <pc:spChg chg="mod">
          <ac:chgData name="Joelle Brehm" userId="a518f54c-6985-42c0-8041-2bb16a414839" providerId="ADAL" clId="{BE3A2103-5170-40FE-A99F-CB737D9F76BC}" dt="2023-10-04T15:18:24.090" v="63713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BE3A2103-5170-40FE-A99F-CB737D9F76BC}" dt="2023-10-04T15:18:24.090" v="63717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BE3A2103-5170-40FE-A99F-CB737D9F76BC}" dt="2023-10-04T15:18:24.106" v="63729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BE3A2103-5170-40FE-A99F-CB737D9F76BC}" dt="2023-10-04T15:18:24.122" v="63787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BE3A2103-5170-40FE-A99F-CB737D9F76BC}" dt="2023-10-04T15:18:24.122" v="63813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BE3A2103-5170-40FE-A99F-CB737D9F76BC}" dt="2023-10-04T15:18:24.138" v="63819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7:47.527" v="61516"/>
          <ac:graphicFrameMkLst>
            <pc:docMk/>
            <pc:sldMk cId="1450446987" sldId="264"/>
            <ac:graphicFrameMk id="8" creationId="{31C49823-2C7B-2554-5125-84772F960ED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3:56.913" v="6726"/>
          <ac:graphicFrameMkLst>
            <pc:docMk/>
            <pc:sldMk cId="1450446987" sldId="264"/>
            <ac:graphicFrameMk id="14" creationId="{4030E0DB-059A-6EB8-B3C6-C68A99EEE7C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7:50.953" v="61753"/>
          <ac:graphicFrameMkLst>
            <pc:docMk/>
            <pc:sldMk cId="1450446987" sldId="264"/>
            <ac:graphicFrameMk id="14" creationId="{5764F9F1-2D03-44D5-4793-BE396A54A169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7:59.149" v="61971"/>
          <ac:graphicFrameMkLst>
            <pc:docMk/>
            <pc:sldMk cId="1450446987" sldId="264"/>
            <ac:graphicFrameMk id="23" creationId="{DC1B4FCB-98B3-442B-0A1F-081A67DB9B8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8:02.686" v="62273"/>
          <ac:graphicFrameMkLst>
            <pc:docMk/>
            <pc:sldMk cId="1450446987" sldId="264"/>
            <ac:graphicFrameMk id="33" creationId="{5DB2F334-FEAC-D794-A193-67D5AE82BBD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4:15.025" v="6968"/>
          <ac:graphicFrameMkLst>
            <pc:docMk/>
            <pc:sldMk cId="1450446987" sldId="264"/>
            <ac:graphicFrameMk id="33" creationId="{BBB46FFE-F48D-5302-17EE-09D7E6191B3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4:22.650" v="7307"/>
          <ac:graphicFrameMkLst>
            <pc:docMk/>
            <pc:sldMk cId="1450446987" sldId="264"/>
            <ac:graphicFrameMk id="48" creationId="{EF3EB7FC-EF0C-7D19-A247-505999FEB0A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8:03.682" v="62500"/>
          <ac:graphicFrameMkLst>
            <pc:docMk/>
            <pc:sldMk cId="1450446987" sldId="264"/>
            <ac:graphicFrameMk id="49" creationId="{F0A41C3E-FBB3-6F2D-DA92-C9E3C0CE44F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8:09.009" v="62806"/>
          <ac:graphicFrameMkLst>
            <pc:docMk/>
            <pc:sldMk cId="1450446987" sldId="264"/>
            <ac:graphicFrameMk id="58" creationId="{3BA81661-107E-5BDE-1E41-55730032F82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4:26.370" v="7512"/>
          <ac:graphicFrameMkLst>
            <pc:docMk/>
            <pc:sldMk cId="1450446987" sldId="264"/>
            <ac:graphicFrameMk id="71" creationId="{0E8CFF80-3C76-F8A9-AACA-BD55C2B6343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8:12.211" v="63048"/>
          <ac:graphicFrameMkLst>
            <pc:docMk/>
            <pc:sldMk cId="1450446987" sldId="264"/>
            <ac:graphicFrameMk id="71" creationId="{AB46A02D-AFE0-0EF9-4AD0-BF9D0A63A4D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4:27.975" v="7715"/>
          <ac:graphicFrameMkLst>
            <pc:docMk/>
            <pc:sldMk cId="1450446987" sldId="264"/>
            <ac:graphicFrameMk id="72" creationId="{D481D92A-1F79-6FCF-4727-35DB1BD754A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4:56.400" v="10338"/>
          <ac:graphicFrameMkLst>
            <pc:docMk/>
            <pc:sldMk cId="1450446987" sldId="264"/>
            <ac:graphicFrameMk id="75" creationId="{3F528BEB-408C-8467-0B22-A3974A27B849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8:13.285" v="63282"/>
          <ac:graphicFrameMkLst>
            <pc:docMk/>
            <pc:sldMk cId="1450446987" sldId="264"/>
            <ac:graphicFrameMk id="75" creationId="{F106AD2F-6606-AAAE-35E1-C4DA8CA47550}"/>
          </ac:graphicFrameMkLst>
        </pc:graphicFrameChg>
        <pc:graphicFrameChg chg="add del mod ord replST delST">
          <ac:chgData name="Joelle Brehm" userId="a518f54c-6985-42c0-8041-2bb16a414839" providerId="ADAL" clId="{BE3A2103-5170-40FE-A99F-CB737D9F76BC}" dt="2023-10-02T20:44:53.113" v="10189" actId="1076"/>
          <ac:graphicFrameMkLst>
            <pc:docMk/>
            <pc:sldMk cId="1450446987" sldId="264"/>
            <ac:graphicFrameMk id="78" creationId="{75F69793-3C84-16C4-7ACC-C4640AAE067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8:22.026" v="63466"/>
          <ac:graphicFrameMkLst>
            <pc:docMk/>
            <pc:sldMk cId="1450446987" sldId="264"/>
            <ac:graphicFrameMk id="83" creationId="{AA02CDBD-10B6-E949-1EC2-4F378E92B4DD}"/>
          </ac:graphicFrameMkLst>
        </pc:graphicFrameChg>
        <pc:graphicFrameChg chg="add del mod ord replST delST">
          <ac:chgData name="Joelle Brehm" userId="a518f54c-6985-42c0-8041-2bb16a414839" providerId="ADAL" clId="{BE3A2103-5170-40FE-A99F-CB737D9F76BC}" dt="2023-10-02T20:44:52.193" v="10087" actId="1076"/>
          <ac:graphicFrameMkLst>
            <pc:docMk/>
            <pc:sldMk cId="1450446987" sldId="264"/>
            <ac:graphicFrameMk id="88" creationId="{5E949ACC-CB14-D2EA-21F1-D0D6DCEB4CA0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4T15:18:24.059" v="63669"/>
          <ac:graphicFrameMkLst>
            <pc:docMk/>
            <pc:sldMk cId="1450446987" sldId="264"/>
            <ac:graphicFrameMk id="88" creationId="{E3DD8421-E091-28DC-2361-9C6391CDFF3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4T15:18:24.122" v="63773"/>
          <ac:graphicFrameMkLst>
            <pc:docMk/>
            <pc:sldMk cId="1450446987" sldId="264"/>
            <ac:graphicFrameMk id="98" creationId="{E4330C6A-7C84-015A-D75F-78E375E17F5A}"/>
          </ac:graphicFrameMkLst>
        </pc:graphicFrameChg>
        <pc:graphicFrameChg chg="add del mod ord replST delST">
          <ac:chgData name="Joelle Brehm" userId="a518f54c-6985-42c0-8041-2bb16a414839" providerId="ADAL" clId="{BE3A2103-5170-40FE-A99F-CB737D9F76BC}" dt="2023-10-02T20:44:51.203" v="9990" actId="1076"/>
          <ac:graphicFrameMkLst>
            <pc:docMk/>
            <pc:sldMk cId="1450446987" sldId="264"/>
            <ac:graphicFrameMk id="98" creationId="{EA675D9B-5D26-F9A1-1187-5396FC13C825}"/>
          </ac:graphicFrameMkLst>
        </pc:graphicFrameChg>
        <pc:graphicFrameChg chg="add del mod ord replST delST">
          <ac:chgData name="Joelle Brehm" userId="a518f54c-6985-42c0-8041-2bb16a414839" providerId="ADAL" clId="{BE3A2103-5170-40FE-A99F-CB737D9F76BC}" dt="2023-10-02T20:44:50.104" v="9886" actId="1076"/>
          <ac:graphicFrameMkLst>
            <pc:docMk/>
            <pc:sldMk cId="1450446987" sldId="264"/>
            <ac:graphicFrameMk id="101" creationId="{C9A37CD8-EA08-D9EC-2C6D-2416105ED254}"/>
          </ac:graphicFrameMkLst>
        </pc:graphicFrameChg>
        <pc:graphicFrameChg chg="add del mod ord replST delST">
          <ac:chgData name="Joelle Brehm" userId="a518f54c-6985-42c0-8041-2bb16a414839" providerId="ADAL" clId="{BE3A2103-5170-40FE-A99F-CB737D9F76BC}" dt="2023-10-02T20:44:48.674" v="9853"/>
          <ac:graphicFrameMkLst>
            <pc:docMk/>
            <pc:sldMk cId="1450446987" sldId="264"/>
            <ac:graphicFrameMk id="117" creationId="{9700854E-0AF6-C3CB-2CE4-F6693B560C0F}"/>
          </ac:graphicFrameMkLst>
        </pc:graphicFrameChg>
        <pc:graphicFrameChg chg="add mod ord replST delST">
          <ac:chgData name="Joelle Brehm" userId="a518f54c-6985-42c0-8041-2bb16a414839" providerId="ADAL" clId="{BE3A2103-5170-40FE-A99F-CB737D9F76BC}" dt="2023-10-02T20:44:47.660" v="9604" actId="1076"/>
          <ac:graphicFrameMkLst>
            <pc:docMk/>
            <pc:sldMk cId="1450446987" sldId="264"/>
            <ac:graphicFrameMk id="121" creationId="{1DFBD633-CD34-B86B-4758-C9060590522F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4T15:18:24.106" v="63737"/>
          <ac:graphicFrameMkLst>
            <pc:docMk/>
            <pc:sldMk cId="1450446987" sldId="264"/>
            <ac:graphicFrameMk id="123" creationId="{176B01E5-7BB0-E33D-D82C-FC3F6250B95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5:10.562" v="10877"/>
          <ac:graphicFrameMkLst>
            <pc:docMk/>
            <pc:sldMk cId="1450446987" sldId="264"/>
            <ac:graphicFrameMk id="129" creationId="{487159EA-E08B-3140-65C4-08D55A7FE0FC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4T15:17:42.345" v="61294"/>
          <ac:graphicFrameMkLst>
            <pc:docMk/>
            <pc:sldMk cId="1450446987" sldId="264"/>
            <ac:graphicFrameMk id="131" creationId="{3FED8DCB-C3C5-1507-8337-588C639B2CF4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5:14.100" v="11132"/>
          <ac:graphicFrameMkLst>
            <pc:docMk/>
            <pc:sldMk cId="1450446987" sldId="264"/>
            <ac:graphicFrameMk id="135" creationId="{73865353-25DF-4ED0-62E9-5B591886724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4T15:18:24.090" v="63685"/>
          <ac:graphicFrameMkLst>
            <pc:docMk/>
            <pc:sldMk cId="1450446987" sldId="264"/>
            <ac:graphicFrameMk id="137" creationId="{8462B2D5-8857-5A6C-3E18-27F5DD4CC6B3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5:22.142" v="11632"/>
          <ac:graphicFrameMkLst>
            <pc:docMk/>
            <pc:sldMk cId="1450446987" sldId="264"/>
            <ac:graphicFrameMk id="144" creationId="{B4EE0BD2-F56D-2D18-B0CF-00D9E55698B0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5:41.552" v="11873"/>
          <ac:graphicFrameMkLst>
            <pc:docMk/>
            <pc:sldMk cId="1450446987" sldId="264"/>
            <ac:graphicFrameMk id="145" creationId="{5E6F9D46-2AA6-0444-C984-E2E81345C572}"/>
          </ac:graphicFrameMkLst>
        </pc:graphicFrameChg>
        <pc:graphicFrameChg chg="del">
          <ac:chgData name="Joelle Brehm" userId="a518f54c-6985-42c0-8041-2bb16a414839" providerId="ADAL" clId="{BE3A2103-5170-40FE-A99F-CB737D9F76BC}" dt="2023-10-02T20:43:54.963" v="6499"/>
          <ac:graphicFrameMkLst>
            <pc:docMk/>
            <pc:sldMk cId="1450446987" sldId="264"/>
            <ac:graphicFrameMk id="147" creationId="{F310E553-04B0-1C33-7E8B-2A28A5E858A8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4T15:18:24.122" v="63789"/>
          <ac:graphicFrameMkLst>
            <pc:docMk/>
            <pc:sldMk cId="1450446987" sldId="264"/>
            <ac:graphicFrameMk id="153" creationId="{BC7EF866-BB0F-2F8C-2622-CADCE0A9B0DF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0:45:06.099" v="10629"/>
          <ac:graphicFrameMkLst>
            <pc:docMk/>
            <pc:sldMk cId="1450446987" sldId="264"/>
            <ac:graphicFrameMk id="156" creationId="{2DDBB56B-6FD6-4705-4321-5C7287F94E2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5:51.881" v="12393"/>
          <ac:graphicFrameMkLst>
            <pc:docMk/>
            <pc:sldMk cId="1450446987" sldId="264"/>
            <ac:graphicFrameMk id="159" creationId="{E67FA5A3-D2DD-6B2A-37AC-30E3ED4E1F65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6:00.543" v="12636"/>
          <ac:graphicFrameMkLst>
            <pc:docMk/>
            <pc:sldMk cId="1450446987" sldId="264"/>
            <ac:graphicFrameMk id="161" creationId="{A3317BAA-051E-5C5F-D2A5-131B336D2268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0:45:49.392" v="12165"/>
          <ac:graphicFrameMkLst>
            <pc:docMk/>
            <pc:sldMk cId="1450446987" sldId="264"/>
            <ac:graphicFrameMk id="165" creationId="{D9788852-3E68-E834-BA4C-FF66892C2994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4T15:18:24.090" v="63711"/>
          <ac:graphicFrameMkLst>
            <pc:docMk/>
            <pc:sldMk cId="1450446987" sldId="264"/>
            <ac:graphicFrameMk id="168" creationId="{C9CD5985-6C4B-5D15-5B4F-D95E10E7AC3B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0:45:20.283" v="11412"/>
          <ac:graphicFrameMkLst>
            <pc:docMk/>
            <pc:sldMk cId="1450446987" sldId="264"/>
            <ac:graphicFrameMk id="172" creationId="{EEDAD4AD-58D4-A16A-6024-5528B08D42C6}"/>
          </ac:graphicFrameMkLst>
        </pc:graphicFrameChg>
        <pc:picChg chg="mod ord">
          <ac:chgData name="Joelle Brehm" userId="a518f54c-6985-42c0-8041-2bb16a414839" providerId="ADAL" clId="{BE3A2103-5170-40FE-A99F-CB737D9F76BC}" dt="2023-10-04T15:18:24.090" v="63683"/>
          <ac:picMkLst>
            <pc:docMk/>
            <pc:sldMk cId="1450446987" sldId="264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BE3A2103-5170-40FE-A99F-CB737D9F76BC}" dt="2023-10-02T20:46:39.840" v="12943" actId="478"/>
          <ac:picMkLst>
            <pc:docMk/>
            <pc:sldMk cId="1450446987" sldId="264"/>
            <ac:picMk id="9" creationId="{7F92AC95-7481-04B4-7CA2-59F236DA7810}"/>
          </ac:picMkLst>
        </pc:picChg>
        <pc:picChg chg="add mod ord">
          <ac:chgData name="Joelle Brehm" userId="a518f54c-6985-42c0-8041-2bb16a414839" providerId="ADAL" clId="{BE3A2103-5170-40FE-A99F-CB737D9F76BC}" dt="2023-10-04T15:18:24.090" v="63677"/>
          <ac:picMkLst>
            <pc:docMk/>
            <pc:sldMk cId="1450446987" sldId="264"/>
            <ac:picMk id="169" creationId="{DADE924F-8C5E-DC57-5E03-CC0ED0AAAC6B}"/>
          </ac:picMkLst>
        </pc:picChg>
        <pc:cxnChg chg="add del mod ord replST">
          <ac:chgData name="Joelle Brehm" userId="a518f54c-6985-42c0-8041-2bb16a414839" providerId="ADAL" clId="{BE3A2103-5170-40FE-A99F-CB737D9F76BC}" dt="2023-10-02T20:44:56.279" v="10207"/>
          <ac:cxnSpMkLst>
            <pc:docMk/>
            <pc:sldMk cId="1450446987" sldId="264"/>
            <ac:cxnSpMk id="58" creationId="{F73F3F1B-570B-2281-E4A1-98F8350908B6}"/>
          </ac:cxnSpMkLst>
        </pc:cxnChg>
        <pc:cxnChg chg="add del mod ord replST">
          <ac:chgData name="Joelle Brehm" userId="a518f54c-6985-42c0-8041-2bb16a414839" providerId="ADAL" clId="{BE3A2103-5170-40FE-A99F-CB737D9F76BC}" dt="2023-10-02T20:44:56.278" v="10205"/>
          <ac:cxnSpMkLst>
            <pc:docMk/>
            <pc:sldMk cId="1450446987" sldId="264"/>
            <ac:cxnSpMk id="66" creationId="{F5773515-8687-CBA9-517E-24AFC25620D5}"/>
          </ac:cxnSpMkLst>
        </pc:cxnChg>
        <pc:cxnChg chg="add del mod ord replST">
          <ac:chgData name="Joelle Brehm" userId="a518f54c-6985-42c0-8041-2bb16a414839" providerId="ADAL" clId="{BE3A2103-5170-40FE-A99F-CB737D9F76BC}" dt="2023-10-02T20:44:56.265" v="10203"/>
          <ac:cxnSpMkLst>
            <pc:docMk/>
            <pc:sldMk cId="1450446987" sldId="264"/>
            <ac:cxnSpMk id="70" creationId="{CE4E7D64-FF8F-ADE1-EE7D-141DC28DB241}"/>
          </ac:cxnSpMkLst>
        </pc:cxnChg>
        <pc:cxnChg chg="add del mod ord replST delST">
          <ac:chgData name="Joelle Brehm" userId="a518f54c-6985-42c0-8041-2bb16a414839" providerId="ADAL" clId="{BE3A2103-5170-40FE-A99F-CB737D9F76BC}" dt="2023-10-02T20:44:48.674" v="9853"/>
          <ac:cxnSpMkLst>
            <pc:docMk/>
            <pc:sldMk cId="1450446987" sldId="264"/>
            <ac:cxnSpMk id="107" creationId="{AE82FCC7-407B-A692-220C-0AEF3BCD5950}"/>
          </ac:cxnSpMkLst>
        </pc:cxnChg>
        <pc:cxnChg chg="add del mod ord replST delST">
          <ac:chgData name="Joelle Brehm" userId="a518f54c-6985-42c0-8041-2bb16a414839" providerId="ADAL" clId="{BE3A2103-5170-40FE-A99F-CB737D9F76BC}" dt="2023-10-02T20:44:48.674" v="9853"/>
          <ac:cxnSpMkLst>
            <pc:docMk/>
            <pc:sldMk cId="1450446987" sldId="264"/>
            <ac:cxnSpMk id="111" creationId="{5D9D1959-C7F9-6B95-5CBA-B8C1064E939C}"/>
          </ac:cxnSpMkLst>
        </pc:cxnChg>
        <pc:cxnChg chg="add del mod ord replST delST">
          <ac:chgData name="Joelle Brehm" userId="a518f54c-6985-42c0-8041-2bb16a414839" providerId="ADAL" clId="{BE3A2103-5170-40FE-A99F-CB737D9F76BC}" dt="2023-10-02T20:44:48.674" v="9853"/>
          <ac:cxnSpMkLst>
            <pc:docMk/>
            <pc:sldMk cId="1450446987" sldId="264"/>
            <ac:cxnSpMk id="114" creationId="{7D96627F-A9A7-684D-7C6C-41C47A73C331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07:37.584" v="18188"/>
        <pc:sldMkLst>
          <pc:docMk/>
          <pc:sldMk cId="3436037945" sldId="265"/>
        </pc:sldMkLst>
        <pc:spChg chg="mod ord">
          <ac:chgData name="Joelle Brehm" userId="a518f54c-6985-42c0-8041-2bb16a414839" providerId="ADAL" clId="{BE3A2103-5170-40FE-A99F-CB737D9F76BC}" dt="2023-10-02T21:07:37.565" v="18182"/>
          <ac:spMkLst>
            <pc:docMk/>
            <pc:sldMk cId="3436037945" sldId="265"/>
            <ac:spMk id="2" creationId="{6E232D48-9913-4AD2-87D8-2BF43FF429A0}"/>
          </ac:spMkLst>
        </pc:spChg>
        <pc:spChg chg="del">
          <ac:chgData name="Joelle Brehm" userId="a518f54c-6985-42c0-8041-2bb16a414839" providerId="ADAL" clId="{BE3A2103-5170-40FE-A99F-CB737D9F76BC}" dt="2023-10-02T21:06:24.683" v="16123" actId="478"/>
          <ac:spMkLst>
            <pc:docMk/>
            <pc:sldMk cId="3436037945" sldId="265"/>
            <ac:spMk id="3" creationId="{C9D30FAB-4181-6FC1-628B-AA1C6A4ED50E}"/>
          </ac:spMkLst>
        </pc:spChg>
        <pc:spChg chg="add del mod modVis">
          <ac:chgData name="Joelle Brehm" userId="a518f54c-6985-42c0-8041-2bb16a414839" providerId="ADAL" clId="{BE3A2103-5170-40FE-A99F-CB737D9F76BC}" dt="2023-10-02T21:06:37.779" v="16381"/>
          <ac:spMkLst>
            <pc:docMk/>
            <pc:sldMk cId="3436037945" sldId="265"/>
            <ac:spMk id="5" creationId="{D2E20E51-B54F-E99E-F4C6-2A8543C7DAF3}"/>
          </ac:spMkLst>
        </pc:spChg>
        <pc:spChg chg="mod ord">
          <ac:chgData name="Joelle Brehm" userId="a518f54c-6985-42c0-8041-2bb16a414839" providerId="ADAL" clId="{BE3A2103-5170-40FE-A99F-CB737D9F76BC}" dt="2023-10-02T21:07:37.530" v="18117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07:37.544" v="18147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BE3A2103-5170-40FE-A99F-CB737D9F76BC}" dt="2023-10-02T21:07:37.536" v="18129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07:37.536" v="18128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07:37.535" v="18127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07:37.534" v="18124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07:37.535" v="18126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07:37.535" v="18125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07:37.534" v="18123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07:37.533" v="18122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07:37.537" v="18130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07:37.537" v="18131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07:37.537" v="18132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07:37.538" v="18133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07:37.539" v="18135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07:37.540" v="18138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07:37.539" v="18136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07:37.540" v="18137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07:37.541" v="18139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07:37.541" v="18140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07:37.542" v="18141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07:37.543" v="18143"/>
          <ac:spMkLst>
            <pc:docMk/>
            <pc:sldMk cId="3436037945" sldId="265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2T21:07:19.610" v="16696"/>
          <ac:spMkLst>
            <pc:docMk/>
            <pc:sldMk cId="3436037945" sldId="265"/>
            <ac:spMk id="31" creationId="{671FAFC8-CC20-CAD6-186B-BE8A3CAAA734}"/>
          </ac:spMkLst>
        </pc:spChg>
        <pc:spChg chg="del mod">
          <ac:chgData name="Joelle Brehm" userId="a518f54c-6985-42c0-8041-2bb16a414839" providerId="ADAL" clId="{BE3A2103-5170-40FE-A99F-CB737D9F76BC}" dt="2023-10-02T21:07:29.483" v="17551"/>
          <ac:spMkLst>
            <pc:docMk/>
            <pc:sldMk cId="3436037945" sldId="265"/>
            <ac:spMk id="33" creationId="{228F34A2-7DB7-9D12-615E-E947B53315B2}"/>
          </ac:spMkLst>
        </pc:spChg>
        <pc:spChg chg="mod">
          <ac:chgData name="Joelle Brehm" userId="a518f54c-6985-42c0-8041-2bb16a414839" providerId="ADAL" clId="{BE3A2103-5170-40FE-A99F-CB737D9F76BC}" dt="2023-10-02T21:07:37.545" v="18149"/>
          <ac:spMkLst>
            <pc:docMk/>
            <pc:sldMk cId="3436037945" sldId="265"/>
            <ac:spMk id="34" creationId="{A7A9CC08-35FC-512B-D6D9-BC2ABCCAD648}"/>
          </ac:spMkLst>
        </pc:spChg>
        <pc:spChg chg="mod">
          <ac:chgData name="Joelle Brehm" userId="a518f54c-6985-42c0-8041-2bb16a414839" providerId="ADAL" clId="{BE3A2103-5170-40FE-A99F-CB737D9F76BC}" dt="2023-10-02T21:07:37.545" v="18148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BE3A2103-5170-40FE-A99F-CB737D9F76BC}" dt="2023-10-02T21:07:37.546" v="18150"/>
          <ac:spMkLst>
            <pc:docMk/>
            <pc:sldMk cId="3436037945" sldId="265"/>
            <ac:spMk id="36" creationId="{0BBAC582-1932-357A-D778-84237C43CF05}"/>
          </ac:spMkLst>
        </pc:spChg>
        <pc:spChg chg="mod">
          <ac:chgData name="Joelle Brehm" userId="a518f54c-6985-42c0-8041-2bb16a414839" providerId="ADAL" clId="{BE3A2103-5170-40FE-A99F-CB737D9F76BC}" dt="2023-10-02T21:07:37.546" v="18151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BE3A2103-5170-40FE-A99F-CB737D9F76BC}" dt="2023-10-02T21:07:37.544" v="18146"/>
          <ac:spMkLst>
            <pc:docMk/>
            <pc:sldMk cId="3436037945" sldId="265"/>
            <ac:spMk id="39" creationId="{D3B6923F-EF2F-5CB1-1EC9-23DAFECD1AD3}"/>
          </ac:spMkLst>
        </pc:spChg>
        <pc:spChg chg="mod">
          <ac:chgData name="Joelle Brehm" userId="a518f54c-6985-42c0-8041-2bb16a414839" providerId="ADAL" clId="{BE3A2103-5170-40FE-A99F-CB737D9F76BC}" dt="2023-10-02T21:07:37.550" v="18156"/>
          <ac:spMkLst>
            <pc:docMk/>
            <pc:sldMk cId="3436037945" sldId="265"/>
            <ac:spMk id="41" creationId="{16B778E2-8712-DA55-C5AD-4A641096111C}"/>
          </ac:spMkLst>
        </pc:spChg>
        <pc:spChg chg="mod">
          <ac:chgData name="Joelle Brehm" userId="a518f54c-6985-42c0-8041-2bb16a414839" providerId="ADAL" clId="{BE3A2103-5170-40FE-A99F-CB737D9F76BC}" dt="2023-10-02T21:07:37.548" v="18153"/>
          <ac:spMkLst>
            <pc:docMk/>
            <pc:sldMk cId="3436037945" sldId="265"/>
            <ac:spMk id="42" creationId="{C3432236-FD50-8E13-A648-6A2FCA3BBBAE}"/>
          </ac:spMkLst>
        </pc:spChg>
        <pc:spChg chg="mod">
          <ac:chgData name="Joelle Brehm" userId="a518f54c-6985-42c0-8041-2bb16a414839" providerId="ADAL" clId="{BE3A2103-5170-40FE-A99F-CB737D9F76BC}" dt="2023-10-02T21:07:37.547" v="18152"/>
          <ac:spMkLst>
            <pc:docMk/>
            <pc:sldMk cId="3436037945" sldId="265"/>
            <ac:spMk id="43" creationId="{75C463B6-6FC6-0A00-1C57-A6F7C4BD145A}"/>
          </ac:spMkLst>
        </pc:spChg>
        <pc:spChg chg="mod">
          <ac:chgData name="Joelle Brehm" userId="a518f54c-6985-42c0-8041-2bb16a414839" providerId="ADAL" clId="{BE3A2103-5170-40FE-A99F-CB737D9F76BC}" dt="2023-10-02T21:07:37.548" v="18154"/>
          <ac:spMkLst>
            <pc:docMk/>
            <pc:sldMk cId="3436037945" sldId="265"/>
            <ac:spMk id="44" creationId="{16F84182-CECA-3CD8-7D89-52B39ECEBFE4}"/>
          </ac:spMkLst>
        </pc:spChg>
        <pc:spChg chg="add mod replST">
          <ac:chgData name="Joelle Brehm" userId="a518f54c-6985-42c0-8041-2bb16a414839" providerId="ADAL" clId="{BE3A2103-5170-40FE-A99F-CB737D9F76BC}" dt="2023-10-02T21:07:37.551" v="18157"/>
          <ac:spMkLst>
            <pc:docMk/>
            <pc:sldMk cId="3436037945" sldId="265"/>
            <ac:spMk id="45" creationId="{790AE0EA-D2B0-6BC1-21FA-449B7C18A555}"/>
          </ac:spMkLst>
        </pc:spChg>
        <pc:spChg chg="add del mod modVis">
          <ac:chgData name="Joelle Brehm" userId="a518f54c-6985-42c0-8041-2bb16a414839" providerId="ADAL" clId="{BE3A2103-5170-40FE-A99F-CB737D9F76BC}" dt="2023-10-02T21:07:26.300" v="17335"/>
          <ac:spMkLst>
            <pc:docMk/>
            <pc:sldMk cId="3436037945" sldId="265"/>
            <ac:spMk id="46" creationId="{29BB32BC-5A5D-49A3-260A-D92CF6162B87}"/>
          </ac:spMkLst>
        </pc:spChg>
        <pc:spChg chg="mod">
          <ac:chgData name="Joelle Brehm" userId="a518f54c-6985-42c0-8041-2bb16a414839" providerId="ADAL" clId="{BE3A2103-5170-40FE-A99F-CB737D9F76BC}" dt="2023-10-02T21:07:37.549" v="18155"/>
          <ac:spMkLst>
            <pc:docMk/>
            <pc:sldMk cId="3436037945" sldId="265"/>
            <ac:spMk id="47" creationId="{DA382430-2E3A-48A8-BD50-8227787BBF7B}"/>
          </ac:spMkLst>
        </pc:spChg>
        <pc:spChg chg="add del mod ord replST">
          <ac:chgData name="Joelle Brehm" userId="a518f54c-6985-42c0-8041-2bb16a414839" providerId="ADAL" clId="{BE3A2103-5170-40FE-A99F-CB737D9F76BC}" dt="2023-10-02T21:07:37.489" v="18105"/>
          <ac:spMkLst>
            <pc:docMk/>
            <pc:sldMk cId="3436037945" sldId="265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07:27.844" v="17548"/>
          <ac:spMkLst>
            <pc:docMk/>
            <pc:sldMk cId="3436037945" sldId="265"/>
            <ac:spMk id="50" creationId="{A1D26B47-CE9D-51BB-C480-AB69969F465F}"/>
          </ac:spMkLst>
        </pc:spChg>
        <pc:spChg chg="add del mod modVis">
          <ac:chgData name="Joelle Brehm" userId="a518f54c-6985-42c0-8041-2bb16a414839" providerId="ADAL" clId="{BE3A2103-5170-40FE-A99F-CB737D9F76BC}" dt="2023-10-02T21:07:29.968" v="17873"/>
          <ac:spMkLst>
            <pc:docMk/>
            <pc:sldMk cId="3436037945" sldId="265"/>
            <ac:spMk id="52" creationId="{79201CFE-4268-0F66-68C9-FF5009CDFFE5}"/>
          </ac:spMkLst>
        </pc:spChg>
        <pc:spChg chg="add del mod ord replST">
          <ac:chgData name="Joelle Brehm" userId="a518f54c-6985-42c0-8041-2bb16a414839" providerId="ADAL" clId="{BE3A2103-5170-40FE-A99F-CB737D9F76BC}" dt="2023-10-02T21:07:33.614" v="17948"/>
          <ac:spMkLst>
            <pc:docMk/>
            <pc:sldMk cId="3436037945" sldId="265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07:33.700" v="18031"/>
          <ac:spMkLst>
            <pc:docMk/>
            <pc:sldMk cId="3436037945" sldId="265"/>
            <ac:spMk id="57" creationId="{693E2B91-83E4-7982-F6DD-D8CEA9B2FB55}"/>
          </ac:spMkLst>
        </pc:spChg>
        <pc:spChg chg="add del mod modVis">
          <ac:chgData name="Joelle Brehm" userId="a518f54c-6985-42c0-8041-2bb16a414839" providerId="ADAL" clId="{BE3A2103-5170-40FE-A99F-CB737D9F76BC}" dt="2023-10-02T21:07:37.568" v="18186"/>
          <ac:spMkLst>
            <pc:docMk/>
            <pc:sldMk cId="3436037945" sldId="265"/>
            <ac:spMk id="59" creationId="{9A0681C6-D594-A72D-FE2A-718F62DF5C94}"/>
          </ac:spMkLst>
        </pc:spChg>
        <pc:spChg chg="mod ord">
          <ac:chgData name="Joelle Brehm" userId="a518f54c-6985-42c0-8041-2bb16a414839" providerId="ADAL" clId="{BE3A2103-5170-40FE-A99F-CB737D9F76BC}" dt="2023-10-02T21:07:37.552" v="18159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07:37.553" v="18161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07:37.554" v="18163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07:37.555" v="18165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07:37.556" v="18167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07:37.557" v="18169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BE3A2103-5170-40FE-A99F-CB737D9F76BC}" dt="2023-10-02T21:07:37.564" v="18180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BE3A2103-5170-40FE-A99F-CB737D9F76BC}" dt="2023-10-02T21:07:37.560" v="18174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7:37.559" v="18172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7:37.561" v="18175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7:37.562" v="18176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07:37.560" v="18173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07:37.584" v="18188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7:37.533" v="18121"/>
          <ac:graphicFrameMkLst>
            <pc:docMk/>
            <pc:sldMk cId="3436037945" sldId="265"/>
            <ac:graphicFrameMk id="8" creationId="{5E7AC01A-44A6-81EA-A7F0-F69506A22590}"/>
          </ac:graphicFrameMkLst>
        </pc:graphicFrameChg>
        <pc:graphicFrameChg chg="del">
          <ac:chgData name="Joelle Brehm" userId="a518f54c-6985-42c0-8041-2bb16a414839" providerId="ADAL" clId="{BE3A2103-5170-40FE-A99F-CB737D9F76BC}" dt="2023-10-02T21:06:37.646" v="16298"/>
          <ac:graphicFrameMkLst>
            <pc:docMk/>
            <pc:sldMk cId="3436037945" sldId="265"/>
            <ac:graphicFrameMk id="32" creationId="{C8E72C85-3687-F1E4-15A2-6E5262253D3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7:37.558" v="18171"/>
          <ac:graphicFrameMkLst>
            <pc:docMk/>
            <pc:sldMk cId="3436037945" sldId="265"/>
            <ac:graphicFrameMk id="40" creationId="{810C4B93-5377-6C26-8CA5-005289EC672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7:27.712" v="17444"/>
          <ac:graphicFrameMkLst>
            <pc:docMk/>
            <pc:sldMk cId="3436037945" sldId="265"/>
            <ac:graphicFrameMk id="49" creationId="{A36DD6EC-4758-EDAB-FDA0-CE45B7325E8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7:29.851" v="17768"/>
          <ac:graphicFrameMkLst>
            <pc:docMk/>
            <pc:sldMk cId="3436037945" sldId="265"/>
            <ac:graphicFrameMk id="51" creationId="{73747AD5-4108-D78A-53F6-62F74FBA80C7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07:26.249" v="17245"/>
          <ac:graphicFrameMkLst>
            <pc:docMk/>
            <pc:sldMk cId="3436037945" sldId="265"/>
            <ac:graphicFrameMk id="53" creationId="{93618E51-3BB1-D60B-3BC4-4134FCB55F00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07:19.464" v="16617"/>
          <ac:graphicFrameMkLst>
            <pc:docMk/>
            <pc:sldMk cId="3436037945" sldId="265"/>
            <ac:graphicFrameMk id="55" creationId="{563DF318-1786-8D12-8002-195F0437E53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7:33.617" v="17950"/>
          <ac:graphicFrameMkLst>
            <pc:docMk/>
            <pc:sldMk cId="3436037945" sldId="265"/>
            <ac:graphicFrameMk id="56" creationId="{20D5ED5D-C260-EC58-9C1C-3172F47DD12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7:37.491" v="18107"/>
          <ac:graphicFrameMkLst>
            <pc:docMk/>
            <pc:sldMk cId="3436037945" sldId="265"/>
            <ac:graphicFrameMk id="58" creationId="{2C645ECF-D862-BB32-8709-317911935209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7:37.544" v="18145"/>
          <ac:graphicFrameMkLst>
            <pc:docMk/>
            <pc:sldMk cId="3436037945" sldId="265"/>
            <ac:graphicFrameMk id="60" creationId="{9CED2354-5555-0061-AD38-54998B0883FF}"/>
          </ac:graphicFrameMkLst>
        </pc:graphicFrameChg>
        <pc:picChg chg="add mod ord">
          <ac:chgData name="Joelle Brehm" userId="a518f54c-6985-42c0-8041-2bb16a414839" providerId="ADAL" clId="{BE3A2103-5170-40FE-A99F-CB737D9F76BC}" dt="2023-10-02T21:07:37.530" v="18115"/>
          <ac:picMkLst>
            <pc:docMk/>
            <pc:sldMk cId="3436037945" sldId="265"/>
            <ac:picMk id="10" creationId="{169332F5-BB87-172F-3320-5E3D4AEDAF0A}"/>
          </ac:picMkLst>
        </pc:picChg>
        <pc:picChg chg="del mod ord">
          <ac:chgData name="Joelle Brehm" userId="a518f54c-6985-42c0-8041-2bb16a414839" providerId="ADAL" clId="{BE3A2103-5170-40FE-A99F-CB737D9F76BC}" dt="2023-10-02T21:07:09.234" v="16469" actId="478"/>
          <ac:picMkLst>
            <pc:docMk/>
            <pc:sldMk cId="3436037945" sldId="265"/>
            <ac:picMk id="37" creationId="{F8AC564A-7559-3982-CB8C-B6D7F4D3DF2D}"/>
          </ac:picMkLst>
        </pc:picChg>
        <pc:picChg chg="mod ord">
          <ac:chgData name="Joelle Brehm" userId="a518f54c-6985-42c0-8041-2bb16a414839" providerId="ADAL" clId="{BE3A2103-5170-40FE-A99F-CB737D9F76BC}" dt="2023-10-02T21:07:37.562" v="18178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07:37.532" v="18119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06:15.872" v="16122"/>
        <pc:sldMkLst>
          <pc:docMk/>
          <pc:sldMk cId="2057745716" sldId="266"/>
        </pc:sldMkLst>
        <pc:spChg chg="mod ord">
          <ac:chgData name="Joelle Brehm" userId="a518f54c-6985-42c0-8041-2bb16a414839" providerId="ADAL" clId="{BE3A2103-5170-40FE-A99F-CB737D9F76BC}" dt="2023-10-02T21:06:15.857" v="16116"/>
          <ac:spMkLst>
            <pc:docMk/>
            <pc:sldMk cId="2057745716" sldId="266"/>
            <ac:spMk id="2" creationId="{F6B4C531-23B2-41FF-8356-EA9D6490FDEB}"/>
          </ac:spMkLst>
        </pc:spChg>
        <pc:spChg chg="del">
          <ac:chgData name="Joelle Brehm" userId="a518f54c-6985-42c0-8041-2bb16a414839" providerId="ADAL" clId="{BE3A2103-5170-40FE-A99F-CB737D9F76BC}" dt="2023-10-02T21:04:33.017" v="14580" actId="478"/>
          <ac:spMkLst>
            <pc:docMk/>
            <pc:sldMk cId="2057745716" sldId="266"/>
            <ac:spMk id="3" creationId="{0A72E3E6-C655-D3F3-77E5-42F85C6D35A6}"/>
          </ac:spMkLst>
        </pc:spChg>
        <pc:spChg chg="add del mod modVis">
          <ac:chgData name="Joelle Brehm" userId="a518f54c-6985-42c0-8041-2bb16a414839" providerId="ADAL" clId="{BE3A2103-5170-40FE-A99F-CB737D9F76BC}" dt="2023-10-02T21:05:05.137" v="14890"/>
          <ac:spMkLst>
            <pc:docMk/>
            <pc:sldMk cId="2057745716" sldId="266"/>
            <ac:spMk id="5" creationId="{099E460F-F7F7-C28D-4669-B634EF40BF27}"/>
          </ac:spMkLst>
        </pc:spChg>
        <pc:spChg chg="mod ord">
          <ac:chgData name="Joelle Brehm" userId="a518f54c-6985-42c0-8041-2bb16a414839" providerId="ADAL" clId="{BE3A2103-5170-40FE-A99F-CB737D9F76BC}" dt="2023-10-02T21:06:15.826" v="16034"/>
          <ac:spMkLst>
            <pc:docMk/>
            <pc:sldMk cId="2057745716" sldId="266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06:15.840" v="16075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BE3A2103-5170-40FE-A99F-CB737D9F76BC}" dt="2023-10-02T21:06:15.831" v="16047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06:15.830" v="16044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06:15.830" v="16045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06:15.829" v="16041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06:15.828" v="16039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06:15.830" v="16043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06:15.829" v="16040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06:15.830" v="16046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06:15.831" v="16048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06:15.829" v="16042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06:15.832" v="16049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06:15.832" v="16050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06:15.832" v="16052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06:15.832" v="16053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06:15.833" v="16055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06:15.833" v="16054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06:15.834" v="16057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06:15.834" v="16058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06:15.833" v="16056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06:15.835" v="16060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06:15.843" v="16085"/>
          <ac:spMkLst>
            <pc:docMk/>
            <pc:sldMk cId="2057745716" sldId="266"/>
            <ac:spMk id="32" creationId="{7BFC1003-AE20-B81B-EFAF-D183C4696E4C}"/>
          </ac:spMkLst>
        </pc:spChg>
        <pc:spChg chg="del mod">
          <ac:chgData name="Joelle Brehm" userId="a518f54c-6985-42c0-8041-2bb16a414839" providerId="ADAL" clId="{BE3A2103-5170-40FE-A99F-CB737D9F76BC}" dt="2023-10-02T21:06:15.672" v="15873"/>
          <ac:spMkLst>
            <pc:docMk/>
            <pc:sldMk cId="2057745716" sldId="266"/>
            <ac:spMk id="33" creationId="{1F14E375-AE0C-B86C-5AA8-BDDE7B453E82}"/>
          </ac:spMkLst>
        </pc:spChg>
        <pc:spChg chg="add del mod modVis">
          <ac:chgData name="Joelle Brehm" userId="a518f54c-6985-42c0-8041-2bb16a414839" providerId="ADAL" clId="{BE3A2103-5170-40FE-A99F-CB737D9F76BC}" dt="2023-10-02T21:06:03.387" v="15267"/>
          <ac:spMkLst>
            <pc:docMk/>
            <pc:sldMk cId="2057745716" sldId="266"/>
            <ac:spMk id="34" creationId="{C12AD5CB-88A1-EE72-DB13-3BE5F0C6B3C1}"/>
          </ac:spMkLst>
        </pc:spChg>
        <pc:spChg chg="del mod">
          <ac:chgData name="Joelle Brehm" userId="a518f54c-6985-42c0-8041-2bb16a414839" providerId="ADAL" clId="{BE3A2103-5170-40FE-A99F-CB737D9F76BC}" dt="2023-10-02T21:06:15.671" v="15872"/>
          <ac:spMkLst>
            <pc:docMk/>
            <pc:sldMk cId="2057745716" sldId="266"/>
            <ac:spMk id="35" creationId="{3AD29896-D042-6C80-A93D-02668CD2E53C}"/>
          </ac:spMkLst>
        </pc:spChg>
        <pc:spChg chg="mod">
          <ac:chgData name="Joelle Brehm" userId="a518f54c-6985-42c0-8041-2bb16a414839" providerId="ADAL" clId="{BE3A2103-5170-40FE-A99F-CB737D9F76BC}" dt="2023-10-02T21:06:15.839" v="16072"/>
          <ac:spMkLst>
            <pc:docMk/>
            <pc:sldMk cId="2057745716" sldId="266"/>
            <ac:spMk id="36" creationId="{5C57A8EA-9071-29F4-B24C-235140A0F3D6}"/>
          </ac:spMkLst>
        </pc:spChg>
        <pc:spChg chg="mod">
          <ac:chgData name="Joelle Brehm" userId="a518f54c-6985-42c0-8041-2bb16a414839" providerId="ADAL" clId="{BE3A2103-5170-40FE-A99F-CB737D9F76BC}" dt="2023-10-02T21:06:15.838" v="16071"/>
          <ac:spMkLst>
            <pc:docMk/>
            <pc:sldMk cId="2057745716" sldId="266"/>
            <ac:spMk id="37" creationId="{597526D1-0B00-BB9B-B8E0-3CF7DA66C023}"/>
          </ac:spMkLst>
        </pc:spChg>
        <pc:spChg chg="mod">
          <ac:chgData name="Joelle Brehm" userId="a518f54c-6985-42c0-8041-2bb16a414839" providerId="ADAL" clId="{BE3A2103-5170-40FE-A99F-CB737D9F76BC}" dt="2023-10-02T21:06:15.839" v="16074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BE3A2103-5170-40FE-A99F-CB737D9F76BC}" dt="2023-10-02T21:06:15.838" v="16070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BE3A2103-5170-40FE-A99F-CB737D9F76BC}" dt="2023-10-02T21:06:15.842" v="16083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BE3A2103-5170-40FE-A99F-CB737D9F76BC}" dt="2023-10-02T21:06:15.837" v="16068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BE3A2103-5170-40FE-A99F-CB737D9F76BC}" dt="2023-10-02T21:06:15.840" v="16079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BE3A2103-5170-40FE-A99F-CB737D9F76BC}" dt="2023-10-02T21:06:15.841" v="16081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BE3A2103-5170-40FE-A99F-CB737D9F76BC}" dt="2023-10-02T21:06:15.842" v="16082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BE3A2103-5170-40FE-A99F-CB737D9F76BC}" dt="2023-10-02T21:06:15.840" v="16077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BE3A2103-5170-40FE-A99F-CB737D9F76BC}" dt="2023-10-02T21:06:15.840" v="16080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BE3A2103-5170-40FE-A99F-CB737D9F76BC}" dt="2023-10-02T21:06:15.842" v="16084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BE3A2103-5170-40FE-A99F-CB737D9F76BC}" dt="2023-10-02T21:06:15.843" v="16087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BE3A2103-5170-40FE-A99F-CB737D9F76BC}" dt="2023-10-02T21:06:15.843" v="16086"/>
          <ac:spMkLst>
            <pc:docMk/>
            <pc:sldMk cId="2057745716" sldId="266"/>
            <ac:spMk id="51" creationId="{C9D2CB7B-D271-C497-DAD6-584C7ADF3223}"/>
          </ac:spMkLst>
        </pc:spChg>
        <pc:spChg chg="mod">
          <ac:chgData name="Joelle Brehm" userId="a518f54c-6985-42c0-8041-2bb16a414839" providerId="ADAL" clId="{BE3A2103-5170-40FE-A99F-CB737D9F76BC}" dt="2023-10-02T21:06:15.840" v="16076"/>
          <ac:spMkLst>
            <pc:docMk/>
            <pc:sldMk cId="2057745716" sldId="266"/>
            <ac:spMk id="52" creationId="{4CB89854-2E3F-BC9B-D7C6-8FA388A0FB74}"/>
          </ac:spMkLst>
        </pc:spChg>
        <pc:spChg chg="mod">
          <ac:chgData name="Joelle Brehm" userId="a518f54c-6985-42c0-8041-2bb16a414839" providerId="ADAL" clId="{BE3A2103-5170-40FE-A99F-CB737D9F76BC}" dt="2023-10-02T21:06:15.845" v="16090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BE3A2103-5170-40FE-A99F-CB737D9F76BC}" dt="2023-10-02T21:06:15.844" v="16088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BE3A2103-5170-40FE-A99F-CB737D9F76BC}" dt="2023-10-02T21:06:15.838" v="16069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BE3A2103-5170-40FE-A99F-CB737D9F76BC}" dt="2023-10-02T21:06:15.840" v="16078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BE3A2103-5170-40FE-A99F-CB737D9F76BC}" dt="2023-10-02T21:06:15.845" v="16089"/>
          <ac:spMkLst>
            <pc:docMk/>
            <pc:sldMk cId="2057745716" sldId="266"/>
            <ac:spMk id="57" creationId="{5B53372F-C271-7F94-7100-D104F06C3037}"/>
          </ac:spMkLst>
        </pc:spChg>
        <pc:spChg chg="add mod replST">
          <ac:chgData name="Joelle Brehm" userId="a518f54c-6985-42c0-8041-2bb16a414839" providerId="ADAL" clId="{BE3A2103-5170-40FE-A99F-CB737D9F76BC}" dt="2023-10-02T21:06:15.839" v="16073"/>
          <ac:spMkLst>
            <pc:docMk/>
            <pc:sldMk cId="2057745716" sldId="266"/>
            <ac:spMk id="58" creationId="{DAA22F52-9C0E-72DF-927C-E34B49E164A2}"/>
          </ac:spMkLst>
        </pc:spChg>
        <pc:spChg chg="add del mod modVis">
          <ac:chgData name="Joelle Brehm" userId="a518f54c-6985-42c0-8041-2bb16a414839" providerId="ADAL" clId="{BE3A2103-5170-40FE-A99F-CB737D9F76BC}" dt="2023-10-02T21:06:10.334" v="15637"/>
          <ac:spMkLst>
            <pc:docMk/>
            <pc:sldMk cId="2057745716" sldId="266"/>
            <ac:spMk id="59" creationId="{30372848-A3A0-FC65-2E79-854115AC3898}"/>
          </ac:spMkLst>
        </pc:spChg>
        <pc:spChg chg="add mod replST">
          <ac:chgData name="Joelle Brehm" userId="a518f54c-6985-42c0-8041-2bb16a414839" providerId="ADAL" clId="{BE3A2103-5170-40FE-A99F-CB737D9F76BC}" dt="2023-10-02T21:06:15.846" v="16091"/>
          <ac:spMkLst>
            <pc:docMk/>
            <pc:sldMk cId="2057745716" sldId="266"/>
            <ac:spMk id="61" creationId="{7735DF25-E73C-DF1D-6189-B1D34D188113}"/>
          </ac:spMkLst>
        </pc:spChg>
        <pc:spChg chg="add del mod modVis">
          <ac:chgData name="Joelle Brehm" userId="a518f54c-6985-42c0-8041-2bb16a414839" providerId="ADAL" clId="{BE3A2103-5170-40FE-A99F-CB737D9F76BC}" dt="2023-10-02T21:06:12.821" v="15869"/>
          <ac:spMkLst>
            <pc:docMk/>
            <pc:sldMk cId="2057745716" sldId="266"/>
            <ac:spMk id="62" creationId="{DD6F283F-440B-90D1-6DBC-207D4CA5837C}"/>
          </ac:spMkLst>
        </pc:spChg>
        <pc:spChg chg="add del mod modVis">
          <ac:chgData name="Joelle Brehm" userId="a518f54c-6985-42c0-8041-2bb16a414839" providerId="ADAL" clId="{BE3A2103-5170-40FE-A99F-CB737D9F76BC}" dt="2023-10-02T21:06:15.860" v="16120"/>
          <ac:spMkLst>
            <pc:docMk/>
            <pc:sldMk cId="2057745716" sldId="266"/>
            <ac:spMk id="66" creationId="{ECB79E83-1E6C-687E-2FD6-468E0C20C105}"/>
          </ac:spMkLst>
        </pc:spChg>
        <pc:spChg chg="mod ord">
          <ac:chgData name="Joelle Brehm" userId="a518f54c-6985-42c0-8041-2bb16a414839" providerId="ADAL" clId="{BE3A2103-5170-40FE-A99F-CB737D9F76BC}" dt="2023-10-02T21:06:15.847" v="16093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06:15.848" v="16095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BE3A2103-5170-40FE-A99F-CB737D9F76BC}" dt="2023-10-02T21:06:15.837" v="16066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06:15.849" v="16097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06:15.849" v="16099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06:15.850" v="16101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06:15.851" v="16103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06:15.836" v="16063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6:15.837" v="16065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6:15.837" v="16067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6:15.836" v="16064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6:15.854" v="16107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6:15.855" v="16108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6:15.854" v="16106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06:15.855" v="16109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06:15.855" v="16110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06:15.872" v="16122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1:05:05.075" v="14788"/>
          <ac:graphicFrameMkLst>
            <pc:docMk/>
            <pc:sldMk cId="2057745716" sldId="266"/>
            <ac:graphicFrameMk id="8" creationId="{B1F36A72-BAC8-42B6-2D25-25EA0E41422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6:15.828" v="16038"/>
          <ac:graphicFrameMkLst>
            <pc:docMk/>
            <pc:sldMk cId="2057745716" sldId="266"/>
            <ac:graphicFrameMk id="9" creationId="{48D07286-2F65-6D71-F426-2D3896EBBF46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6:15.853" v="16105"/>
          <ac:graphicFrameMkLst>
            <pc:docMk/>
            <pc:sldMk cId="2057745716" sldId="266"/>
            <ac:graphicFrameMk id="46" creationId="{DACE3199-C700-922B-D751-EF06CAE7EAE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6:12.751" v="15771"/>
          <ac:graphicFrameMkLst>
            <pc:docMk/>
            <pc:sldMk cId="2057745716" sldId="266"/>
            <ac:graphicFrameMk id="60" creationId="{038A7D84-5954-F177-C82A-A6EB67932747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06:10.278" v="15540"/>
          <ac:graphicFrameMkLst>
            <pc:docMk/>
            <pc:sldMk cId="2057745716" sldId="266"/>
            <ac:graphicFrameMk id="63" creationId="{CF9927AA-0E21-42F5-AE51-C0724F3A2178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06:15.798" v="16024"/>
          <ac:graphicFrameMkLst>
            <pc:docMk/>
            <pc:sldMk cId="2057745716" sldId="266"/>
            <ac:graphicFrameMk id="64" creationId="{A99D2279-2BC6-6089-BFFF-F981504338F6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06:03.333" v="15171"/>
          <ac:graphicFrameMkLst>
            <pc:docMk/>
            <pc:sldMk cId="2057745716" sldId="266"/>
            <ac:graphicFrameMk id="65" creationId="{147AC728-1FD0-FB06-93E2-7804A1BD7C00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06:15.835" v="16062"/>
          <ac:graphicFrameMkLst>
            <pc:docMk/>
            <pc:sldMk cId="2057745716" sldId="266"/>
            <ac:graphicFrameMk id="67" creationId="{9F12112A-ABF4-428C-1919-E5AEB3784B82}"/>
          </ac:graphicFrameMkLst>
        </pc:graphicFrameChg>
        <pc:picChg chg="add mod ord">
          <ac:chgData name="Joelle Brehm" userId="a518f54c-6985-42c0-8041-2bb16a414839" providerId="ADAL" clId="{BE3A2103-5170-40FE-A99F-CB737D9F76BC}" dt="2023-10-02T21:06:15.825" v="16032"/>
          <ac:picMkLst>
            <pc:docMk/>
            <pc:sldMk cId="2057745716" sldId="266"/>
            <ac:picMk id="31" creationId="{7A86978B-5973-3208-D613-05A79C5E2FFF}"/>
          </ac:picMkLst>
        </pc:picChg>
        <pc:picChg chg="del mod ord">
          <ac:chgData name="Joelle Brehm" userId="a518f54c-6985-42c0-8041-2bb16a414839" providerId="ADAL" clId="{BE3A2103-5170-40FE-A99F-CB737D9F76BC}" dt="2023-10-02T21:05:20.091" v="14995" actId="478"/>
          <ac:picMkLst>
            <pc:docMk/>
            <pc:sldMk cId="2057745716" sldId="266"/>
            <ac:picMk id="48" creationId="{3C210541-FCA5-91B6-237C-C634E3FAD6DB}"/>
          </ac:picMkLst>
        </pc:picChg>
        <pc:picChg chg="mod ord">
          <ac:chgData name="Joelle Brehm" userId="a518f54c-6985-42c0-8041-2bb16a414839" providerId="ADAL" clId="{BE3A2103-5170-40FE-A99F-CB737D9F76BC}" dt="2023-10-02T21:06:15.856" v="16114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BE3A2103-5170-40FE-A99F-CB737D9F76BC}" dt="2023-10-02T21:06:15.856" v="16112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06:15.827" v="16036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11:11.488" v="20850"/>
        <pc:sldMkLst>
          <pc:docMk/>
          <pc:sldMk cId="3795966898" sldId="267"/>
        </pc:sldMkLst>
        <pc:spChg chg="mod ord">
          <ac:chgData name="Joelle Brehm" userId="a518f54c-6985-42c0-8041-2bb16a414839" providerId="ADAL" clId="{BE3A2103-5170-40FE-A99F-CB737D9F76BC}" dt="2023-10-02T21:11:11.461" v="20844"/>
          <ac:spMkLst>
            <pc:docMk/>
            <pc:sldMk cId="3795966898" sldId="267"/>
            <ac:spMk id="2" creationId="{8ADF3DAD-89AE-4B6D-9F50-64987A2AE5AE}"/>
          </ac:spMkLst>
        </pc:spChg>
        <pc:spChg chg="del">
          <ac:chgData name="Joelle Brehm" userId="a518f54c-6985-42c0-8041-2bb16a414839" providerId="ADAL" clId="{BE3A2103-5170-40FE-A99F-CB737D9F76BC}" dt="2023-10-02T21:09:43.728" v="18189" actId="478"/>
          <ac:spMkLst>
            <pc:docMk/>
            <pc:sldMk cId="3795966898" sldId="267"/>
            <ac:spMk id="3" creationId="{5D69B355-3FB5-F904-69EC-6859305466E7}"/>
          </ac:spMkLst>
        </pc:spChg>
        <pc:spChg chg="add del mod modVis">
          <ac:chgData name="Joelle Brehm" userId="a518f54c-6985-42c0-8041-2bb16a414839" providerId="ADAL" clId="{BE3A2103-5170-40FE-A99F-CB737D9F76BC}" dt="2023-10-02T21:10:03.280" v="18453"/>
          <ac:spMkLst>
            <pc:docMk/>
            <pc:sldMk cId="3795966898" sldId="267"/>
            <ac:spMk id="5" creationId="{CFF16C31-292F-EA26-3CBF-4E2CF48898C4}"/>
          </ac:spMkLst>
        </pc:spChg>
        <pc:spChg chg="mod ord">
          <ac:chgData name="Joelle Brehm" userId="a518f54c-6985-42c0-8041-2bb16a414839" providerId="ADAL" clId="{BE3A2103-5170-40FE-A99F-CB737D9F76BC}" dt="2023-10-02T21:11:11.421" v="20779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11:11.428" v="20792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11:11.427" v="20788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11:11.427" v="20790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11:11.424" v="20784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11:11.425" v="20786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11:11.428" v="20791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11:11.429" v="20793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11:11.425" v="20785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11:11.427" v="20789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11:11.430" v="20794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11:11.426" v="20787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11:11.431" v="20795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11:11.432" v="20797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11:11.433" v="20800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11:11.433" v="20798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11:11.433" v="20799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11:11.436" v="20801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11:11.436" v="20802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11:11.436" v="20803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11:11.438" v="20805"/>
          <ac:spMkLst>
            <pc:docMk/>
            <pc:sldMk cId="3795966898" sldId="267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2T21:10:31.661" v="18804"/>
          <ac:spMkLst>
            <pc:docMk/>
            <pc:sldMk cId="3795966898" sldId="267"/>
            <ac:spMk id="31" creationId="{694C9B36-83F1-4145-F0D2-2A04033AACC2}"/>
          </ac:spMkLst>
        </pc:spChg>
        <pc:spChg chg="mod">
          <ac:chgData name="Joelle Brehm" userId="a518f54c-6985-42c0-8041-2bb16a414839" providerId="ADAL" clId="{BE3A2103-5170-40FE-A99F-CB737D9F76BC}" dt="2023-10-02T21:11:11.444" v="20817"/>
          <ac:spMkLst>
            <pc:docMk/>
            <pc:sldMk cId="3795966898" sldId="267"/>
            <ac:spMk id="32" creationId="{D88A5B48-AEEB-61CD-49C8-685CA2FA5FCC}"/>
          </ac:spMkLst>
        </pc:spChg>
        <pc:spChg chg="mod">
          <ac:chgData name="Joelle Brehm" userId="a518f54c-6985-42c0-8041-2bb16a414839" providerId="ADAL" clId="{BE3A2103-5170-40FE-A99F-CB737D9F76BC}" dt="2023-10-02T21:11:11.440" v="20809"/>
          <ac:spMkLst>
            <pc:docMk/>
            <pc:sldMk cId="3795966898" sldId="267"/>
            <ac:spMk id="33" creationId="{0AF17994-2A88-B5A9-1960-3D49D7A5E286}"/>
          </ac:spMkLst>
        </pc:spChg>
        <pc:spChg chg="mod">
          <ac:chgData name="Joelle Brehm" userId="a518f54c-6985-42c0-8041-2bb16a414839" providerId="ADAL" clId="{BE3A2103-5170-40FE-A99F-CB737D9F76BC}" dt="2023-10-02T21:11:11.442" v="20812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BE3A2103-5170-40FE-A99F-CB737D9F76BC}" dt="2023-10-02T21:11:11.441" v="20811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BE3A2103-5170-40FE-A99F-CB737D9F76BC}" dt="2023-10-02T21:11:11.443" v="20814"/>
          <ac:spMkLst>
            <pc:docMk/>
            <pc:sldMk cId="3795966898" sldId="267"/>
            <ac:spMk id="36" creationId="{BAFFFD22-3E5D-2D34-E227-9C27ADEC8FDF}"/>
          </ac:spMkLst>
        </pc:spChg>
        <pc:spChg chg="del mod">
          <ac:chgData name="Joelle Brehm" userId="a518f54c-6985-42c0-8041-2bb16a414839" providerId="ADAL" clId="{BE3A2103-5170-40FE-A99F-CB737D9F76BC}" dt="2023-10-02T21:10:40.838" v="19703"/>
          <ac:spMkLst>
            <pc:docMk/>
            <pc:sldMk cId="3795966898" sldId="267"/>
            <ac:spMk id="37" creationId="{2C18F645-6C7C-E805-959B-6BCC1E699323}"/>
          </ac:spMkLst>
        </pc:spChg>
        <pc:spChg chg="mod">
          <ac:chgData name="Joelle Brehm" userId="a518f54c-6985-42c0-8041-2bb16a414839" providerId="ADAL" clId="{BE3A2103-5170-40FE-A99F-CB737D9F76BC}" dt="2023-10-02T21:11:11.442" v="20813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BE3A2103-5170-40FE-A99F-CB737D9F76BC}" dt="2023-10-02T21:11:11.441" v="20810"/>
          <ac:spMkLst>
            <pc:docMk/>
            <pc:sldMk cId="3795966898" sldId="267"/>
            <ac:spMk id="39" creationId="{83832067-25B3-AFCE-E78B-F25DBF661146}"/>
          </ac:spMkLst>
        </pc:spChg>
        <pc:spChg chg="mod">
          <ac:chgData name="Joelle Brehm" userId="a518f54c-6985-42c0-8041-2bb16a414839" providerId="ADAL" clId="{BE3A2103-5170-40FE-A99F-CB737D9F76BC}" dt="2023-10-02T21:11:11.443" v="20815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BE3A2103-5170-40FE-A99F-CB737D9F76BC}" dt="2023-10-02T21:11:11.440" v="20808"/>
          <ac:spMkLst>
            <pc:docMk/>
            <pc:sldMk cId="3795966898" sldId="267"/>
            <ac:spMk id="42" creationId="{00A8D05A-611B-5627-879F-426A9C84E224}"/>
          </ac:spMkLst>
        </pc:spChg>
        <pc:spChg chg="mod">
          <ac:chgData name="Joelle Brehm" userId="a518f54c-6985-42c0-8041-2bb16a414839" providerId="ADAL" clId="{BE3A2103-5170-40FE-A99F-CB737D9F76BC}" dt="2023-10-02T21:11:11.445" v="20818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BE3A2103-5170-40FE-A99F-CB737D9F76BC}" dt="2023-10-02T21:11:11.444" v="20816"/>
          <ac:spMkLst>
            <pc:docMk/>
            <pc:sldMk cId="3795966898" sldId="267"/>
            <ac:spMk id="44" creationId="{40B65240-400F-5791-7F3E-FCB0C3838579}"/>
          </ac:spMkLst>
        </pc:spChg>
        <pc:spChg chg="add mod replST">
          <ac:chgData name="Joelle Brehm" userId="a518f54c-6985-42c0-8041-2bb16a414839" providerId="ADAL" clId="{BE3A2103-5170-40FE-A99F-CB737D9F76BC}" dt="2023-10-02T21:11:11.445" v="20819"/>
          <ac:spMkLst>
            <pc:docMk/>
            <pc:sldMk cId="3795966898" sldId="267"/>
            <ac:spMk id="46" creationId="{2B2E11F0-202F-7C08-CDCD-D9021CA2670F}"/>
          </ac:spMkLst>
        </pc:spChg>
        <pc:spChg chg="add del mod modVis">
          <ac:chgData name="Joelle Brehm" userId="a518f54c-6985-42c0-8041-2bb16a414839" providerId="ADAL" clId="{BE3A2103-5170-40FE-A99F-CB737D9F76BC}" dt="2023-10-02T21:10:38.218" v="19487"/>
          <ac:spMkLst>
            <pc:docMk/>
            <pc:sldMk cId="3795966898" sldId="267"/>
            <ac:spMk id="47" creationId="{B2A9436E-9EA5-3A08-D9FC-C33769DDD148}"/>
          </ac:spMkLst>
        </pc:spChg>
        <pc:spChg chg="mod">
          <ac:chgData name="Joelle Brehm" userId="a518f54c-6985-42c0-8041-2bb16a414839" providerId="ADAL" clId="{BE3A2103-5170-40FE-A99F-CB737D9F76BC}" dt="2023-10-02T21:11:11.457" v="20837"/>
          <ac:spMkLst>
            <pc:docMk/>
            <pc:sldMk cId="3795966898" sldId="267"/>
            <ac:spMk id="48" creationId="{E576B5C5-1657-F503-0E96-3114EE7E1750}"/>
          </ac:spMkLst>
        </pc:spChg>
        <pc:spChg chg="add del mod ord replST">
          <ac:chgData name="Joelle Brehm" userId="a518f54c-6985-42c0-8041-2bb16a414839" providerId="ADAL" clId="{BE3A2103-5170-40FE-A99F-CB737D9F76BC}" dt="2023-10-02T21:11:05.066" v="20451"/>
          <ac:spMkLst>
            <pc:docMk/>
            <pc:sldMk cId="3795966898" sldId="267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10:39.221" v="19700"/>
          <ac:spMkLst>
            <pc:docMk/>
            <pc:sldMk cId="3795966898" sldId="267"/>
            <ac:spMk id="51" creationId="{79292E4A-789A-8696-9A87-440DA0E1C589}"/>
          </ac:spMkLst>
        </pc:spChg>
        <pc:spChg chg="add del mod modVis">
          <ac:chgData name="Joelle Brehm" userId="a518f54c-6985-42c0-8041-2bb16a414839" providerId="ADAL" clId="{BE3A2103-5170-40FE-A99F-CB737D9F76BC}" dt="2023-10-02T21:10:41.357" v="20020"/>
          <ac:spMkLst>
            <pc:docMk/>
            <pc:sldMk cId="3795966898" sldId="267"/>
            <ac:spMk id="53" creationId="{934E9CB3-062B-4A08-1BF2-D89146F49B21}"/>
          </ac:spMkLst>
        </pc:spChg>
        <pc:spChg chg="add del mod ord replST">
          <ac:chgData name="Joelle Brehm" userId="a518f54c-6985-42c0-8041-2bb16a414839" providerId="ADAL" clId="{BE3A2103-5170-40FE-A99F-CB737D9F76BC}" dt="2023-10-02T21:11:11.375" v="20767"/>
          <ac:spMkLst>
            <pc:docMk/>
            <pc:sldMk cId="3795966898" sldId="267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10:55.047" v="20202"/>
          <ac:spMkLst>
            <pc:docMk/>
            <pc:sldMk cId="3795966898" sldId="267"/>
            <ac:spMk id="57" creationId="{47D945D4-9A67-2DEF-48FD-D4399579ACBE}"/>
          </ac:spMkLst>
        </pc:spChg>
        <pc:spChg chg="add del mod modVis">
          <ac:chgData name="Joelle Brehm" userId="a518f54c-6985-42c0-8041-2bb16a414839" providerId="ADAL" clId="{BE3A2103-5170-40FE-A99F-CB737D9F76BC}" dt="2023-10-02T21:11:02.013" v="20374"/>
          <ac:spMkLst>
            <pc:docMk/>
            <pc:sldMk cId="3795966898" sldId="267"/>
            <ac:spMk id="60" creationId="{AB7957F2-5EB8-A941-87DE-64492077FB9B}"/>
          </ac:spMkLst>
        </pc:spChg>
        <pc:spChg chg="add del mod modVis">
          <ac:chgData name="Joelle Brehm" userId="a518f54c-6985-42c0-8041-2bb16a414839" providerId="ADAL" clId="{BE3A2103-5170-40FE-A99F-CB737D9F76BC}" dt="2023-10-02T21:11:05.110" v="20534"/>
          <ac:spMkLst>
            <pc:docMk/>
            <pc:sldMk cId="3795966898" sldId="267"/>
            <ac:spMk id="62" creationId="{A232ABE9-11A0-683B-2126-46821CDE6CA0}"/>
          </ac:spMkLst>
        </pc:spChg>
        <pc:spChg chg="add del mod modVis">
          <ac:chgData name="Joelle Brehm" userId="a518f54c-6985-42c0-8041-2bb16a414839" providerId="ADAL" clId="{BE3A2103-5170-40FE-A99F-CB737D9F76BC}" dt="2023-10-02T21:11:08.139" v="20691"/>
          <ac:spMkLst>
            <pc:docMk/>
            <pc:sldMk cId="3795966898" sldId="267"/>
            <ac:spMk id="64" creationId="{62D067CE-795A-E276-794A-D55ACF3FFD97}"/>
          </ac:spMkLst>
        </pc:spChg>
        <pc:spChg chg="add del mod modVis">
          <ac:chgData name="Joelle Brehm" userId="a518f54c-6985-42c0-8041-2bb16a414839" providerId="ADAL" clId="{BE3A2103-5170-40FE-A99F-CB737D9F76BC}" dt="2023-10-02T21:11:11.464" v="20848"/>
          <ac:spMkLst>
            <pc:docMk/>
            <pc:sldMk cId="3795966898" sldId="267"/>
            <ac:spMk id="66" creationId="{A0147D98-AE42-283F-ADE1-F3B5418C79B2}"/>
          </ac:spMkLst>
        </pc:spChg>
        <pc:spChg chg="mod ord">
          <ac:chgData name="Joelle Brehm" userId="a518f54c-6985-42c0-8041-2bb16a414839" providerId="ADAL" clId="{BE3A2103-5170-40FE-A99F-CB737D9F76BC}" dt="2023-10-02T21:11:11.448" v="20821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11:11.449" v="20823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11:11.450" v="20825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11:11.460" v="20842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BE3A2103-5170-40FE-A99F-CB737D9F76BC}" dt="2023-10-02T21:11:11.451" v="20827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11:11.453" v="20829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11:11.454" v="20831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11:11.456" v="20835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1:11.457" v="20836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1:11.458" v="20838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11:11.456" v="20834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11:11.488" v="20850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1:11.423" v="20783"/>
          <ac:graphicFrameMkLst>
            <pc:docMk/>
            <pc:sldMk cId="3795966898" sldId="267"/>
            <ac:graphicFrameMk id="8" creationId="{72D9773E-ACE3-0D59-B2A8-0536A80FA1DB}"/>
          </ac:graphicFrameMkLst>
        </pc:graphicFrameChg>
        <pc:graphicFrameChg chg="del">
          <ac:chgData name="Joelle Brehm" userId="a518f54c-6985-42c0-8041-2bb16a414839" providerId="ADAL" clId="{BE3A2103-5170-40FE-A99F-CB737D9F76BC}" dt="2023-10-02T21:10:03.082" v="18372"/>
          <ac:graphicFrameMkLst>
            <pc:docMk/>
            <pc:sldMk cId="3795966898" sldId="267"/>
            <ac:graphicFrameMk id="9" creationId="{2553B2D3-FE3A-F9B9-CF27-FF773D7CF48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1:11.455" v="20833"/>
          <ac:graphicFrameMkLst>
            <pc:docMk/>
            <pc:sldMk cId="3795966898" sldId="267"/>
            <ac:graphicFrameMk id="45" creationId="{8821FA0D-06F9-B7F6-3491-B9778159298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0:39.080" v="19596"/>
          <ac:graphicFrameMkLst>
            <pc:docMk/>
            <pc:sldMk cId="3795966898" sldId="267"/>
            <ac:graphicFrameMk id="50" creationId="{6657AB3B-0BA0-E1DB-4A00-440C0768691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0:41.231" v="19915"/>
          <ac:graphicFrameMkLst>
            <pc:docMk/>
            <pc:sldMk cId="3795966898" sldId="267"/>
            <ac:graphicFrameMk id="52" creationId="{73571B02-C901-2FB4-B92F-3F8652FE7F53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0:31.587" v="18725"/>
          <ac:graphicFrameMkLst>
            <pc:docMk/>
            <pc:sldMk cId="3795966898" sldId="267"/>
            <ac:graphicFrameMk id="55" creationId="{C5A8E46E-DCE4-136D-0561-21EE4261059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0:54.975" v="20119"/>
          <ac:graphicFrameMkLst>
            <pc:docMk/>
            <pc:sldMk cId="3795966898" sldId="267"/>
            <ac:graphicFrameMk id="56" creationId="{3A6DD1E8-8AF8-896B-80CA-EA43C72507BF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0:38.131" v="19397"/>
          <ac:graphicFrameMkLst>
            <pc:docMk/>
            <pc:sldMk cId="3795966898" sldId="267"/>
            <ac:graphicFrameMk id="58" creationId="{9A270030-586F-273A-1166-928486ED51E4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1:01.968" v="20291"/>
          <ac:graphicFrameMkLst>
            <pc:docMk/>
            <pc:sldMk cId="3795966898" sldId="267"/>
            <ac:graphicFrameMk id="59" creationId="{718F372E-2EB7-C1B7-4BFF-D010B0907154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1:05.068" v="20453"/>
          <ac:graphicFrameMkLst>
            <pc:docMk/>
            <pc:sldMk cId="3795966898" sldId="267"/>
            <ac:graphicFrameMk id="61" creationId="{1E5F5028-305E-0138-FAC7-B53EFF38E02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1:08.093" v="20610"/>
          <ac:graphicFrameMkLst>
            <pc:docMk/>
            <pc:sldMk cId="3795966898" sldId="267"/>
            <ac:graphicFrameMk id="63" creationId="{D2E2D628-C832-641C-FC22-A29C5198C74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1:11.377" v="20769"/>
          <ac:graphicFrameMkLst>
            <pc:docMk/>
            <pc:sldMk cId="3795966898" sldId="267"/>
            <ac:graphicFrameMk id="65" creationId="{0A796972-2EC6-D6C5-5E06-86716AFB201D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1:11.439" v="20807"/>
          <ac:graphicFrameMkLst>
            <pc:docMk/>
            <pc:sldMk cId="3795966898" sldId="267"/>
            <ac:graphicFrameMk id="67" creationId="{3A0ED5BD-1602-DD2D-FC68-2846CA478AA6}"/>
          </ac:graphicFrameMkLst>
        </pc:graphicFrameChg>
        <pc:picChg chg="add mod ord">
          <ac:chgData name="Joelle Brehm" userId="a518f54c-6985-42c0-8041-2bb16a414839" providerId="ADAL" clId="{BE3A2103-5170-40FE-A99F-CB737D9F76BC}" dt="2023-10-02T21:11:11.420" v="20777"/>
          <ac:picMkLst>
            <pc:docMk/>
            <pc:sldMk cId="3795966898" sldId="267"/>
            <ac:picMk id="10" creationId="{499617B1-B7F1-55BE-5140-531D883F6430}"/>
          </ac:picMkLst>
        </pc:picChg>
        <pc:picChg chg="del mod ord">
          <ac:chgData name="Joelle Brehm" userId="a518f54c-6985-42c0-8041-2bb16a414839" providerId="ADAL" clId="{BE3A2103-5170-40FE-A99F-CB737D9F76BC}" dt="2023-10-02T21:10:24.397" v="18536" actId="478"/>
          <ac:picMkLst>
            <pc:docMk/>
            <pc:sldMk cId="3795966898" sldId="267"/>
            <ac:picMk id="41" creationId="{70ABA03E-D8E1-7E57-10EF-E27FE5799DD1}"/>
          </ac:picMkLst>
        </pc:picChg>
        <pc:picChg chg="mod ord">
          <ac:chgData name="Joelle Brehm" userId="a518f54c-6985-42c0-8041-2bb16a414839" providerId="ADAL" clId="{BE3A2103-5170-40FE-A99F-CB737D9F76BC}" dt="2023-10-02T21:11:11.459" v="20840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11:11.422" v="20781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12:19.062" v="22267"/>
        <pc:sldMkLst>
          <pc:docMk/>
          <pc:sldMk cId="622078465" sldId="269"/>
        </pc:sldMkLst>
        <pc:spChg chg="del">
          <ac:chgData name="Joelle Brehm" userId="a518f54c-6985-42c0-8041-2bb16a414839" providerId="ADAL" clId="{BE3A2103-5170-40FE-A99F-CB737D9F76BC}" dt="2023-10-02T21:11:28.489" v="20851" actId="478"/>
          <ac:spMkLst>
            <pc:docMk/>
            <pc:sldMk cId="622078465" sldId="269"/>
            <ac:spMk id="2" creationId="{DB82B442-251A-CD11-9BAB-9E07D63A441D}"/>
          </ac:spMkLst>
        </pc:spChg>
        <pc:spChg chg="mod ord">
          <ac:chgData name="Joelle Brehm" userId="a518f54c-6985-42c0-8041-2bb16a414839" providerId="ADAL" clId="{BE3A2103-5170-40FE-A99F-CB737D9F76BC}" dt="2023-10-02T21:12:19.032" v="22261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BE3A2103-5170-40FE-A99F-CB737D9F76BC}" dt="2023-10-02T21:11:40.578" v="21111"/>
          <ac:spMkLst>
            <pc:docMk/>
            <pc:sldMk cId="622078465" sldId="269"/>
            <ac:spMk id="5" creationId="{CAD2B551-EAEF-382C-A91D-C5EE26F834AE}"/>
          </ac:spMkLst>
        </pc:spChg>
        <pc:spChg chg="mod ord">
          <ac:chgData name="Joelle Brehm" userId="a518f54c-6985-42c0-8041-2bb16a414839" providerId="ADAL" clId="{BE3A2103-5170-40FE-A99F-CB737D9F76BC}" dt="2023-10-02T21:12:18.989" v="22196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12:19.007" v="22225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BE3A2103-5170-40FE-A99F-CB737D9F76BC}" dt="2023-10-02T21:12:18.995" v="22204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12:18.997" v="22208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12:18.997" v="22207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12:18.993" v="22203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12:18.996" v="22206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12:18.993" v="22202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12:18.996" v="22205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12:18.993" v="22201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12:18.997" v="22209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12:18.999" v="22210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12:18.999" v="22211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12:19" v="22212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12:19.001" v="22214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12:19.002" v="22215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12:19.003" v="22217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12:19.003" v="22216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12:19.004" v="22219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12:19.004" v="22218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12:19.005" v="22220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12:19.006" v="22222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12:19.011" v="22231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BE3A2103-5170-40FE-A99F-CB737D9F76BC}" dt="2023-10-02T21:12:19.013" v="22234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BE3A2103-5170-40FE-A99F-CB737D9F76BC}" dt="2023-10-02T21:12:19.012" v="22232"/>
          <ac:spMkLst>
            <pc:docMk/>
            <pc:sldMk cId="622078465" sldId="269"/>
            <ac:spMk id="34" creationId="{361A309D-582A-9EF2-AAA6-D0365E1E80AF}"/>
          </ac:spMkLst>
        </pc:spChg>
        <pc:spChg chg="add del mod modVis">
          <ac:chgData name="Joelle Brehm" userId="a518f54c-6985-42c0-8041-2bb16a414839" providerId="ADAL" clId="{BE3A2103-5170-40FE-A99F-CB737D9F76BC}" dt="2023-10-02T21:12:06.521" v="21431"/>
          <ac:spMkLst>
            <pc:docMk/>
            <pc:sldMk cId="622078465" sldId="269"/>
            <ac:spMk id="36" creationId="{BB7DAF5D-65EF-4255-0D4A-6EA53E5777AC}"/>
          </ac:spMkLst>
        </pc:spChg>
        <pc:spChg chg="mod">
          <ac:chgData name="Joelle Brehm" userId="a518f54c-6985-42c0-8041-2bb16a414839" providerId="ADAL" clId="{BE3A2103-5170-40FE-A99F-CB737D9F76BC}" dt="2023-10-02T21:12:19.014" v="22235"/>
          <ac:spMkLst>
            <pc:docMk/>
            <pc:sldMk cId="622078465" sldId="269"/>
            <ac:spMk id="37" creationId="{427BEB13-0488-F942-6529-D086649DCC24}"/>
          </ac:spMkLst>
        </pc:spChg>
        <pc:spChg chg="mod">
          <ac:chgData name="Joelle Brehm" userId="a518f54c-6985-42c0-8041-2bb16a414839" providerId="ADAL" clId="{BE3A2103-5170-40FE-A99F-CB737D9F76BC}" dt="2023-10-02T21:12:19.013" v="22233"/>
          <ac:spMkLst>
            <pc:docMk/>
            <pc:sldMk cId="622078465" sldId="269"/>
            <ac:spMk id="38" creationId="{81A34C8B-3AB7-1E3C-EABE-00492913B3D2}"/>
          </ac:spMkLst>
        </pc:spChg>
        <pc:spChg chg="add mod replST">
          <ac:chgData name="Joelle Brehm" userId="a518f54c-6985-42c0-8041-2bb16a414839" providerId="ADAL" clId="{BE3A2103-5170-40FE-A99F-CB737D9F76BC}" dt="2023-10-02T21:12:19.015" v="22236"/>
          <ac:spMkLst>
            <pc:docMk/>
            <pc:sldMk cId="622078465" sldId="269"/>
            <ac:spMk id="40" creationId="{88D90EFE-E362-B516-8CB5-42E8A0F19B96}"/>
          </ac:spMkLst>
        </pc:spChg>
        <pc:spChg chg="add del mod modVis">
          <ac:chgData name="Joelle Brehm" userId="a518f54c-6985-42c0-8041-2bb16a414839" providerId="ADAL" clId="{BE3A2103-5170-40FE-A99F-CB737D9F76BC}" dt="2023-10-02T21:12:15.746" v="21857"/>
          <ac:spMkLst>
            <pc:docMk/>
            <pc:sldMk cId="622078465" sldId="269"/>
            <ac:spMk id="41" creationId="{4D35D88B-EF74-DAC9-BE3C-DF67ADDF2ACA}"/>
          </ac:spMkLst>
        </pc:spChg>
        <pc:spChg chg="add del mod modVis">
          <ac:chgData name="Joelle Brehm" userId="a518f54c-6985-42c0-8041-2bb16a414839" providerId="ADAL" clId="{BE3A2103-5170-40FE-A99F-CB737D9F76BC}" dt="2023-10-02T21:12:16.835" v="22067"/>
          <ac:spMkLst>
            <pc:docMk/>
            <pc:sldMk cId="622078465" sldId="269"/>
            <ac:spMk id="43" creationId="{C403E8AB-CF7D-52AB-1AAB-D8E43EB9B17A}"/>
          </ac:spMkLst>
        </pc:spChg>
        <pc:spChg chg="add del mod modVis">
          <ac:chgData name="Joelle Brehm" userId="a518f54c-6985-42c0-8041-2bb16a414839" providerId="ADAL" clId="{BE3A2103-5170-40FE-A99F-CB737D9F76BC}" dt="2023-10-02T21:12:19.036" v="22265"/>
          <ac:spMkLst>
            <pc:docMk/>
            <pc:sldMk cId="622078465" sldId="269"/>
            <ac:spMk id="45" creationId="{A1AFBC27-0D11-AA25-4CE8-7612DEDA24AB}"/>
          </ac:spMkLst>
        </pc:spChg>
        <pc:spChg chg="mod ord">
          <ac:chgData name="Joelle Brehm" userId="a518f54c-6985-42c0-8041-2bb16a414839" providerId="ADAL" clId="{BE3A2103-5170-40FE-A99F-CB737D9F76BC}" dt="2023-10-02T21:12:19.031" v="22259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BE3A2103-5170-40FE-A99F-CB737D9F76BC}" dt="2023-10-02T21:12:19.016" v="22238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12:19.017" v="22240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BE3A2103-5170-40FE-A99F-CB737D9F76BC}" dt="2023-10-02T21:12:18.760" v="22070"/>
          <ac:spMkLst>
            <pc:docMk/>
            <pc:sldMk cId="622078465" sldId="269"/>
            <ac:spMk id="8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09" v="22226"/>
          <ac:spMkLst>
            <pc:docMk/>
            <pc:sldMk cId="622078465" sldId="269"/>
            <ac:spMk id="8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09" v="22227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10" v="22229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11" v="22230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09" v="22228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12:19.019" v="22242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12:19.021" v="22244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12:19.022" v="22246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12:19.024" v="22248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12:19.027" v="22253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28" v="22254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27" v="22252"/>
          <ac:spMkLst>
            <pc:docMk/>
            <pc:sldMk cId="622078465" sldId="269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2:19.029" v="22255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12:19.026" v="22251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12:19.062" v="22267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2:18.992" v="22200"/>
          <ac:graphicFrameMkLst>
            <pc:docMk/>
            <pc:sldMk cId="622078465" sldId="269"/>
            <ac:graphicFrameMk id="8" creationId="{C8DDE316-4C2D-93B4-36EC-9BE212A4C0A3}"/>
          </ac:graphicFrameMkLst>
        </pc:graphicFrameChg>
        <pc:graphicFrameChg chg="del">
          <ac:chgData name="Joelle Brehm" userId="a518f54c-6985-42c0-8041-2bb16a414839" providerId="ADAL" clId="{BE3A2103-5170-40FE-A99F-CB737D9F76BC}" dt="2023-10-02T21:11:40.488" v="21028"/>
          <ac:graphicFrameMkLst>
            <pc:docMk/>
            <pc:sldMk cId="622078465" sldId="269"/>
            <ac:graphicFrameMk id="9" creationId="{538C82C3-02EB-21CB-9E49-16F736B5C0C2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2:19.025" v="22250"/>
          <ac:graphicFrameMkLst>
            <pc:docMk/>
            <pc:sldMk cId="622078465" sldId="269"/>
            <ac:graphicFrameMk id="39" creationId="{69A441A0-5B37-440B-2809-4CADC9F235E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2:16.699" v="21965"/>
          <ac:graphicFrameMkLst>
            <pc:docMk/>
            <pc:sldMk cId="622078465" sldId="269"/>
            <ac:graphicFrameMk id="42" creationId="{716AAB1E-B0FA-9E57-A2CB-9BA006EEBDF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2:18.942" v="22186"/>
          <ac:graphicFrameMkLst>
            <pc:docMk/>
            <pc:sldMk cId="622078465" sldId="269"/>
            <ac:graphicFrameMk id="44" creationId="{6516AF66-D843-9406-7FC0-67233A01440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2:19.007" v="22224"/>
          <ac:graphicFrameMkLst>
            <pc:docMk/>
            <pc:sldMk cId="622078465" sldId="269"/>
            <ac:graphicFrameMk id="46" creationId="{63D8D318-BA49-7D5C-5C76-94218AB9DF25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2:15.624" v="21769"/>
          <ac:graphicFrameMkLst>
            <pc:docMk/>
            <pc:sldMk cId="622078465" sldId="269"/>
            <ac:graphicFrameMk id="47" creationId="{70166349-6800-06A0-F1BC-9556E443D971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2:06.407" v="21352"/>
          <ac:graphicFrameMkLst>
            <pc:docMk/>
            <pc:sldMk cId="622078465" sldId="269"/>
            <ac:graphicFrameMk id="49" creationId="{7C7F5B47-D865-A58F-B962-D03565E34CD7}"/>
          </ac:graphicFrameMkLst>
        </pc:graphicFrameChg>
        <pc:picChg chg="add mod ord">
          <ac:chgData name="Joelle Brehm" userId="a518f54c-6985-42c0-8041-2bb16a414839" providerId="ADAL" clId="{BE3A2103-5170-40FE-A99F-CB737D9F76BC}" dt="2023-10-02T21:12:18.989" v="22194"/>
          <ac:picMkLst>
            <pc:docMk/>
            <pc:sldMk cId="622078465" sldId="269"/>
            <ac:picMk id="31" creationId="{2DAD4B82-034C-23D0-B73B-6EB0DFF9BBC8}"/>
          </ac:picMkLst>
        </pc:picChg>
        <pc:picChg chg="del mod ord">
          <ac:chgData name="Joelle Brehm" userId="a518f54c-6985-42c0-8041-2bb16a414839" providerId="ADAL" clId="{BE3A2103-5170-40FE-A99F-CB737D9F76BC}" dt="2023-10-02T21:11:58.141" v="21204" actId="478"/>
          <ac:picMkLst>
            <pc:docMk/>
            <pc:sldMk cId="622078465" sldId="269"/>
            <ac:picMk id="35" creationId="{71204811-7C68-4A99-4E10-4B87B82864BB}"/>
          </ac:picMkLst>
        </pc:picChg>
        <pc:picChg chg="mod ord">
          <ac:chgData name="Joelle Brehm" userId="a518f54c-6985-42c0-8041-2bb16a414839" providerId="ADAL" clId="{BE3A2103-5170-40FE-A99F-CB737D9F76BC}" dt="2023-10-02T21:12:19.030" v="22257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12:18.991" v="22198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32:48.760" v="41289"/>
        <pc:sldMkLst>
          <pc:docMk/>
          <pc:sldMk cId="1002023985" sldId="270"/>
        </pc:sldMkLst>
        <pc:spChg chg="mod ord">
          <ac:chgData name="Joelle Brehm" userId="a518f54c-6985-42c0-8041-2bb16a414839" providerId="ADAL" clId="{BE3A2103-5170-40FE-A99F-CB737D9F76BC}" dt="2023-10-02T21:32:48.734" v="41283"/>
          <ac:spMkLst>
            <pc:docMk/>
            <pc:sldMk cId="1002023985" sldId="270"/>
            <ac:spMk id="2" creationId="{2799481D-3313-41C1-9238-7B9AB0AAF857}"/>
          </ac:spMkLst>
        </pc:spChg>
        <pc:spChg chg="del">
          <ac:chgData name="Joelle Brehm" userId="a518f54c-6985-42c0-8041-2bb16a414839" providerId="ADAL" clId="{BE3A2103-5170-40FE-A99F-CB737D9F76BC}" dt="2023-10-02T21:29:25.386" v="39049" actId="478"/>
          <ac:spMkLst>
            <pc:docMk/>
            <pc:sldMk cId="1002023985" sldId="270"/>
            <ac:spMk id="3" creationId="{38A87249-06FB-AE97-691E-C1F655E62CD2}"/>
          </ac:spMkLst>
        </pc:spChg>
        <pc:spChg chg="add del mod modVis">
          <ac:chgData name="Joelle Brehm" userId="a518f54c-6985-42c0-8041-2bb16a414839" providerId="ADAL" clId="{BE3A2103-5170-40FE-A99F-CB737D9F76BC}" dt="2023-10-02T21:29:45.106" v="39328"/>
          <ac:spMkLst>
            <pc:docMk/>
            <pc:sldMk cId="1002023985" sldId="270"/>
            <ac:spMk id="5" creationId="{4B9F7042-5B8E-4563-40BB-B36454FDCC1E}"/>
          </ac:spMkLst>
        </pc:spChg>
        <pc:spChg chg="mod ord">
          <ac:chgData name="Joelle Brehm" userId="a518f54c-6985-42c0-8041-2bb16a414839" providerId="ADAL" clId="{BE3A2103-5170-40FE-A99F-CB737D9F76BC}" dt="2023-10-02T21:32:48.668" v="41195"/>
          <ac:spMkLst>
            <pc:docMk/>
            <pc:sldMk cId="1002023985" sldId="270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32:48.716" v="41255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BE3A2103-5170-40FE-A99F-CB737D9F76BC}" dt="2023-10-02T21:32:48.673" v="41205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32:48.673" v="41204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32:48.676" v="41206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32:48.673" v="41202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32:48.673" v="41203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32:48.673" v="41201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32:48.671" v="41200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32:48.677" v="41207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32:48.677" v="41208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32:48.677" v="41209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32:48.677" v="41210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32:48.677" v="41211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32:48.677" v="41213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32:48.681" v="41214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32:48.683" v="41216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32:48.683" v="41215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32:48.689" v="41221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32:48.688" v="41220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32:48.686" v="41219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32:48.690" v="41224"/>
          <ac:spMkLst>
            <pc:docMk/>
            <pc:sldMk cId="1002023985" sldId="270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2T21:32:33.776" v="39683"/>
          <ac:spMkLst>
            <pc:docMk/>
            <pc:sldMk cId="1002023985" sldId="270"/>
            <ac:spMk id="32" creationId="{7F9366F5-4FC7-4A99-6A3F-3BE7434B1CA1}"/>
          </ac:spMkLst>
        </pc:spChg>
        <pc:spChg chg="mod">
          <ac:chgData name="Joelle Brehm" userId="a518f54c-6985-42c0-8041-2bb16a414839" providerId="ADAL" clId="{BE3A2103-5170-40FE-A99F-CB737D9F76BC}" dt="2023-10-02T21:32:48.707" v="41243"/>
          <ac:spMkLst>
            <pc:docMk/>
            <pc:sldMk cId="1002023985" sldId="270"/>
            <ac:spMk id="33" creationId="{F76D64DC-4154-E4CF-EF48-9A68CB6317E4}"/>
          </ac:spMkLst>
        </pc:spChg>
        <pc:spChg chg="del mod">
          <ac:chgData name="Joelle Brehm" userId="a518f54c-6985-42c0-8041-2bb16a414839" providerId="ADAL" clId="{BE3A2103-5170-40FE-A99F-CB737D9F76BC}" dt="2023-10-02T21:32:44.187" v="40310"/>
          <ac:spMkLst>
            <pc:docMk/>
            <pc:sldMk cId="1002023985" sldId="270"/>
            <ac:spMk id="34" creationId="{9648527B-C461-9A7E-67C5-5AEE8C3C47B5}"/>
          </ac:spMkLst>
        </pc:spChg>
        <pc:spChg chg="del mod ord">
          <ac:chgData name="Joelle Brehm" userId="a518f54c-6985-42c0-8041-2bb16a414839" providerId="ADAL" clId="{BE3A2103-5170-40FE-A99F-CB737D9F76BC}" dt="2023-10-02T21:32:44.179" v="40309"/>
          <ac:spMkLst>
            <pc:docMk/>
            <pc:sldMk cId="1002023985" sldId="270"/>
            <ac:spMk id="35" creationId="{3A6B1803-B9A1-DDD4-5DB0-ABDF3CF4E32A}"/>
          </ac:spMkLst>
        </pc:spChg>
        <pc:spChg chg="mod">
          <ac:chgData name="Joelle Brehm" userId="a518f54c-6985-42c0-8041-2bb16a414839" providerId="ADAL" clId="{BE3A2103-5170-40FE-A99F-CB737D9F76BC}" dt="2023-10-02T21:32:48.704" v="41240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BE3A2103-5170-40FE-A99F-CB737D9F76BC}" dt="2023-10-02T21:32:48.685" v="41218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BE3A2103-5170-40FE-A99F-CB737D9F76BC}" dt="2023-10-02T21:32:48.704" v="41241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BE3A2103-5170-40FE-A99F-CB737D9F76BC}" dt="2023-10-02T21:32:48.703" v="41239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BE3A2103-5170-40FE-A99F-CB737D9F76BC}" dt="2023-10-02T21:32:48.708" v="41244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BE3A2103-5170-40FE-A99F-CB737D9F76BC}" dt="2023-10-02T21:32:48.701" v="41236"/>
          <ac:spMkLst>
            <pc:docMk/>
            <pc:sldMk cId="1002023985" sldId="270"/>
            <ac:spMk id="41" creationId="{51DF5FF8-D483-FA48-6208-139CC6F687D3}"/>
          </ac:spMkLst>
        </pc:spChg>
        <pc:spChg chg="mod ord">
          <ac:chgData name="Joelle Brehm" userId="a518f54c-6985-42c0-8041-2bb16a414839" providerId="ADAL" clId="{BE3A2103-5170-40FE-A99F-CB737D9F76BC}" dt="2023-10-02T21:32:48.702" v="41237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BE3A2103-5170-40FE-A99F-CB737D9F76BC}" dt="2023-10-02T21:32:48.715" v="41254"/>
          <ac:spMkLst>
            <pc:docMk/>
            <pc:sldMk cId="1002023985" sldId="270"/>
            <ac:spMk id="43" creationId="{29357330-070C-17EC-0CAB-CAD445419341}"/>
          </ac:spMkLst>
        </pc:spChg>
        <pc:spChg chg="mod">
          <ac:chgData name="Joelle Brehm" userId="a518f54c-6985-42c0-8041-2bb16a414839" providerId="ADAL" clId="{BE3A2103-5170-40FE-A99F-CB737D9F76BC}" dt="2023-10-02T21:32:48.709" v="41246"/>
          <ac:spMkLst>
            <pc:docMk/>
            <pc:sldMk cId="1002023985" sldId="270"/>
            <ac:spMk id="44" creationId="{D21335E5-EBC4-9286-DD2D-7735A09D41EB}"/>
          </ac:spMkLst>
        </pc:spChg>
        <pc:spChg chg="mod">
          <ac:chgData name="Joelle Brehm" userId="a518f54c-6985-42c0-8041-2bb16a414839" providerId="ADAL" clId="{BE3A2103-5170-40FE-A99F-CB737D9F76BC}" dt="2023-10-02T21:32:48.712" v="41250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BE3A2103-5170-40FE-A99F-CB737D9F76BC}" dt="2023-10-02T21:32:48.713" v="41251"/>
          <ac:spMkLst>
            <pc:docMk/>
            <pc:sldMk cId="1002023985" sldId="270"/>
            <ac:spMk id="47" creationId="{25C83EAD-5CCA-7A70-4E4D-DAF180D36579}"/>
          </ac:spMkLst>
        </pc:spChg>
        <pc:spChg chg="mod">
          <ac:chgData name="Joelle Brehm" userId="a518f54c-6985-42c0-8041-2bb16a414839" providerId="ADAL" clId="{BE3A2103-5170-40FE-A99F-CB737D9F76BC}" dt="2023-10-02T21:32:48.712" v="41249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BE3A2103-5170-40FE-A99F-CB737D9F76BC}" dt="2023-10-02T21:32:48.706" v="41242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BE3A2103-5170-40FE-A99F-CB737D9F76BC}" dt="2023-10-02T21:32:48.701" v="41235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BE3A2103-5170-40FE-A99F-CB737D9F76BC}" dt="2023-10-02T21:32:48.717" v="41257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BE3A2103-5170-40FE-A99F-CB737D9F76BC}" dt="2023-10-02T21:32:48.717" v="41258"/>
          <ac:spMkLst>
            <pc:docMk/>
            <pc:sldMk cId="1002023985" sldId="270"/>
            <ac:spMk id="52" creationId="{CDAA8CD8-B796-5FFD-8D34-2773F7AB7F1D}"/>
          </ac:spMkLst>
        </pc:spChg>
        <pc:spChg chg="add mod replST">
          <ac:chgData name="Joelle Brehm" userId="a518f54c-6985-42c0-8041-2bb16a414839" providerId="ADAL" clId="{BE3A2103-5170-40FE-A99F-CB737D9F76BC}" dt="2023-10-02T21:32:48.714" v="41253"/>
          <ac:spMkLst>
            <pc:docMk/>
            <pc:sldMk cId="1002023985" sldId="270"/>
            <ac:spMk id="54" creationId="{683FE8E3-E616-6CE3-B656-AF4430FB127E}"/>
          </ac:spMkLst>
        </pc:spChg>
        <pc:spChg chg="mod">
          <ac:chgData name="Joelle Brehm" userId="a518f54c-6985-42c0-8041-2bb16a414839" providerId="ADAL" clId="{BE3A2103-5170-40FE-A99F-CB737D9F76BC}" dt="2023-10-02T21:32:48.708" v="41245"/>
          <ac:spMkLst>
            <pc:docMk/>
            <pc:sldMk cId="1002023985" sldId="270"/>
            <ac:spMk id="55" creationId="{E5519A9A-9BE6-DCEA-87DD-CC3F6748DE83}"/>
          </ac:spMkLst>
        </pc:spChg>
        <pc:spChg chg="mod">
          <ac:chgData name="Joelle Brehm" userId="a518f54c-6985-42c0-8041-2bb16a414839" providerId="ADAL" clId="{BE3A2103-5170-40FE-A99F-CB737D9F76BC}" dt="2023-10-02T21:32:48.717" v="41256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BE3A2103-5170-40FE-A99F-CB737D9F76BC}" dt="2023-10-02T21:32:48.710" v="41248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BE3A2103-5170-40FE-A99F-CB737D9F76BC}" dt="2023-10-02T21:32:48.710" v="41247"/>
          <ac:spMkLst>
            <pc:docMk/>
            <pc:sldMk cId="1002023985" sldId="270"/>
            <ac:spMk id="59" creationId="{15DED5C0-8834-6FCE-242E-76495D4381EE}"/>
          </ac:spMkLst>
        </pc:spChg>
        <pc:spChg chg="mod">
          <ac:chgData name="Joelle Brehm" userId="a518f54c-6985-42c0-8041-2bb16a414839" providerId="ADAL" clId="{BE3A2103-5170-40FE-A99F-CB737D9F76BC}" dt="2023-10-02T21:32:48.714" v="41252"/>
          <ac:spMkLst>
            <pc:docMk/>
            <pc:sldMk cId="1002023985" sldId="270"/>
            <ac:spMk id="60" creationId="{0C74CE89-8513-C13D-30DC-F81C311B717E}"/>
          </ac:spMkLst>
        </pc:spChg>
        <pc:spChg chg="add del mod modVis">
          <ac:chgData name="Joelle Brehm" userId="a518f54c-6985-42c0-8041-2bb16a414839" providerId="ADAL" clId="{BE3A2103-5170-40FE-A99F-CB737D9F76BC}" dt="2023-10-02T21:32:39.800" v="40063"/>
          <ac:spMkLst>
            <pc:docMk/>
            <pc:sldMk cId="1002023985" sldId="270"/>
            <ac:spMk id="61" creationId="{784932BF-49BB-5402-1C4E-D448EEE63495}"/>
          </ac:spMkLst>
        </pc:spChg>
        <pc:spChg chg="mod">
          <ac:chgData name="Joelle Brehm" userId="a518f54c-6985-42c0-8041-2bb16a414839" providerId="ADAL" clId="{BE3A2103-5170-40FE-A99F-CB737D9F76BC}" dt="2023-10-02T21:32:48.697" v="41230"/>
          <ac:spMkLst>
            <pc:docMk/>
            <pc:sldMk cId="1002023985" sldId="270"/>
            <ac:spMk id="62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2:48.703" v="41238"/>
          <ac:spMkLst>
            <pc:docMk/>
            <pc:sldMk cId="1002023985" sldId="270"/>
            <ac:spMk id="64" creationId="{41EAF63A-0EB0-1655-3104-FBA53C392892}"/>
          </ac:spMkLst>
        </pc:spChg>
        <pc:spChg chg="add del mod modVis">
          <ac:chgData name="Joelle Brehm" userId="a518f54c-6985-42c0-8041-2bb16a414839" providerId="ADAL" clId="{BE3A2103-5170-40FE-A99F-CB737D9F76BC}" dt="2023-10-02T21:32:42.018" v="40305"/>
          <ac:spMkLst>
            <pc:docMk/>
            <pc:sldMk cId="1002023985" sldId="270"/>
            <ac:spMk id="65" creationId="{291B7CB8-0237-8F7B-09C4-0DE234CD14BD}"/>
          </ac:spMkLst>
        </pc:spChg>
        <pc:spChg chg="add del mod modVis">
          <ac:chgData name="Joelle Brehm" userId="a518f54c-6985-42c0-8041-2bb16a414839" providerId="ADAL" clId="{BE3A2103-5170-40FE-A99F-CB737D9F76BC}" dt="2023-10-02T21:32:45.889" v="41081"/>
          <ac:spMkLst>
            <pc:docMk/>
            <pc:sldMk cId="1002023985" sldId="270"/>
            <ac:spMk id="67" creationId="{A9B76207-1722-AD8F-5DCE-309C264EBBAC}"/>
          </ac:spMkLst>
        </pc:spChg>
        <pc:spChg chg="add mod replST">
          <ac:chgData name="Joelle Brehm" userId="a518f54c-6985-42c0-8041-2bb16a414839" providerId="ADAL" clId="{BE3A2103-5170-40FE-A99F-CB737D9F76BC}" dt="2023-10-02T21:32:48.697" v="41231"/>
          <ac:spMkLst>
            <pc:docMk/>
            <pc:sldMk cId="1002023985" sldId="270"/>
            <ac:spMk id="68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2:48.699" v="41232"/>
          <ac:spMkLst>
            <pc:docMk/>
            <pc:sldMk cId="1002023985" sldId="270"/>
            <ac:spMk id="69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2:48.690" v="41227"/>
          <ac:spMkLst>
            <pc:docMk/>
            <pc:sldMk cId="1002023985" sldId="270"/>
            <ac:spMk id="70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2:48.699" v="41233"/>
          <ac:spMkLst>
            <pc:docMk/>
            <pc:sldMk cId="1002023985" sldId="270"/>
            <ac:spMk id="71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2:48.700" v="41234"/>
          <ac:spMkLst>
            <pc:docMk/>
            <pc:sldMk cId="1002023985" sldId="270"/>
            <ac:spMk id="72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2:48.696" v="41229"/>
          <ac:spMkLst>
            <pc:docMk/>
            <pc:sldMk cId="1002023985" sldId="270"/>
            <ac:spMk id="7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2:48.690" v="41222"/>
          <ac:spMkLst>
            <pc:docMk/>
            <pc:sldMk cId="1002023985" sldId="270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BE3A2103-5170-40FE-A99F-CB737D9F76BC}" dt="2023-10-02T21:32:48.737" v="41287"/>
          <ac:spMkLst>
            <pc:docMk/>
            <pc:sldMk cId="1002023985" sldId="270"/>
            <ac:spMk id="76" creationId="{C544A540-ACE5-A7B8-3615-E335118AA63C}"/>
          </ac:spMkLst>
        </pc:spChg>
        <pc:spChg chg="del mod">
          <ac:chgData name="Joelle Brehm" userId="a518f54c-6985-42c0-8041-2bb16a414839" providerId="ADAL" clId="{BE3A2103-5170-40FE-A99F-CB737D9F76BC}" dt="2023-10-02T21:32:44.392" v="40372"/>
          <ac:spMkLst>
            <pc:docMk/>
            <pc:sldMk cId="1002023985" sldId="270"/>
            <ac:spMk id="77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32:48.719" v="41260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32:48.721" v="41262"/>
          <ac:spMkLst>
            <pc:docMk/>
            <pc:sldMk cId="1002023985" sldId="270"/>
            <ac:spMk id="79" creationId="{F1476AC4-694B-4D83-BFD8-8DCAA4BB1923}"/>
          </ac:spMkLst>
        </pc:spChg>
        <pc:spChg chg="del mod">
          <ac:chgData name="Joelle Brehm" userId="a518f54c-6985-42c0-8041-2bb16a414839" providerId="ADAL" clId="{BE3A2103-5170-40FE-A99F-CB737D9F76BC}" dt="2023-10-02T21:32:44.391" v="40371"/>
          <ac:spMkLst>
            <pc:docMk/>
            <pc:sldMk cId="1002023985" sldId="270"/>
            <ac:spMk id="80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32:48.722" v="41264"/>
          <ac:spMkLst>
            <pc:docMk/>
            <pc:sldMk cId="1002023985" sldId="270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32:48.723" v="41266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32:48.724" v="41268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32:48.724" v="41270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32:48.727" v="41273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2:48.728" v="41275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2:48.728" v="41276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2:48.728" v="41277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32:48.728" v="41274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BE3A2103-5170-40FE-A99F-CB737D9F76BC}" dt="2023-10-02T21:32:48.690" v="41228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BE3A2103-5170-40FE-A99F-CB737D9F76BC}" dt="2023-10-02T21:32:48.760" v="41289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32:48.671" v="41199"/>
          <ac:graphicFrameMkLst>
            <pc:docMk/>
            <pc:sldMk cId="1002023985" sldId="270"/>
            <ac:graphicFrameMk id="9" creationId="{4C6FCD69-9084-ECAA-1054-0DBE7348803F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32:48.727" v="41272"/>
          <ac:graphicFrameMkLst>
            <pc:docMk/>
            <pc:sldMk cId="1002023985" sldId="270"/>
            <ac:graphicFrameMk id="45" creationId="{DDB87E63-E413-1EF9-E1AE-5CC542DF7976}"/>
          </ac:graphicFrameMkLst>
        </pc:graphicFrameChg>
        <pc:graphicFrameChg chg="del">
          <ac:chgData name="Joelle Brehm" userId="a518f54c-6985-42c0-8041-2bb16a414839" providerId="ADAL" clId="{BE3A2103-5170-40FE-A99F-CB737D9F76BC}" dt="2023-10-02T21:29:44.998" v="39223"/>
          <ac:graphicFrameMkLst>
            <pc:docMk/>
            <pc:sldMk cId="1002023985" sldId="270"/>
            <ac:graphicFrameMk id="53" creationId="{4B3E7A25-FF02-D191-20B2-ABAAA90FF9A5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2:41.901" v="40203"/>
          <ac:graphicFrameMkLst>
            <pc:docMk/>
            <pc:sldMk cId="1002023985" sldId="270"/>
            <ac:graphicFrameMk id="63" creationId="{01C921B6-F3C9-909F-7B8E-48BCA429973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2:45.772" v="40978"/>
          <ac:graphicFrameMkLst>
            <pc:docMk/>
            <pc:sldMk cId="1002023985" sldId="270"/>
            <ac:graphicFrameMk id="66" creationId="{C8D6BB23-FFDD-4BAE-E243-4BBFCB3BA09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2:48.600" v="41185"/>
          <ac:graphicFrameMkLst>
            <pc:docMk/>
            <pc:sldMk cId="1002023985" sldId="270"/>
            <ac:graphicFrameMk id="75" creationId="{0FEF979F-93EB-E69A-492A-9C5ACE04A39E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32:48.690" v="41226"/>
          <ac:graphicFrameMkLst>
            <pc:docMk/>
            <pc:sldMk cId="1002023985" sldId="270"/>
            <ac:graphicFrameMk id="81" creationId="{90FA4388-1C76-25B8-0C95-9E4E5BC3D8CD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32:33.700" v="39584"/>
          <ac:graphicFrameMkLst>
            <pc:docMk/>
            <pc:sldMk cId="1002023985" sldId="270"/>
            <ac:graphicFrameMk id="83" creationId="{787AD111-E5E4-B82F-D6FB-EACF4180C366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32:39.691" v="39962"/>
          <ac:graphicFrameMkLst>
            <pc:docMk/>
            <pc:sldMk cId="1002023985" sldId="270"/>
            <ac:graphicFrameMk id="91" creationId="{BF883A49-432F-8783-5A5B-1DA9F382EC57}"/>
          </ac:graphicFrameMkLst>
        </pc:graphicFrameChg>
        <pc:picChg chg="del mod ord">
          <ac:chgData name="Joelle Brehm" userId="a518f54c-6985-42c0-8041-2bb16a414839" providerId="ADAL" clId="{BE3A2103-5170-40FE-A99F-CB737D9F76BC}" dt="2023-10-02T21:31:16.289" v="39435" actId="478"/>
          <ac:picMkLst>
            <pc:docMk/>
            <pc:sldMk cId="1002023985" sldId="270"/>
            <ac:picMk id="8" creationId="{73A21DB3-6E2A-C5E2-D77C-F667A483F8A3}"/>
          </ac:picMkLst>
        </pc:picChg>
        <pc:picChg chg="add mod ord">
          <ac:chgData name="Joelle Brehm" userId="a518f54c-6985-42c0-8041-2bb16a414839" providerId="ADAL" clId="{BE3A2103-5170-40FE-A99F-CB737D9F76BC}" dt="2023-10-02T21:32:48.666" v="41193"/>
          <ac:picMkLst>
            <pc:docMk/>
            <pc:sldMk cId="1002023985" sldId="270"/>
            <ac:picMk id="31" creationId="{75A18656-958F-F3DD-D683-EBEA8954CBBE}"/>
          </ac:picMkLst>
        </pc:picChg>
        <pc:picChg chg="mod ord">
          <ac:chgData name="Joelle Brehm" userId="a518f54c-6985-42c0-8041-2bb16a414839" providerId="ADAL" clId="{BE3A2103-5170-40FE-A99F-CB737D9F76BC}" dt="2023-10-02T21:32:48.733" v="41281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BE3A2103-5170-40FE-A99F-CB737D9F76BC}" dt="2023-10-02T21:32:48.728" v="41279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32:48.670" v="41197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13:49.464" v="24752"/>
        <pc:sldMkLst>
          <pc:docMk/>
          <pc:sldMk cId="2815334483" sldId="271"/>
        </pc:sldMkLst>
        <pc:spChg chg="del mod ord">
          <ac:chgData name="Joelle Brehm" userId="a518f54c-6985-42c0-8041-2bb16a414839" providerId="ADAL" clId="{BE3A2103-5170-40FE-A99F-CB737D9F76BC}" dt="2023-10-02T21:13:07.875" v="22628" actId="478"/>
          <ac:spMkLst>
            <pc:docMk/>
            <pc:sldMk cId="2815334483" sldId="271"/>
            <ac:spMk id="2" creationId="{1F1EF93A-ACD7-DD58-E7D1-FCEAE52E1BB6}"/>
          </ac:spMkLst>
        </pc:spChg>
        <pc:spChg chg="mod ord">
          <ac:chgData name="Joelle Brehm" userId="a518f54c-6985-42c0-8041-2bb16a414839" providerId="ADAL" clId="{BE3A2103-5170-40FE-A99F-CB737D9F76BC}" dt="2023-10-02T21:13:49.449" v="24746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BE3A2103-5170-40FE-A99F-CB737D9F76BC}" dt="2023-10-02T21:12:42.959" v="22537"/>
          <ac:spMkLst>
            <pc:docMk/>
            <pc:sldMk cId="2815334483" sldId="271"/>
            <ac:spMk id="5" creationId="{49681EE6-FDDA-AB65-0F62-56B30C9ECA3E}"/>
          </ac:spMkLst>
        </pc:spChg>
        <pc:spChg chg="mod ord">
          <ac:chgData name="Joelle Brehm" userId="a518f54c-6985-42c0-8041-2bb16a414839" providerId="ADAL" clId="{BE3A2103-5170-40FE-A99F-CB737D9F76BC}" dt="2023-10-02T21:13:49.427" v="24683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13:49.439" v="24715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BE3A2103-5170-40FE-A99F-CB737D9F76BC}" dt="2023-10-02T21:13:49.431" v="24694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13:49.429" v="24690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13:49.430" v="24693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13:49.429" v="24689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13:49.430" v="24691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13:49.429" v="24688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13:49.430" v="24692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13:49.431" v="24695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13:49.432" v="24696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13:49.432" v="24697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13:49.432" v="24698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13:49.433" v="24699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13:49.434" v="24701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13:49.435" v="24704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13:49.435" v="24703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13:49.434" v="24702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13:49.436" v="24706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13:49.436" v="24705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13:49.436" v="24707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13:49.437" v="24709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13:49.441" v="24720"/>
          <ac:spMkLst>
            <pc:docMk/>
            <pc:sldMk cId="2815334483" sldId="271"/>
            <ac:spMk id="32" creationId="{8777249A-D943-16C1-E900-269856ADE995}"/>
          </ac:spMkLst>
        </pc:spChg>
        <pc:spChg chg="del mod">
          <ac:chgData name="Joelle Brehm" userId="a518f54c-6985-42c0-8041-2bb16a414839" providerId="ADAL" clId="{BE3A2103-5170-40FE-A99F-CB737D9F76BC}" dt="2023-10-02T21:13:44.699" v="24285"/>
          <ac:spMkLst>
            <pc:docMk/>
            <pc:sldMk cId="2815334483" sldId="271"/>
            <ac:spMk id="33" creationId="{7F959949-4A68-1491-C284-14230CE75987}"/>
          </ac:spMkLst>
        </pc:spChg>
        <pc:spChg chg="mod">
          <ac:chgData name="Joelle Brehm" userId="a518f54c-6985-42c0-8041-2bb16a414839" providerId="ADAL" clId="{BE3A2103-5170-40FE-A99F-CB737D9F76BC}" dt="2023-10-02T21:13:49.439" v="24713"/>
          <ac:spMkLst>
            <pc:docMk/>
            <pc:sldMk cId="2815334483" sldId="271"/>
            <ac:spMk id="34" creationId="{316D5F01-433D-33E2-C79F-6FBFCD17CB7D}"/>
          </ac:spMkLst>
        </pc:spChg>
        <pc:spChg chg="mod">
          <ac:chgData name="Joelle Brehm" userId="a518f54c-6985-42c0-8041-2bb16a414839" providerId="ADAL" clId="{BE3A2103-5170-40FE-A99F-CB737D9F76BC}" dt="2023-10-02T21:13:49.438" v="24712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BE3A2103-5170-40FE-A99F-CB737D9F76BC}" dt="2023-10-02T21:13:49.440" v="24718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BE3A2103-5170-40FE-A99F-CB737D9F76BC}" dt="2023-10-02T21:13:49.441" v="24719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BE3A2103-5170-40FE-A99F-CB737D9F76BC}" dt="2023-10-02T21:13:49.447" v="24739"/>
          <ac:spMkLst>
            <pc:docMk/>
            <pc:sldMk cId="2815334483" sldId="271"/>
            <ac:spMk id="38" creationId="{CC5FA94A-B8E0-E7C9-DB9D-BB5C4E4406D1}"/>
          </ac:spMkLst>
        </pc:spChg>
        <pc:spChg chg="add del mod modVis">
          <ac:chgData name="Joelle Brehm" userId="a518f54c-6985-42c0-8041-2bb16a414839" providerId="ADAL" clId="{BE3A2103-5170-40FE-A99F-CB737D9F76BC}" dt="2023-10-02T21:13:24.515" v="23054"/>
          <ac:spMkLst>
            <pc:docMk/>
            <pc:sldMk cId="2815334483" sldId="271"/>
            <ac:spMk id="39" creationId="{FB385EFA-2CC2-31DE-24FE-9D140BD4A041}"/>
          </ac:spMkLst>
        </pc:spChg>
        <pc:spChg chg="mod">
          <ac:chgData name="Joelle Brehm" userId="a518f54c-6985-42c0-8041-2bb16a414839" providerId="ADAL" clId="{BE3A2103-5170-40FE-A99F-CB737D9F76BC}" dt="2023-10-02T21:13:49.448" v="24740"/>
          <ac:spMkLst>
            <pc:docMk/>
            <pc:sldMk cId="2815334483" sldId="271"/>
            <ac:spMk id="40" creationId="{B3CE3016-99B3-974F-1EC7-6BAAE2BADCD1}"/>
          </ac:spMkLst>
        </pc:spChg>
        <pc:spChg chg="mod">
          <ac:chgData name="Joelle Brehm" userId="a518f54c-6985-42c0-8041-2bb16a414839" providerId="ADAL" clId="{BE3A2103-5170-40FE-A99F-CB737D9F76BC}" dt="2023-10-02T21:13:49.441" v="24721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BE3A2103-5170-40FE-A99F-CB737D9F76BC}" dt="2023-10-02T21:13:49.440" v="24716"/>
          <ac:spMkLst>
            <pc:docMk/>
            <pc:sldMk cId="2815334483" sldId="271"/>
            <ac:spMk id="42" creationId="{6259DA9A-2854-0028-25DD-8E34BDEB2937}"/>
          </ac:spMkLst>
        </pc:spChg>
        <pc:spChg chg="del mod">
          <ac:chgData name="Joelle Brehm" userId="a518f54c-6985-42c0-8041-2bb16a414839" providerId="ADAL" clId="{BE3A2103-5170-40FE-A99F-CB737D9F76BC}" dt="2023-10-02T21:13:32.377" v="23058"/>
          <ac:spMkLst>
            <pc:docMk/>
            <pc:sldMk cId="2815334483" sldId="271"/>
            <ac:spMk id="43" creationId="{BEA60322-B850-D12E-7FCF-66BC91EC080A}"/>
          </ac:spMkLst>
        </pc:spChg>
        <pc:spChg chg="mod">
          <ac:chgData name="Joelle Brehm" userId="a518f54c-6985-42c0-8041-2bb16a414839" providerId="ADAL" clId="{BE3A2103-5170-40FE-A99F-CB737D9F76BC}" dt="2023-10-02T21:13:49.442" v="24722"/>
          <ac:spMkLst>
            <pc:docMk/>
            <pc:sldMk cId="2815334483" sldId="271"/>
            <ac:spMk id="44" creationId="{2A226A46-FF6E-9786-3934-AE547CB60305}"/>
          </ac:spMkLst>
        </pc:spChg>
        <pc:spChg chg="mod">
          <ac:chgData name="Joelle Brehm" userId="a518f54c-6985-42c0-8041-2bb16a414839" providerId="ADAL" clId="{BE3A2103-5170-40FE-A99F-CB737D9F76BC}" dt="2023-10-02T21:13:49.442" v="24723"/>
          <ac:spMkLst>
            <pc:docMk/>
            <pc:sldMk cId="2815334483" sldId="271"/>
            <ac:spMk id="46" creationId="{930ECC5A-4534-E4CB-B946-9975134BC620}"/>
          </ac:spMkLst>
        </pc:spChg>
        <pc:spChg chg="add del mod replST">
          <ac:chgData name="Joelle Brehm" userId="a518f54c-6985-42c0-8041-2bb16a414839" providerId="ADAL" clId="{BE3A2103-5170-40FE-A99F-CB737D9F76BC}" dt="2023-10-02T21:13:32.376" v="23057"/>
          <ac:spMkLst>
            <pc:docMk/>
            <pc:sldMk cId="2815334483" sldId="271"/>
            <ac:spMk id="47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3:49.440" v="24717"/>
          <ac:spMkLst>
            <pc:docMk/>
            <pc:sldMk cId="2815334483" sldId="271"/>
            <ac:spMk id="48" creationId="{E51CFCE3-4E32-6059-9327-A1EFC827F040}"/>
          </ac:spMkLst>
        </pc:spChg>
        <pc:spChg chg="del mod">
          <ac:chgData name="Joelle Brehm" userId="a518f54c-6985-42c0-8041-2bb16a414839" providerId="ADAL" clId="{BE3A2103-5170-40FE-A99F-CB737D9F76BC}" dt="2023-10-02T21:13:32.378" v="23059"/>
          <ac:spMkLst>
            <pc:docMk/>
            <pc:sldMk cId="2815334483" sldId="271"/>
            <ac:spMk id="52" creationId="{B35B2423-03A5-A469-23CF-C2DBBC1099B5}"/>
          </ac:spMkLst>
        </pc:spChg>
        <pc:spChg chg="add mod replST">
          <ac:chgData name="Joelle Brehm" userId="a518f54c-6985-42c0-8041-2bb16a414839" providerId="ADAL" clId="{BE3A2103-5170-40FE-A99F-CB737D9F76BC}" dt="2023-10-02T21:13:49.439" v="24714"/>
          <ac:spMkLst>
            <pc:docMk/>
            <pc:sldMk cId="2815334483" sldId="271"/>
            <ac:spMk id="54" creationId="{040A7AC0-BA49-481C-2E93-53505ECC740A}"/>
          </ac:spMkLst>
        </pc:spChg>
        <pc:spChg chg="add del mod modVis">
          <ac:chgData name="Joelle Brehm" userId="a518f54c-6985-42c0-8041-2bb16a414839" providerId="ADAL" clId="{BE3A2103-5170-40FE-A99F-CB737D9F76BC}" dt="2023-10-02T21:13:41.946" v="24074"/>
          <ac:spMkLst>
            <pc:docMk/>
            <pc:sldMk cId="2815334483" sldId="271"/>
            <ac:spMk id="55" creationId="{4C0894CF-37F1-710C-E626-352FBDCA09A1}"/>
          </ac:spMkLst>
        </pc:spChg>
        <pc:spChg chg="mod ord">
          <ac:chgData name="Joelle Brehm" userId="a518f54c-6985-42c0-8041-2bb16a414839" providerId="ADAL" clId="{BE3A2103-5170-40FE-A99F-CB737D9F76BC}" dt="2023-10-02T21:13:49.449" v="24744"/>
          <ac:spMkLst>
            <pc:docMk/>
            <pc:sldMk cId="2815334483" sldId="271"/>
            <ac:spMk id="58" creationId="{13D3C19C-081E-48C7-8BE2-5EF3E8A1DEEB}"/>
          </ac:spMkLst>
        </pc:spChg>
        <pc:spChg chg="add del mod modVis">
          <ac:chgData name="Joelle Brehm" userId="a518f54c-6985-42c0-8041-2bb16a414839" providerId="ADAL" clId="{BE3A2103-5170-40FE-A99F-CB737D9F76BC}" dt="2023-10-02T21:13:42.903" v="24282"/>
          <ac:spMkLst>
            <pc:docMk/>
            <pc:sldMk cId="2815334483" sldId="271"/>
            <ac:spMk id="60" creationId="{68B171D9-6D5E-F5E5-C7DE-CDB2472FEB01}"/>
          </ac:spMkLst>
        </pc:spChg>
        <pc:spChg chg="add del mod modVis">
          <ac:chgData name="Joelle Brehm" userId="a518f54c-6985-42c0-8041-2bb16a414839" providerId="ADAL" clId="{BE3A2103-5170-40FE-A99F-CB737D9F76BC}" dt="2023-10-02T21:13:45.057" v="24593"/>
          <ac:spMkLst>
            <pc:docMk/>
            <pc:sldMk cId="2815334483" sldId="271"/>
            <ac:spMk id="62" creationId="{ADE70CD2-8744-0CB9-E171-7EB021C20B0B}"/>
          </ac:spMkLst>
        </pc:spChg>
        <pc:spChg chg="add del mod ord replST">
          <ac:chgData name="Joelle Brehm" userId="a518f54c-6985-42c0-8041-2bb16a414839" providerId="ADAL" clId="{BE3A2103-5170-40FE-A99F-CB737D9F76BC}" dt="2023-10-02T21:13:49.390" v="24671"/>
          <ac:spMkLst>
            <pc:docMk/>
            <pc:sldMk cId="2815334483" sldId="271"/>
            <ac:spMk id="63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13:49.449" v="24750"/>
          <ac:spMkLst>
            <pc:docMk/>
            <pc:sldMk cId="2815334483" sldId="271"/>
            <ac:spMk id="65" creationId="{7EFD8A7E-5C17-2348-17AE-C2A09A04B7AB}"/>
          </ac:spMkLst>
        </pc:spChg>
        <pc:spChg chg="mod ord">
          <ac:chgData name="Joelle Brehm" userId="a518f54c-6985-42c0-8041-2bb16a414839" providerId="ADAL" clId="{BE3A2103-5170-40FE-A99F-CB737D9F76BC}" dt="2023-10-02T21:13:49.443" v="24725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13:49.443" v="24727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13:49.444" v="24729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13:49.444" v="24731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13:49.445" v="24733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13:49.446" v="24735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13:49.447" v="24738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13:49.464" v="24752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3:49.428" v="24687"/>
          <ac:graphicFrameMkLst>
            <pc:docMk/>
            <pc:sldMk cId="2815334483" sldId="271"/>
            <ac:graphicFrameMk id="8" creationId="{6B774E0E-68F4-792B-F275-9A8C659C1E73}"/>
          </ac:graphicFrameMkLst>
        </pc:graphicFrameChg>
        <pc:graphicFrameChg chg="del">
          <ac:chgData name="Joelle Brehm" userId="a518f54c-6985-42c0-8041-2bb16a414839" providerId="ADAL" clId="{BE3A2103-5170-40FE-A99F-CB737D9F76BC}" dt="2023-10-02T21:12:42.854" v="22454"/>
          <ac:graphicFrameMkLst>
            <pc:docMk/>
            <pc:sldMk cId="2815334483" sldId="271"/>
            <ac:graphicFrameMk id="9" creationId="{49B8DCB3-49A8-FC7F-40F5-B48B1D811889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3:32.408" v="23067"/>
          <ac:graphicFrameMkLst>
            <pc:docMk/>
            <pc:sldMk cId="2815334483" sldId="271"/>
            <ac:graphicFrameMk id="49" creationId="{4DA4330C-F106-C135-9C2C-490086F7EAC3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3:35.088" v="23158"/>
          <ac:graphicFrameMkLst>
            <pc:docMk/>
            <pc:sldMk cId="2815334483" sldId="271"/>
            <ac:graphicFrameMk id="50" creationId="{6B0DA301-07AB-11D5-A3CB-1695E12B1F23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3:36.832" v="23249"/>
          <ac:graphicFrameMkLst>
            <pc:docMk/>
            <pc:sldMk cId="2815334483" sldId="271"/>
            <ac:graphicFrameMk id="51" creationId="{488CCCB7-0D8A-E8FE-F72B-B429B48120E5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3:49.446" v="24737"/>
          <ac:graphicFrameMkLst>
            <pc:docMk/>
            <pc:sldMk cId="2815334483" sldId="271"/>
            <ac:graphicFrameMk id="53" creationId="{A9925CB1-CE42-1EF3-7F19-BEFE86082198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3:41.869" v="23994"/>
          <ac:graphicFrameMkLst>
            <pc:docMk/>
            <pc:sldMk cId="2815334483" sldId="271"/>
            <ac:graphicFrameMk id="56" creationId="{764ABC10-6683-2700-1919-2AAFC6496D8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3:42.799" v="24186"/>
          <ac:graphicFrameMkLst>
            <pc:docMk/>
            <pc:sldMk cId="2815334483" sldId="271"/>
            <ac:graphicFrameMk id="57" creationId="{18E806E8-1A46-C681-B2B3-C2BF084232DD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3:24.385" v="22974"/>
          <ac:graphicFrameMkLst>
            <pc:docMk/>
            <pc:sldMk cId="2815334483" sldId="271"/>
            <ac:graphicFrameMk id="59" creationId="{920F2B3D-4399-703D-815D-0AD05E576B9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3:44.962" v="24496"/>
          <ac:graphicFrameMkLst>
            <pc:docMk/>
            <pc:sldMk cId="2815334483" sldId="271"/>
            <ac:graphicFrameMk id="61" creationId="{BB1D54DD-6AB3-83FC-C714-D5619D9528A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3:49.393" v="24673"/>
          <ac:graphicFrameMkLst>
            <pc:docMk/>
            <pc:sldMk cId="2815334483" sldId="271"/>
            <ac:graphicFrameMk id="64" creationId="{EA53D702-54EF-DB34-199C-7268B4655C54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3:49.438" v="24711"/>
          <ac:graphicFrameMkLst>
            <pc:docMk/>
            <pc:sldMk cId="2815334483" sldId="271"/>
            <ac:graphicFrameMk id="66" creationId="{30B3BE04-7DE8-06A8-3512-B46FE600D3CB}"/>
          </ac:graphicFrameMkLst>
        </pc:graphicFrameChg>
        <pc:picChg chg="add mod ord">
          <ac:chgData name="Joelle Brehm" userId="a518f54c-6985-42c0-8041-2bb16a414839" providerId="ADAL" clId="{BE3A2103-5170-40FE-A99F-CB737D9F76BC}" dt="2023-10-02T21:13:49.426" v="24681"/>
          <ac:picMkLst>
            <pc:docMk/>
            <pc:sldMk cId="2815334483" sldId="271"/>
            <ac:picMk id="31" creationId="{20A1B263-E474-8C3F-E0E1-C28893D2D217}"/>
          </ac:picMkLst>
        </pc:picChg>
        <pc:picChg chg="del mod ord">
          <ac:chgData name="Joelle Brehm" userId="a518f54c-6985-42c0-8041-2bb16a414839" providerId="ADAL" clId="{BE3A2103-5170-40FE-A99F-CB737D9F76BC}" dt="2023-10-02T21:13:05.609" v="22627" actId="478"/>
          <ac:picMkLst>
            <pc:docMk/>
            <pc:sldMk cId="2815334483" sldId="271"/>
            <ac:picMk id="45" creationId="{A42E34E9-FBC9-F131-1730-871B9573A69E}"/>
          </ac:picMkLst>
        </pc:picChg>
        <pc:picChg chg="mod ord">
          <ac:chgData name="Joelle Brehm" userId="a518f54c-6985-42c0-8041-2bb16a414839" providerId="ADAL" clId="{BE3A2103-5170-40FE-A99F-CB737D9F76BC}" dt="2023-10-02T21:13:49.448" v="24742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13:49.428" v="24685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14:48.444" v="26374"/>
        <pc:sldMkLst>
          <pc:docMk/>
          <pc:sldMk cId="1407012127" sldId="272"/>
        </pc:sldMkLst>
        <pc:spChg chg="mod ord">
          <ac:chgData name="Joelle Brehm" userId="a518f54c-6985-42c0-8041-2bb16a414839" providerId="ADAL" clId="{BE3A2103-5170-40FE-A99F-CB737D9F76BC}" dt="2023-10-02T21:14:48.397" v="26368"/>
          <ac:spMkLst>
            <pc:docMk/>
            <pc:sldMk cId="1407012127" sldId="272"/>
            <ac:spMk id="2" creationId="{7B63279B-FBC7-4B7C-A9D5-69987BC864D5}"/>
          </ac:spMkLst>
        </pc:spChg>
        <pc:spChg chg="del">
          <ac:chgData name="Joelle Brehm" userId="a518f54c-6985-42c0-8041-2bb16a414839" providerId="ADAL" clId="{BE3A2103-5170-40FE-A99F-CB737D9F76BC}" dt="2023-10-02T21:14:03.456" v="24753" actId="478"/>
          <ac:spMkLst>
            <pc:docMk/>
            <pc:sldMk cId="1407012127" sldId="272"/>
            <ac:spMk id="3" creationId="{899C00BC-1A87-77FF-02D4-F2C9BEAED609}"/>
          </ac:spMkLst>
        </pc:spChg>
        <pc:spChg chg="add del mod modVis">
          <ac:chgData name="Joelle Brehm" userId="a518f54c-6985-42c0-8041-2bb16a414839" providerId="ADAL" clId="{BE3A2103-5170-40FE-A99F-CB737D9F76BC}" dt="2023-10-02T21:14:08.267" v="25011"/>
          <ac:spMkLst>
            <pc:docMk/>
            <pc:sldMk cId="1407012127" sldId="272"/>
            <ac:spMk id="5" creationId="{FCE2479A-D60C-6A3A-F7BA-B149A4CA852A}"/>
          </ac:spMkLst>
        </pc:spChg>
        <pc:spChg chg="mod ord">
          <ac:chgData name="Joelle Brehm" userId="a518f54c-6985-42c0-8041-2bb16a414839" providerId="ADAL" clId="{BE3A2103-5170-40FE-A99F-CB737D9F76BC}" dt="2023-10-02T21:14:48.329" v="26303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14:48.341" v="26316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14:48.340" v="26315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14:48.338" v="26313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14:48.334" v="26309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14:48.337" v="26312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14:48.339" v="26314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14:48.336" v="26311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14:48.342" v="26317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14:48.333" v="26308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14:48.343" v="26318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14:48.335" v="26310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14:48.344" v="26319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14:48.345" v="26321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14:48.348" v="26324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14:48.346" v="26322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14:48.348" v="26323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14:48.350" v="26326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14:48.350" v="26325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14:48.350" v="26327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14:48.350" v="26329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14:48.367" v="26341"/>
          <ac:spMkLst>
            <pc:docMk/>
            <pc:sldMk cId="1407012127" sldId="272"/>
            <ac:spMk id="31" creationId="{12D405BD-09A7-5DE2-D31C-098B6254BA48}"/>
          </ac:spMkLst>
        </pc:spChg>
        <pc:spChg chg="del mod">
          <ac:chgData name="Joelle Brehm" userId="a518f54c-6985-42c0-8041-2bb16a414839" providerId="ADAL" clId="{BE3A2103-5170-40FE-A99F-CB737D9F76BC}" dt="2023-10-02T21:14:39.871" v="25975"/>
          <ac:spMkLst>
            <pc:docMk/>
            <pc:sldMk cId="1407012127" sldId="272"/>
            <ac:spMk id="32" creationId="{99895A00-E6FD-8315-8545-8F5C97720D4E}"/>
          </ac:spMkLst>
        </pc:spChg>
        <pc:spChg chg="mod">
          <ac:chgData name="Joelle Brehm" userId="a518f54c-6985-42c0-8041-2bb16a414839" providerId="ADAL" clId="{BE3A2103-5170-40FE-A99F-CB737D9F76BC}" dt="2023-10-02T21:14:48.360" v="26334"/>
          <ac:spMkLst>
            <pc:docMk/>
            <pc:sldMk cId="1407012127" sldId="272"/>
            <ac:spMk id="33" creationId="{FA851268-0C57-C1F8-D85D-FE1413AC1777}"/>
          </ac:spMkLst>
        </pc:spChg>
        <pc:spChg chg="mod">
          <ac:chgData name="Joelle Brehm" userId="a518f54c-6985-42c0-8041-2bb16a414839" providerId="ADAL" clId="{BE3A2103-5170-40FE-A99F-CB737D9F76BC}" dt="2023-10-02T21:14:48.357" v="26332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BE3A2103-5170-40FE-A99F-CB737D9F76BC}" dt="2023-10-02T21:14:48.362" v="26336"/>
          <ac:spMkLst>
            <pc:docMk/>
            <pc:sldMk cId="1407012127" sldId="272"/>
            <ac:spMk id="35" creationId="{4B6310D6-23E5-0588-F042-388EAC57E1DA}"/>
          </ac:spMkLst>
        </pc:spChg>
        <pc:spChg chg="add mod replST">
          <ac:chgData name="Joelle Brehm" userId="a518f54c-6985-42c0-8041-2bb16a414839" providerId="ADAL" clId="{BE3A2103-5170-40FE-A99F-CB737D9F76BC}" dt="2023-10-02T21:14:48.369" v="26343"/>
          <ac:spMkLst>
            <pc:docMk/>
            <pc:sldMk cId="1407012127" sldId="272"/>
            <ac:spMk id="36" creationId="{C8D3E2C2-3C12-3A42-5737-E5E3D3EAF8EA}"/>
          </ac:spMkLst>
        </pc:spChg>
        <pc:spChg chg="mod">
          <ac:chgData name="Joelle Brehm" userId="a518f54c-6985-42c0-8041-2bb16a414839" providerId="ADAL" clId="{BE3A2103-5170-40FE-A99F-CB737D9F76BC}" dt="2023-10-02T21:14:48.363" v="26337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BE3A2103-5170-40FE-A99F-CB737D9F76BC}" dt="2023-10-02T21:14:48.358" v="26333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BE3A2103-5170-40FE-A99F-CB737D9F76BC}" dt="2023-10-02T21:14:48.361" v="26335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BE3A2103-5170-40FE-A99F-CB737D9F76BC}" dt="2023-10-02T21:14:48.365" v="26340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BE3A2103-5170-40FE-A99F-CB737D9F76BC}" dt="2023-10-02T21:14:48.364" v="26338"/>
          <ac:spMkLst>
            <pc:docMk/>
            <pc:sldMk cId="1407012127" sldId="272"/>
            <ac:spMk id="41" creationId="{3B0A3A52-5D18-7245-58AE-791EE368F68D}"/>
          </ac:spMkLst>
        </pc:spChg>
        <pc:spChg chg="mod">
          <ac:chgData name="Joelle Brehm" userId="a518f54c-6985-42c0-8041-2bb16a414839" providerId="ADAL" clId="{BE3A2103-5170-40FE-A99F-CB737D9F76BC}" dt="2023-10-02T21:14:48.365" v="26339"/>
          <ac:spMkLst>
            <pc:docMk/>
            <pc:sldMk cId="1407012127" sldId="272"/>
            <ac:spMk id="43" creationId="{FB4FB43F-D084-EE9C-5BF8-B064116032D0}"/>
          </ac:spMkLst>
        </pc:spChg>
        <pc:spChg chg="mod">
          <ac:chgData name="Joelle Brehm" userId="a518f54c-6985-42c0-8041-2bb16a414839" providerId="ADAL" clId="{BE3A2103-5170-40FE-A99F-CB737D9F76BC}" dt="2023-10-02T21:14:48.369" v="26342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BE3A2103-5170-40FE-A99F-CB737D9F76BC}" dt="2023-10-02T21:14:36.408" v="25761"/>
          <ac:spMkLst>
            <pc:docMk/>
            <pc:sldMk cId="1407012127" sldId="272"/>
            <ac:spMk id="45" creationId="{0BFAF7B4-4462-AB6A-5C22-FF28C055B5C8}"/>
          </ac:spMkLst>
        </pc:spChg>
        <pc:spChg chg="add del mod ord replST">
          <ac:chgData name="Joelle Brehm" userId="a518f54c-6985-42c0-8041-2bb16a414839" providerId="ADAL" clId="{BE3A2103-5170-40FE-A99F-CB737D9F76BC}" dt="2023-10-02T21:14:40.004" v="26080"/>
          <ac:spMkLst>
            <pc:docMk/>
            <pc:sldMk cId="1407012127" sldId="272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14:38.050" v="25972"/>
          <ac:spMkLst>
            <pc:docMk/>
            <pc:sldMk cId="1407012127" sldId="272"/>
            <ac:spMk id="48" creationId="{DC0A5BBB-41DA-7E57-B93C-5E1B3AB72D47}"/>
          </ac:spMkLst>
        </pc:spChg>
        <pc:spChg chg="add del mod modVis">
          <ac:chgData name="Joelle Brehm" userId="a518f54c-6985-42c0-8041-2bb16a414839" providerId="ADAL" clId="{BE3A2103-5170-40FE-A99F-CB737D9F76BC}" dt="2023-10-02T21:14:40.098" v="26171"/>
          <ac:spMkLst>
            <pc:docMk/>
            <pc:sldMk cId="1407012127" sldId="272"/>
            <ac:spMk id="50" creationId="{5132B3D8-14CE-3D4C-54F9-5B83874BD5F9}"/>
          </ac:spMkLst>
        </pc:spChg>
        <pc:spChg chg="add del mod modVis">
          <ac:chgData name="Joelle Brehm" userId="a518f54c-6985-42c0-8041-2bb16a414839" providerId="ADAL" clId="{BE3A2103-5170-40FE-A99F-CB737D9F76BC}" dt="2023-10-02T21:14:48.402" v="26372"/>
          <ac:spMkLst>
            <pc:docMk/>
            <pc:sldMk cId="1407012127" sldId="272"/>
            <ac:spMk id="52" creationId="{5F9421DB-3354-10A3-B5AF-B7EDC0420FF3}"/>
          </ac:spMkLst>
        </pc:spChg>
        <pc:spChg chg="mod ord">
          <ac:chgData name="Joelle Brehm" userId="a518f54c-6985-42c0-8041-2bb16a414839" providerId="ADAL" clId="{BE3A2103-5170-40FE-A99F-CB737D9F76BC}" dt="2023-10-02T21:14:48.395" v="26366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BE3A2103-5170-40FE-A99F-CB737D9F76BC}" dt="2023-10-02T21:14:48.371" v="26345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14:48.373" v="26347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14:48.376" v="26349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14:48.377" v="26351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14:48.379" v="26353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14:48.381" v="26355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14:48.385" v="26358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4:48.387" v="26360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4:48.388" v="26361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4:48.388" v="26362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14:48.386" v="26359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14:48.444" v="26374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4:48.332" v="26307"/>
          <ac:graphicFrameMkLst>
            <pc:docMk/>
            <pc:sldMk cId="1407012127" sldId="272"/>
            <ac:graphicFrameMk id="8" creationId="{94CBB695-A0E3-5208-B83B-0A6CF85F07BC}"/>
          </ac:graphicFrameMkLst>
        </pc:graphicFrameChg>
        <pc:graphicFrameChg chg="del">
          <ac:chgData name="Joelle Brehm" userId="a518f54c-6985-42c0-8041-2bb16a414839" providerId="ADAL" clId="{BE3A2103-5170-40FE-A99F-CB737D9F76BC}" dt="2023-10-02T21:14:08.184" v="24928"/>
          <ac:graphicFrameMkLst>
            <pc:docMk/>
            <pc:sldMk cId="1407012127" sldId="272"/>
            <ac:graphicFrameMk id="9" creationId="{1EE81E13-4C98-8CD2-A61A-49D3E1A21E8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4:37.943" v="25868"/>
          <ac:graphicFrameMkLst>
            <pc:docMk/>
            <pc:sldMk cId="1407012127" sldId="272"/>
            <ac:graphicFrameMk id="47" creationId="{81EBF664-A580-8436-F5D3-AA6DB5CB5F9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4:40.015" v="26092"/>
          <ac:graphicFrameMkLst>
            <pc:docMk/>
            <pc:sldMk cId="1407012127" sldId="272"/>
            <ac:graphicFrameMk id="49" creationId="{91A24E80-47D9-981C-C194-6752D84C4DBE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4:48.356" v="26331"/>
          <ac:graphicFrameMkLst>
            <pc:docMk/>
            <pc:sldMk cId="1407012127" sldId="272"/>
            <ac:graphicFrameMk id="51" creationId="{E6E5E00E-E11A-680A-9160-53C06F152BF6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4:48.383" v="26357"/>
          <ac:graphicFrameMkLst>
            <pc:docMk/>
            <pc:sldMk cId="1407012127" sldId="272"/>
            <ac:graphicFrameMk id="53" creationId="{7208E04E-E9F2-9CF2-4CD5-101DD4465A32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4:48.245" v="26293"/>
          <ac:graphicFrameMkLst>
            <pc:docMk/>
            <pc:sldMk cId="1407012127" sldId="272"/>
            <ac:graphicFrameMk id="55" creationId="{03F2AD63-B6AE-3B70-0380-9408B20A8F5F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4:36.276" v="25671"/>
          <ac:graphicFrameMkLst>
            <pc:docMk/>
            <pc:sldMk cId="1407012127" sldId="272"/>
            <ac:graphicFrameMk id="57" creationId="{A0C210B8-F2C9-EBC0-41B3-A27EAA8C43E3}"/>
          </ac:graphicFrameMkLst>
        </pc:graphicFrameChg>
        <pc:picChg chg="add mod ord">
          <ac:chgData name="Joelle Brehm" userId="a518f54c-6985-42c0-8041-2bb16a414839" providerId="ADAL" clId="{BE3A2103-5170-40FE-A99F-CB737D9F76BC}" dt="2023-10-02T21:14:48.327" v="26301"/>
          <ac:picMkLst>
            <pc:docMk/>
            <pc:sldMk cId="1407012127" sldId="272"/>
            <ac:picMk id="10" creationId="{C4D75DA8-90FF-F69E-FFBD-AAD572F4FF9D}"/>
          </ac:picMkLst>
        </pc:picChg>
        <pc:picChg chg="del mod ord">
          <ac:chgData name="Joelle Brehm" userId="a518f54c-6985-42c0-8041-2bb16a414839" providerId="ADAL" clId="{BE3A2103-5170-40FE-A99F-CB737D9F76BC}" dt="2023-10-02T21:14:28.352" v="25099" actId="478"/>
          <ac:picMkLst>
            <pc:docMk/>
            <pc:sldMk cId="1407012127" sldId="272"/>
            <ac:picMk id="42" creationId="{4FFFA157-FBEF-DDF9-2061-017C65170725}"/>
          </ac:picMkLst>
        </pc:picChg>
        <pc:picChg chg="mod ord">
          <ac:chgData name="Joelle Brehm" userId="a518f54c-6985-42c0-8041-2bb16a414839" providerId="ADAL" clId="{BE3A2103-5170-40FE-A99F-CB737D9F76BC}" dt="2023-10-02T21:14:48.392" v="26364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14:48.330" v="26305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16:41.098" v="28832"/>
        <pc:sldMkLst>
          <pc:docMk/>
          <pc:sldMk cId="4005475890" sldId="273"/>
        </pc:sldMkLst>
        <pc:spChg chg="mod ord">
          <ac:chgData name="Joelle Brehm" userId="a518f54c-6985-42c0-8041-2bb16a414839" providerId="ADAL" clId="{BE3A2103-5170-40FE-A99F-CB737D9F76BC}" dt="2023-10-02T21:16:41.077" v="28826"/>
          <ac:spMkLst>
            <pc:docMk/>
            <pc:sldMk cId="4005475890" sldId="273"/>
            <ac:spMk id="2" creationId="{072E23F3-409C-46DC-8EB8-140BD200F8C6}"/>
          </ac:spMkLst>
        </pc:spChg>
        <pc:spChg chg="del mod">
          <ac:chgData name="Joelle Brehm" userId="a518f54c-6985-42c0-8041-2bb16a414839" providerId="ADAL" clId="{BE3A2103-5170-40FE-A99F-CB737D9F76BC}" dt="2023-10-02T21:14:57.391" v="26377" actId="478"/>
          <ac:spMkLst>
            <pc:docMk/>
            <pc:sldMk cId="4005475890" sldId="273"/>
            <ac:spMk id="3" creationId="{A265AD8A-C6E0-90FB-3434-0BB17F487E60}"/>
          </ac:spMkLst>
        </pc:spChg>
        <pc:spChg chg="add del mod modVis">
          <ac:chgData name="Joelle Brehm" userId="a518f54c-6985-42c0-8041-2bb16a414839" providerId="ADAL" clId="{BE3A2103-5170-40FE-A99F-CB737D9F76BC}" dt="2023-10-02T21:15:10.279" v="26641"/>
          <ac:spMkLst>
            <pc:docMk/>
            <pc:sldMk cId="4005475890" sldId="273"/>
            <ac:spMk id="5" creationId="{09B03AB2-7C06-EEE5-BCF7-4ABBB6C5063F}"/>
          </ac:spMkLst>
        </pc:spChg>
        <pc:spChg chg="mod ord">
          <ac:chgData name="Joelle Brehm" userId="a518f54c-6985-42c0-8041-2bb16a414839" providerId="ADAL" clId="{BE3A2103-5170-40FE-A99F-CB737D9F76BC}" dt="2023-10-02T21:16:41.059" v="28761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16:41.060" v="28766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16:41.060" v="28767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16:41.062" v="28772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16:41.061" v="28768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16:41.061" v="28770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16:41.061" v="28769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16:41.062" v="28773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16:41.061" v="28771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16:41.062" v="28774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16:41.063" v="28775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16:41.063" v="28776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16:41.063" v="28777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16:41.064" v="28779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16:41.064" v="28781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16:41.064" v="28780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16:41.065" v="28782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16:41.065" v="28784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16:41.065" v="28783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16:41.066" v="28785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16:41.066" v="28787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16:41.069" v="28799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BE3A2103-5170-40FE-A99F-CB737D9F76BC}" dt="2023-10-02T21:16:41.068" v="28792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BE3A2103-5170-40FE-A99F-CB737D9F76BC}" dt="2023-10-02T21:16:41.069" v="28797"/>
          <ac:spMkLst>
            <pc:docMk/>
            <pc:sldMk cId="4005475890" sldId="273"/>
            <ac:spMk id="34" creationId="{A2B9B97E-B334-BC21-89F0-0EE0D8109A92}"/>
          </ac:spMkLst>
        </pc:spChg>
        <pc:spChg chg="add del mod modVis">
          <ac:chgData name="Joelle Brehm" userId="a518f54c-6985-42c0-8041-2bb16a414839" providerId="ADAL" clId="{BE3A2103-5170-40FE-A99F-CB737D9F76BC}" dt="2023-10-02T21:15:41.304" v="26934"/>
          <ac:spMkLst>
            <pc:docMk/>
            <pc:sldMk cId="4005475890" sldId="273"/>
            <ac:spMk id="35" creationId="{77D50C32-D36B-A271-02C7-8B83203CC0AE}"/>
          </ac:spMkLst>
        </pc:spChg>
        <pc:spChg chg="mod">
          <ac:chgData name="Joelle Brehm" userId="a518f54c-6985-42c0-8041-2bb16a414839" providerId="ADAL" clId="{BE3A2103-5170-40FE-A99F-CB737D9F76BC}" dt="2023-10-02T21:16:41.069" v="28796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BE3A2103-5170-40FE-A99F-CB737D9F76BC}" dt="2023-10-02T21:16:41.069" v="28800"/>
          <ac:spMkLst>
            <pc:docMk/>
            <pc:sldMk cId="4005475890" sldId="273"/>
            <ac:spMk id="37" creationId="{5DD7E90F-9520-0EAD-1E3D-1C0CF22BD274}"/>
          </ac:spMkLst>
        </pc:spChg>
        <pc:spChg chg="mod">
          <ac:chgData name="Joelle Brehm" userId="a518f54c-6985-42c0-8041-2bb16a414839" providerId="ADAL" clId="{BE3A2103-5170-40FE-A99F-CB737D9F76BC}" dt="2023-10-02T21:16:41.069" v="28801"/>
          <ac:spMkLst>
            <pc:docMk/>
            <pc:sldMk cId="4005475890" sldId="273"/>
            <ac:spMk id="38" creationId="{8B5BCAB4-60F8-4FD5-A40F-97245FABCE9A}"/>
          </ac:spMkLst>
        </pc:spChg>
        <pc:spChg chg="add mod replST">
          <ac:chgData name="Joelle Brehm" userId="a518f54c-6985-42c0-8041-2bb16a414839" providerId="ADAL" clId="{BE3A2103-5170-40FE-A99F-CB737D9F76BC}" dt="2023-10-02T21:16:41.069" v="28798"/>
          <ac:spMkLst>
            <pc:docMk/>
            <pc:sldMk cId="4005475890" sldId="273"/>
            <ac:spMk id="40" creationId="{6DF186F3-D7BB-E35B-BC5F-B5541CDFEBC5}"/>
          </ac:spMkLst>
        </pc:spChg>
        <pc:spChg chg="add del mod modVis">
          <ac:chgData name="Joelle Brehm" userId="a518f54c-6985-42c0-8041-2bb16a414839" providerId="ADAL" clId="{BE3A2103-5170-40FE-A99F-CB737D9F76BC}" dt="2023-10-02T21:15:49.299" v="27626"/>
          <ac:spMkLst>
            <pc:docMk/>
            <pc:sldMk cId="4005475890" sldId="273"/>
            <ac:spMk id="41" creationId="{6FBBD9DF-246E-FF8D-FE5F-453D140146C6}"/>
          </ac:spMkLst>
        </pc:spChg>
        <pc:spChg chg="add del mod ord replST">
          <ac:chgData name="Joelle Brehm" userId="a518f54c-6985-42c0-8041-2bb16a414839" providerId="ADAL" clId="{BE3A2103-5170-40FE-A99F-CB737D9F76BC}" dt="2023-10-02T21:15:56.159" v="28114"/>
          <ac:spMkLst>
            <pc:docMk/>
            <pc:sldMk cId="4005475890" sldId="273"/>
            <ac:spMk id="42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15:50.274" v="27839"/>
          <ac:spMkLst>
            <pc:docMk/>
            <pc:sldMk cId="4005475890" sldId="273"/>
            <ac:spMk id="45" creationId="{274703A0-499D-1990-D21F-2BBF4A5C0E42}"/>
          </ac:spMkLst>
        </pc:spChg>
        <pc:spChg chg="add del mod modVis">
          <ac:chgData name="Joelle Brehm" userId="a518f54c-6985-42c0-8041-2bb16a414839" providerId="ADAL" clId="{BE3A2103-5170-40FE-A99F-CB737D9F76BC}" dt="2023-10-02T21:15:52.539" v="28040"/>
          <ac:spMkLst>
            <pc:docMk/>
            <pc:sldMk cId="4005475890" sldId="273"/>
            <ac:spMk id="48" creationId="{57148599-E0B7-5C75-599A-D0CA05DD61B5}"/>
          </ac:spMkLst>
        </pc:spChg>
        <pc:spChg chg="add del mod modVis">
          <ac:chgData name="Joelle Brehm" userId="a518f54c-6985-42c0-8041-2bb16a414839" providerId="ADAL" clId="{BE3A2103-5170-40FE-A99F-CB737D9F76BC}" dt="2023-10-02T21:15:56.215" v="28195"/>
          <ac:spMkLst>
            <pc:docMk/>
            <pc:sldMk cId="4005475890" sldId="273"/>
            <ac:spMk id="50" creationId="{023E8457-9D45-1CB2-8C3E-D9A056B0DA8B}"/>
          </ac:spMkLst>
        </pc:spChg>
        <pc:spChg chg="add del mod modVis">
          <ac:chgData name="Joelle Brehm" userId="a518f54c-6985-42c0-8041-2bb16a414839" providerId="ADAL" clId="{BE3A2103-5170-40FE-A99F-CB737D9F76BC}" dt="2023-10-02T21:16:10.838" v="28343"/>
          <ac:spMkLst>
            <pc:docMk/>
            <pc:sldMk cId="4005475890" sldId="273"/>
            <ac:spMk id="52" creationId="{0EA90F6C-01D0-0B45-8D05-FA4144A7EC8C}"/>
          </ac:spMkLst>
        </pc:spChg>
        <pc:spChg chg="add del mod modVis">
          <ac:chgData name="Joelle Brehm" userId="a518f54c-6985-42c0-8041-2bb16a414839" providerId="ADAL" clId="{BE3A2103-5170-40FE-A99F-CB737D9F76BC}" dt="2023-10-02T21:16:35.701" v="28641"/>
          <ac:spMkLst>
            <pc:docMk/>
            <pc:sldMk cId="4005475890" sldId="273"/>
            <ac:spMk id="55" creationId="{27F0EF8A-8F50-333C-B6CB-A7762A8688EB}"/>
          </ac:spMkLst>
        </pc:spChg>
        <pc:spChg chg="add del mod modVis">
          <ac:chgData name="Joelle Brehm" userId="a518f54c-6985-42c0-8041-2bb16a414839" providerId="ADAL" clId="{BE3A2103-5170-40FE-A99F-CB737D9F76BC}" dt="2023-10-02T21:16:41.079" v="28830"/>
          <ac:spMkLst>
            <pc:docMk/>
            <pc:sldMk cId="4005475890" sldId="273"/>
            <ac:spMk id="57" creationId="{E5D35CA4-A594-43AA-70A8-FBD13592CDBD}"/>
          </ac:spMkLst>
        </pc:spChg>
        <pc:spChg chg="mod ord">
          <ac:chgData name="Joelle Brehm" userId="a518f54c-6985-42c0-8041-2bb16a414839" providerId="ADAL" clId="{BE3A2103-5170-40FE-A99F-CB737D9F76BC}" dt="2023-10-02T21:16:41.077" v="28824"/>
          <ac:spMkLst>
            <pc:docMk/>
            <pc:sldMk cId="4005475890" sldId="273"/>
            <ac:spMk id="58" creationId="{FEC487CB-3123-46A1-8350-8669839FA870}"/>
          </ac:spMkLst>
        </pc:spChg>
        <pc:spChg chg="mod ord">
          <ac:chgData name="Joelle Brehm" userId="a518f54c-6985-42c0-8041-2bb16a414839" providerId="ADAL" clId="{BE3A2103-5170-40FE-A99F-CB737D9F76BC}" dt="2023-10-02T21:16:41.072" v="28803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16:41.073" v="28805"/>
          <ac:spMkLst>
            <pc:docMk/>
            <pc:sldMk cId="4005475890" sldId="273"/>
            <ac:spMk id="79" creationId="{F1476AC4-694B-4D83-BFD8-8DCAA4BB1923}"/>
          </ac:spMkLst>
        </pc:spChg>
        <pc:spChg chg="del mod">
          <ac:chgData name="Joelle Brehm" userId="a518f54c-6985-42c0-8041-2bb16a414839" providerId="ADAL" clId="{BE3A2103-5170-40FE-A99F-CB737D9F76BC}" dt="2023-10-02T21:15:52.275" v="27842"/>
          <ac:spMkLst>
            <pc:docMk/>
            <pc:sldMk cId="4005475890" sldId="273"/>
            <ac:spMk id="8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68" v="28791"/>
          <ac:spMkLst>
            <pc:docMk/>
            <pc:sldMk cId="4005475890" sldId="273"/>
            <ac:spMk id="8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69" v="28793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69" v="28794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67" v="28790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69" v="28795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16:41.073" v="28807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16:41.074" v="28809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16:41.074" v="28811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16:41.075" v="28813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16:41.076" v="28816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76" v="28817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76" v="28818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6:41.076" v="28819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16:41.076" v="28820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16:41.098" v="28832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6:10.760" v="28264"/>
          <ac:graphicFrameMkLst>
            <pc:docMk/>
            <pc:sldMk cId="4005475890" sldId="273"/>
            <ac:graphicFrameMk id="8" creationId="{46901C77-F289-BF94-46A7-51790FB2E00E}"/>
          </ac:graphicFrameMkLst>
        </pc:graphicFrameChg>
        <pc:graphicFrameChg chg="del">
          <ac:chgData name="Joelle Brehm" userId="a518f54c-6985-42c0-8041-2bb16a414839" providerId="ADAL" clId="{BE3A2103-5170-40FE-A99F-CB737D9F76BC}" dt="2023-10-02T21:15:10.186" v="26556"/>
          <ac:graphicFrameMkLst>
            <pc:docMk/>
            <pc:sldMk cId="4005475890" sldId="273"/>
            <ac:graphicFrameMk id="10" creationId="{B519C2C9-623A-8BC2-84BD-2D1F9BBC4D9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6:35.621" v="28562"/>
          <ac:graphicFrameMkLst>
            <pc:docMk/>
            <pc:sldMk cId="4005475890" sldId="273"/>
            <ac:graphicFrameMk id="39" creationId="{89BFC52D-6974-A47F-8E62-324E1A0D22E4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5:50.188" v="27735"/>
          <ac:graphicFrameMkLst>
            <pc:docMk/>
            <pc:sldMk cId="4005475890" sldId="273"/>
            <ac:graphicFrameMk id="43" creationId="{68DD3B7B-3ECC-7D1C-9414-5AD2CB6879E9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5:49.242" v="27536"/>
          <ac:graphicFrameMkLst>
            <pc:docMk/>
            <pc:sldMk cId="4005475890" sldId="273"/>
            <ac:graphicFrameMk id="44" creationId="{F70F1F47-6A22-C68E-C768-8E2BF16D83D2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5:41.006" v="26855"/>
          <ac:graphicFrameMkLst>
            <pc:docMk/>
            <pc:sldMk cId="4005475890" sldId="273"/>
            <ac:graphicFrameMk id="46" creationId="{AABA59AE-F367-364A-9DC0-E13F3F1F76B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5:52.451" v="27959"/>
          <ac:graphicFrameMkLst>
            <pc:docMk/>
            <pc:sldMk cId="4005475890" sldId="273"/>
            <ac:graphicFrameMk id="47" creationId="{912AAD02-E75C-B85D-B748-292480017F4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5:56.160" v="28116"/>
          <ac:graphicFrameMkLst>
            <pc:docMk/>
            <pc:sldMk cId="4005475890" sldId="273"/>
            <ac:graphicFrameMk id="49" creationId="{68EAE99B-EC07-EE0B-A4F1-14DCA669E69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6:41.012" v="28729"/>
          <ac:graphicFrameMkLst>
            <pc:docMk/>
            <pc:sldMk cId="4005475890" sldId="273"/>
            <ac:graphicFrameMk id="51" creationId="{043077E0-C752-26B3-6721-44E5B2E2D84F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6:41.060" v="28765"/>
          <ac:graphicFrameMkLst>
            <pc:docMk/>
            <pc:sldMk cId="4005475890" sldId="273"/>
            <ac:graphicFrameMk id="53" creationId="{188A4A74-C8D3-0530-C3F1-41EDC087D60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6:41.075" v="28815"/>
          <ac:graphicFrameMkLst>
            <pc:docMk/>
            <pc:sldMk cId="4005475890" sldId="273"/>
            <ac:graphicFrameMk id="56" creationId="{E859342D-0999-3B76-0B63-5F323B48883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6:41.067" v="28789"/>
          <ac:graphicFrameMkLst>
            <pc:docMk/>
            <pc:sldMk cId="4005475890" sldId="273"/>
            <ac:graphicFrameMk id="59" creationId="{586BA077-3D5F-1F60-A07B-00494A80D557}"/>
          </ac:graphicFrameMkLst>
        </pc:graphicFrameChg>
        <pc:picChg chg="add del mod ord">
          <ac:chgData name="Joelle Brehm" userId="a518f54c-6985-42c0-8041-2bb16a414839" providerId="ADAL" clId="{BE3A2103-5170-40FE-A99F-CB737D9F76BC}" dt="2023-10-02T21:16:26.299" v="28431" actId="478"/>
          <ac:picMkLst>
            <pc:docMk/>
            <pc:sldMk cId="4005475890" sldId="273"/>
            <ac:picMk id="9" creationId="{A5DDE041-66A8-1593-EB34-FA5ACA29C7D6}"/>
          </ac:picMkLst>
        </pc:picChg>
        <pc:picChg chg="del mod ord">
          <ac:chgData name="Joelle Brehm" userId="a518f54c-6985-42c0-8041-2bb16a414839" providerId="ADAL" clId="{BE3A2103-5170-40FE-A99F-CB737D9F76BC}" dt="2023-10-02T21:15:33.238" v="26724" actId="478"/>
          <ac:picMkLst>
            <pc:docMk/>
            <pc:sldMk cId="4005475890" sldId="273"/>
            <ac:picMk id="31" creationId="{9B2964A5-4859-578A-C127-2B609E09585C}"/>
          </ac:picMkLst>
        </pc:picChg>
        <pc:picChg chg="add mod ord">
          <ac:chgData name="Joelle Brehm" userId="a518f54c-6985-42c0-8041-2bb16a414839" providerId="ADAL" clId="{BE3A2103-5170-40FE-A99F-CB737D9F76BC}" dt="2023-10-02T21:16:41.058" v="28759"/>
          <ac:picMkLst>
            <pc:docMk/>
            <pc:sldMk cId="4005475890" sldId="273"/>
            <ac:picMk id="54" creationId="{0075A831-24A6-8855-2D1D-A2E90600781A}"/>
          </ac:picMkLst>
        </pc:picChg>
        <pc:picChg chg="mod ord">
          <ac:chgData name="Joelle Brehm" userId="a518f54c-6985-42c0-8041-2bb16a414839" providerId="ADAL" clId="{BE3A2103-5170-40FE-A99F-CB737D9F76BC}" dt="2023-10-02T21:16:41.076" v="28822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16:41.059" v="28763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17:41.908" v="30564"/>
        <pc:sldMkLst>
          <pc:docMk/>
          <pc:sldMk cId="3374649050" sldId="274"/>
        </pc:sldMkLst>
        <pc:spChg chg="mod ord">
          <ac:chgData name="Joelle Brehm" userId="a518f54c-6985-42c0-8041-2bb16a414839" providerId="ADAL" clId="{BE3A2103-5170-40FE-A99F-CB737D9F76BC}" dt="2023-10-02T21:17:41.874" v="30558"/>
          <ac:spMkLst>
            <pc:docMk/>
            <pc:sldMk cId="3374649050" sldId="274"/>
            <ac:spMk id="2" creationId="{5B9511BD-9A18-4BDB-8C3B-3627E48A258D}"/>
          </ac:spMkLst>
        </pc:spChg>
        <pc:spChg chg="del mod ord">
          <ac:chgData name="Joelle Brehm" userId="a518f54c-6985-42c0-8041-2bb16a414839" providerId="ADAL" clId="{BE3A2103-5170-40FE-A99F-CB737D9F76BC}" dt="2023-10-02T21:17:23.496" v="29186" actId="478"/>
          <ac:spMkLst>
            <pc:docMk/>
            <pc:sldMk cId="3374649050" sldId="274"/>
            <ac:spMk id="3" creationId="{EC89FEE3-A6BB-D4FB-2B6F-00BB7011433D}"/>
          </ac:spMkLst>
        </pc:spChg>
        <pc:spChg chg="add del mod modVis">
          <ac:chgData name="Joelle Brehm" userId="a518f54c-6985-42c0-8041-2bb16a414839" providerId="ADAL" clId="{BE3A2103-5170-40FE-A99F-CB737D9F76BC}" dt="2023-10-02T21:17:02.592" v="29100"/>
          <ac:spMkLst>
            <pc:docMk/>
            <pc:sldMk cId="3374649050" sldId="274"/>
            <ac:spMk id="5" creationId="{FDF05D00-279F-522C-DBC1-C767AD23A739}"/>
          </ac:spMkLst>
        </pc:spChg>
        <pc:spChg chg="mod ord">
          <ac:chgData name="Joelle Brehm" userId="a518f54c-6985-42c0-8041-2bb16a414839" providerId="ADAL" clId="{BE3A2103-5170-40FE-A99F-CB737D9F76BC}" dt="2023-10-02T21:17:41.805" v="30493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17:41.810" v="30498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17:41.811" v="30499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17:41.815" v="30503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17:41.812" v="30500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17:41.814" v="30502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17:41.817" v="30504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17:41.813" v="30501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17:41.818" v="30505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17:41.819" v="30506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17:41.820" v="30507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17:41.822" v="30508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17:41.824" v="30509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17:41.826" v="30511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17:41.828" v="30514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17:41.827" v="30512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17:41.828" v="30513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17:41.831" v="30517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17:41.829" v="30515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17:41.831" v="30516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17:41.833" v="30519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17:41.846" v="30531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BE3A2103-5170-40FE-A99F-CB737D9F76BC}" dt="2023-10-02T21:17:41.843" v="30527"/>
          <ac:spMkLst>
            <pc:docMk/>
            <pc:sldMk cId="3374649050" sldId="274"/>
            <ac:spMk id="33" creationId="{8A5C4479-0363-6F13-F887-8871FD03F34C}"/>
          </ac:spMkLst>
        </pc:spChg>
        <pc:spChg chg="add del mod modVis">
          <ac:chgData name="Joelle Brehm" userId="a518f54c-6985-42c0-8041-2bb16a414839" providerId="ADAL" clId="{BE3A2103-5170-40FE-A99F-CB737D9F76BC}" dt="2023-10-02T21:17:30.619" v="29397"/>
          <ac:spMkLst>
            <pc:docMk/>
            <pc:sldMk cId="3374649050" sldId="274"/>
            <ac:spMk id="34" creationId="{CAFF0D77-FC54-6F29-D2BC-1F08E03A2608}"/>
          </ac:spMkLst>
        </pc:spChg>
        <pc:spChg chg="mod">
          <ac:chgData name="Joelle Brehm" userId="a518f54c-6985-42c0-8041-2bb16a414839" providerId="ADAL" clId="{BE3A2103-5170-40FE-A99F-CB737D9F76BC}" dt="2023-10-02T21:17:41.846" v="30530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BE3A2103-5170-40FE-A99F-CB737D9F76BC}" dt="2023-10-02T21:17:41.845" v="30529"/>
          <ac:spMkLst>
            <pc:docMk/>
            <pc:sldMk cId="3374649050" sldId="274"/>
            <ac:spMk id="36" creationId="{88575725-6998-54DE-FE5F-DCCF247F6A3F}"/>
          </ac:spMkLst>
        </pc:spChg>
        <pc:spChg chg="mod">
          <ac:chgData name="Joelle Brehm" userId="a518f54c-6985-42c0-8041-2bb16a414839" providerId="ADAL" clId="{BE3A2103-5170-40FE-A99F-CB737D9F76BC}" dt="2023-10-02T21:17:41.844" v="30528"/>
          <ac:spMkLst>
            <pc:docMk/>
            <pc:sldMk cId="3374649050" sldId="274"/>
            <ac:spMk id="38" creationId="{1995B1DD-126C-92BA-1668-3B87C2F5B1E5}"/>
          </ac:spMkLst>
        </pc:spChg>
        <pc:spChg chg="mod">
          <ac:chgData name="Joelle Brehm" userId="a518f54c-6985-42c0-8041-2bb16a414839" providerId="ADAL" clId="{BE3A2103-5170-40FE-A99F-CB737D9F76BC}" dt="2023-10-02T21:17:41.847" v="30532"/>
          <ac:spMkLst>
            <pc:docMk/>
            <pc:sldMk cId="3374649050" sldId="274"/>
            <ac:spMk id="40" creationId="{8BA31CDF-8D43-74CD-D3E4-26F103CC0D3B}"/>
          </ac:spMkLst>
        </pc:spChg>
        <pc:spChg chg="add mod replST">
          <ac:chgData name="Joelle Brehm" userId="a518f54c-6985-42c0-8041-2bb16a414839" providerId="ADAL" clId="{BE3A2103-5170-40FE-A99F-CB737D9F76BC}" dt="2023-10-02T21:17:41.848" v="30533"/>
          <ac:spMkLst>
            <pc:docMk/>
            <pc:sldMk cId="3374649050" sldId="274"/>
            <ac:spMk id="41" creationId="{B7AB9DCF-AEC0-1EB4-2709-C783258EE0AF}"/>
          </ac:spMkLst>
        </pc:spChg>
        <pc:spChg chg="add del mod modVis">
          <ac:chgData name="Joelle Brehm" userId="a518f54c-6985-42c0-8041-2bb16a414839" providerId="ADAL" clId="{BE3A2103-5170-40FE-A99F-CB737D9F76BC}" dt="2023-10-02T21:17:37.576" v="30138"/>
          <ac:spMkLst>
            <pc:docMk/>
            <pc:sldMk cId="3374649050" sldId="274"/>
            <ac:spMk id="42" creationId="{FC285273-1E03-7CD3-13CB-A47DF0AA8F12}"/>
          </ac:spMkLst>
        </pc:spChg>
        <pc:spChg chg="mod">
          <ac:chgData name="Joelle Brehm" userId="a518f54c-6985-42c0-8041-2bb16a414839" providerId="ADAL" clId="{BE3A2103-5170-40FE-A99F-CB737D9F76BC}" dt="2023-10-02T21:17:41.866" v="30550"/>
          <ac:spMkLst>
            <pc:docMk/>
            <pc:sldMk cId="3374649050" sldId="274"/>
            <ac:spMk id="43" creationId="{71A50278-0560-C951-1F18-CA11BF2F6494}"/>
          </ac:spMkLst>
        </pc:spChg>
        <pc:spChg chg="add del mod ord replST">
          <ac:chgData name="Joelle Brehm" userId="a518f54c-6985-42c0-8041-2bb16a414839" providerId="ADAL" clId="{BE3A2103-5170-40FE-A99F-CB737D9F76BC}" dt="2023-10-02T21:17:41.671" v="30434"/>
          <ac:spMkLst>
            <pc:docMk/>
            <pc:sldMk cId="3374649050" sldId="274"/>
            <ac:spMk id="44" creationId="{7CAA3B95-4C78-4122-BECA-B5FB0F3F3764}"/>
          </ac:spMkLst>
        </pc:spChg>
        <pc:spChg chg="add del mod ord replST">
          <ac:chgData name="Joelle Brehm" userId="a518f54c-6985-42c0-8041-2bb16a414839" providerId="ADAL" clId="{BE3A2103-5170-40FE-A99F-CB737D9F76BC}" dt="2023-10-02T21:17:41.678" v="30441"/>
          <ac:spMkLst>
            <pc:docMk/>
            <pc:sldMk cId="3374649050" sldId="274"/>
            <ac:spMk id="45" creationId="{7CAA3B95-4C78-4122-BECA-B5FB0F3F3764}"/>
          </ac:spMkLst>
        </pc:spChg>
        <pc:spChg chg="add del mod ord replST">
          <ac:chgData name="Joelle Brehm" userId="a518f54c-6985-42c0-8041-2bb16a414839" providerId="ADAL" clId="{BE3A2103-5170-40FE-A99F-CB737D9F76BC}" dt="2023-10-02T21:17:41.708" v="30462"/>
          <ac:spMkLst>
            <pc:docMk/>
            <pc:sldMk cId="3374649050" sldId="274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17:39.738" v="30355"/>
          <ac:spMkLst>
            <pc:docMk/>
            <pc:sldMk cId="3374649050" sldId="274"/>
            <ac:spMk id="48" creationId="{787A05E4-4BE3-8FB5-A99F-91FD3A0B4498}"/>
          </ac:spMkLst>
        </pc:spChg>
        <pc:spChg chg="add del mod modVis">
          <ac:chgData name="Joelle Brehm" userId="a518f54c-6985-42c0-8041-2bb16a414839" providerId="ADAL" clId="{BE3A2103-5170-40FE-A99F-CB737D9F76BC}" dt="2023-10-02T21:17:41.879" v="30562"/>
          <ac:spMkLst>
            <pc:docMk/>
            <pc:sldMk cId="3374649050" sldId="274"/>
            <ac:spMk id="50" creationId="{9C48C043-3C61-3356-BCD9-B437A7BC1A1C}"/>
          </ac:spMkLst>
        </pc:spChg>
        <pc:spChg chg="mod ord">
          <ac:chgData name="Joelle Brehm" userId="a518f54c-6985-42c0-8041-2bb16a414839" providerId="ADAL" clId="{BE3A2103-5170-40FE-A99F-CB737D9F76BC}" dt="2023-10-02T21:17:41.872" v="30556"/>
          <ac:spMkLst>
            <pc:docMk/>
            <pc:sldMk cId="3374649050" sldId="274"/>
            <ac:spMk id="58" creationId="{5BBF118A-F952-4AA1-8B74-92A00B5F6171}"/>
          </ac:spMkLst>
        </pc:spChg>
        <pc:spChg chg="mod ord">
          <ac:chgData name="Joelle Brehm" userId="a518f54c-6985-42c0-8041-2bb16a414839" providerId="ADAL" clId="{BE3A2103-5170-40FE-A99F-CB737D9F76BC}" dt="2023-10-02T21:17:41.849" v="30535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17:41.853" v="30537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BE3A2103-5170-40FE-A99F-CB737D9F76BC}" dt="2023-10-02T21:17:41.467" v="30358"/>
          <ac:spMkLst>
            <pc:docMk/>
            <pc:sldMk cId="3374649050" sldId="274"/>
            <ac:spMk id="8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7:41.840" v="30524"/>
          <ac:spMkLst>
            <pc:docMk/>
            <pc:sldMk cId="3374649050" sldId="274"/>
            <ac:spMk id="8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7:41.840" v="30523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7:41.841" v="30525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7:41.838" v="30522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7:41.842" v="30526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17:41.857" v="30539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17:41.860" v="30541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17:41.860" v="30543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17:41.862" v="30545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17:41.865" v="30549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7:41.866" v="30551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7:41.864" v="30548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17:41.867" v="30552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17:41.908" v="30564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7:41.809" v="30497"/>
          <ac:graphicFrameMkLst>
            <pc:docMk/>
            <pc:sldMk cId="3374649050" sldId="274"/>
            <ac:graphicFrameMk id="8" creationId="{66E911F4-557C-F8FB-0363-5B421D7595CF}"/>
          </ac:graphicFrameMkLst>
        </pc:graphicFrameChg>
        <pc:graphicFrameChg chg="del">
          <ac:chgData name="Joelle Brehm" userId="a518f54c-6985-42c0-8041-2bb16a414839" providerId="ADAL" clId="{BE3A2103-5170-40FE-A99F-CB737D9F76BC}" dt="2023-10-02T21:17:02.504" v="29013"/>
          <ac:graphicFrameMkLst>
            <pc:docMk/>
            <pc:sldMk cId="3374649050" sldId="274"/>
            <ac:graphicFrameMk id="10" creationId="{C03181CE-DB01-F685-17D6-D2B87D28A29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7:41.863" v="30547"/>
          <ac:graphicFrameMkLst>
            <pc:docMk/>
            <pc:sldMk cId="3374649050" sldId="274"/>
            <ac:graphicFrameMk id="37" creationId="{2F6BADA4-123F-34BF-2B62-79C71E94CE0A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7:30.525" v="29318"/>
          <ac:graphicFrameMkLst>
            <pc:docMk/>
            <pc:sldMk cId="3374649050" sldId="274"/>
            <ac:graphicFrameMk id="39" creationId="{B6C1E0A4-6E34-F4C7-A7C8-7F21D5D53CE0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7:39.603" v="30249"/>
          <ac:graphicFrameMkLst>
            <pc:docMk/>
            <pc:sldMk cId="3374649050" sldId="274"/>
            <ac:graphicFrameMk id="47" creationId="{A818CBB5-E12C-3229-6EF7-5266D0B7F2C3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7:41.736" v="30483"/>
          <ac:graphicFrameMkLst>
            <pc:docMk/>
            <pc:sldMk cId="3374649050" sldId="274"/>
            <ac:graphicFrameMk id="49" creationId="{FED04426-59C4-807E-5C7F-664606CC84E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7:41.836" v="30521"/>
          <ac:graphicFrameMkLst>
            <pc:docMk/>
            <pc:sldMk cId="3374649050" sldId="274"/>
            <ac:graphicFrameMk id="51" creationId="{C07C5B01-43C5-C2C5-26EF-9F6C0938EE32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7:37.515" v="30048"/>
          <ac:graphicFrameMkLst>
            <pc:docMk/>
            <pc:sldMk cId="3374649050" sldId="274"/>
            <ac:graphicFrameMk id="61" creationId="{8ABE7991-345B-4333-F9A5-937BB5FD9189}"/>
          </ac:graphicFrameMkLst>
        </pc:graphicFrameChg>
        <pc:picChg chg="add mod ord">
          <ac:chgData name="Joelle Brehm" userId="a518f54c-6985-42c0-8041-2bb16a414839" providerId="ADAL" clId="{BE3A2103-5170-40FE-A99F-CB737D9F76BC}" dt="2023-10-02T21:17:41.801" v="30491"/>
          <ac:picMkLst>
            <pc:docMk/>
            <pc:sldMk cId="3374649050" sldId="274"/>
            <ac:picMk id="9" creationId="{5A17104C-B8AE-7BB0-BF4C-B47A409039F6}"/>
          </ac:picMkLst>
        </pc:picChg>
        <pc:picChg chg="del mod ord">
          <ac:chgData name="Joelle Brehm" userId="a518f54c-6985-42c0-8041-2bb16a414839" providerId="ADAL" clId="{BE3A2103-5170-40FE-A99F-CB737D9F76BC}" dt="2023-10-02T21:17:22.042" v="29185" actId="478"/>
          <ac:picMkLst>
            <pc:docMk/>
            <pc:sldMk cId="3374649050" sldId="274"/>
            <ac:picMk id="31" creationId="{9E38E314-41AB-346D-D472-FCD56EC66821}"/>
          </ac:picMkLst>
        </pc:picChg>
        <pc:picChg chg="mod ord">
          <ac:chgData name="Joelle Brehm" userId="a518f54c-6985-42c0-8041-2bb16a414839" providerId="ADAL" clId="{BE3A2103-5170-40FE-A99F-CB737D9F76BC}" dt="2023-10-02T21:17:41.870" v="30554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17:41.807" v="30495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19:49.665" v="32044"/>
        <pc:sldMkLst>
          <pc:docMk/>
          <pc:sldMk cId="592117244" sldId="275"/>
        </pc:sldMkLst>
        <pc:spChg chg="del">
          <ac:chgData name="Joelle Brehm" userId="a518f54c-6985-42c0-8041-2bb16a414839" providerId="ADAL" clId="{BE3A2103-5170-40FE-A99F-CB737D9F76BC}" dt="2023-10-02T21:17:52.848" v="30565" actId="478"/>
          <ac:spMkLst>
            <pc:docMk/>
            <pc:sldMk cId="592117244" sldId="275"/>
            <ac:spMk id="2" creationId="{6A2ABE5F-1CA3-CE0D-1C4D-9A6D7C01370E}"/>
          </ac:spMkLst>
        </pc:spChg>
        <pc:spChg chg="mod ord">
          <ac:chgData name="Joelle Brehm" userId="a518f54c-6985-42c0-8041-2bb16a414839" providerId="ADAL" clId="{BE3A2103-5170-40FE-A99F-CB737D9F76BC}" dt="2023-10-02T21:19:49.639" v="32038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BE3A2103-5170-40FE-A99F-CB737D9F76BC}" dt="2023-10-02T21:19:10.950" v="30827"/>
          <ac:spMkLst>
            <pc:docMk/>
            <pc:sldMk cId="592117244" sldId="275"/>
            <ac:spMk id="5" creationId="{CCC5E706-CB97-0DF9-9B3E-F1D6410FDFA7}"/>
          </ac:spMkLst>
        </pc:spChg>
        <pc:spChg chg="mod ord">
          <ac:chgData name="Joelle Brehm" userId="a518f54c-6985-42c0-8041-2bb16a414839" providerId="ADAL" clId="{BE3A2103-5170-40FE-A99F-CB737D9F76BC}" dt="2023-10-02T21:19:49.603" v="31973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19:49.610" v="31985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19:49.606" v="31978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19:49.608" v="31982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19:49.607" v="31980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19:49.607" v="31979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19:49.608" v="31983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19:49.607" v="31981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19:49.610" v="31986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19:49.608" v="31984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19:49.610" v="31987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19:49.610" v="31988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19:49.610" v="31989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19:49.610" v="31991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19:49.610" v="31992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19:49.610" v="31994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19:49.610" v="31993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19:49.614" v="31995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19:49.615" v="31996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19:49.615" v="31997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19:49.617" v="31999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19:49.626" v="32010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BE3A2103-5170-40FE-A99F-CB737D9F76BC}" dt="2023-10-02T21:19:49.626" v="32011"/>
          <ac:spMkLst>
            <pc:docMk/>
            <pc:sldMk cId="592117244" sldId="275"/>
            <ac:spMk id="33" creationId="{7E8BBD9E-2B2D-57B8-A905-831743E16231}"/>
          </ac:spMkLst>
        </pc:spChg>
        <pc:spChg chg="mod">
          <ac:chgData name="Joelle Brehm" userId="a518f54c-6985-42c0-8041-2bb16a414839" providerId="ADAL" clId="{BE3A2103-5170-40FE-A99F-CB737D9F76BC}" dt="2023-10-02T21:19:49.626" v="32012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BE3A2103-5170-40FE-A99F-CB737D9F76BC}" dt="2023-10-02T21:19:49.622" v="32006"/>
          <ac:spMkLst>
            <pc:docMk/>
            <pc:sldMk cId="592117244" sldId="275"/>
            <ac:spMk id="35" creationId="{8A659545-7F46-0F9C-1180-4340FFF52971}"/>
          </ac:spMkLst>
        </pc:spChg>
        <pc:spChg chg="add del mod modVis">
          <ac:chgData name="Joelle Brehm" userId="a518f54c-6985-42c0-8041-2bb16a414839" providerId="ADAL" clId="{BE3A2103-5170-40FE-A99F-CB737D9F76BC}" dt="2023-10-02T21:19:37.707" v="31141"/>
          <ac:spMkLst>
            <pc:docMk/>
            <pc:sldMk cId="592117244" sldId="275"/>
            <ac:spMk id="36" creationId="{867EC41C-461E-0106-CEB3-E35327FDD7E2}"/>
          </ac:spMkLst>
        </pc:spChg>
        <pc:spChg chg="mod">
          <ac:chgData name="Joelle Brehm" userId="a518f54c-6985-42c0-8041-2bb16a414839" providerId="ADAL" clId="{BE3A2103-5170-40FE-A99F-CB737D9F76BC}" dt="2023-10-02T21:19:49.622" v="32005"/>
          <ac:spMkLst>
            <pc:docMk/>
            <pc:sldMk cId="592117244" sldId="275"/>
            <ac:spMk id="37" creationId="{90FA8FF8-BF43-F8ED-7D69-4D34F348E5E1}"/>
          </ac:spMkLst>
        </pc:spChg>
        <pc:spChg chg="mod">
          <ac:chgData name="Joelle Brehm" userId="a518f54c-6985-42c0-8041-2bb16a414839" providerId="ADAL" clId="{BE3A2103-5170-40FE-A99F-CB737D9F76BC}" dt="2023-10-02T21:19:49.619" v="32002"/>
          <ac:spMkLst>
            <pc:docMk/>
            <pc:sldMk cId="592117244" sldId="275"/>
            <ac:spMk id="39" creationId="{1EFCB791-16E1-BC87-1C92-0DDD24DA7D5F}"/>
          </ac:spMkLst>
        </pc:spChg>
        <pc:spChg chg="add mod replST">
          <ac:chgData name="Joelle Brehm" userId="a518f54c-6985-42c0-8041-2bb16a414839" providerId="ADAL" clId="{BE3A2103-5170-40FE-A99F-CB737D9F76BC}" dt="2023-10-02T21:19:49.628" v="32013"/>
          <ac:spMkLst>
            <pc:docMk/>
            <pc:sldMk cId="592117244" sldId="275"/>
            <ac:spMk id="40" creationId="{EA684AFB-C218-2E57-6C22-6AF81611FBE3}"/>
          </ac:spMkLst>
        </pc:spChg>
        <pc:spChg chg="add del mod modVis">
          <ac:chgData name="Joelle Brehm" userId="a518f54c-6985-42c0-8041-2bb16a414839" providerId="ADAL" clId="{BE3A2103-5170-40FE-A99F-CB737D9F76BC}" dt="2023-10-02T21:19:45.646" v="31640"/>
          <ac:spMkLst>
            <pc:docMk/>
            <pc:sldMk cId="592117244" sldId="275"/>
            <ac:spMk id="41" creationId="{3AE61EB9-6E07-C164-3625-51191107001D}"/>
          </ac:spMkLst>
        </pc:spChg>
        <pc:spChg chg="add del mod modVis">
          <ac:chgData name="Joelle Brehm" userId="a518f54c-6985-42c0-8041-2bb16a414839" providerId="ADAL" clId="{BE3A2103-5170-40FE-A99F-CB737D9F76BC}" dt="2023-10-02T21:19:47.428" v="31846"/>
          <ac:spMkLst>
            <pc:docMk/>
            <pc:sldMk cId="592117244" sldId="275"/>
            <ac:spMk id="44" creationId="{D40A4C25-95E9-2A94-7ACC-6415D9AF1A85}"/>
          </ac:spMkLst>
        </pc:spChg>
        <pc:spChg chg="add del mod modVis">
          <ac:chgData name="Joelle Brehm" userId="a518f54c-6985-42c0-8041-2bb16a414839" providerId="ADAL" clId="{BE3A2103-5170-40FE-A99F-CB737D9F76BC}" dt="2023-10-02T21:19:49.647" v="32042"/>
          <ac:spMkLst>
            <pc:docMk/>
            <pc:sldMk cId="592117244" sldId="275"/>
            <ac:spMk id="46" creationId="{A5F79D9E-B95D-AACA-8CF6-D9D3E526C1F7}"/>
          </ac:spMkLst>
        </pc:spChg>
        <pc:spChg chg="mod ord">
          <ac:chgData name="Joelle Brehm" userId="a518f54c-6985-42c0-8041-2bb16a414839" providerId="ADAL" clId="{BE3A2103-5170-40FE-A99F-CB737D9F76BC}" dt="2023-10-02T21:19:49.639" v="32036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BE3A2103-5170-40FE-A99F-CB737D9F76BC}" dt="2023-10-02T21:19:49.628" v="32015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19:49.631" v="32017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BE3A2103-5170-40FE-A99F-CB737D9F76BC}" dt="2023-10-02T21:19:49.358" v="31849"/>
          <ac:spMkLst>
            <pc:docMk/>
            <pc:sldMk cId="592117244" sldId="275"/>
            <ac:spMk id="8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21" v="32004"/>
          <ac:spMkLst>
            <pc:docMk/>
            <pc:sldMk cId="592117244" sldId="275"/>
            <ac:spMk id="8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22" v="32007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20" v="32003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22" v="32008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25" v="32009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19:49.632" v="32019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19:49.633" v="32021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19:49.633" v="32023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19:49.634" v="32025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19:49.635" v="32028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36" v="32029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37" v="32030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19:49.637" v="32031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19:49.638" v="32032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19:49.665" v="32044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1:19:10.857" v="30744"/>
          <ac:graphicFrameMkLst>
            <pc:docMk/>
            <pc:sldMk cId="592117244" sldId="275"/>
            <ac:graphicFrameMk id="8" creationId="{D9B79383-7800-7051-E532-71103C98E0E8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9:49.606" v="31977"/>
          <ac:graphicFrameMkLst>
            <pc:docMk/>
            <pc:sldMk cId="592117244" sldId="275"/>
            <ac:graphicFrameMk id="9" creationId="{4A752C6F-7F75-634E-D00D-BC888E6C00A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9:49.635" v="32027"/>
          <ac:graphicFrameMkLst>
            <pc:docMk/>
            <pc:sldMk cId="592117244" sldId="275"/>
            <ac:graphicFrameMk id="38" creationId="{9220E454-7164-84AF-1342-EA6DA14E7AF9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9:47.348" v="31746"/>
          <ac:graphicFrameMkLst>
            <pc:docMk/>
            <pc:sldMk cId="592117244" sldId="275"/>
            <ac:graphicFrameMk id="42" creationId="{03703D70-C695-C74B-A7E2-FA26A2F1CC7A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9:45.572" v="31554"/>
          <ac:graphicFrameMkLst>
            <pc:docMk/>
            <pc:sldMk cId="592117244" sldId="275"/>
            <ac:graphicFrameMk id="43" creationId="{C9E15B5E-5F0F-39BF-2382-508C7FAF19B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19:49.565" v="31963"/>
          <ac:graphicFrameMkLst>
            <pc:docMk/>
            <pc:sldMk cId="592117244" sldId="275"/>
            <ac:graphicFrameMk id="45" creationId="{4FB16B0F-6099-8EE0-756E-2A449962D15F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19:37.579" v="31062"/>
          <ac:graphicFrameMkLst>
            <pc:docMk/>
            <pc:sldMk cId="592117244" sldId="275"/>
            <ac:graphicFrameMk id="47" creationId="{8D19C76F-D792-A8BD-6386-5CE9EBA4299E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19:49.618" v="32001"/>
          <ac:graphicFrameMkLst>
            <pc:docMk/>
            <pc:sldMk cId="592117244" sldId="275"/>
            <ac:graphicFrameMk id="48" creationId="{98BB25AA-41EB-503F-D3BE-8CC5E229F0D3}"/>
          </ac:graphicFrameMkLst>
        </pc:graphicFrameChg>
        <pc:picChg chg="add mod ord">
          <ac:chgData name="Joelle Brehm" userId="a518f54c-6985-42c0-8041-2bb16a414839" providerId="ADAL" clId="{BE3A2103-5170-40FE-A99F-CB737D9F76BC}" dt="2023-10-02T21:19:49.602" v="31971"/>
          <ac:picMkLst>
            <pc:docMk/>
            <pc:sldMk cId="592117244" sldId="275"/>
            <ac:picMk id="10" creationId="{F37CE858-0E8C-EBA9-66C3-70B1CD6E3453}"/>
          </ac:picMkLst>
        </pc:picChg>
        <pc:picChg chg="del mod ord">
          <ac:chgData name="Joelle Brehm" userId="a518f54c-6985-42c0-8041-2bb16a414839" providerId="ADAL" clId="{BE3A2103-5170-40FE-A99F-CB737D9F76BC}" dt="2023-10-02T21:19:29.869" v="30914" actId="478"/>
          <ac:picMkLst>
            <pc:docMk/>
            <pc:sldMk cId="592117244" sldId="275"/>
            <ac:picMk id="31" creationId="{C95B20CA-ED3A-3586-C443-245C6D413795}"/>
          </ac:picMkLst>
        </pc:picChg>
        <pc:picChg chg="mod ord">
          <ac:chgData name="Joelle Brehm" userId="a518f54c-6985-42c0-8041-2bb16a414839" providerId="ADAL" clId="{BE3A2103-5170-40FE-A99F-CB737D9F76BC}" dt="2023-10-02T21:19:49.639" v="32034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19:49.605" v="31975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26:03.211" v="34200"/>
        <pc:sldMkLst>
          <pc:docMk/>
          <pc:sldMk cId="3358644479" sldId="276"/>
        </pc:sldMkLst>
        <pc:spChg chg="mod ord">
          <ac:chgData name="Joelle Brehm" userId="a518f54c-6985-42c0-8041-2bb16a414839" providerId="ADAL" clId="{BE3A2103-5170-40FE-A99F-CB737D9F76BC}" dt="2023-10-02T21:26:03.200" v="34194"/>
          <ac:spMkLst>
            <pc:docMk/>
            <pc:sldMk cId="3358644479" sldId="276"/>
            <ac:spMk id="2" creationId="{2688F805-F703-4FD1-AEE0-0F8E6A5589FE}"/>
          </ac:spMkLst>
        </pc:spChg>
        <pc:spChg chg="del">
          <ac:chgData name="Joelle Brehm" userId="a518f54c-6985-42c0-8041-2bb16a414839" providerId="ADAL" clId="{BE3A2103-5170-40FE-A99F-CB737D9F76BC}" dt="2023-10-02T21:20:01.381" v="32045" actId="478"/>
          <ac:spMkLst>
            <pc:docMk/>
            <pc:sldMk cId="3358644479" sldId="276"/>
            <ac:spMk id="3" creationId="{4A44EEB7-C21E-4B14-A68B-3F7844EAB7A7}"/>
          </ac:spMkLst>
        </pc:spChg>
        <pc:spChg chg="add del mod modVis">
          <ac:chgData name="Joelle Brehm" userId="a518f54c-6985-42c0-8041-2bb16a414839" providerId="ADAL" clId="{BE3A2103-5170-40FE-A99F-CB737D9F76BC}" dt="2023-10-02T21:20:10.649" v="32293"/>
          <ac:spMkLst>
            <pc:docMk/>
            <pc:sldMk cId="3358644479" sldId="276"/>
            <ac:spMk id="5" creationId="{305570E5-C6BF-BAC3-0A49-19F5ECFB3BE6}"/>
          </ac:spMkLst>
        </pc:spChg>
        <pc:spChg chg="mod ord">
          <ac:chgData name="Joelle Brehm" userId="a518f54c-6985-42c0-8041-2bb16a414839" providerId="ADAL" clId="{BE3A2103-5170-40FE-A99F-CB737D9F76BC}" dt="2023-10-02T21:26:03.181" v="34129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26:03.192" v="34166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BE3A2103-5170-40FE-A99F-CB737D9F76BC}" dt="2023-10-02T21:26:03.184" v="34140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26:03.183" v="34135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26:03.184" v="34139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26:03.183" v="34136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26:03.183" v="34137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26:03.184" v="34138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26:03.183" v="34134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26:03.185" v="34141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26:03.185" v="34142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26:03.185" v="34143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26:03.185" v="34144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26:03.186" v="34145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26:03.186" v="34147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26:03.187" v="34150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26:03.187" v="34148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26:03.187" v="34149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26:03.188" v="34153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26:03.188" v="34151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26:03.188" v="34152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26:03.189" v="34155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26:03.191" v="34164"/>
          <ac:spMkLst>
            <pc:docMk/>
            <pc:sldMk cId="3358644479" sldId="276"/>
            <ac:spMk id="32" creationId="{8D25BC14-41C5-8647-5CC0-BE12A57BA555}"/>
          </ac:spMkLst>
        </pc:spChg>
        <pc:spChg chg="del mod">
          <ac:chgData name="Joelle Brehm" userId="a518f54c-6985-42c0-8041-2bb16a414839" providerId="ADAL" clId="{BE3A2103-5170-40FE-A99F-CB737D9F76BC}" dt="2023-10-02T21:25:59.407" v="33846"/>
          <ac:spMkLst>
            <pc:docMk/>
            <pc:sldMk cId="3358644479" sldId="276"/>
            <ac:spMk id="33" creationId="{F9C148ED-6941-E56C-2F19-150E6514366D}"/>
          </ac:spMkLst>
        </pc:spChg>
        <pc:spChg chg="mod">
          <ac:chgData name="Joelle Brehm" userId="a518f54c-6985-42c0-8041-2bb16a414839" providerId="ADAL" clId="{BE3A2103-5170-40FE-A99F-CB737D9F76BC}" dt="2023-10-02T21:26:03.191" v="34162"/>
          <ac:spMkLst>
            <pc:docMk/>
            <pc:sldMk cId="3358644479" sldId="276"/>
            <ac:spMk id="34" creationId="{2EC784B5-4DDF-6FD0-D462-50F110303F01}"/>
          </ac:spMkLst>
        </pc:spChg>
        <pc:spChg chg="mod">
          <ac:chgData name="Joelle Brehm" userId="a518f54c-6985-42c0-8041-2bb16a414839" providerId="ADAL" clId="{BE3A2103-5170-40FE-A99F-CB737D9F76BC}" dt="2023-10-02T21:26:03.190" v="34160"/>
          <ac:spMkLst>
            <pc:docMk/>
            <pc:sldMk cId="3358644479" sldId="276"/>
            <ac:spMk id="35" creationId="{F6E5A8F3-72AC-F44C-CACB-ED952FD27440}"/>
          </ac:spMkLst>
        </pc:spChg>
        <pc:spChg chg="add del mod modVis">
          <ac:chgData name="Joelle Brehm" userId="a518f54c-6985-42c0-8041-2bb16a414839" providerId="ADAL" clId="{BE3A2103-5170-40FE-A99F-CB737D9F76BC}" dt="2023-10-02T21:20:54.280" v="32660"/>
          <ac:spMkLst>
            <pc:docMk/>
            <pc:sldMk cId="3358644479" sldId="276"/>
            <ac:spMk id="36" creationId="{8E6A997D-2D2B-3340-474A-0DFD62007117}"/>
          </ac:spMkLst>
        </pc:spChg>
        <pc:spChg chg="mod">
          <ac:chgData name="Joelle Brehm" userId="a518f54c-6985-42c0-8041-2bb16a414839" providerId="ADAL" clId="{BE3A2103-5170-40FE-A99F-CB737D9F76BC}" dt="2023-10-02T21:26:03.191" v="34163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BE3A2103-5170-40FE-A99F-CB737D9F76BC}" dt="2023-10-02T21:26:03.190" v="34158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BE3A2103-5170-40FE-A99F-CB737D9F76BC}" dt="2023-10-02T21:26:03.198" v="34187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BE3A2103-5170-40FE-A99F-CB737D9F76BC}" dt="2023-10-02T21:26:03.198" v="34185"/>
          <ac:spMkLst>
            <pc:docMk/>
            <pc:sldMk cId="3358644479" sldId="276"/>
            <ac:spMk id="40" creationId="{BF422452-141B-CCA7-F304-DD7C41C4B026}"/>
          </ac:spMkLst>
        </pc:spChg>
        <pc:spChg chg="mod">
          <ac:chgData name="Joelle Brehm" userId="a518f54c-6985-42c0-8041-2bb16a414839" providerId="ADAL" clId="{BE3A2103-5170-40FE-A99F-CB737D9F76BC}" dt="2023-10-02T21:26:03.192" v="34167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BE3A2103-5170-40FE-A99F-CB737D9F76BC}" dt="2023-10-02T21:26:03.190" v="34159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BE3A2103-5170-40FE-A99F-CB737D9F76BC}" dt="2023-10-02T21:26:03.192" v="34165"/>
          <ac:spMkLst>
            <pc:docMk/>
            <pc:sldMk cId="3358644479" sldId="276"/>
            <ac:spMk id="44" creationId="{5C64EA04-B56C-CC91-D9A7-8AB0C80D5C79}"/>
          </ac:spMkLst>
        </pc:spChg>
        <pc:spChg chg="mod">
          <ac:chgData name="Joelle Brehm" userId="a518f54c-6985-42c0-8041-2bb16a414839" providerId="ADAL" clId="{BE3A2103-5170-40FE-A99F-CB737D9F76BC}" dt="2023-10-02T21:26:03.193" v="34168"/>
          <ac:spMkLst>
            <pc:docMk/>
            <pc:sldMk cId="3358644479" sldId="276"/>
            <ac:spMk id="45" creationId="{E2BF77D0-7FDB-BE38-6486-446042D2E6CA}"/>
          </ac:spMkLst>
        </pc:spChg>
        <pc:spChg chg="mod">
          <ac:chgData name="Joelle Brehm" userId="a518f54c-6985-42c0-8041-2bb16a414839" providerId="ADAL" clId="{BE3A2103-5170-40FE-A99F-CB737D9F76BC}" dt="2023-10-02T21:26:03.190" v="34161"/>
          <ac:spMkLst>
            <pc:docMk/>
            <pc:sldMk cId="3358644479" sldId="276"/>
            <ac:spMk id="49" creationId="{D4F90E1C-EAB9-BF7D-5820-940E92571336}"/>
          </ac:spMkLst>
        </pc:spChg>
        <pc:spChg chg="add mod replST">
          <ac:chgData name="Joelle Brehm" userId="a518f54c-6985-42c0-8041-2bb16a414839" providerId="ADAL" clId="{BE3A2103-5170-40FE-A99F-CB737D9F76BC}" dt="2023-10-02T21:26:03.193" v="34169"/>
          <ac:spMkLst>
            <pc:docMk/>
            <pc:sldMk cId="3358644479" sldId="276"/>
            <ac:spMk id="50" creationId="{EBF57C44-6BCA-2A9E-015B-FE2A2654B397}"/>
          </ac:spMkLst>
        </pc:spChg>
        <pc:spChg chg="add del mod modVis">
          <ac:chgData name="Joelle Brehm" userId="a518f54c-6985-42c0-8041-2bb16a414839" providerId="ADAL" clId="{BE3A2103-5170-40FE-A99F-CB737D9F76BC}" dt="2023-10-02T21:25:54.774" v="33631"/>
          <ac:spMkLst>
            <pc:docMk/>
            <pc:sldMk cId="3358644479" sldId="276"/>
            <ac:spMk id="51" creationId="{04549C2E-B0D3-5DA3-6050-741D595A140A}"/>
          </ac:spMkLst>
        </pc:spChg>
        <pc:spChg chg="add del mod ord replST">
          <ac:chgData name="Joelle Brehm" userId="a518f54c-6985-42c0-8041-2bb16a414839" providerId="ADAL" clId="{BE3A2103-5170-40FE-A99F-CB737D9F76BC}" dt="2023-10-02T21:25:59.525" v="33948"/>
          <ac:spMkLst>
            <pc:docMk/>
            <pc:sldMk cId="3358644479" sldId="276"/>
            <ac:spMk id="52" creationId="{7CAA3B95-4C78-4122-BECA-B5FB0F3F3764}"/>
          </ac:spMkLst>
        </pc:spChg>
        <pc:spChg chg="add del mod ord replST">
          <ac:chgData name="Joelle Brehm" userId="a518f54c-6985-42c0-8041-2bb16a414839" providerId="ADAL" clId="{BE3A2103-5170-40FE-A99F-CB737D9F76BC}" dt="2023-10-02T21:26:03.156" v="34117"/>
          <ac:spMkLst>
            <pc:docMk/>
            <pc:sldMk cId="3358644479" sldId="276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25:56.910" v="33843"/>
          <ac:spMkLst>
            <pc:docMk/>
            <pc:sldMk cId="3358644479" sldId="276"/>
            <ac:spMk id="55" creationId="{E442E92D-65C9-69A9-FA7B-B67A3D491F05}"/>
          </ac:spMkLst>
        </pc:spChg>
        <pc:spChg chg="mod ord">
          <ac:chgData name="Joelle Brehm" userId="a518f54c-6985-42c0-8041-2bb16a414839" providerId="ADAL" clId="{BE3A2103-5170-40FE-A99F-CB737D9F76BC}" dt="2023-10-02T21:26:03.199" v="34192"/>
          <ac:spMkLst>
            <pc:docMk/>
            <pc:sldMk cId="3358644479" sldId="276"/>
            <ac:spMk id="58" creationId="{0CB06D1E-8664-4C1B-9ACF-854D6C46B776}"/>
          </ac:spMkLst>
        </pc:spChg>
        <pc:spChg chg="mod">
          <ac:chgData name="Joelle Brehm" userId="a518f54c-6985-42c0-8041-2bb16a414839" providerId="ADAL" clId="{BE3A2103-5170-40FE-A99F-CB737D9F76BC}" dt="2023-10-02T21:26:03.198" v="34188"/>
          <ac:spMkLst>
            <pc:docMk/>
            <pc:sldMk cId="3358644479" sldId="276"/>
            <ac:spMk id="59" creationId="{5164D3E0-C681-43D3-E345-132BB4AD109F}"/>
          </ac:spMkLst>
        </pc:spChg>
        <pc:spChg chg="add del mod modVis">
          <ac:chgData name="Joelle Brehm" userId="a518f54c-6985-42c0-8041-2bb16a414839" providerId="ADAL" clId="{BE3A2103-5170-40FE-A99F-CB737D9F76BC}" dt="2023-10-02T21:25:59.600" v="34045"/>
          <ac:spMkLst>
            <pc:docMk/>
            <pc:sldMk cId="3358644479" sldId="276"/>
            <ac:spMk id="60" creationId="{69594AEC-7EA9-A686-6DF5-A632AA34A74C}"/>
          </ac:spMkLst>
        </pc:spChg>
        <pc:spChg chg="add del mod modVis">
          <ac:chgData name="Joelle Brehm" userId="a518f54c-6985-42c0-8041-2bb16a414839" providerId="ADAL" clId="{BE3A2103-5170-40FE-A99F-CB737D9F76BC}" dt="2023-10-02T21:26:03.202" v="34198"/>
          <ac:spMkLst>
            <pc:docMk/>
            <pc:sldMk cId="3358644479" sldId="276"/>
            <ac:spMk id="63" creationId="{E768B861-4E27-1AF0-D268-C3F245D01E16}"/>
          </ac:spMkLst>
        </pc:spChg>
        <pc:spChg chg="mod ord">
          <ac:chgData name="Joelle Brehm" userId="a518f54c-6985-42c0-8041-2bb16a414839" providerId="ADAL" clId="{BE3A2103-5170-40FE-A99F-CB737D9F76BC}" dt="2023-10-02T21:26:03.194" v="34171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26:03.194" v="34173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26:03.195" v="34175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26:03.195" v="34177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26:03.196" v="34179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26:03.196" v="34181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26:03.197" v="34184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6:03.198" v="34186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BE3A2103-5170-40FE-A99F-CB737D9F76BC}" dt="2023-10-02T21:26:03.211" v="34200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1:20:10.403" v="32212"/>
          <ac:graphicFrameMkLst>
            <pc:docMk/>
            <pc:sldMk cId="3358644479" sldId="276"/>
            <ac:graphicFrameMk id="8" creationId="{2C30A473-B1BD-E118-0BCB-8DDF9991CCE6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6:03.182" v="34133"/>
          <ac:graphicFrameMkLst>
            <pc:docMk/>
            <pc:sldMk cId="3358644479" sldId="276"/>
            <ac:graphicFrameMk id="9" creationId="{6AB9FB15-7776-7663-1B6A-197311D49DE0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5:35.159" v="32682"/>
          <ac:graphicFrameMkLst>
            <pc:docMk/>
            <pc:sldMk cId="3358644479" sldId="276"/>
            <ac:graphicFrameMk id="46" creationId="{F0D5EF10-BBA1-1FF2-C311-50697C8D0E28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5:36.183" v="32781"/>
          <ac:graphicFrameMkLst>
            <pc:docMk/>
            <pc:sldMk cId="3358644479" sldId="276"/>
            <ac:graphicFrameMk id="47" creationId="{2F3CCC74-332A-E8E1-178E-54B18740C32F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6:03.197" v="34183"/>
          <ac:graphicFrameMkLst>
            <pc:docMk/>
            <pc:sldMk cId="3358644479" sldId="276"/>
            <ac:graphicFrameMk id="48" creationId="{EC6B067F-26AA-B3C9-7D05-5BC33E5A003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5:56.835" v="33739"/>
          <ac:graphicFrameMkLst>
            <pc:docMk/>
            <pc:sldMk cId="3358644479" sldId="276"/>
            <ac:graphicFrameMk id="54" creationId="{1E40EFEC-E91C-531A-D1CC-9819E94BF2A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5:59.535" v="33964"/>
          <ac:graphicFrameMkLst>
            <pc:docMk/>
            <pc:sldMk cId="3358644479" sldId="276"/>
            <ac:graphicFrameMk id="56" creationId="{0F8ECEAD-4A6D-8D4B-2E0D-23E860517395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5:54.669" v="33545"/>
          <ac:graphicFrameMkLst>
            <pc:docMk/>
            <pc:sldMk cId="3358644479" sldId="276"/>
            <ac:graphicFrameMk id="57" creationId="{4B6DAC9D-639C-EDE9-86E4-D22C78755E0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6:03.157" v="34119"/>
          <ac:graphicFrameMkLst>
            <pc:docMk/>
            <pc:sldMk cId="3358644479" sldId="276"/>
            <ac:graphicFrameMk id="61" creationId="{B21FBB92-93C8-8481-D4DB-451E3A2033AD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0:54.175" v="32581"/>
          <ac:graphicFrameMkLst>
            <pc:docMk/>
            <pc:sldMk cId="3358644479" sldId="276"/>
            <ac:graphicFrameMk id="62" creationId="{D48A623C-9E34-A498-2AFE-D6D9AD4CD090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6:03.189" v="34157"/>
          <ac:graphicFrameMkLst>
            <pc:docMk/>
            <pc:sldMk cId="3358644479" sldId="276"/>
            <ac:graphicFrameMk id="64" creationId="{B72054D2-7723-D344-EB15-B2CA972DE88E}"/>
          </ac:graphicFrameMkLst>
        </pc:graphicFrameChg>
        <pc:picChg chg="add mod ord">
          <ac:chgData name="Joelle Brehm" userId="a518f54c-6985-42c0-8041-2bb16a414839" providerId="ADAL" clId="{BE3A2103-5170-40FE-A99F-CB737D9F76BC}" dt="2023-10-02T21:26:03.181" v="34127"/>
          <ac:picMkLst>
            <pc:docMk/>
            <pc:sldMk cId="3358644479" sldId="276"/>
            <ac:picMk id="31" creationId="{BDC2E65F-E8A9-DA3C-CD06-5B9F0F73190B}"/>
          </ac:picMkLst>
        </pc:picChg>
        <pc:picChg chg="del mod ord">
          <ac:chgData name="Joelle Brehm" userId="a518f54c-6985-42c0-8041-2bb16a414839" providerId="ADAL" clId="{BE3A2103-5170-40FE-A99F-CB737D9F76BC}" dt="2023-10-02T21:20:33.906" v="32380" actId="478"/>
          <ac:picMkLst>
            <pc:docMk/>
            <pc:sldMk cId="3358644479" sldId="276"/>
            <ac:picMk id="43" creationId="{D1EE9B4D-868A-B464-6290-5AA35CBC2433}"/>
          </ac:picMkLst>
        </pc:picChg>
        <pc:picChg chg="mod ord">
          <ac:chgData name="Joelle Brehm" userId="a518f54c-6985-42c0-8041-2bb16a414839" providerId="ADAL" clId="{BE3A2103-5170-40FE-A99F-CB737D9F76BC}" dt="2023-10-02T21:26:03.199" v="34190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26:03.182" v="34131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26:52.128" v="35905"/>
        <pc:sldMkLst>
          <pc:docMk/>
          <pc:sldMk cId="1336352168" sldId="277"/>
        </pc:sldMkLst>
        <pc:spChg chg="mod ord">
          <ac:chgData name="Joelle Brehm" userId="a518f54c-6985-42c0-8041-2bb16a414839" providerId="ADAL" clId="{BE3A2103-5170-40FE-A99F-CB737D9F76BC}" dt="2023-10-02T21:26:52.104" v="35899"/>
          <ac:spMkLst>
            <pc:docMk/>
            <pc:sldMk cId="1336352168" sldId="277"/>
            <ac:spMk id="2" creationId="{92BF2826-0C6B-4A3A-89A1-7B17EE6A8135}"/>
          </ac:spMkLst>
        </pc:spChg>
        <pc:spChg chg="del">
          <ac:chgData name="Joelle Brehm" userId="a518f54c-6985-42c0-8041-2bb16a414839" providerId="ADAL" clId="{BE3A2103-5170-40FE-A99F-CB737D9F76BC}" dt="2023-10-02T21:26:10.074" v="34201" actId="478"/>
          <ac:spMkLst>
            <pc:docMk/>
            <pc:sldMk cId="1336352168" sldId="277"/>
            <ac:spMk id="3" creationId="{441976A0-F8F9-01B1-0284-319DD99A84D4}"/>
          </ac:spMkLst>
        </pc:spChg>
        <pc:spChg chg="add del mod modVis">
          <ac:chgData name="Joelle Brehm" userId="a518f54c-6985-42c0-8041-2bb16a414839" providerId="ADAL" clId="{BE3A2103-5170-40FE-A99F-CB737D9F76BC}" dt="2023-10-02T21:26:17.460" v="34461"/>
          <ac:spMkLst>
            <pc:docMk/>
            <pc:sldMk cId="1336352168" sldId="277"/>
            <ac:spMk id="5" creationId="{DB82713E-E326-E1FC-A0E7-38A198FAC721}"/>
          </ac:spMkLst>
        </pc:spChg>
        <pc:spChg chg="mod ord">
          <ac:chgData name="Joelle Brehm" userId="a518f54c-6985-42c0-8041-2bb16a414839" providerId="ADAL" clId="{BE3A2103-5170-40FE-A99F-CB737D9F76BC}" dt="2023-10-02T21:26:52.071" v="35834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26:52.074" v="35840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26:52.076" v="35843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26:52.077" v="35845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26:52.076" v="35842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26:52.075" v="35841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26:52.074" v="35839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26:52.077" v="35844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26:52.078" v="35847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26:52.078" v="35848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26:52.078" v="35846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26:52.080" v="35849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26:52.080" v="35850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26:52.080" v="35852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26:52.080" v="35855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26:52.080" v="35853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26:52.080" v="35854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26:52.080" v="35857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26:52.080" v="35856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26:52.080" v="35858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26:52.086" v="35860"/>
          <ac:spMkLst>
            <pc:docMk/>
            <pc:sldMk cId="1336352168" sldId="277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2T21:26:42.336" v="34785"/>
          <ac:spMkLst>
            <pc:docMk/>
            <pc:sldMk cId="1336352168" sldId="277"/>
            <ac:spMk id="32" creationId="{0DF20333-F929-DE08-3E68-81101AE3ED5C}"/>
          </ac:spMkLst>
        </pc:spChg>
        <pc:spChg chg="del mod">
          <ac:chgData name="Joelle Brehm" userId="a518f54c-6985-42c0-8041-2bb16a414839" providerId="ADAL" clId="{BE3A2103-5170-40FE-A99F-CB737D9F76BC}" dt="2023-10-02T21:26:51.865" v="35702"/>
          <ac:spMkLst>
            <pc:docMk/>
            <pc:sldMk cId="1336352168" sldId="277"/>
            <ac:spMk id="33" creationId="{CBC56295-E0C4-1963-15A7-B869935D155D}"/>
          </ac:spMkLst>
        </pc:spChg>
        <pc:spChg chg="mod">
          <ac:chgData name="Joelle Brehm" userId="a518f54c-6985-42c0-8041-2bb16a414839" providerId="ADAL" clId="{BE3A2103-5170-40FE-A99F-CB737D9F76BC}" dt="2023-10-02T21:26:52.088" v="35864"/>
          <ac:spMkLst>
            <pc:docMk/>
            <pc:sldMk cId="1336352168" sldId="277"/>
            <ac:spMk id="34" creationId="{AC95B571-934C-3912-0ACC-4C3A108EC104}"/>
          </ac:spMkLst>
        </pc:spChg>
        <pc:spChg chg="mod">
          <ac:chgData name="Joelle Brehm" userId="a518f54c-6985-42c0-8041-2bb16a414839" providerId="ADAL" clId="{BE3A2103-5170-40FE-A99F-CB737D9F76BC}" dt="2023-10-02T21:26:52.088" v="35865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BE3A2103-5170-40FE-A99F-CB737D9F76BC}" dt="2023-10-02T21:26:52.089" v="35866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BE3A2103-5170-40FE-A99F-CB737D9F76BC}" dt="2023-10-02T21:26:52.089" v="35867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BE3A2103-5170-40FE-A99F-CB737D9F76BC}" dt="2023-10-02T21:26:52.089" v="35869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BE3A2103-5170-40FE-A99F-CB737D9F76BC}" dt="2023-10-02T21:26:52.089" v="35868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BE3A2103-5170-40FE-A99F-CB737D9F76BC}" dt="2023-10-02T21:26:52.090" v="35871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BE3A2103-5170-40FE-A99F-CB737D9F76BC}" dt="2023-10-02T21:26:52.090" v="35872"/>
          <ac:spMkLst>
            <pc:docMk/>
            <pc:sldMk cId="1336352168" sldId="277"/>
            <ac:spMk id="41" creationId="{1E1294CE-F17B-FB84-754E-490C164E1AF9}"/>
          </ac:spMkLst>
        </pc:spChg>
        <pc:spChg chg="mod">
          <ac:chgData name="Joelle Brehm" userId="a518f54c-6985-42c0-8041-2bb16a414839" providerId="ADAL" clId="{BE3A2103-5170-40FE-A99F-CB737D9F76BC}" dt="2023-10-02T21:26:52.091" v="35873"/>
          <ac:spMkLst>
            <pc:docMk/>
            <pc:sldMk cId="1336352168" sldId="277"/>
            <ac:spMk id="42" creationId="{04656030-ED65-550D-E841-3EC7F85E35CF}"/>
          </ac:spMkLst>
        </pc:spChg>
        <pc:spChg chg="mod">
          <ac:chgData name="Joelle Brehm" userId="a518f54c-6985-42c0-8041-2bb16a414839" providerId="ADAL" clId="{BE3A2103-5170-40FE-A99F-CB737D9F76BC}" dt="2023-10-02T21:26:52.088" v="35863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BE3A2103-5170-40FE-A99F-CB737D9F76BC}" dt="2023-10-02T21:26:52.090" v="35870"/>
          <ac:spMkLst>
            <pc:docMk/>
            <pc:sldMk cId="1336352168" sldId="277"/>
            <ac:spMk id="44" creationId="{948C7430-EE17-A200-FEA6-849EEC95829A}"/>
          </ac:spMkLst>
        </pc:spChg>
        <pc:spChg chg="add mod replST">
          <ac:chgData name="Joelle Brehm" userId="a518f54c-6985-42c0-8041-2bb16a414839" providerId="ADAL" clId="{BE3A2103-5170-40FE-A99F-CB737D9F76BC}" dt="2023-10-02T21:26:52.091" v="35874"/>
          <ac:spMkLst>
            <pc:docMk/>
            <pc:sldMk cId="1336352168" sldId="277"/>
            <ac:spMk id="46" creationId="{F7A7DC41-8925-BEE0-D237-2FE7B5C8A67F}"/>
          </ac:spMkLst>
        </pc:spChg>
        <pc:spChg chg="add del mod modVis">
          <ac:chgData name="Joelle Brehm" userId="a518f54c-6985-42c0-8041-2bb16a414839" providerId="ADAL" clId="{BE3A2103-5170-40FE-A99F-CB737D9F76BC}" dt="2023-10-02T21:26:48.307" v="35474"/>
          <ac:spMkLst>
            <pc:docMk/>
            <pc:sldMk cId="1336352168" sldId="277"/>
            <ac:spMk id="47" creationId="{DCAE675C-67B9-BD00-B6C0-399CE1A12FA6}"/>
          </ac:spMkLst>
        </pc:spChg>
        <pc:spChg chg="add del mod ord replST">
          <ac:chgData name="Joelle Brehm" userId="a518f54c-6985-42c0-8041-2bb16a414839" providerId="ADAL" clId="{BE3A2103-5170-40FE-A99F-CB737D9F76BC}" dt="2023-10-02T21:26:51.992" v="35777"/>
          <ac:spMkLst>
            <pc:docMk/>
            <pc:sldMk cId="1336352168" sldId="277"/>
            <ac:spMk id="48" creationId="{7CAA3B95-4C78-4122-BECA-B5FB0F3F3764}"/>
          </ac:spMkLst>
        </pc:spChg>
        <pc:spChg chg="add del mod ord replST">
          <ac:chgData name="Joelle Brehm" userId="a518f54c-6985-42c0-8041-2bb16a414839" providerId="ADAL" clId="{BE3A2103-5170-40FE-A99F-CB737D9F76BC}" dt="2023-10-02T21:26:52.018" v="35812"/>
          <ac:spMkLst>
            <pc:docMk/>
            <pc:sldMk cId="1336352168" sldId="277"/>
            <ac:spMk id="49" creationId="{7CAA3B95-4C78-4122-BECA-B5FB0F3F3764}"/>
          </ac:spMkLst>
        </pc:spChg>
        <pc:spChg chg="add del mod replST">
          <ac:chgData name="Joelle Brehm" userId="a518f54c-6985-42c0-8041-2bb16a414839" providerId="ADAL" clId="{BE3A2103-5170-40FE-A99F-CB737D9F76BC}" dt="2023-10-02T21:26:50.743" v="35593"/>
          <ac:spMkLst>
            <pc:docMk/>
            <pc:sldMk cId="1336352168" sldId="277"/>
            <ac:spMk id="51" creationId="{087E768E-BAF2-5F7C-0499-23E4173ACD60}"/>
          </ac:spMkLst>
        </pc:spChg>
        <pc:spChg chg="add del mod modVis">
          <ac:chgData name="Joelle Brehm" userId="a518f54c-6985-42c0-8041-2bb16a414839" providerId="ADAL" clId="{BE3A2103-5170-40FE-A99F-CB737D9F76BC}" dt="2023-10-02T21:26:50.875" v="35699"/>
          <ac:spMkLst>
            <pc:docMk/>
            <pc:sldMk cId="1336352168" sldId="277"/>
            <ac:spMk id="53" creationId="{E9592964-9EBE-9091-773E-16F94165332E}"/>
          </ac:spMkLst>
        </pc:spChg>
        <pc:spChg chg="add del mod modVis">
          <ac:chgData name="Joelle Brehm" userId="a518f54c-6985-42c0-8041-2bb16a414839" providerId="ADAL" clId="{BE3A2103-5170-40FE-A99F-CB737D9F76BC}" dt="2023-10-02T21:26:52.107" v="35903"/>
          <ac:spMkLst>
            <pc:docMk/>
            <pc:sldMk cId="1336352168" sldId="277"/>
            <ac:spMk id="55" creationId="{D4DAC186-9BC3-BFF4-AAEE-86B07A918DB5}"/>
          </ac:spMkLst>
        </pc:spChg>
        <pc:spChg chg="mod ord">
          <ac:chgData name="Joelle Brehm" userId="a518f54c-6985-42c0-8041-2bb16a414839" providerId="ADAL" clId="{BE3A2103-5170-40FE-A99F-CB737D9F76BC}" dt="2023-10-02T21:26:52.103" v="35897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BE3A2103-5170-40FE-A99F-CB737D9F76BC}" dt="2023-10-02T21:26:52.093" v="35876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26:52.094" v="35878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26:52.094" v="35880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26:52.095" v="35882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26:52.096" v="35884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26:52.097" v="35886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26:52.099" v="35891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6:52.099" v="35890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6:52.100" v="35892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6:52.098" v="35889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26:52.100" v="35893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26:52.128" v="35905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6:52.073" v="35838"/>
          <ac:graphicFrameMkLst>
            <pc:docMk/>
            <pc:sldMk cId="1336352168" sldId="277"/>
            <ac:graphicFrameMk id="8" creationId="{B14CC06F-388F-222D-156B-F72E000DAA19}"/>
          </ac:graphicFrameMkLst>
        </pc:graphicFrameChg>
        <pc:graphicFrameChg chg="del">
          <ac:chgData name="Joelle Brehm" userId="a518f54c-6985-42c0-8041-2bb16a414839" providerId="ADAL" clId="{BE3A2103-5170-40FE-A99F-CB737D9F76BC}" dt="2023-10-02T21:26:17.402" v="34378"/>
          <ac:graphicFrameMkLst>
            <pc:docMk/>
            <pc:sldMk cId="1336352168" sldId="277"/>
            <ac:graphicFrameMk id="9" creationId="{97E79F06-3B00-03AF-E24B-77CECCA4E0C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6:52.097" v="35888"/>
          <ac:graphicFrameMkLst>
            <pc:docMk/>
            <pc:sldMk cId="1336352168" sldId="277"/>
            <ac:graphicFrameMk id="45" creationId="{CA5B6778-38DF-0081-0FDE-3F24AFBD89D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6:50.745" v="35595"/>
          <ac:graphicFrameMkLst>
            <pc:docMk/>
            <pc:sldMk cId="1336352168" sldId="277"/>
            <ac:graphicFrameMk id="50" creationId="{A1050D84-FC28-A64F-4B69-2EA00DE8CF4C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6:48.240" v="35384"/>
          <ac:graphicFrameMkLst>
            <pc:docMk/>
            <pc:sldMk cId="1336352168" sldId="277"/>
            <ac:graphicFrameMk id="52" creationId="{185808E7-693A-5F8D-9BCB-FD415CBE1D9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6:52.028" v="35824"/>
          <ac:graphicFrameMkLst>
            <pc:docMk/>
            <pc:sldMk cId="1336352168" sldId="277"/>
            <ac:graphicFrameMk id="54" creationId="{412F15A5-8097-FB3F-6F73-0C0591700A53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6:52.087" v="35862"/>
          <ac:graphicFrameMkLst>
            <pc:docMk/>
            <pc:sldMk cId="1336352168" sldId="277"/>
            <ac:graphicFrameMk id="56" creationId="{60744E60-301E-BED0-485A-4D1072D61539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6:42.259" v="34706"/>
          <ac:graphicFrameMkLst>
            <pc:docMk/>
            <pc:sldMk cId="1336352168" sldId="277"/>
            <ac:graphicFrameMk id="57" creationId="{C7DF0206-4D7A-7022-3F34-3E07BC6D453F}"/>
          </ac:graphicFrameMkLst>
        </pc:graphicFrameChg>
        <pc:picChg chg="del mod ord">
          <ac:chgData name="Joelle Brehm" userId="a518f54c-6985-42c0-8041-2bb16a414839" providerId="ADAL" clId="{BE3A2103-5170-40FE-A99F-CB737D9F76BC}" dt="2023-10-02T21:26:32.909" v="34546" actId="478"/>
          <ac:picMkLst>
            <pc:docMk/>
            <pc:sldMk cId="1336352168" sldId="277"/>
            <ac:picMk id="10" creationId="{8304ABDD-EE0A-F199-2576-DC2604AA1D65}"/>
          </ac:picMkLst>
        </pc:picChg>
        <pc:picChg chg="add mod ord">
          <ac:chgData name="Joelle Brehm" userId="a518f54c-6985-42c0-8041-2bb16a414839" providerId="ADAL" clId="{BE3A2103-5170-40FE-A99F-CB737D9F76BC}" dt="2023-10-02T21:26:52.070" v="35832"/>
          <ac:picMkLst>
            <pc:docMk/>
            <pc:sldMk cId="1336352168" sldId="277"/>
            <ac:picMk id="31" creationId="{2876E10C-9EA2-E1F2-39AD-DC20339E852F}"/>
          </ac:picMkLst>
        </pc:picChg>
        <pc:picChg chg="mod ord">
          <ac:chgData name="Joelle Brehm" userId="a518f54c-6985-42c0-8041-2bb16a414839" providerId="ADAL" clId="{BE3A2103-5170-40FE-A99F-CB737D9F76BC}" dt="2023-10-02T21:26:52.102" v="35895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26:52.072" v="35836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28:09.113" v="37440"/>
        <pc:sldMkLst>
          <pc:docMk/>
          <pc:sldMk cId="1379386497" sldId="278"/>
        </pc:sldMkLst>
        <pc:spChg chg="mod ord">
          <ac:chgData name="Joelle Brehm" userId="a518f54c-6985-42c0-8041-2bb16a414839" providerId="ADAL" clId="{BE3A2103-5170-40FE-A99F-CB737D9F76BC}" dt="2023-10-02T21:28:09.072" v="37434"/>
          <ac:spMkLst>
            <pc:docMk/>
            <pc:sldMk cId="1379386497" sldId="278"/>
            <ac:spMk id="2" creationId="{F45C2660-F634-4943-BD78-279946171050}"/>
          </ac:spMkLst>
        </pc:spChg>
        <pc:spChg chg="del">
          <ac:chgData name="Joelle Brehm" userId="a518f54c-6985-42c0-8041-2bb16a414839" providerId="ADAL" clId="{BE3A2103-5170-40FE-A99F-CB737D9F76BC}" dt="2023-10-02T21:27:01.815" v="35906" actId="478"/>
          <ac:spMkLst>
            <pc:docMk/>
            <pc:sldMk cId="1379386497" sldId="278"/>
            <ac:spMk id="3" creationId="{BA991709-1B73-E616-F879-75D164DB8DF1}"/>
          </ac:spMkLst>
        </pc:spChg>
        <pc:spChg chg="add del mod modVis">
          <ac:chgData name="Joelle Brehm" userId="a518f54c-6985-42c0-8041-2bb16a414839" providerId="ADAL" clId="{BE3A2103-5170-40FE-A99F-CB737D9F76BC}" dt="2023-10-02T21:27:12.792" v="36162"/>
          <ac:spMkLst>
            <pc:docMk/>
            <pc:sldMk cId="1379386497" sldId="278"/>
            <ac:spMk id="5" creationId="{64F08058-1C59-BA97-FF5E-B26FC7C48AC1}"/>
          </ac:spMkLst>
        </pc:spChg>
        <pc:spChg chg="mod ord">
          <ac:chgData name="Joelle Brehm" userId="a518f54c-6985-42c0-8041-2bb16a414839" providerId="ADAL" clId="{BE3A2103-5170-40FE-A99F-CB737D9F76BC}" dt="2023-10-02T21:28:09.012" v="37369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28:09.022" v="37381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28:09.017" v="37375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28:09.020" v="37378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28:09.019" v="37376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28:09.020" v="37377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28:09.021" v="37380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28:09.017" v="37374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28:09.020" v="37379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28:09.023" v="37382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28:09.023" v="37383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28:09.024" v="37384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28:09.024" v="37385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28:09.026" v="37387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28:09.029" v="37388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28:09.030" v="37389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28:09.031" v="37390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28:09.031" v="37393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28:09.031" v="37391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28:09.031" v="37392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28:09.031" v="37395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28:09.040" v="37399"/>
          <ac:spMkLst>
            <pc:docMk/>
            <pc:sldMk cId="1379386497" sldId="278"/>
            <ac:spMk id="32" creationId="{1170C7BB-6AE4-3790-934D-53510906BEC9}"/>
          </ac:spMkLst>
        </pc:spChg>
        <pc:spChg chg="del mod">
          <ac:chgData name="Joelle Brehm" userId="a518f54c-6985-42c0-8041-2bb16a414839" providerId="ADAL" clId="{BE3A2103-5170-40FE-A99F-CB737D9F76BC}" dt="2023-10-02T21:28:08.632" v="37249"/>
          <ac:spMkLst>
            <pc:docMk/>
            <pc:sldMk cId="1379386497" sldId="278"/>
            <ac:spMk id="33" creationId="{EE1A50AB-3C6E-8AC0-42BD-B22810C4182F}"/>
          </ac:spMkLst>
        </pc:spChg>
        <pc:spChg chg="mod">
          <ac:chgData name="Joelle Brehm" userId="a518f54c-6985-42c0-8041-2bb16a414839" providerId="ADAL" clId="{BE3A2103-5170-40FE-A99F-CB737D9F76BC}" dt="2023-10-02T21:28:09.041" v="37400"/>
          <ac:spMkLst>
            <pc:docMk/>
            <pc:sldMk cId="1379386497" sldId="278"/>
            <ac:spMk id="34" creationId="{0B03BBFD-783A-B231-2FA9-DA2AD304A2F4}"/>
          </ac:spMkLst>
        </pc:spChg>
        <pc:spChg chg="mod">
          <ac:chgData name="Joelle Brehm" userId="a518f54c-6985-42c0-8041-2bb16a414839" providerId="ADAL" clId="{BE3A2103-5170-40FE-A99F-CB737D9F76BC}" dt="2023-10-02T21:28:09.043" v="37402"/>
          <ac:spMkLst>
            <pc:docMk/>
            <pc:sldMk cId="1379386497" sldId="278"/>
            <ac:spMk id="35" creationId="{F2CF5D67-71BE-8A59-E229-76C2662CAC06}"/>
          </ac:spMkLst>
        </pc:spChg>
        <pc:spChg chg="add del mod modVis">
          <ac:chgData name="Joelle Brehm" userId="a518f54c-6985-42c0-8041-2bb16a414839" providerId="ADAL" clId="{BE3A2103-5170-40FE-A99F-CB737D9F76BC}" dt="2023-10-02T21:27:58.224" v="36524"/>
          <ac:spMkLst>
            <pc:docMk/>
            <pc:sldMk cId="1379386497" sldId="278"/>
            <ac:spMk id="36" creationId="{75757908-99CB-68EC-9383-244F3212BB1C}"/>
          </ac:spMkLst>
        </pc:spChg>
        <pc:spChg chg="mod">
          <ac:chgData name="Joelle Brehm" userId="a518f54c-6985-42c0-8041-2bb16a414839" providerId="ADAL" clId="{BE3A2103-5170-40FE-A99F-CB737D9F76BC}" dt="2023-10-02T21:28:09.042" v="37401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BE3A2103-5170-40FE-A99F-CB737D9F76BC}" dt="2023-10-02T21:28:09.064" v="37426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BE3A2103-5170-40FE-A99F-CB737D9F76BC}" dt="2023-10-02T21:28:09.067" v="37428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BE3A2103-5170-40FE-A99F-CB737D9F76BC}" dt="2023-10-02T21:28:09.040" v="37398"/>
          <ac:spMkLst>
            <pc:docMk/>
            <pc:sldMk cId="1379386497" sldId="278"/>
            <ac:spMk id="40" creationId="{19EAC242-0641-3DCA-CBDC-E602B8F0CB05}"/>
          </ac:spMkLst>
        </pc:spChg>
        <pc:spChg chg="mod">
          <ac:chgData name="Joelle Brehm" userId="a518f54c-6985-42c0-8041-2bb16a414839" providerId="ADAL" clId="{BE3A2103-5170-40FE-A99F-CB737D9F76BC}" dt="2023-10-02T21:28:09.049" v="37408"/>
          <ac:spMkLst>
            <pc:docMk/>
            <pc:sldMk cId="1379386497" sldId="278"/>
            <ac:spMk id="41" creationId="{2CE2D9E3-933C-589B-9FDF-AD85A36D3F72}"/>
          </ac:spMkLst>
        </pc:spChg>
        <pc:spChg chg="mod">
          <ac:chgData name="Joelle Brehm" userId="a518f54c-6985-42c0-8041-2bb16a414839" providerId="ADAL" clId="{BE3A2103-5170-40FE-A99F-CB737D9F76BC}" dt="2023-10-02T21:28:09.047" v="37406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BE3A2103-5170-40FE-A99F-CB737D9F76BC}" dt="2023-10-02T21:28:09.046" v="37404"/>
          <ac:spMkLst>
            <pc:docMk/>
            <pc:sldMk cId="1379386497" sldId="278"/>
            <ac:spMk id="44" creationId="{63FB28D8-4BD3-7848-F08F-4920117655F2}"/>
          </ac:spMkLst>
        </pc:spChg>
        <pc:spChg chg="add mod replST">
          <ac:chgData name="Joelle Brehm" userId="a518f54c-6985-42c0-8041-2bb16a414839" providerId="ADAL" clId="{BE3A2103-5170-40FE-A99F-CB737D9F76BC}" dt="2023-10-02T21:28:09.050" v="37409"/>
          <ac:spMkLst>
            <pc:docMk/>
            <pc:sldMk cId="1379386497" sldId="278"/>
            <ac:spMk id="45" creationId="{905B75A0-9675-8F59-A2F9-EC525ACC9D40}"/>
          </ac:spMkLst>
        </pc:spChg>
        <pc:spChg chg="mod">
          <ac:chgData name="Joelle Brehm" userId="a518f54c-6985-42c0-8041-2bb16a414839" providerId="ADAL" clId="{BE3A2103-5170-40FE-A99F-CB737D9F76BC}" dt="2023-10-02T21:28:09.043" v="37403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BE3A2103-5170-40FE-A99F-CB737D9F76BC}" dt="2023-10-02T21:28:09.048" v="37407"/>
          <ac:spMkLst>
            <pc:docMk/>
            <pc:sldMk cId="1379386497" sldId="278"/>
            <ac:spMk id="47" creationId="{6057FFE7-9F54-EBDD-8215-FE17C631267E}"/>
          </ac:spMkLst>
        </pc:spChg>
        <pc:spChg chg="add del mod modVis">
          <ac:chgData name="Joelle Brehm" userId="a518f54c-6985-42c0-8041-2bb16a414839" providerId="ADAL" clId="{BE3A2103-5170-40FE-A99F-CB737D9F76BC}" dt="2023-10-02T21:28:05.964" v="37046"/>
          <ac:spMkLst>
            <pc:docMk/>
            <pc:sldMk cId="1379386497" sldId="278"/>
            <ac:spMk id="48" creationId="{DC196E2F-0160-DC4A-BAAB-AB18E02B6BC9}"/>
          </ac:spMkLst>
        </pc:spChg>
        <pc:spChg chg="add del mod modVis">
          <ac:chgData name="Joelle Brehm" userId="a518f54c-6985-42c0-8041-2bb16a414839" providerId="ADAL" clId="{BE3A2103-5170-40FE-A99F-CB737D9F76BC}" dt="2023-10-02T21:28:06.838" v="37246"/>
          <ac:spMkLst>
            <pc:docMk/>
            <pc:sldMk cId="1379386497" sldId="278"/>
            <ac:spMk id="50" creationId="{52A07604-8E5A-00D8-9F93-02040F132157}"/>
          </ac:spMkLst>
        </pc:spChg>
        <pc:spChg chg="add del mod modVis">
          <ac:chgData name="Joelle Brehm" userId="a518f54c-6985-42c0-8041-2bb16a414839" providerId="ADAL" clId="{BE3A2103-5170-40FE-A99F-CB737D9F76BC}" dt="2023-10-02T21:28:09.080" v="37438"/>
          <ac:spMkLst>
            <pc:docMk/>
            <pc:sldMk cId="1379386497" sldId="278"/>
            <ac:spMk id="53" creationId="{DC3719AE-5EFC-C4FC-185B-365D60A22ABF}"/>
          </ac:spMkLst>
        </pc:spChg>
        <pc:spChg chg="mod ord">
          <ac:chgData name="Joelle Brehm" userId="a518f54c-6985-42c0-8041-2bb16a414839" providerId="ADAL" clId="{BE3A2103-5170-40FE-A99F-CB737D9F76BC}" dt="2023-10-02T21:28:09.070" v="37432"/>
          <ac:spMkLst>
            <pc:docMk/>
            <pc:sldMk cId="1379386497" sldId="278"/>
            <ac:spMk id="58" creationId="{78B81F80-FD88-43AD-B1EA-9D49D321CFA2}"/>
          </ac:spMkLst>
        </pc:spChg>
        <pc:spChg chg="mod">
          <ac:chgData name="Joelle Brehm" userId="a518f54c-6985-42c0-8041-2bb16a414839" providerId="ADAL" clId="{BE3A2103-5170-40FE-A99F-CB737D9F76BC}" dt="2023-10-02T21:28:09.046" v="37405"/>
          <ac:spMkLst>
            <pc:docMk/>
            <pc:sldMk cId="1379386497" sldId="278"/>
            <ac:spMk id="60" creationId="{2B15A064-F539-2DBC-4751-EC9AD27E414F}"/>
          </ac:spMkLst>
        </pc:spChg>
        <pc:spChg chg="mod ord">
          <ac:chgData name="Joelle Brehm" userId="a518f54c-6985-42c0-8041-2bb16a414839" providerId="ADAL" clId="{BE3A2103-5170-40FE-A99F-CB737D9F76BC}" dt="2023-10-02T21:28:09.051" v="37411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28:09.054" v="37413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28:09.055" v="37415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28:09.058" v="37417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28:09.060" v="37419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28:09.062" v="37421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28:09.064" v="37425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8:09.064" v="37424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8:09.064" v="37427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BE3A2103-5170-40FE-A99F-CB737D9F76BC}" dt="2023-10-02T21:28:09.113" v="37440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8:09.015" v="37373"/>
          <ac:graphicFrameMkLst>
            <pc:docMk/>
            <pc:sldMk cId="1379386497" sldId="278"/>
            <ac:graphicFrameMk id="8" creationId="{7FCB5DDF-3264-1558-C852-6D63A1AC7DD8}"/>
          </ac:graphicFrameMkLst>
        </pc:graphicFrameChg>
        <pc:graphicFrameChg chg="del">
          <ac:chgData name="Joelle Brehm" userId="a518f54c-6985-42c0-8041-2bb16a414839" providerId="ADAL" clId="{BE3A2103-5170-40FE-A99F-CB737D9F76BC}" dt="2023-10-02T21:27:12.713" v="36081"/>
          <ac:graphicFrameMkLst>
            <pc:docMk/>
            <pc:sldMk cId="1379386497" sldId="278"/>
            <ac:graphicFrameMk id="9" creationId="{75D35A04-52BF-7F42-2305-B4BE32871837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8:09.064" v="37423"/>
          <ac:graphicFrameMkLst>
            <pc:docMk/>
            <pc:sldMk cId="1379386497" sldId="278"/>
            <ac:graphicFrameMk id="42" creationId="{1213C89F-8DBC-B273-5D0C-047EBC2C9D8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8:06.569" v="37148"/>
          <ac:graphicFrameMkLst>
            <pc:docMk/>
            <pc:sldMk cId="1379386497" sldId="278"/>
            <ac:graphicFrameMk id="49" creationId="{B296E7D7-CBB7-F2D1-67EA-0A6C38A0F35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8:08.944" v="37359"/>
          <ac:graphicFrameMkLst>
            <pc:docMk/>
            <pc:sldMk cId="1379386497" sldId="278"/>
            <ac:graphicFrameMk id="51" creationId="{FF58481E-DD91-DE95-6CCB-A4E14E27EAE5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8:05.808" v="36962"/>
          <ac:graphicFrameMkLst>
            <pc:docMk/>
            <pc:sldMk cId="1379386497" sldId="278"/>
            <ac:graphicFrameMk id="52" creationId="{F828AA31-E95B-AF97-F7E1-3E7D61E4F724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7:58.145" v="36445"/>
          <ac:graphicFrameMkLst>
            <pc:docMk/>
            <pc:sldMk cId="1379386497" sldId="278"/>
            <ac:graphicFrameMk id="54" creationId="{D2078315-E2C4-4558-CA1F-83C5BEDE824B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8:09.039" v="37397"/>
          <ac:graphicFrameMkLst>
            <pc:docMk/>
            <pc:sldMk cId="1379386497" sldId="278"/>
            <ac:graphicFrameMk id="55" creationId="{7F8EE1F1-B01D-1EC2-E24B-BF69C952147A}"/>
          </ac:graphicFrameMkLst>
        </pc:graphicFrameChg>
        <pc:picChg chg="del mod ord">
          <ac:chgData name="Joelle Brehm" userId="a518f54c-6985-42c0-8041-2bb16a414839" providerId="ADAL" clId="{BE3A2103-5170-40FE-A99F-CB737D9F76BC}" dt="2023-10-02T21:27:41.961" v="36283" actId="478"/>
          <ac:picMkLst>
            <pc:docMk/>
            <pc:sldMk cId="1379386497" sldId="278"/>
            <ac:picMk id="10" creationId="{E4FF4689-7A4B-584D-8749-97112490439F}"/>
          </ac:picMkLst>
        </pc:picChg>
        <pc:picChg chg="add mod ord">
          <ac:chgData name="Joelle Brehm" userId="a518f54c-6985-42c0-8041-2bb16a414839" providerId="ADAL" clId="{BE3A2103-5170-40FE-A99F-CB737D9F76BC}" dt="2023-10-02T21:28:09.010" v="37367"/>
          <ac:picMkLst>
            <pc:docMk/>
            <pc:sldMk cId="1379386497" sldId="278"/>
            <ac:picMk id="31" creationId="{C9CC4F81-3726-B82E-8A7B-FFA4FF546693}"/>
          </ac:picMkLst>
        </pc:picChg>
        <pc:picChg chg="mod ord">
          <ac:chgData name="Joelle Brehm" userId="a518f54c-6985-42c0-8041-2bb16a414839" providerId="ADAL" clId="{BE3A2103-5170-40FE-A99F-CB737D9F76BC}" dt="2023-10-02T21:28:09.069" v="37430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28:09.014" v="37371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29:19.406" v="39048"/>
        <pc:sldMkLst>
          <pc:docMk/>
          <pc:sldMk cId="1917659360" sldId="279"/>
        </pc:sldMkLst>
        <pc:spChg chg="del">
          <ac:chgData name="Joelle Brehm" userId="a518f54c-6985-42c0-8041-2bb16a414839" providerId="ADAL" clId="{BE3A2103-5170-40FE-A99F-CB737D9F76BC}" dt="2023-10-02T21:28:33.608" v="37441" actId="478"/>
          <ac:spMkLst>
            <pc:docMk/>
            <pc:sldMk cId="1917659360" sldId="279"/>
            <ac:spMk id="2" creationId="{FAC0ED58-AD1E-2699-B378-6014D2796712}"/>
          </ac:spMkLst>
        </pc:spChg>
        <pc:spChg chg="mod ord">
          <ac:chgData name="Joelle Brehm" userId="a518f54c-6985-42c0-8041-2bb16a414839" providerId="ADAL" clId="{BE3A2103-5170-40FE-A99F-CB737D9F76BC}" dt="2023-10-02T21:29:19.378" v="39042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BE3A2103-5170-40FE-A99F-CB737D9F76BC}" dt="2023-10-02T21:28:37.258" v="37705"/>
          <ac:spMkLst>
            <pc:docMk/>
            <pc:sldMk cId="1917659360" sldId="279"/>
            <ac:spMk id="5" creationId="{0AFB25AD-AC2A-203A-A918-5B91B64C3AD8}"/>
          </ac:spMkLst>
        </pc:spChg>
        <pc:spChg chg="mod ord">
          <ac:chgData name="Joelle Brehm" userId="a518f54c-6985-42c0-8041-2bb16a414839" providerId="ADAL" clId="{BE3A2103-5170-40FE-A99F-CB737D9F76BC}" dt="2023-10-02T21:29:19.331" v="38977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29:19.356" v="39010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BE3A2103-5170-40FE-A99F-CB737D9F76BC}" dt="2023-10-02T21:29:19.342" v="38990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29:19.335" v="38983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29:19.340" v="38988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29:19.338" v="38985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29:19.338" v="38987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29:19.335" v="38982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29:19.341" v="38989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29:19.337" v="38984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29:19.342" v="38991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29:19.343" v="38992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29:19.344" v="38993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29:19.338" v="38986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29:19.346" v="38995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29:19.348" v="38998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29:19.347" v="38997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29:19.346" v="38996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29:19.349" v="39000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29:19.348" v="38999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29:19.349" v="39001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29:19.350" v="39003"/>
          <ac:spMkLst>
            <pc:docMk/>
            <pc:sldMk cId="1917659360" sldId="279"/>
            <ac:spMk id="30" creationId="{121A2A89-FB4E-4B9A-840D-28523B0B457F}"/>
          </ac:spMkLst>
        </pc:spChg>
        <pc:spChg chg="del mod">
          <ac:chgData name="Joelle Brehm" userId="a518f54c-6985-42c0-8041-2bb16a414839" providerId="ADAL" clId="{BE3A2103-5170-40FE-A99F-CB737D9F76BC}" dt="2023-10-02T21:29:19.096" v="38851"/>
          <ac:spMkLst>
            <pc:docMk/>
            <pc:sldMk cId="1917659360" sldId="279"/>
            <ac:spMk id="33" creationId="{EF1BE76E-3513-F867-5535-98776D038363}"/>
          </ac:spMkLst>
        </pc:spChg>
        <pc:spChg chg="mod">
          <ac:chgData name="Joelle Brehm" userId="a518f54c-6985-42c0-8041-2bb16a414839" providerId="ADAL" clId="{BE3A2103-5170-40FE-A99F-CB737D9F76BC}" dt="2023-10-02T21:29:19.355" v="39009"/>
          <ac:spMkLst>
            <pc:docMk/>
            <pc:sldMk cId="1917659360" sldId="279"/>
            <ac:spMk id="34" creationId="{3E8DCD8F-C1DE-43F0-D54C-AEB157F6432C}"/>
          </ac:spMkLst>
        </pc:spChg>
        <pc:spChg chg="mod">
          <ac:chgData name="Joelle Brehm" userId="a518f54c-6985-42c0-8041-2bb16a414839" providerId="ADAL" clId="{BE3A2103-5170-40FE-A99F-CB737D9F76BC}" dt="2023-10-02T21:29:19.357" v="39012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BE3A2103-5170-40FE-A99F-CB737D9F76BC}" dt="2023-10-02T21:29:19.357" v="39011"/>
          <ac:spMkLst>
            <pc:docMk/>
            <pc:sldMk cId="1917659360" sldId="279"/>
            <ac:spMk id="36" creationId="{1DD7BBF4-6C80-7EAE-8C4B-809D66ECE570}"/>
          </ac:spMkLst>
        </pc:spChg>
        <pc:spChg chg="add del mod modVis">
          <ac:chgData name="Joelle Brehm" userId="a518f54c-6985-42c0-8041-2bb16a414839" providerId="ADAL" clId="{BE3A2103-5170-40FE-A99F-CB737D9F76BC}" dt="2023-10-02T21:29:09.514" v="38029"/>
          <ac:spMkLst>
            <pc:docMk/>
            <pc:sldMk cId="1917659360" sldId="279"/>
            <ac:spMk id="37" creationId="{E24193CB-8E9C-B528-6A00-7884DEA192E0}"/>
          </ac:spMkLst>
        </pc:spChg>
        <pc:spChg chg="mod">
          <ac:chgData name="Joelle Brehm" userId="a518f54c-6985-42c0-8041-2bb16a414839" providerId="ADAL" clId="{BE3A2103-5170-40FE-A99F-CB737D9F76BC}" dt="2023-10-02T21:29:19.354" v="39007"/>
          <ac:spMkLst>
            <pc:docMk/>
            <pc:sldMk cId="1917659360" sldId="279"/>
            <ac:spMk id="38" creationId="{F98146E0-0CDE-47DF-A82C-B29BE329AD84}"/>
          </ac:spMkLst>
        </pc:spChg>
        <pc:spChg chg="mod">
          <ac:chgData name="Joelle Brehm" userId="a518f54c-6985-42c0-8041-2bb16a414839" providerId="ADAL" clId="{BE3A2103-5170-40FE-A99F-CB737D9F76BC}" dt="2023-10-02T21:29:19.358" v="39013"/>
          <ac:spMkLst>
            <pc:docMk/>
            <pc:sldMk cId="1917659360" sldId="279"/>
            <ac:spMk id="40" creationId="{5B5D62FB-4106-E270-7394-CAB5E92F046A}"/>
          </ac:spMkLst>
        </pc:spChg>
        <pc:spChg chg="add mod replST">
          <ac:chgData name="Joelle Brehm" userId="a518f54c-6985-42c0-8041-2bb16a414839" providerId="ADAL" clId="{BE3A2103-5170-40FE-A99F-CB737D9F76BC}" dt="2023-10-02T21:29:19.361" v="39017"/>
          <ac:spMkLst>
            <pc:docMk/>
            <pc:sldMk cId="1917659360" sldId="279"/>
            <ac:spMk id="41" creationId="{FAFD339F-1014-4CF8-36BD-B01D83BDA547}"/>
          </ac:spMkLst>
        </pc:spChg>
        <pc:spChg chg="mod">
          <ac:chgData name="Joelle Brehm" userId="a518f54c-6985-42c0-8041-2bb16a414839" providerId="ADAL" clId="{BE3A2103-5170-40FE-A99F-CB737D9F76BC}" dt="2023-10-02T21:29:19.359" v="39015"/>
          <ac:spMkLst>
            <pc:docMk/>
            <pc:sldMk cId="1917659360" sldId="279"/>
            <ac:spMk id="42" creationId="{EF95DB07-0B48-150F-2D4A-D46B37A43A30}"/>
          </ac:spMkLst>
        </pc:spChg>
        <pc:spChg chg="mod">
          <ac:chgData name="Joelle Brehm" userId="a518f54c-6985-42c0-8041-2bb16a414839" providerId="ADAL" clId="{BE3A2103-5170-40FE-A99F-CB737D9F76BC}" dt="2023-10-02T21:29:19.360" v="39016"/>
          <ac:spMkLst>
            <pc:docMk/>
            <pc:sldMk cId="1917659360" sldId="279"/>
            <ac:spMk id="43" creationId="{BBDFBA71-A567-2AC1-EC82-8D2F9B910F5F}"/>
          </ac:spMkLst>
        </pc:spChg>
        <pc:spChg chg="mod">
          <ac:chgData name="Joelle Brehm" userId="a518f54c-6985-42c0-8041-2bb16a414839" providerId="ADAL" clId="{BE3A2103-5170-40FE-A99F-CB737D9F76BC}" dt="2023-10-02T21:29:19.353" v="39006"/>
          <ac:spMkLst>
            <pc:docMk/>
            <pc:sldMk cId="1917659360" sldId="279"/>
            <ac:spMk id="44" creationId="{6D0C749E-E8C8-88F8-DDE8-851FCBBEB3E2}"/>
          </ac:spMkLst>
        </pc:spChg>
        <pc:spChg chg="add del mod modVis">
          <ac:chgData name="Joelle Brehm" userId="a518f54c-6985-42c0-8041-2bb16a414839" providerId="ADAL" clId="{BE3A2103-5170-40FE-A99F-CB737D9F76BC}" dt="2023-10-02T21:29:15.994" v="38640"/>
          <ac:spMkLst>
            <pc:docMk/>
            <pc:sldMk cId="1917659360" sldId="279"/>
            <ac:spMk id="45" creationId="{F4AEC30C-0387-012E-2E2B-4B5A3DDCC4DA}"/>
          </ac:spMkLst>
        </pc:spChg>
        <pc:spChg chg="mod">
          <ac:chgData name="Joelle Brehm" userId="a518f54c-6985-42c0-8041-2bb16a414839" providerId="ADAL" clId="{BE3A2103-5170-40FE-A99F-CB737D9F76BC}" dt="2023-10-02T21:29:19.354" v="39008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BE3A2103-5170-40FE-A99F-CB737D9F76BC}" dt="2023-10-02T21:29:19.359" v="39014"/>
          <ac:spMkLst>
            <pc:docMk/>
            <pc:sldMk cId="1917659360" sldId="279"/>
            <ac:spMk id="47" creationId="{698A62C7-0861-3196-719C-E48F5560BE43}"/>
          </ac:spMkLst>
        </pc:spChg>
        <pc:spChg chg="add del mod modVis">
          <ac:chgData name="Joelle Brehm" userId="a518f54c-6985-42c0-8041-2bb16a414839" providerId="ADAL" clId="{BE3A2103-5170-40FE-A99F-CB737D9F76BC}" dt="2023-10-02T21:29:17.263" v="38848"/>
          <ac:spMkLst>
            <pc:docMk/>
            <pc:sldMk cId="1917659360" sldId="279"/>
            <ac:spMk id="49" creationId="{7ED0C9A9-FD45-3781-CBD7-5A5DE815F0FF}"/>
          </ac:spMkLst>
        </pc:spChg>
        <pc:spChg chg="add del mod modVis">
          <ac:chgData name="Joelle Brehm" userId="a518f54c-6985-42c0-8041-2bb16a414839" providerId="ADAL" clId="{BE3A2103-5170-40FE-A99F-CB737D9F76BC}" dt="2023-10-02T21:29:19.381" v="39046"/>
          <ac:spMkLst>
            <pc:docMk/>
            <pc:sldMk cId="1917659360" sldId="279"/>
            <ac:spMk id="51" creationId="{BD4CD6B4-A270-5803-C633-9F896595D622}"/>
          </ac:spMkLst>
        </pc:spChg>
        <pc:spChg chg="mod ord">
          <ac:chgData name="Joelle Brehm" userId="a518f54c-6985-42c0-8041-2bb16a414839" providerId="ADAL" clId="{BE3A2103-5170-40FE-A99F-CB737D9F76BC}" dt="2023-10-02T21:29:19.376" v="39040"/>
          <ac:spMkLst>
            <pc:docMk/>
            <pc:sldMk cId="1917659360" sldId="279"/>
            <ac:spMk id="58" creationId="{C2B29D16-5A5D-43B3-B972-0B57287E081A}"/>
          </ac:spMkLst>
        </pc:spChg>
        <pc:spChg chg="mod ord">
          <ac:chgData name="Joelle Brehm" userId="a518f54c-6985-42c0-8041-2bb16a414839" providerId="ADAL" clId="{BE3A2103-5170-40FE-A99F-CB737D9F76BC}" dt="2023-10-02T21:29:19.362" v="39019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29:19.364" v="39021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1:29:19.366" v="39023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29:19.367" v="39025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29:19.368" v="39027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29:19.369" v="39029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29:19.371" v="39032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9:19.372" v="39033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9:19.372" v="39034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29:19.372" v="39035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29:19.373" v="39036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29:19.406" v="39048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9:19.335" v="38981"/>
          <ac:graphicFrameMkLst>
            <pc:docMk/>
            <pc:sldMk cId="1917659360" sldId="279"/>
            <ac:graphicFrameMk id="8" creationId="{C5DD1F2C-4FCB-6E6F-302B-B205BAD7B2A9}"/>
          </ac:graphicFrameMkLst>
        </pc:graphicFrameChg>
        <pc:graphicFrameChg chg="del">
          <ac:chgData name="Joelle Brehm" userId="a518f54c-6985-42c0-8041-2bb16a414839" providerId="ADAL" clId="{BE3A2103-5170-40FE-A99F-CB737D9F76BC}" dt="2023-10-02T21:28:37.149" v="37624"/>
          <ac:graphicFrameMkLst>
            <pc:docMk/>
            <pc:sldMk cId="1917659360" sldId="279"/>
            <ac:graphicFrameMk id="9" creationId="{EB14F7CC-8993-8B95-949A-9EE63AEE2B7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9:19.370" v="39031"/>
          <ac:graphicFrameMkLst>
            <pc:docMk/>
            <pc:sldMk cId="1917659360" sldId="279"/>
            <ac:graphicFrameMk id="39" creationId="{8E921677-5850-C1B2-B404-E7DDC7ACEB3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9:17.171" v="38748"/>
          <ac:graphicFrameMkLst>
            <pc:docMk/>
            <pc:sldMk cId="1917659360" sldId="279"/>
            <ac:graphicFrameMk id="48" creationId="{549AD73E-F837-B530-2EB9-3807956F64D4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29:19.286" v="38967"/>
          <ac:graphicFrameMkLst>
            <pc:docMk/>
            <pc:sldMk cId="1917659360" sldId="279"/>
            <ac:graphicFrameMk id="50" creationId="{51F0C8BA-440B-089E-2069-F86C7CEAF41A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9:15.914" v="38554"/>
          <ac:graphicFrameMkLst>
            <pc:docMk/>
            <pc:sldMk cId="1917659360" sldId="279"/>
            <ac:graphicFrameMk id="52" creationId="{98E8D54F-44F1-A60F-8EF7-850C878EC42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29:19.352" v="39005"/>
          <ac:graphicFrameMkLst>
            <pc:docMk/>
            <pc:sldMk cId="1917659360" sldId="279"/>
            <ac:graphicFrameMk id="53" creationId="{6A9D8D83-366A-8FC3-93E9-010F2C884970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29:09.424" v="37950"/>
          <ac:graphicFrameMkLst>
            <pc:docMk/>
            <pc:sldMk cId="1917659360" sldId="279"/>
            <ac:graphicFrameMk id="54" creationId="{5D9CE939-B1C5-4814-C94B-4B01C883EEEF}"/>
          </ac:graphicFrameMkLst>
        </pc:graphicFrameChg>
        <pc:picChg chg="add mod ord">
          <ac:chgData name="Joelle Brehm" userId="a518f54c-6985-42c0-8041-2bb16a414839" providerId="ADAL" clId="{BE3A2103-5170-40FE-A99F-CB737D9F76BC}" dt="2023-10-02T21:29:19.330" v="38975"/>
          <ac:picMkLst>
            <pc:docMk/>
            <pc:sldMk cId="1917659360" sldId="279"/>
            <ac:picMk id="31" creationId="{8B17C264-EEE4-DBC1-814D-3B85203E48DE}"/>
          </ac:picMkLst>
        </pc:picChg>
        <pc:picChg chg="del mod ord">
          <ac:chgData name="Joelle Brehm" userId="a518f54c-6985-42c0-8041-2bb16a414839" providerId="ADAL" clId="{BE3A2103-5170-40FE-A99F-CB737D9F76BC}" dt="2023-10-02T21:28:56.174" v="37788" actId="478"/>
          <ac:picMkLst>
            <pc:docMk/>
            <pc:sldMk cId="1917659360" sldId="279"/>
            <ac:picMk id="32" creationId="{95BCD3F5-8318-11C9-DD37-048C6A590F10}"/>
          </ac:picMkLst>
        </pc:picChg>
        <pc:picChg chg="mod ord">
          <ac:chgData name="Joelle Brehm" userId="a518f54c-6985-42c0-8041-2bb16a414839" providerId="ADAL" clId="{BE3A2103-5170-40FE-A99F-CB737D9F76BC}" dt="2023-10-02T21:29:19.375" v="39038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29:19.333" v="38979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33:59.665" v="43716"/>
        <pc:sldMkLst>
          <pc:docMk/>
          <pc:sldMk cId="168389892" sldId="281"/>
        </pc:sldMkLst>
        <pc:spChg chg="mod ord">
          <ac:chgData name="Joelle Brehm" userId="a518f54c-6985-42c0-8041-2bb16a414839" providerId="ADAL" clId="{BE3A2103-5170-40FE-A99F-CB737D9F76BC}" dt="2023-10-02T21:33:59.637" v="43710"/>
          <ac:spMkLst>
            <pc:docMk/>
            <pc:sldMk cId="168389892" sldId="281"/>
            <ac:spMk id="2" creationId="{113280EF-7092-46F4-B9C0-9ADB445F51A4}"/>
          </ac:spMkLst>
        </pc:spChg>
        <pc:spChg chg="del">
          <ac:chgData name="Joelle Brehm" userId="a518f54c-6985-42c0-8041-2bb16a414839" providerId="ADAL" clId="{BE3A2103-5170-40FE-A99F-CB737D9F76BC}" dt="2023-10-02T21:33:00.329" v="41290" actId="478"/>
          <ac:spMkLst>
            <pc:docMk/>
            <pc:sldMk cId="168389892" sldId="281"/>
            <ac:spMk id="3" creationId="{C4329F21-4A15-9AEB-B3C7-925FB4918A53}"/>
          </ac:spMkLst>
        </pc:spChg>
        <pc:spChg chg="mod ord">
          <ac:chgData name="Joelle Brehm" userId="a518f54c-6985-42c0-8041-2bb16a414839" providerId="ADAL" clId="{BE3A2103-5170-40FE-A99F-CB737D9F76BC}" dt="2023-10-02T21:33:59.584" v="43620"/>
          <ac:spMkLst>
            <pc:docMk/>
            <pc:sldMk cId="168389892" sldId="281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33:59.620" v="43678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BE3A2103-5170-40FE-A99F-CB737D9F76BC}" dt="2023-10-02T21:33:59.608" v="43665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BE3A2103-5170-40FE-A99F-CB737D9F76BC}" dt="2023-10-02T21:33:59.587" v="43625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33:59.587" v="43629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33:59.587" v="43630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33:59.587" v="43626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33:59.587" v="43627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33:59.587" v="43631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33:59.587" v="43632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33:59.587" v="43628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33:59.587" v="43633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33:59.587" v="43634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33:59.587" v="43635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33:59.587" v="43636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33:59.587" v="43638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33:59.596" v="43640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33:59.596" v="43639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33:59.596" v="43641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33:59.601" v="43646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33:59.601" v="43645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33:59.602" v="43647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33:59.603" v="43649"/>
          <ac:spMkLst>
            <pc:docMk/>
            <pc:sldMk cId="168389892" sldId="281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2T21:33:04.782" v="41580"/>
          <ac:spMkLst>
            <pc:docMk/>
            <pc:sldMk cId="168389892" sldId="281"/>
            <ac:spMk id="31" creationId="{01271AE1-E336-4131-21B0-D3D8946975D0}"/>
          </ac:spMkLst>
        </pc:spChg>
        <pc:spChg chg="mod">
          <ac:chgData name="Joelle Brehm" userId="a518f54c-6985-42c0-8041-2bb16a414839" providerId="ADAL" clId="{BE3A2103-5170-40FE-A99F-CB737D9F76BC}" dt="2023-10-02T21:33:59.608" v="43669"/>
          <ac:spMkLst>
            <pc:docMk/>
            <pc:sldMk cId="168389892" sldId="281"/>
            <ac:spMk id="33" creationId="{B1E9DD7B-A017-14DB-FDC5-572B2A809BD1}"/>
          </ac:spMkLst>
        </pc:spChg>
        <pc:spChg chg="del mod">
          <ac:chgData name="Joelle Brehm" userId="a518f54c-6985-42c0-8041-2bb16a414839" providerId="ADAL" clId="{BE3A2103-5170-40FE-A99F-CB737D9F76BC}" dt="2023-10-02T21:33:54.547" v="42573"/>
          <ac:spMkLst>
            <pc:docMk/>
            <pc:sldMk cId="168389892" sldId="281"/>
            <ac:spMk id="34" creationId="{A3449709-B02E-77EF-4F6F-B47BC234DA54}"/>
          </ac:spMkLst>
        </pc:spChg>
        <pc:spChg chg="del mod">
          <ac:chgData name="Joelle Brehm" userId="a518f54c-6985-42c0-8041-2bb16a414839" providerId="ADAL" clId="{BE3A2103-5170-40FE-A99F-CB737D9F76BC}" dt="2023-10-02T21:33:54.547" v="42572"/>
          <ac:spMkLst>
            <pc:docMk/>
            <pc:sldMk cId="168389892" sldId="281"/>
            <ac:spMk id="35" creationId="{0B484CBC-5CE9-D383-6E19-BF1B45083FAC}"/>
          </ac:spMkLst>
        </pc:spChg>
        <pc:spChg chg="mod">
          <ac:chgData name="Joelle Brehm" userId="a518f54c-6985-42c0-8041-2bb16a414839" providerId="ADAL" clId="{BE3A2103-5170-40FE-A99F-CB737D9F76BC}" dt="2023-10-02T21:33:59.608" v="43666"/>
          <ac:spMkLst>
            <pc:docMk/>
            <pc:sldMk cId="168389892" sldId="281"/>
            <ac:spMk id="36" creationId="{36968B59-7E4B-5916-DE24-FBEDF12C1E49}"/>
          </ac:spMkLst>
        </pc:spChg>
        <pc:spChg chg="mod ord">
          <ac:chgData name="Joelle Brehm" userId="a518f54c-6985-42c0-8041-2bb16a414839" providerId="ADAL" clId="{BE3A2103-5170-40FE-A99F-CB737D9F76BC}" dt="2023-10-02T21:33:59.599" v="43643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BE3A2103-5170-40FE-A99F-CB737D9F76BC}" dt="2023-10-02T21:33:59.608" v="43667"/>
          <ac:spMkLst>
            <pc:docMk/>
            <pc:sldMk cId="168389892" sldId="281"/>
            <ac:spMk id="38" creationId="{33D6C8F4-21B6-9786-940E-4D86B2714801}"/>
          </ac:spMkLst>
        </pc:spChg>
        <pc:spChg chg="mod ord">
          <ac:chgData name="Joelle Brehm" userId="a518f54c-6985-42c0-8041-2bb16a414839" providerId="ADAL" clId="{BE3A2103-5170-40FE-A99F-CB737D9F76BC}" dt="2023-10-02T21:33:59.620" v="43680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BE3A2103-5170-40FE-A99F-CB737D9F76BC}" dt="2023-10-02T21:33:59.608" v="43663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BE3A2103-5170-40FE-A99F-CB737D9F76BC}" dt="2023-10-02T21:33:59.615" v="43670"/>
          <ac:spMkLst>
            <pc:docMk/>
            <pc:sldMk cId="168389892" sldId="281"/>
            <ac:spMk id="41" creationId="{FDBDB5F4-8253-DAFB-C27E-59BA58987D05}"/>
          </ac:spMkLst>
        </pc:spChg>
        <pc:spChg chg="mod">
          <ac:chgData name="Joelle Brehm" userId="a518f54c-6985-42c0-8041-2bb16a414839" providerId="ADAL" clId="{BE3A2103-5170-40FE-A99F-CB737D9F76BC}" dt="2023-10-02T21:33:59.608" v="43668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BE3A2103-5170-40FE-A99F-CB737D9F76BC}" dt="2023-10-02T21:33:59.618" v="43674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BE3A2103-5170-40FE-A99F-CB737D9F76BC}" dt="2023-10-02T21:33:59.607" v="43655"/>
          <ac:spMkLst>
            <pc:docMk/>
            <pc:sldMk cId="168389892" sldId="281"/>
            <ac:spMk id="44" creationId="{7CAA3B95-4C78-4122-BECA-B5FB0F3F3764}"/>
          </ac:spMkLst>
        </pc:spChg>
        <pc:spChg chg="del mod">
          <ac:chgData name="Joelle Brehm" userId="a518f54c-6985-42c0-8041-2bb16a414839" providerId="ADAL" clId="{BE3A2103-5170-40FE-A99F-CB737D9F76BC}" dt="2023-10-02T21:33:54.714" v="42634"/>
          <ac:spMkLst>
            <pc:docMk/>
            <pc:sldMk cId="168389892" sldId="281"/>
            <ac:spMk id="45" creationId="{7CAA3B95-4C78-4122-BECA-B5FB0F3F3764}"/>
          </ac:spMkLst>
        </pc:spChg>
        <pc:spChg chg="del mod">
          <ac:chgData name="Joelle Brehm" userId="a518f54c-6985-42c0-8041-2bb16a414839" providerId="ADAL" clId="{BE3A2103-5170-40FE-A99F-CB737D9F76BC}" dt="2023-10-02T21:33:54.714" v="42633"/>
          <ac:spMkLst>
            <pc:docMk/>
            <pc:sldMk cId="168389892" sldId="281"/>
            <ac:spMk id="4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3:59.617" v="43673"/>
          <ac:spMkLst>
            <pc:docMk/>
            <pc:sldMk cId="168389892" sldId="281"/>
            <ac:spMk id="48" creationId="{D7C724F5-3AF0-C1C4-489C-1D5CE45F0FB0}"/>
          </ac:spMkLst>
        </pc:spChg>
        <pc:spChg chg="mod">
          <ac:chgData name="Joelle Brehm" userId="a518f54c-6985-42c0-8041-2bb16a414839" providerId="ADAL" clId="{BE3A2103-5170-40FE-A99F-CB737D9F76BC}" dt="2023-10-02T21:33:59.620" v="43677"/>
          <ac:spMkLst>
            <pc:docMk/>
            <pc:sldMk cId="168389892" sldId="281"/>
            <ac:spMk id="49" creationId="{C06AD811-F54D-296F-21A9-ACC2CBDA832A}"/>
          </ac:spMkLst>
        </pc:spChg>
        <pc:spChg chg="del mod">
          <ac:chgData name="Joelle Brehm" userId="a518f54c-6985-42c0-8041-2bb16a414839" providerId="ADAL" clId="{BE3A2103-5170-40FE-A99F-CB737D9F76BC}" dt="2023-10-02T21:33:54.716" v="42635"/>
          <ac:spMkLst>
            <pc:docMk/>
            <pc:sldMk cId="168389892" sldId="281"/>
            <ac:spMk id="5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3:59.616" v="43672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BE3A2103-5170-40FE-A99F-CB737D9F76BC}" dt="2023-10-02T21:33:59.618" v="43675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BE3A2103-5170-40FE-A99F-CB737D9F76BC}" dt="2023-10-02T21:33:59.608" v="43664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BE3A2103-5170-40FE-A99F-CB737D9F76BC}" dt="2023-10-02T21:33:59.620" v="43682"/>
          <ac:spMkLst>
            <pc:docMk/>
            <pc:sldMk cId="168389892" sldId="281"/>
            <ac:spMk id="54" creationId="{622603CE-58AD-807F-F76A-AA9426112C20}"/>
          </ac:spMkLst>
        </pc:spChg>
        <pc:spChg chg="add del mod modVis">
          <ac:chgData name="Joelle Brehm" userId="a518f54c-6985-42c0-8041-2bb16a414839" providerId="ADAL" clId="{BE3A2103-5170-40FE-A99F-CB737D9F76BC}" dt="2023-10-02T21:33:43.658" v="41929"/>
          <ac:spMkLst>
            <pc:docMk/>
            <pc:sldMk cId="168389892" sldId="281"/>
            <ac:spMk id="55" creationId="{1B055F98-AB32-BBC0-21E8-E026D5D97E19}"/>
          </ac:spMkLst>
        </pc:spChg>
        <pc:spChg chg="mod">
          <ac:chgData name="Joelle Brehm" userId="a518f54c-6985-42c0-8041-2bb16a414839" providerId="ADAL" clId="{BE3A2103-5170-40FE-A99F-CB737D9F76BC}" dt="2023-10-02T21:33:59.608" v="43662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BE3A2103-5170-40FE-A99F-CB737D9F76BC}" dt="2023-10-02T21:33:59.620" v="43684"/>
          <ac:spMkLst>
            <pc:docMk/>
            <pc:sldMk cId="168389892" sldId="281"/>
            <ac:spMk id="57" creationId="{C5C40907-46F2-01D7-4DFC-21E722FD6F82}"/>
          </ac:spMkLst>
        </pc:spChg>
        <pc:spChg chg="mod">
          <ac:chgData name="Joelle Brehm" userId="a518f54c-6985-42c0-8041-2bb16a414839" providerId="ADAL" clId="{BE3A2103-5170-40FE-A99F-CB737D9F76BC}" dt="2023-10-02T21:33:59.619" v="43676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BE3A2103-5170-40FE-A99F-CB737D9F76BC}" dt="2023-10-02T21:33:59.620" v="43683"/>
          <ac:spMkLst>
            <pc:docMk/>
            <pc:sldMk cId="168389892" sldId="281"/>
            <ac:spMk id="60" creationId="{E2CCABD6-E3A5-2DEA-E763-1A50AC421FC3}"/>
          </ac:spMkLst>
        </pc:spChg>
        <pc:spChg chg="add mod replST">
          <ac:chgData name="Joelle Brehm" userId="a518f54c-6985-42c0-8041-2bb16a414839" providerId="ADAL" clId="{BE3A2103-5170-40FE-A99F-CB737D9F76BC}" dt="2023-10-02T21:33:59.620" v="43679"/>
          <ac:spMkLst>
            <pc:docMk/>
            <pc:sldMk cId="168389892" sldId="281"/>
            <ac:spMk id="61" creationId="{392910B4-F774-900E-5840-E1F4ADC0F668}"/>
          </ac:spMkLst>
        </pc:spChg>
        <pc:spChg chg="mod">
          <ac:chgData name="Joelle Brehm" userId="a518f54c-6985-42c0-8041-2bb16a414839" providerId="ADAL" clId="{BE3A2103-5170-40FE-A99F-CB737D9F76BC}" dt="2023-10-02T21:33:59.620" v="43685"/>
          <ac:spMkLst>
            <pc:docMk/>
            <pc:sldMk cId="168389892" sldId="281"/>
            <ac:spMk id="62" creationId="{DE7D5BF8-193E-8278-7BAE-2D4FE573EB09}"/>
          </ac:spMkLst>
        </pc:spChg>
        <pc:spChg chg="add mod replST">
          <ac:chgData name="Joelle Brehm" userId="a518f54c-6985-42c0-8041-2bb16a414839" providerId="ADAL" clId="{BE3A2103-5170-40FE-A99F-CB737D9F76BC}" dt="2023-10-02T21:33:59.616" v="43671"/>
          <ac:spMkLst>
            <pc:docMk/>
            <pc:sldMk cId="168389892" sldId="281"/>
            <ac:spMk id="63" creationId="{37AF202D-F385-A071-71F3-6171F5A5C5C2}"/>
          </ac:spMkLst>
        </pc:spChg>
        <pc:spChg chg="add del mod modVis">
          <ac:chgData name="Joelle Brehm" userId="a518f54c-6985-42c0-8041-2bb16a414839" providerId="ADAL" clId="{BE3A2103-5170-40FE-A99F-CB737D9F76BC}" dt="2023-10-02T21:33:51.097" v="42341"/>
          <ac:spMkLst>
            <pc:docMk/>
            <pc:sldMk cId="168389892" sldId="281"/>
            <ac:spMk id="64" creationId="{50502423-9B3D-A458-3720-49ED7E03F96D}"/>
          </ac:spMkLst>
        </pc:spChg>
        <pc:spChg chg="mod">
          <ac:chgData name="Joelle Brehm" userId="a518f54c-6985-42c0-8041-2bb16a414839" providerId="ADAL" clId="{BE3A2103-5170-40FE-A99F-CB737D9F76BC}" dt="2023-10-02T21:33:59.620" v="43681"/>
          <ac:spMkLst>
            <pc:docMk/>
            <pc:sldMk cId="168389892" sldId="281"/>
            <ac:spMk id="67" creationId="{7E34EA90-F698-215B-99E3-B598F96FF491}"/>
          </ac:spMkLst>
        </pc:spChg>
        <pc:spChg chg="add del mod modVis">
          <ac:chgData name="Joelle Brehm" userId="a518f54c-6985-42c0-8041-2bb16a414839" providerId="ADAL" clId="{BE3A2103-5170-40FE-A99F-CB737D9F76BC}" dt="2023-10-02T21:33:52.511" v="42569"/>
          <ac:spMkLst>
            <pc:docMk/>
            <pc:sldMk cId="168389892" sldId="281"/>
            <ac:spMk id="68" creationId="{2E4894F7-88DB-231C-C8B9-1C524C044E38}"/>
          </ac:spMkLst>
        </pc:spChg>
        <pc:spChg chg="add del mod modVis">
          <ac:chgData name="Joelle Brehm" userId="a518f54c-6985-42c0-8041-2bb16a414839" providerId="ADAL" clId="{BE3A2103-5170-40FE-A99F-CB737D9F76BC}" dt="2023-10-02T21:33:56.108" v="43502"/>
          <ac:spMkLst>
            <pc:docMk/>
            <pc:sldMk cId="168389892" sldId="281"/>
            <ac:spMk id="71" creationId="{59587EE9-387C-B1D0-B093-1800878EDC24}"/>
          </ac:spMkLst>
        </pc:spChg>
        <pc:spChg chg="add mod replST">
          <ac:chgData name="Joelle Brehm" userId="a518f54c-6985-42c0-8041-2bb16a414839" providerId="ADAL" clId="{BE3A2103-5170-40FE-A99F-CB737D9F76BC}" dt="2023-10-02T21:33:59.607" v="43653"/>
          <ac:spMkLst>
            <pc:docMk/>
            <pc:sldMk cId="168389892" sldId="281"/>
            <ac:spMk id="72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3:59.607" v="43654"/>
          <ac:spMkLst>
            <pc:docMk/>
            <pc:sldMk cId="168389892" sldId="281"/>
            <ac:spMk id="7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3:59.600" v="43644"/>
          <ac:spMkLst>
            <pc:docMk/>
            <pc:sldMk cId="168389892" sldId="281"/>
            <ac:spMk id="74" creationId="{1E5392BC-349C-45B4-8F81-52F83DA74F43}"/>
          </ac:spMkLst>
        </pc:spChg>
        <pc:spChg chg="add mod replST">
          <ac:chgData name="Joelle Brehm" userId="a518f54c-6985-42c0-8041-2bb16a414839" providerId="ADAL" clId="{BE3A2103-5170-40FE-A99F-CB737D9F76BC}" dt="2023-10-02T21:33:59.608" v="43661"/>
          <ac:spMkLst>
            <pc:docMk/>
            <pc:sldMk cId="168389892" sldId="281"/>
            <ac:spMk id="75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3:59.608" v="43657"/>
          <ac:spMkLst>
            <pc:docMk/>
            <pc:sldMk cId="168389892" sldId="281"/>
            <ac:spMk id="76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3:59.606" v="43652"/>
          <ac:spMkLst>
            <pc:docMk/>
            <pc:sldMk cId="168389892" sldId="281"/>
            <ac:spMk id="77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33:59.620" v="43687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33:59.626" v="43689"/>
          <ac:spMkLst>
            <pc:docMk/>
            <pc:sldMk cId="168389892" sldId="281"/>
            <ac:spMk id="79" creationId="{F1476AC4-694B-4D83-BFD8-8DCAA4BB1923}"/>
          </ac:spMkLst>
        </pc:spChg>
        <pc:spChg chg="add mod replST">
          <ac:chgData name="Joelle Brehm" userId="a518f54c-6985-42c0-8041-2bb16a414839" providerId="ADAL" clId="{BE3A2103-5170-40FE-A99F-CB737D9F76BC}" dt="2023-10-02T21:33:59.608" v="43658"/>
          <ac:spMkLst>
            <pc:docMk/>
            <pc:sldMk cId="168389892" sldId="281"/>
            <ac:spMk id="80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3:59.608" v="43660"/>
          <ac:spMkLst>
            <pc:docMk/>
            <pc:sldMk cId="168389892" sldId="281"/>
            <ac:spMk id="81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33:59.608" v="43659"/>
          <ac:spMkLst>
            <pc:docMk/>
            <pc:sldMk cId="168389892" sldId="281"/>
            <ac:spMk id="82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1:33:59.638" v="43714"/>
          <ac:spMkLst>
            <pc:docMk/>
            <pc:sldMk cId="168389892" sldId="281"/>
            <ac:spMk id="84" creationId="{4D4407DE-0BB3-A452-BDF5-380501653D8C}"/>
          </ac:spMkLst>
        </pc:spChg>
        <pc:spChg chg="mod">
          <ac:chgData name="Joelle Brehm" userId="a518f54c-6985-42c0-8041-2bb16a414839" providerId="ADAL" clId="{BE3A2103-5170-40FE-A99F-CB737D9F76BC}" dt="2023-10-02T21:33:59.608" v="43656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33:59.627" v="43691"/>
          <ac:spMkLst>
            <pc:docMk/>
            <pc:sldMk cId="168389892" sldId="281"/>
            <ac:spMk id="100" creationId="{8B5667AB-609C-4AEA-83B3-24E395C8F420}"/>
          </ac:spMkLst>
        </pc:spChg>
        <pc:spChg chg="del mod">
          <ac:chgData name="Joelle Brehm" userId="a518f54c-6985-42c0-8041-2bb16a414839" providerId="ADAL" clId="{BE3A2103-5170-40FE-A99F-CB737D9F76BC}" dt="2023-10-02T21:33:54.713" v="42632"/>
          <ac:spMkLst>
            <pc:docMk/>
            <pc:sldMk cId="168389892" sldId="281"/>
            <ac:spMk id="101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33:59.629" v="43693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33:59.629" v="43695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33:59.629" v="43697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33:59.629" v="43701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3:59.629" v="43702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3:59.629" v="43700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33:59.634" v="43704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33:59.629" v="43703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33:59.665" v="43716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1:33:04.529" v="41474"/>
          <ac:graphicFrameMkLst>
            <pc:docMk/>
            <pc:sldMk cId="168389892" sldId="281"/>
            <ac:graphicFrameMk id="8" creationId="{D48DACD4-9B1A-9D10-BFF6-DC534BD36E4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33:59.587" v="43624"/>
          <ac:graphicFrameMkLst>
            <pc:docMk/>
            <pc:sldMk cId="168389892" sldId="281"/>
            <ac:graphicFrameMk id="32" creationId="{C90E3ECD-0BB6-57E0-F01B-85DE59078BC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33:59.629" v="43699"/>
          <ac:graphicFrameMkLst>
            <pc:docMk/>
            <pc:sldMk cId="168389892" sldId="281"/>
            <ac:graphicFrameMk id="58" creationId="{7D370D2E-FD5A-5197-F58A-2AEC35C5296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3:52.337" v="42467"/>
          <ac:graphicFrameMkLst>
            <pc:docMk/>
            <pc:sldMk cId="168389892" sldId="281"/>
            <ac:graphicFrameMk id="65" creationId="{15CCF4B7-2798-61D5-5B6F-D3ABE6A7C4E0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33:50.936" v="42239"/>
          <ac:graphicFrameMkLst>
            <pc:docMk/>
            <pc:sldMk cId="168389892" sldId="281"/>
            <ac:graphicFrameMk id="66" creationId="{BC4FA4A5-E880-5B79-24C3-89AC9C5B0F87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33:43.579" v="41829"/>
          <ac:graphicFrameMkLst>
            <pc:docMk/>
            <pc:sldMk cId="168389892" sldId="281"/>
            <ac:graphicFrameMk id="69" creationId="{BE27BC31-5455-57BB-CB72-3046ED11CFA8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3:56.019" v="43397"/>
          <ac:graphicFrameMkLst>
            <pc:docMk/>
            <pc:sldMk cId="168389892" sldId="281"/>
            <ac:graphicFrameMk id="70" creationId="{20BCE26F-BB9D-8059-6098-75ED37421603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3:59.539" v="43610"/>
          <ac:graphicFrameMkLst>
            <pc:docMk/>
            <pc:sldMk cId="168389892" sldId="281"/>
            <ac:graphicFrameMk id="83" creationId="{FB02A058-0BBE-A0F9-4475-13C1C298455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33:59.605" v="43651"/>
          <ac:graphicFrameMkLst>
            <pc:docMk/>
            <pc:sldMk cId="168389892" sldId="281"/>
            <ac:graphicFrameMk id="85" creationId="{9757B6D1-BDC4-B599-6BE9-413E83522DAD}"/>
          </ac:graphicFrameMkLst>
        </pc:graphicFrameChg>
        <pc:picChg chg="del mod ord">
          <ac:chgData name="Joelle Brehm" userId="a518f54c-6985-42c0-8041-2bb16a414839" providerId="ADAL" clId="{BE3A2103-5170-40FE-A99F-CB737D9F76BC}" dt="2023-10-02T21:33:27.405" v="41694" actId="478"/>
          <ac:picMkLst>
            <pc:docMk/>
            <pc:sldMk cId="168389892" sldId="281"/>
            <ac:picMk id="5" creationId="{AAAA8358-1123-9588-A6AE-CE4DD0699CDD}"/>
          </ac:picMkLst>
        </pc:picChg>
        <pc:picChg chg="add mod ord">
          <ac:chgData name="Joelle Brehm" userId="a518f54c-6985-42c0-8041-2bb16a414839" providerId="ADAL" clId="{BE3A2103-5170-40FE-A99F-CB737D9F76BC}" dt="2023-10-02T21:33:59.578" v="43618"/>
          <ac:picMkLst>
            <pc:docMk/>
            <pc:sldMk cId="168389892" sldId="281"/>
            <ac:picMk id="47" creationId="{0ADAF7BF-E08A-9F41-B711-05278A27B0BE}"/>
          </ac:picMkLst>
        </pc:picChg>
        <pc:picChg chg="mod ord">
          <ac:chgData name="Joelle Brehm" userId="a518f54c-6985-42c0-8041-2bb16a414839" providerId="ADAL" clId="{BE3A2103-5170-40FE-A99F-CB737D9F76BC}" dt="2023-10-02T21:33:59.636" v="43708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BE3A2103-5170-40FE-A99F-CB737D9F76BC}" dt="2023-10-02T21:33:59.635" v="43706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33:59.585" v="43622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52:59.485" v="47962"/>
        <pc:sldMkLst>
          <pc:docMk/>
          <pc:sldMk cId="3564961532" sldId="282"/>
        </pc:sldMkLst>
        <pc:spChg chg="mod ord">
          <ac:chgData name="Joelle Brehm" userId="a518f54c-6985-42c0-8041-2bb16a414839" providerId="ADAL" clId="{BE3A2103-5170-40FE-A99F-CB737D9F76BC}" dt="2023-10-02T21:52:59.457" v="47956"/>
          <ac:spMkLst>
            <pc:docMk/>
            <pc:sldMk cId="3564961532" sldId="282"/>
            <ac:spMk id="2" creationId="{D4513B5B-A8C4-4146-9B42-032BB78B09F2}"/>
          </ac:spMkLst>
        </pc:spChg>
        <pc:spChg chg="del">
          <ac:chgData name="Joelle Brehm" userId="a518f54c-6985-42c0-8041-2bb16a414839" providerId="ADAL" clId="{BE3A2103-5170-40FE-A99F-CB737D9F76BC}" dt="2023-10-02T21:34:05.423" v="43717" actId="478"/>
          <ac:spMkLst>
            <pc:docMk/>
            <pc:sldMk cId="3564961532" sldId="282"/>
            <ac:spMk id="3" creationId="{5E0A2BC8-5461-35EF-B73D-13ECA3DC22DC}"/>
          </ac:spMkLst>
        </pc:spChg>
        <pc:spChg chg="add del mod modVis">
          <ac:chgData name="Joelle Brehm" userId="a518f54c-6985-42c0-8041-2bb16a414839" providerId="ADAL" clId="{BE3A2103-5170-40FE-A99F-CB737D9F76BC}" dt="2023-10-02T21:34:22.152" v="43997"/>
          <ac:spMkLst>
            <pc:docMk/>
            <pc:sldMk cId="3564961532" sldId="282"/>
            <ac:spMk id="5" creationId="{E05BFFF4-FAC6-F625-150C-412C5FC04B36}"/>
          </ac:spMkLst>
        </pc:spChg>
        <pc:spChg chg="mod ord">
          <ac:chgData name="Joelle Brehm" userId="a518f54c-6985-42c0-8041-2bb16a414839" providerId="ADAL" clId="{BE3A2103-5170-40FE-A99F-CB737D9F76BC}" dt="2023-10-02T21:52:59.441" v="47866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1:52:59.457" v="4792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BE3A2103-5170-40FE-A99F-CB737D9F76BC}" dt="2023-10-02T21:52:59.441" v="47877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52:59.441" v="47874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52:59.441" v="47875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52:59.441" v="47872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52:59.441" v="47873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52:59.441" v="47876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52:59.441" v="47878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52:59.441" v="47871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52:59.441" v="47879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52:59.441" v="47880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52:59.441" v="47881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52:59.441" v="47882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52:59.441" v="47884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52:59.441" v="47888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52:59.441" v="47887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52:59.441" v="47889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52:59.441" v="47891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52:59.441" v="47892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52:59.441" v="47890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52:59.441" v="47895"/>
          <ac:spMkLst>
            <pc:docMk/>
            <pc:sldMk cId="3564961532" sldId="282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2T21:34:51.926" v="44429"/>
          <ac:spMkLst>
            <pc:docMk/>
            <pc:sldMk cId="3564961532" sldId="282"/>
            <ac:spMk id="32" creationId="{31B3E1EC-C631-47F9-C1B8-FFD6F501877B}"/>
          </ac:spMkLst>
        </pc:spChg>
        <pc:spChg chg="mod">
          <ac:chgData name="Joelle Brehm" userId="a518f54c-6985-42c0-8041-2bb16a414839" providerId="ADAL" clId="{BE3A2103-5170-40FE-A99F-CB737D9F76BC}" dt="2023-10-02T21:52:59.457" v="47918"/>
          <ac:spMkLst>
            <pc:docMk/>
            <pc:sldMk cId="3564961532" sldId="282"/>
            <ac:spMk id="33" creationId="{A942A586-4C6D-05F4-003F-7AD155D23817}"/>
          </ac:spMkLst>
        </pc:spChg>
        <pc:spChg chg="del mod">
          <ac:chgData name="Joelle Brehm" userId="a518f54c-6985-42c0-8041-2bb16a414839" providerId="ADAL" clId="{BE3A2103-5170-40FE-A99F-CB737D9F76BC}" dt="2023-10-02T21:35:03.126" v="45101"/>
          <ac:spMkLst>
            <pc:docMk/>
            <pc:sldMk cId="3564961532" sldId="282"/>
            <ac:spMk id="34" creationId="{AE868296-AA73-04E8-5729-F60A467F8321}"/>
          </ac:spMkLst>
        </pc:spChg>
        <pc:spChg chg="del mod">
          <ac:chgData name="Joelle Brehm" userId="a518f54c-6985-42c0-8041-2bb16a414839" providerId="ADAL" clId="{BE3A2103-5170-40FE-A99F-CB737D9F76BC}" dt="2023-10-02T21:35:03.119" v="45100"/>
          <ac:spMkLst>
            <pc:docMk/>
            <pc:sldMk cId="3564961532" sldId="282"/>
            <ac:spMk id="35" creationId="{08798804-7117-7252-16D9-FFE107CEB4CE}"/>
          </ac:spMkLst>
        </pc:spChg>
        <pc:spChg chg="mod">
          <ac:chgData name="Joelle Brehm" userId="a518f54c-6985-42c0-8041-2bb16a414839" providerId="ADAL" clId="{BE3A2103-5170-40FE-A99F-CB737D9F76BC}" dt="2023-10-02T21:52:59.457" v="47908"/>
          <ac:spMkLst>
            <pc:docMk/>
            <pc:sldMk cId="3564961532" sldId="282"/>
            <ac:spMk id="36" creationId="{D6260AD9-4FAC-BBE1-577F-7BE5C67AAFB3}"/>
          </ac:spMkLst>
        </pc:spChg>
        <pc:spChg chg="mod ord">
          <ac:chgData name="Joelle Brehm" userId="a518f54c-6985-42c0-8041-2bb16a414839" providerId="ADAL" clId="{BE3A2103-5170-40FE-A99F-CB737D9F76BC}" dt="2023-10-02T21:52:59.441" v="47886"/>
          <ac:spMkLst>
            <pc:docMk/>
            <pc:sldMk cId="3564961532" sldId="282"/>
            <ac:spMk id="37" creationId="{6E6D97FF-E2E0-42EA-A83A-C3DF9F3514AE}"/>
          </ac:spMkLst>
        </pc:spChg>
        <pc:spChg chg="mod ord">
          <ac:chgData name="Joelle Brehm" userId="a518f54c-6985-42c0-8041-2bb16a414839" providerId="ADAL" clId="{BE3A2103-5170-40FE-A99F-CB737D9F76BC}" dt="2023-10-02T21:52:59.457" v="47929"/>
          <ac:spMkLst>
            <pc:docMk/>
            <pc:sldMk cId="3564961532" sldId="282"/>
            <ac:spMk id="38" creationId="{1026F8B0-CCCC-40FF-9D5D-1CD95ABD906A}"/>
          </ac:spMkLst>
        </pc:spChg>
        <pc:spChg chg="mod">
          <ac:chgData name="Joelle Brehm" userId="a518f54c-6985-42c0-8041-2bb16a414839" providerId="ADAL" clId="{BE3A2103-5170-40FE-A99F-CB737D9F76BC}" dt="2023-10-02T21:52:59.457" v="47911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BE3A2103-5170-40FE-A99F-CB737D9F76BC}" dt="2023-10-02T21:52:59.457" v="47914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BE3A2103-5170-40FE-A99F-CB737D9F76BC}" dt="2023-10-02T21:52:59.457" v="47912"/>
          <ac:spMkLst>
            <pc:docMk/>
            <pc:sldMk cId="3564961532" sldId="282"/>
            <ac:spMk id="42" creationId="{029DF0F0-1819-B6C9-E910-A68F2546536E}"/>
          </ac:spMkLst>
        </pc:spChg>
        <pc:spChg chg="mod">
          <ac:chgData name="Joelle Brehm" userId="a518f54c-6985-42c0-8041-2bb16a414839" providerId="ADAL" clId="{BE3A2103-5170-40FE-A99F-CB737D9F76BC}" dt="2023-10-02T21:52:59.457" v="47909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BE3A2103-5170-40FE-A99F-CB737D9F76BC}" dt="2023-10-02T21:52:59.457" v="47915"/>
          <ac:spMkLst>
            <pc:docMk/>
            <pc:sldMk cId="3564961532" sldId="282"/>
            <ac:spMk id="44" creationId="{1F6C7A4E-3741-C604-E97F-BC7B1D2FF004}"/>
          </ac:spMkLst>
        </pc:spChg>
        <pc:spChg chg="mod ord">
          <ac:chgData name="Joelle Brehm" userId="a518f54c-6985-42c0-8041-2bb16a414839" providerId="ADAL" clId="{BE3A2103-5170-40FE-A99F-CB737D9F76BC}" dt="2023-10-02T21:52:59.457" v="47931"/>
          <ac:spMkLst>
            <pc:docMk/>
            <pc:sldMk cId="3564961532" sldId="282"/>
            <ac:spMk id="45" creationId="{13402A60-D873-7DF2-943A-0976851061CD}"/>
          </ac:spMkLst>
        </pc:spChg>
        <pc:spChg chg="del mod">
          <ac:chgData name="Joelle Brehm" userId="a518f54c-6985-42c0-8041-2bb16a414839" providerId="ADAL" clId="{BE3A2103-5170-40FE-A99F-CB737D9F76BC}" dt="2023-10-02T21:35:03.268" v="45166"/>
          <ac:spMkLst>
            <pc:docMk/>
            <pc:sldMk cId="3564961532" sldId="282"/>
            <ac:spMk id="47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57" v="47923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BE3A2103-5170-40FE-A99F-CB737D9F76BC}" dt="2023-10-02T21:52:59.457" v="47922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BE3A2103-5170-40FE-A99F-CB737D9F76BC}" dt="2023-10-02T21:52:59.457" v="47920"/>
          <ac:spMkLst>
            <pc:docMk/>
            <pc:sldMk cId="3564961532" sldId="282"/>
            <ac:spMk id="50" creationId="{3DE8EAFC-BBA1-9B18-6EFA-0D04A3B96CC1}"/>
          </ac:spMkLst>
        </pc:spChg>
        <pc:spChg chg="mod">
          <ac:chgData name="Joelle Brehm" userId="a518f54c-6985-42c0-8041-2bb16a414839" providerId="ADAL" clId="{BE3A2103-5170-40FE-A99F-CB737D9F76BC}" dt="2023-10-02T21:52:59.457" v="47924"/>
          <ac:spMkLst>
            <pc:docMk/>
            <pc:sldMk cId="3564961532" sldId="282"/>
            <ac:spMk id="51" creationId="{7D7C884D-D57C-725C-5AC2-3935B0668B1E}"/>
          </ac:spMkLst>
        </pc:spChg>
        <pc:spChg chg="mod">
          <ac:chgData name="Joelle Brehm" userId="a518f54c-6985-42c0-8041-2bb16a414839" providerId="ADAL" clId="{BE3A2103-5170-40FE-A99F-CB737D9F76BC}" dt="2023-10-02T21:52:59.457" v="47919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BE3A2103-5170-40FE-A99F-CB737D9F76BC}" dt="2023-10-02T21:52:59.457" v="47921"/>
          <ac:spMkLst>
            <pc:docMk/>
            <pc:sldMk cId="3564961532" sldId="282"/>
            <ac:spMk id="53" creationId="{38705BBC-1969-2802-06B0-A9451DCAD493}"/>
          </ac:spMkLst>
        </pc:spChg>
        <pc:spChg chg="add mod replST">
          <ac:chgData name="Joelle Brehm" userId="a518f54c-6985-42c0-8041-2bb16a414839" providerId="ADAL" clId="{BE3A2103-5170-40FE-A99F-CB737D9F76BC}" dt="2023-10-02T21:52:59.457" v="47925"/>
          <ac:spMkLst>
            <pc:docMk/>
            <pc:sldMk cId="3564961532" sldId="282"/>
            <ac:spMk id="54" creationId="{B1C1E6B0-1977-11C6-202F-3E102D4C4613}"/>
          </ac:spMkLst>
        </pc:spChg>
        <pc:spChg chg="mod">
          <ac:chgData name="Joelle Brehm" userId="a518f54c-6985-42c0-8041-2bb16a414839" providerId="ADAL" clId="{BE3A2103-5170-40FE-A99F-CB737D9F76BC}" dt="2023-10-02T21:52:59.457" v="47913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BE3A2103-5170-40FE-A99F-CB737D9F76BC}" dt="2023-10-02T21:52:59.457" v="47917"/>
          <ac:spMkLst>
            <pc:docMk/>
            <pc:sldMk cId="3564961532" sldId="282"/>
            <ac:spMk id="56" creationId="{524D0E2B-EC88-5451-10B4-9BAED81D2D7E}"/>
          </ac:spMkLst>
        </pc:spChg>
        <pc:spChg chg="mod ord">
          <ac:chgData name="Joelle Brehm" userId="a518f54c-6985-42c0-8041-2bb16a414839" providerId="ADAL" clId="{BE3A2103-5170-40FE-A99F-CB737D9F76BC}" dt="2023-10-02T21:52:59.457" v="47927"/>
          <ac:spMkLst>
            <pc:docMk/>
            <pc:sldMk cId="3564961532" sldId="282"/>
            <ac:spMk id="57" creationId="{6C3836C5-4B8F-D1FF-D868-DEBFC10CBCF3}"/>
          </ac:spMkLst>
        </pc:spChg>
        <pc:spChg chg="add mod replST">
          <ac:chgData name="Joelle Brehm" userId="a518f54c-6985-42c0-8041-2bb16a414839" providerId="ADAL" clId="{BE3A2103-5170-40FE-A99F-CB737D9F76BC}" dt="2023-10-02T21:52:59.457" v="47930"/>
          <ac:spMkLst>
            <pc:docMk/>
            <pc:sldMk cId="3564961532" sldId="282"/>
            <ac:spMk id="58" creationId="{DADA19D3-B368-985D-C678-7694097E2811}"/>
          </ac:spMkLst>
        </pc:spChg>
        <pc:spChg chg="mod">
          <ac:chgData name="Joelle Brehm" userId="a518f54c-6985-42c0-8041-2bb16a414839" providerId="ADAL" clId="{BE3A2103-5170-40FE-A99F-CB737D9F76BC}" dt="2023-10-02T21:52:59.457" v="47928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BE3A2103-5170-40FE-A99F-CB737D9F76BC}" dt="2023-10-02T21:34:59.358" v="44857"/>
          <ac:spMkLst>
            <pc:docMk/>
            <pc:sldMk cId="3564961532" sldId="282"/>
            <ac:spMk id="60" creationId="{6EC34CA3-88BF-E3B1-9CDC-CB53E07073FB}"/>
          </ac:spMkLst>
        </pc:spChg>
        <pc:spChg chg="mod">
          <ac:chgData name="Joelle Brehm" userId="a518f54c-6985-42c0-8041-2bb16a414839" providerId="ADAL" clId="{BE3A2103-5170-40FE-A99F-CB737D9F76BC}" dt="2023-10-02T21:52:59.457" v="47916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BE3A2103-5170-40FE-A99F-CB737D9F76BC}" dt="2023-10-02T21:35:01.363" v="45097"/>
          <ac:spMkLst>
            <pc:docMk/>
            <pc:sldMk cId="3564961532" sldId="282"/>
            <ac:spMk id="63" creationId="{2930FA9E-0391-3BA5-4D69-1241B17BFF8C}"/>
          </ac:spMkLst>
        </pc:spChg>
        <pc:spChg chg="add del mod modVis">
          <ac:chgData name="Joelle Brehm" userId="a518f54c-6985-42c0-8041-2bb16a414839" providerId="ADAL" clId="{BE3A2103-5170-40FE-A99F-CB737D9F76BC}" dt="2023-10-02T21:35:04.406" v="46002"/>
          <ac:spMkLst>
            <pc:docMk/>
            <pc:sldMk cId="3564961532" sldId="282"/>
            <ac:spMk id="65" creationId="{F65026C4-138D-685E-57B7-F7B8BA219753}"/>
          </ac:spMkLst>
        </pc:spChg>
        <pc:spChg chg="mod">
          <ac:chgData name="Joelle Brehm" userId="a518f54c-6985-42c0-8041-2bb16a414839" providerId="ADAL" clId="{BE3A2103-5170-40FE-A99F-CB737D9F76BC}" dt="2023-10-02T21:52:59.457" v="47910"/>
          <ac:spMkLst>
            <pc:docMk/>
            <pc:sldMk cId="3564961532" sldId="282"/>
            <ac:spMk id="66" creationId="{C4A33F4F-7FD9-EA78-EDDC-D0E322FB3032}"/>
          </ac:spMkLst>
        </pc:spChg>
        <pc:spChg chg="add mod replST">
          <ac:chgData name="Joelle Brehm" userId="a518f54c-6985-42c0-8041-2bb16a414839" providerId="ADAL" clId="{BE3A2103-5170-40FE-A99F-CB737D9F76BC}" dt="2023-10-02T21:52:59.441" v="47903"/>
          <ac:spMkLst>
            <pc:docMk/>
            <pc:sldMk cId="3564961532" sldId="282"/>
            <ac:spMk id="67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52:59.441" v="47904"/>
          <ac:spMkLst>
            <pc:docMk/>
            <pc:sldMk cId="3564961532" sldId="282"/>
            <ac:spMk id="68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52:59.441" v="47905"/>
          <ac:spMkLst>
            <pc:docMk/>
            <pc:sldMk cId="3564961532" sldId="282"/>
            <ac:spMk id="70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52:59.441" v="47906"/>
          <ac:spMkLst>
            <pc:docMk/>
            <pc:sldMk cId="3564961532" sldId="282"/>
            <ac:spMk id="72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1:52:59.457" v="47907"/>
          <ac:spMkLst>
            <pc:docMk/>
            <pc:sldMk cId="3564961532" sldId="282"/>
            <ac:spMk id="7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41" v="47893"/>
          <ac:spMkLst>
            <pc:docMk/>
            <pc:sldMk cId="3564961532" sldId="282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BE3A2103-5170-40FE-A99F-CB737D9F76BC}" dt="2023-10-02T21:35:07.645" v="46221"/>
          <ac:spMkLst>
            <pc:docMk/>
            <pc:sldMk cId="3564961532" sldId="282"/>
            <ac:spMk id="76" creationId="{6DE97ABE-E2CA-5122-ABCD-8438592658EE}"/>
          </ac:spMkLst>
        </pc:spChg>
        <pc:spChg chg="mod ord">
          <ac:chgData name="Joelle Brehm" userId="a518f54c-6985-42c0-8041-2bb16a414839" providerId="ADAL" clId="{BE3A2103-5170-40FE-A99F-CB737D9F76BC}" dt="2023-10-02T21:52:59.457" v="47933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52:59.457" v="47935"/>
          <ac:spMkLst>
            <pc:docMk/>
            <pc:sldMk cId="3564961532" sldId="282"/>
            <ac:spMk id="79" creationId="{F1476AC4-694B-4D83-BFD8-8DCAA4BB1923}"/>
          </ac:spMkLst>
        </pc:spChg>
        <pc:spChg chg="add del mod modVis">
          <ac:chgData name="Joelle Brehm" userId="a518f54c-6985-42c0-8041-2bb16a414839" providerId="ADAL" clId="{BE3A2103-5170-40FE-A99F-CB737D9F76BC}" dt="2023-10-02T21:35:10.169" v="46438"/>
          <ac:spMkLst>
            <pc:docMk/>
            <pc:sldMk cId="3564961532" sldId="282"/>
            <ac:spMk id="80" creationId="{97555B3B-B4C7-D928-D239-E3468B11E0BE}"/>
          </ac:spMkLst>
        </pc:spChg>
        <pc:spChg chg="add del mod modVis">
          <ac:chgData name="Joelle Brehm" userId="a518f54c-6985-42c0-8041-2bb16a414839" providerId="ADAL" clId="{BE3A2103-5170-40FE-A99F-CB737D9F76BC}" dt="2023-10-02T21:35:15.041" v="46654"/>
          <ac:spMkLst>
            <pc:docMk/>
            <pc:sldMk cId="3564961532" sldId="282"/>
            <ac:spMk id="82" creationId="{076D9E64-C454-489D-90CC-CAECFB72AF32}"/>
          </ac:spMkLst>
        </pc:spChg>
        <pc:spChg chg="add del mod modVis">
          <ac:chgData name="Joelle Brehm" userId="a518f54c-6985-42c0-8041-2bb16a414839" providerId="ADAL" clId="{BE3A2103-5170-40FE-A99F-CB737D9F76BC}" dt="2023-10-02T21:35:20.008" v="46925"/>
          <ac:spMkLst>
            <pc:docMk/>
            <pc:sldMk cId="3564961532" sldId="282"/>
            <ac:spMk id="84" creationId="{090B643C-60A1-55C4-927E-51A9D5E69D76}"/>
          </ac:spMkLst>
        </pc:spChg>
        <pc:spChg chg="add del mod modVis">
          <ac:chgData name="Joelle Brehm" userId="a518f54c-6985-42c0-8041-2bb16a414839" providerId="ADAL" clId="{BE3A2103-5170-40FE-A99F-CB737D9F76BC}" dt="2023-10-02T21:52:50.469" v="47176"/>
          <ac:spMkLst>
            <pc:docMk/>
            <pc:sldMk cId="3564961532" sldId="282"/>
            <ac:spMk id="86" creationId="{7577F638-6D53-9095-AF94-0D108CD14315}"/>
          </ac:spMkLst>
        </pc:spChg>
        <pc:spChg chg="add del mod modVis">
          <ac:chgData name="Joelle Brehm" userId="a518f54c-6985-42c0-8041-2bb16a414839" providerId="ADAL" clId="{BE3A2103-5170-40FE-A99F-CB737D9F76BC}" dt="2023-10-02T21:52:53.493" v="47424"/>
          <ac:spMkLst>
            <pc:docMk/>
            <pc:sldMk cId="3564961532" sldId="282"/>
            <ac:spMk id="88" creationId="{01700720-A9A7-0391-BEE9-0D964D14B41B}"/>
          </ac:spMkLst>
        </pc:spChg>
        <pc:spChg chg="mod ord">
          <ac:chgData name="Joelle Brehm" userId="a518f54c-6985-42c0-8041-2bb16a414839" providerId="ADAL" clId="{BE3A2103-5170-40FE-A99F-CB737D9F76BC}" dt="2023-10-02T21:52:59.457" v="47954"/>
          <ac:spMkLst>
            <pc:docMk/>
            <pc:sldMk cId="3564961532" sldId="282"/>
            <ac:spMk id="89" creationId="{A74F6581-E271-4B10-835E-910483AD7353}"/>
          </ac:spMkLst>
        </pc:spChg>
        <pc:spChg chg="add del mod modVis">
          <ac:chgData name="Joelle Brehm" userId="a518f54c-6985-42c0-8041-2bb16a414839" providerId="ADAL" clId="{BE3A2103-5170-40FE-A99F-CB737D9F76BC}" dt="2023-10-02T21:52:57.056" v="47692"/>
          <ac:spMkLst>
            <pc:docMk/>
            <pc:sldMk cId="3564961532" sldId="282"/>
            <ac:spMk id="91" creationId="{525DD452-1663-EF2F-8DE1-9193567E0431}"/>
          </ac:spMkLst>
        </pc:spChg>
        <pc:spChg chg="add del mod modVis">
          <ac:chgData name="Joelle Brehm" userId="a518f54c-6985-42c0-8041-2bb16a414839" providerId="ADAL" clId="{BE3A2103-5170-40FE-A99F-CB737D9F76BC}" dt="2023-10-02T21:52:59.457" v="47960"/>
          <ac:spMkLst>
            <pc:docMk/>
            <pc:sldMk cId="3564961532" sldId="282"/>
            <ac:spMk id="93" creationId="{DD6B9410-5D34-695D-F74F-70D10B8E8821}"/>
          </ac:spMkLst>
        </pc:spChg>
        <pc:spChg chg="mod">
          <ac:chgData name="Joelle Brehm" userId="a518f54c-6985-42c0-8041-2bb16a414839" providerId="ADAL" clId="{BE3A2103-5170-40FE-A99F-CB737D9F76BC}" dt="2023-10-02T21:52:59.441" v="47902"/>
          <ac:spMkLst>
            <pc:docMk/>
            <pc:sldMk cId="3564961532" sldId="282"/>
            <ac:spMk id="97" creationId="{7CAA3B95-4C78-4122-BECA-B5FB0F3F3764}"/>
          </ac:spMkLst>
        </pc:spChg>
        <pc:spChg chg="del mod">
          <ac:chgData name="Joelle Brehm" userId="a518f54c-6985-42c0-8041-2bb16a414839" providerId="ADAL" clId="{BE3A2103-5170-40FE-A99F-CB737D9F76BC}" dt="2023-10-02T21:35:03.268" v="45165"/>
          <ac:spMkLst>
            <pc:docMk/>
            <pc:sldMk cId="3564961532" sldId="282"/>
            <ac:spMk id="99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52:59.457" v="47937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BE3A2103-5170-40FE-A99F-CB737D9F76BC}" dt="2023-10-02T21:52:59.441" v="47901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52:59.457" v="47939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52:59.457" v="47941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52:59.457" v="47943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52:59.441" v="47899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41" v="47900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41" v="47898"/>
          <ac:spMkLst>
            <pc:docMk/>
            <pc:sldMk cId="3564961532" sldId="282"/>
            <ac:spMk id="121" creationId="{7CAA3B95-4C78-4122-BECA-B5FB0F3F3764}"/>
          </ac:spMkLst>
        </pc:spChg>
        <pc:spChg chg="del mod">
          <ac:chgData name="Joelle Brehm" userId="a518f54c-6985-42c0-8041-2bb16a414839" providerId="ADAL" clId="{BE3A2103-5170-40FE-A99F-CB737D9F76BC}" dt="2023-10-02T21:35:03.267" v="45164"/>
          <ac:spMkLst>
            <pc:docMk/>
            <pc:sldMk cId="3564961532" sldId="282"/>
            <ac:spMk id="12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57" v="47947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57" v="47948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57" v="47949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2:59.457" v="47946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52:59.457" v="47950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1:52:59.485" v="47962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52:59.441" v="47870"/>
          <ac:graphicFrameMkLst>
            <pc:docMk/>
            <pc:sldMk cId="3564961532" sldId="282"/>
            <ac:graphicFrameMk id="8" creationId="{CE95FD60-5F3F-8600-A3A7-47BCA5D24742}"/>
          </ac:graphicFrameMkLst>
        </pc:graphicFrameChg>
        <pc:graphicFrameChg chg="del">
          <ac:chgData name="Joelle Brehm" userId="a518f54c-6985-42c0-8041-2bb16a414839" providerId="ADAL" clId="{BE3A2103-5170-40FE-A99F-CB737D9F76BC}" dt="2023-10-02T21:34:22.052" v="43889"/>
          <ac:graphicFrameMkLst>
            <pc:docMk/>
            <pc:sldMk cId="3564961532" sldId="282"/>
            <ac:graphicFrameMk id="9" creationId="{0CBC37E4-9A91-FEE8-482D-AFDDE9EF3958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52:59.457" v="47945"/>
          <ac:graphicFrameMkLst>
            <pc:docMk/>
            <pc:sldMk cId="3564961532" sldId="282"/>
            <ac:graphicFrameMk id="39" creationId="{DDE94850-CE4E-1BAB-1142-ABA151D317B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5:01.269" v="44993"/>
          <ac:graphicFrameMkLst>
            <pc:docMk/>
            <pc:sldMk cId="3564961532" sldId="282"/>
            <ac:graphicFrameMk id="61" creationId="{D8CAEE05-3E9C-4CBA-1B04-F7256BA2522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5:04.339" v="45895"/>
          <ac:graphicFrameMkLst>
            <pc:docMk/>
            <pc:sldMk cId="3564961532" sldId="282"/>
            <ac:graphicFrameMk id="64" creationId="{256CB952-3096-AE54-00E4-E9E36D01C72B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34:59.264" v="44753"/>
          <ac:graphicFrameMkLst>
            <pc:docMk/>
            <pc:sldMk cId="3564961532" sldId="282"/>
            <ac:graphicFrameMk id="69" creationId="{74F2242C-3029-24DD-6571-AFE04CA0B46D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34:51.824" v="44327"/>
          <ac:graphicFrameMkLst>
            <pc:docMk/>
            <pc:sldMk cId="3564961532" sldId="282"/>
            <ac:graphicFrameMk id="71" creationId="{9016B3E2-D7AA-7BD0-0D4B-8804565CB3E3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5:07.566" v="46115"/>
          <ac:graphicFrameMkLst>
            <pc:docMk/>
            <pc:sldMk cId="3564961532" sldId="282"/>
            <ac:graphicFrameMk id="75" creationId="{19611637-51E3-9408-F078-05B2C025530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5:10.011" v="46333"/>
          <ac:graphicFrameMkLst>
            <pc:docMk/>
            <pc:sldMk cId="3564961532" sldId="282"/>
            <ac:graphicFrameMk id="77" creationId="{4D380881-F96E-2791-9564-B1B0908563A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5:14.969" v="46550"/>
          <ac:graphicFrameMkLst>
            <pc:docMk/>
            <pc:sldMk cId="3564961532" sldId="282"/>
            <ac:graphicFrameMk id="81" creationId="{9573AFA5-48F2-59D5-ED02-686D454F5A1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35:19.965" v="46821"/>
          <ac:graphicFrameMkLst>
            <pc:docMk/>
            <pc:sldMk cId="3564961532" sldId="282"/>
            <ac:graphicFrameMk id="83" creationId="{7E1DE07C-B3D0-510B-6AAC-A8B2C4C6DE4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52:50.416" v="47072"/>
          <ac:graphicFrameMkLst>
            <pc:docMk/>
            <pc:sldMk cId="3564961532" sldId="282"/>
            <ac:graphicFrameMk id="85" creationId="{FE876539-61FE-FBF2-90EF-7A900E84D78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52:53.446" v="47320"/>
          <ac:graphicFrameMkLst>
            <pc:docMk/>
            <pc:sldMk cId="3564961532" sldId="282"/>
            <ac:graphicFrameMk id="87" creationId="{D6DCDEAF-753B-8B26-36AA-6E856932ED3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52:57.013" v="47588"/>
          <ac:graphicFrameMkLst>
            <pc:docMk/>
            <pc:sldMk cId="3564961532" sldId="282"/>
            <ac:graphicFrameMk id="90" creationId="{0C45CF3E-D7F5-41A6-8005-5BD63172C7A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52:59.409" v="47856"/>
          <ac:graphicFrameMkLst>
            <pc:docMk/>
            <pc:sldMk cId="3564961532" sldId="282"/>
            <ac:graphicFrameMk id="92" creationId="{839F7D40-5C18-8204-C449-03714C134534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52:59.441" v="47897"/>
          <ac:graphicFrameMkLst>
            <pc:docMk/>
            <pc:sldMk cId="3564961532" sldId="282"/>
            <ac:graphicFrameMk id="94" creationId="{F9AFBF60-EACB-CE93-B950-3AA8BFDAD2B5}"/>
          </ac:graphicFrameMkLst>
        </pc:graphicFrameChg>
        <pc:picChg chg="add mod ord">
          <ac:chgData name="Joelle Brehm" userId="a518f54c-6985-42c0-8041-2bb16a414839" providerId="ADAL" clId="{BE3A2103-5170-40FE-A99F-CB737D9F76BC}" dt="2023-10-02T21:52:59.441" v="47864"/>
          <ac:picMkLst>
            <pc:docMk/>
            <pc:sldMk cId="3564961532" sldId="282"/>
            <ac:picMk id="31" creationId="{0AA48B3F-8CF7-117A-B9E3-683AA043DFC4}"/>
          </ac:picMkLst>
        </pc:picChg>
        <pc:picChg chg="del mod ord">
          <ac:chgData name="Joelle Brehm" userId="a518f54c-6985-42c0-8041-2bb16a414839" providerId="ADAL" clId="{BE3A2103-5170-40FE-A99F-CB737D9F76BC}" dt="2023-10-02T21:34:39.675" v="44110" actId="478"/>
          <ac:picMkLst>
            <pc:docMk/>
            <pc:sldMk cId="3564961532" sldId="282"/>
            <ac:picMk id="46" creationId="{8A6F9578-A030-FCB0-5E43-E354A3080561}"/>
          </ac:picMkLst>
        </pc:picChg>
        <pc:picChg chg="mod ord">
          <ac:chgData name="Joelle Brehm" userId="a518f54c-6985-42c0-8041-2bb16a414839" providerId="ADAL" clId="{BE3A2103-5170-40FE-A99F-CB737D9F76BC}" dt="2023-10-02T21:52:59.457" v="47952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52:59.441" v="47868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1:59:24.443" v="49740"/>
        <pc:sldMkLst>
          <pc:docMk/>
          <pc:sldMk cId="2958919186" sldId="284"/>
        </pc:sldMkLst>
        <pc:spChg chg="mod ord">
          <ac:chgData name="Joelle Brehm" userId="a518f54c-6985-42c0-8041-2bb16a414839" providerId="ADAL" clId="{BE3A2103-5170-40FE-A99F-CB737D9F76BC}" dt="2023-10-02T21:59:24.428" v="49734"/>
          <ac:spMkLst>
            <pc:docMk/>
            <pc:sldMk cId="2958919186" sldId="284"/>
            <ac:spMk id="2" creationId="{E0BBFF4A-7EEF-43CB-94FA-0BDC45C7239C}"/>
          </ac:spMkLst>
        </pc:spChg>
        <pc:spChg chg="del mod ord">
          <ac:chgData name="Joelle Brehm" userId="a518f54c-6985-42c0-8041-2bb16a414839" providerId="ADAL" clId="{BE3A2103-5170-40FE-A99F-CB737D9F76BC}" dt="2023-10-02T21:59:00.725" v="48373" actId="478"/>
          <ac:spMkLst>
            <pc:docMk/>
            <pc:sldMk cId="2958919186" sldId="284"/>
            <ac:spMk id="3" creationId="{747F6694-D861-8ECE-FD56-DB58B64B4897}"/>
          </ac:spMkLst>
        </pc:spChg>
        <pc:spChg chg="add del mod modVis">
          <ac:chgData name="Joelle Brehm" userId="a518f54c-6985-42c0-8041-2bb16a414839" providerId="ADAL" clId="{BE3A2103-5170-40FE-A99F-CB737D9F76BC}" dt="2023-10-02T21:58:43.140" v="48256"/>
          <ac:spMkLst>
            <pc:docMk/>
            <pc:sldMk cId="2958919186" sldId="284"/>
            <ac:spMk id="5" creationId="{14DDB7D8-5DB1-1D7E-B21B-505220BEBAA3}"/>
          </ac:spMkLst>
        </pc:spChg>
        <pc:spChg chg="mod ord">
          <ac:chgData name="Joelle Brehm" userId="a518f54c-6985-42c0-8041-2bb16a414839" providerId="ADAL" clId="{BE3A2103-5170-40FE-A99F-CB737D9F76BC}" dt="2023-10-02T21:59:24.396" v="49648"/>
          <ac:spMkLst>
            <pc:docMk/>
            <pc:sldMk cId="2958919186" sldId="284"/>
            <ac:spMk id="6" creationId="{B47CE71D-7819-4857-B121-737A3BD39B4D}"/>
          </ac:spMkLst>
        </pc:spChg>
        <pc:spChg chg="del mod">
          <ac:chgData name="Joelle Brehm" userId="a518f54c-6985-42c0-8041-2bb16a414839" providerId="ADAL" clId="{BE3A2103-5170-40FE-A99F-CB737D9F76BC}" dt="2023-10-02T21:59:13.134" v="49002"/>
          <ac:spMkLst>
            <pc:docMk/>
            <pc:sldMk cId="2958919186" sldId="284"/>
            <ac:spMk id="9" creationId="{581018D9-D474-E6D8-4FB0-2F2B587E2BA8}"/>
          </ac:spMkLst>
        </pc:spChg>
        <pc:spChg chg="mod">
          <ac:chgData name="Joelle Brehm" userId="a518f54c-6985-42c0-8041-2bb16a414839" providerId="ADAL" clId="{BE3A2103-5170-40FE-A99F-CB737D9F76BC}" dt="2023-10-02T21:59:24.412" v="49657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1:59:24.412" v="49658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1:59:24.412" v="49653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1:59:24.412" v="49655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1:59:24.412" v="49656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1:59:24.412" v="49659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1:59:24.412" v="49660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1:59:24.412" v="49654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1:59:24.412" v="49661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1:59:24.412" v="49662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1:59:24.412" v="49663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1:59:24.412" v="49664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1:59:24.412" v="49666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1:59:24.412" v="49667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1:59:24.412" v="49668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1:59:24.412" v="49669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1:59:24.412" v="49673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1:59:24.412" v="49672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1:59:24.412" v="49675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1:59:24.412" v="49677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1:59:24.412" v="49697"/>
          <ac:spMkLst>
            <pc:docMk/>
            <pc:sldMk cId="2958919186" sldId="284"/>
            <ac:spMk id="31" creationId="{125088B1-BC05-E61C-E778-A5953B0A5CC9}"/>
          </ac:spMkLst>
        </pc:spChg>
        <pc:spChg chg="del mod">
          <ac:chgData name="Joelle Brehm" userId="a518f54c-6985-42c0-8041-2bb16a414839" providerId="ADAL" clId="{BE3A2103-5170-40FE-A99F-CB737D9F76BC}" dt="2023-10-02T21:59:13.134" v="49001"/>
          <ac:spMkLst>
            <pc:docMk/>
            <pc:sldMk cId="2958919186" sldId="284"/>
            <ac:spMk id="32" creationId="{7DC518E0-B6F8-2016-02E9-5BDCE98B8BD2}"/>
          </ac:spMkLst>
        </pc:spChg>
        <pc:spChg chg="mod">
          <ac:chgData name="Joelle Brehm" userId="a518f54c-6985-42c0-8041-2bb16a414839" providerId="ADAL" clId="{BE3A2103-5170-40FE-A99F-CB737D9F76BC}" dt="2023-10-02T21:59:24.412" v="49690"/>
          <ac:spMkLst>
            <pc:docMk/>
            <pc:sldMk cId="2958919186" sldId="284"/>
            <ac:spMk id="33" creationId="{4B94C134-301E-FFE0-B344-351A0F3A058C}"/>
          </ac:spMkLst>
        </pc:spChg>
        <pc:spChg chg="mod">
          <ac:chgData name="Joelle Brehm" userId="a518f54c-6985-42c0-8041-2bb16a414839" providerId="ADAL" clId="{BE3A2103-5170-40FE-A99F-CB737D9F76BC}" dt="2023-10-02T21:59:24.412" v="49691"/>
          <ac:spMkLst>
            <pc:docMk/>
            <pc:sldMk cId="2958919186" sldId="284"/>
            <ac:spMk id="34" creationId="{1D083AF9-5BB6-268F-E100-556C500563FF}"/>
          </ac:spMkLst>
        </pc:spChg>
        <pc:spChg chg="mod">
          <ac:chgData name="Joelle Brehm" userId="a518f54c-6985-42c0-8041-2bb16a414839" providerId="ADAL" clId="{BE3A2103-5170-40FE-A99F-CB737D9F76BC}" dt="2023-10-02T21:59:24.412" v="49689"/>
          <ac:spMkLst>
            <pc:docMk/>
            <pc:sldMk cId="2958919186" sldId="284"/>
            <ac:spMk id="36" creationId="{2B31A95E-66FE-6A51-6096-E25DEE4F6185}"/>
          </ac:spMkLst>
        </pc:spChg>
        <pc:spChg chg="mod ord">
          <ac:chgData name="Joelle Brehm" userId="a518f54c-6985-42c0-8041-2bb16a414839" providerId="ADAL" clId="{BE3A2103-5170-40FE-A99F-CB737D9F76BC}" dt="2023-10-02T21:59:24.412" v="49671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BE3A2103-5170-40FE-A99F-CB737D9F76BC}" dt="2023-10-02T21:59:24.412" v="49694"/>
          <ac:spMkLst>
            <pc:docMk/>
            <pc:sldMk cId="2958919186" sldId="284"/>
            <ac:spMk id="38" creationId="{64FE4593-24F9-360D-B61A-345C6A72C704}"/>
          </ac:spMkLst>
        </pc:spChg>
        <pc:spChg chg="mod">
          <ac:chgData name="Joelle Brehm" userId="a518f54c-6985-42c0-8041-2bb16a414839" providerId="ADAL" clId="{BE3A2103-5170-40FE-A99F-CB737D9F76BC}" dt="2023-10-02T21:59:24.412" v="49699"/>
          <ac:spMkLst>
            <pc:docMk/>
            <pc:sldMk cId="2958919186" sldId="284"/>
            <ac:spMk id="40" creationId="{65B69A5C-0F9E-A4F4-3815-34C5AD49C7B7}"/>
          </ac:spMkLst>
        </pc:spChg>
        <pc:spChg chg="mod">
          <ac:chgData name="Joelle Brehm" userId="a518f54c-6985-42c0-8041-2bb16a414839" providerId="ADAL" clId="{BE3A2103-5170-40FE-A99F-CB737D9F76BC}" dt="2023-10-02T21:59:24.412" v="49698"/>
          <ac:spMkLst>
            <pc:docMk/>
            <pc:sldMk cId="2958919186" sldId="284"/>
            <ac:spMk id="41" creationId="{6F6FCB65-B77A-CEE3-3C55-1C7EB0F7E454}"/>
          </ac:spMkLst>
        </pc:spChg>
        <pc:spChg chg="mod">
          <ac:chgData name="Joelle Brehm" userId="a518f54c-6985-42c0-8041-2bb16a414839" providerId="ADAL" clId="{BE3A2103-5170-40FE-A99F-CB737D9F76BC}" dt="2023-10-02T21:59:24.428" v="49708"/>
          <ac:spMkLst>
            <pc:docMk/>
            <pc:sldMk cId="2958919186" sldId="284"/>
            <ac:spMk id="42" creationId="{907D7408-F4BF-634D-C4A3-6AB144A133E9}"/>
          </ac:spMkLst>
        </pc:spChg>
        <pc:spChg chg="mod">
          <ac:chgData name="Joelle Brehm" userId="a518f54c-6985-42c0-8041-2bb16a414839" providerId="ADAL" clId="{BE3A2103-5170-40FE-A99F-CB737D9F76BC}" dt="2023-10-02T21:59:24.412" v="49692"/>
          <ac:spMkLst>
            <pc:docMk/>
            <pc:sldMk cId="2958919186" sldId="284"/>
            <ac:spMk id="43" creationId="{37188F03-F6CA-EE9D-F6C7-47E8CCD42E86}"/>
          </ac:spMkLst>
        </pc:spChg>
        <pc:spChg chg="mod">
          <ac:chgData name="Joelle Brehm" userId="a518f54c-6985-42c0-8041-2bb16a414839" providerId="ADAL" clId="{BE3A2103-5170-40FE-A99F-CB737D9F76BC}" dt="2023-10-02T21:59:24.428" v="49707"/>
          <ac:spMkLst>
            <pc:docMk/>
            <pc:sldMk cId="2958919186" sldId="284"/>
            <ac:spMk id="44" creationId="{77917790-2F42-F887-E684-5C13E341F164}"/>
          </ac:spMkLst>
        </pc:spChg>
        <pc:spChg chg="mod">
          <ac:chgData name="Joelle Brehm" userId="a518f54c-6985-42c0-8041-2bb16a414839" providerId="ADAL" clId="{BE3A2103-5170-40FE-A99F-CB737D9F76BC}" dt="2023-10-02T21:59:24.412" v="49696"/>
          <ac:spMkLst>
            <pc:docMk/>
            <pc:sldMk cId="2958919186" sldId="284"/>
            <ac:spMk id="45" creationId="{BA6D2150-ACED-DB3B-247D-B1C7D75594BC}"/>
          </ac:spMkLst>
        </pc:spChg>
        <pc:spChg chg="mod">
          <ac:chgData name="Joelle Brehm" userId="a518f54c-6985-42c0-8041-2bb16a414839" providerId="ADAL" clId="{BE3A2103-5170-40FE-A99F-CB737D9F76BC}" dt="2023-10-02T21:59:24.412" v="49695"/>
          <ac:spMkLst>
            <pc:docMk/>
            <pc:sldMk cId="2958919186" sldId="284"/>
            <ac:spMk id="46" creationId="{57979B6E-92A7-E2CD-D125-48728C290A15}"/>
          </ac:spMkLst>
        </pc:spChg>
        <pc:spChg chg="mod">
          <ac:chgData name="Joelle Brehm" userId="a518f54c-6985-42c0-8041-2bb16a414839" providerId="ADAL" clId="{BE3A2103-5170-40FE-A99F-CB737D9F76BC}" dt="2023-10-02T21:59:24.412" v="49686"/>
          <ac:spMkLst>
            <pc:docMk/>
            <pc:sldMk cId="2958919186" sldId="284"/>
            <ac:spMk id="47" creationId="{F1368363-5333-B95D-BCFC-162A180EC1E3}"/>
          </ac:spMkLst>
        </pc:spChg>
        <pc:spChg chg="add mod replST">
          <ac:chgData name="Joelle Brehm" userId="a518f54c-6985-42c0-8041-2bb16a414839" providerId="ADAL" clId="{BE3A2103-5170-40FE-A99F-CB737D9F76BC}" dt="2023-10-02T21:59:24.428" v="49709"/>
          <ac:spMkLst>
            <pc:docMk/>
            <pc:sldMk cId="2958919186" sldId="284"/>
            <ac:spMk id="48" creationId="{5D20D0D7-37CC-29AE-8F09-41EE1C3042D6}"/>
          </ac:spMkLst>
        </pc:spChg>
        <pc:spChg chg="add del mod modVis">
          <ac:chgData name="Joelle Brehm" userId="a518f54c-6985-42c0-8041-2bb16a414839" providerId="ADAL" clId="{BE3A2103-5170-40FE-A99F-CB737D9F76BC}" dt="2023-10-02T21:59:06.430" v="48753"/>
          <ac:spMkLst>
            <pc:docMk/>
            <pc:sldMk cId="2958919186" sldId="284"/>
            <ac:spMk id="49" creationId="{912B2703-8DC6-09DF-7C5A-2912C4D49A67}"/>
          </ac:spMkLst>
        </pc:spChg>
        <pc:spChg chg="add mod ord replST">
          <ac:chgData name="Joelle Brehm" userId="a518f54c-6985-42c0-8041-2bb16a414839" providerId="ADAL" clId="{BE3A2103-5170-40FE-A99F-CB737D9F76BC}" dt="2023-10-02T21:59:24.412" v="49687"/>
          <ac:spMkLst>
            <pc:docMk/>
            <pc:sldMk cId="2958919186" sldId="284"/>
            <ac:spMk id="51" creationId="{5919439C-F2E5-38EE-454C-6197DCE4A0B6}"/>
          </ac:spMkLst>
        </pc:spChg>
        <pc:spChg chg="mod">
          <ac:chgData name="Joelle Brehm" userId="a518f54c-6985-42c0-8041-2bb16a414839" providerId="ADAL" clId="{BE3A2103-5170-40FE-A99F-CB737D9F76BC}" dt="2023-10-02T21:59:24.412" v="49688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BE3A2103-5170-40FE-A99F-CB737D9F76BC}" dt="2023-10-02T21:59:24.412" v="49700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BE3A2103-5170-40FE-A99F-CB737D9F76BC}" dt="2023-10-02T21:59:24.412" v="49706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BE3A2103-5170-40FE-A99F-CB737D9F76BC}" dt="2023-10-02T21:59:24.412" v="49705"/>
          <ac:spMkLst>
            <pc:docMk/>
            <pc:sldMk cId="2958919186" sldId="284"/>
            <ac:spMk id="55" creationId="{2BAA32C5-1C92-8614-2678-B94A36FCDC54}"/>
          </ac:spMkLst>
        </pc:spChg>
        <pc:spChg chg="add del mod modVis">
          <ac:chgData name="Joelle Brehm" userId="a518f54c-6985-42c0-8041-2bb16a414839" providerId="ADAL" clId="{BE3A2103-5170-40FE-A99F-CB737D9F76BC}" dt="2023-10-02T21:59:10.473" v="48998"/>
          <ac:spMkLst>
            <pc:docMk/>
            <pc:sldMk cId="2958919186" sldId="284"/>
            <ac:spMk id="56" creationId="{1EE35FC9-B565-C7E8-E2E6-7738AFB14880}"/>
          </ac:spMkLst>
        </pc:spChg>
        <pc:spChg chg="mod">
          <ac:chgData name="Joelle Brehm" userId="a518f54c-6985-42c0-8041-2bb16a414839" providerId="ADAL" clId="{BE3A2103-5170-40FE-A99F-CB737D9F76BC}" dt="2023-10-02T21:59:24.412" v="49703"/>
          <ac:spMkLst>
            <pc:docMk/>
            <pc:sldMk cId="2958919186" sldId="284"/>
            <ac:spMk id="58" creationId="{1FE8095F-70AA-80E7-5AB4-793D17F07A13}"/>
          </ac:spMkLst>
        </pc:spChg>
        <pc:spChg chg="add del mod modVis">
          <ac:chgData name="Joelle Brehm" userId="a518f54c-6985-42c0-8041-2bb16a414839" providerId="ADAL" clId="{BE3A2103-5170-40FE-A99F-CB737D9F76BC}" dt="2023-10-02T21:59:13.284" v="49260"/>
          <ac:spMkLst>
            <pc:docMk/>
            <pc:sldMk cId="2958919186" sldId="284"/>
            <ac:spMk id="59" creationId="{A11DE41C-6242-516B-5B41-92950C1AB26E}"/>
          </ac:spMkLst>
        </pc:spChg>
        <pc:spChg chg="mod">
          <ac:chgData name="Joelle Brehm" userId="a518f54c-6985-42c0-8041-2bb16a414839" providerId="ADAL" clId="{BE3A2103-5170-40FE-A99F-CB737D9F76BC}" dt="2023-10-02T21:59:24.412" v="49701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BE3A2103-5170-40FE-A99F-CB737D9F76BC}" dt="2023-10-02T21:59:24.412" v="49693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BE3A2103-5170-40FE-A99F-CB737D9F76BC}" dt="2023-10-02T21:59:16.564" v="49460"/>
          <ac:spMkLst>
            <pc:docMk/>
            <pc:sldMk cId="2958919186" sldId="284"/>
            <ac:spMk id="63" creationId="{14B505B5-0343-4020-90EC-09C037EC89FE}"/>
          </ac:spMkLst>
        </pc:spChg>
        <pc:spChg chg="mod">
          <ac:chgData name="Joelle Brehm" userId="a518f54c-6985-42c0-8041-2bb16a414839" providerId="ADAL" clId="{BE3A2103-5170-40FE-A99F-CB737D9F76BC}" dt="2023-10-02T21:59:24.412" v="49702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BE3A2103-5170-40FE-A99F-CB737D9F76BC}" dt="2023-10-02T21:59:24.428" v="49738"/>
          <ac:spMkLst>
            <pc:docMk/>
            <pc:sldMk cId="2958919186" sldId="284"/>
            <ac:spMk id="66" creationId="{B59D83EA-73F3-480B-0A22-D636BBD42291}"/>
          </ac:spMkLst>
        </pc:spChg>
        <pc:spChg chg="mod">
          <ac:chgData name="Joelle Brehm" userId="a518f54c-6985-42c0-8041-2bb16a414839" providerId="ADAL" clId="{BE3A2103-5170-40FE-A99F-CB737D9F76BC}" dt="2023-10-02T21:59:24.412" v="49682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9:24.412" v="49683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9:24.412" v="49684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9:24.412" v="49685"/>
          <ac:spMkLst>
            <pc:docMk/>
            <pc:sldMk cId="2958919186" sldId="284"/>
            <ac:spMk id="7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9:24.412" v="49674"/>
          <ac:spMkLst>
            <pc:docMk/>
            <pc:sldMk cId="2958919186" sldId="284"/>
            <ac:spMk id="74" creationId="{1E5392BC-349C-45B4-8F81-52F83DA74F43}"/>
          </ac:spMkLst>
        </pc:spChg>
        <pc:spChg chg="mod">
          <ac:chgData name="Joelle Brehm" userId="a518f54c-6985-42c0-8041-2bb16a414839" providerId="ADAL" clId="{BE3A2103-5170-40FE-A99F-CB737D9F76BC}" dt="2023-10-02T21:59:24.412" v="49704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BE3A2103-5170-40FE-A99F-CB737D9F76BC}" dt="2023-10-02T21:59:24.428" v="49711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1:59:24.428" v="49713"/>
          <ac:spMkLst>
            <pc:docMk/>
            <pc:sldMk cId="2958919186" sldId="284"/>
            <ac:spMk id="79" creationId="{F1476AC4-694B-4D83-BFD8-8DCAA4BB1923}"/>
          </ac:spMkLst>
        </pc:spChg>
        <pc:spChg chg="mod">
          <ac:chgData name="Joelle Brehm" userId="a518f54c-6985-42c0-8041-2bb16a414839" providerId="ADAL" clId="{BE3A2103-5170-40FE-A99F-CB737D9F76BC}" dt="2023-10-02T21:59:24.412" v="49681"/>
          <ac:spMkLst>
            <pc:docMk/>
            <pc:sldMk cId="2958919186" sldId="284"/>
            <ac:spMk id="85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1:59:24.428" v="49732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BE3A2103-5170-40FE-A99F-CB737D9F76BC}" dt="2023-10-02T21:59:24.428" v="49715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1:59:24.428" v="49717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1:59:24.428" v="49719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1:59:24.428" v="49721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1:59:24.428" v="49725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9:24.428" v="49724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9:24.428" v="49726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1:59:24.428" v="49728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1:59:24.428" v="49727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BE3A2103-5170-40FE-A99F-CB737D9F76BC}" dt="2023-10-02T21:59:24.412" v="49680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BE3A2103-5170-40FE-A99F-CB737D9F76BC}" dt="2023-10-02T21:59:24.443" v="49740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1:58:43.059" v="48150"/>
          <ac:graphicFrameMkLst>
            <pc:docMk/>
            <pc:sldMk cId="2958919186" sldId="284"/>
            <ac:graphicFrameMk id="8" creationId="{ACA8B1A7-88B7-15ED-DC47-2444C814641B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59:24.412" v="49652"/>
          <ac:graphicFrameMkLst>
            <pc:docMk/>
            <pc:sldMk cId="2958919186" sldId="284"/>
            <ac:graphicFrameMk id="35" creationId="{41E34E44-71FE-0FD3-0625-996C196B8F5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59:10.418" v="48895"/>
          <ac:graphicFrameMkLst>
            <pc:docMk/>
            <pc:sldMk cId="2958919186" sldId="284"/>
            <ac:graphicFrameMk id="50" creationId="{1CB70655-C761-EB0F-047A-38700E92B4C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59:13.233" v="49159"/>
          <ac:graphicFrameMkLst>
            <pc:docMk/>
            <pc:sldMk cId="2958919186" sldId="284"/>
            <ac:graphicFrameMk id="57" creationId="{BE79CCF6-C5E1-AB67-8D63-C159622E528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1:59:16.532" v="49360"/>
          <ac:graphicFrameMkLst>
            <pc:docMk/>
            <pc:sldMk cId="2958919186" sldId="284"/>
            <ac:graphicFrameMk id="62" creationId="{74548E08-52E2-B48B-CC83-26FD0306E83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59:24.412" v="49679"/>
          <ac:graphicFrameMkLst>
            <pc:docMk/>
            <pc:sldMk cId="2958919186" sldId="284"/>
            <ac:graphicFrameMk id="65" creationId="{A6251D36-774F-7C35-CB07-DD1903ED859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1:59:24.428" v="49723"/>
          <ac:graphicFrameMkLst>
            <pc:docMk/>
            <pc:sldMk cId="2958919186" sldId="284"/>
            <ac:graphicFrameMk id="67" creationId="{C5312727-1595-5EE3-1E0E-720F4DBDF783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59:24.363" v="49638"/>
          <ac:graphicFrameMkLst>
            <pc:docMk/>
            <pc:sldMk cId="2958919186" sldId="284"/>
            <ac:graphicFrameMk id="83" creationId="{C207079B-6C93-A6D1-6615-D0B49753D485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1:59:06.366" v="48652"/>
          <ac:graphicFrameMkLst>
            <pc:docMk/>
            <pc:sldMk cId="2958919186" sldId="284"/>
            <ac:graphicFrameMk id="93" creationId="{03EEF561-8E95-8C87-657B-FC1B7D3B76D9}"/>
          </ac:graphicFrameMkLst>
        </pc:graphicFrameChg>
        <pc:picChg chg="del mod ord">
          <ac:chgData name="Joelle Brehm" userId="a518f54c-6985-42c0-8041-2bb16a414839" providerId="ADAL" clId="{BE3A2103-5170-40FE-A99F-CB737D9F76BC}" dt="2023-10-02T21:58:58.528" v="48372" actId="478"/>
          <ac:picMkLst>
            <pc:docMk/>
            <pc:sldMk cId="2958919186" sldId="284"/>
            <ac:picMk id="10" creationId="{A92147B6-DD82-26B6-81E2-D96E15ED226D}"/>
          </ac:picMkLst>
        </pc:picChg>
        <pc:picChg chg="add mod ord">
          <ac:chgData name="Joelle Brehm" userId="a518f54c-6985-42c0-8041-2bb16a414839" providerId="ADAL" clId="{BE3A2103-5170-40FE-A99F-CB737D9F76BC}" dt="2023-10-02T21:59:24.396" v="49646"/>
          <ac:picMkLst>
            <pc:docMk/>
            <pc:sldMk cId="2958919186" sldId="284"/>
            <ac:picMk id="39" creationId="{44CEB118-2718-F572-3060-4150DDAE5C55}"/>
          </ac:picMkLst>
        </pc:picChg>
        <pc:picChg chg="mod ord">
          <ac:chgData name="Joelle Brehm" userId="a518f54c-6985-42c0-8041-2bb16a414839" providerId="ADAL" clId="{BE3A2103-5170-40FE-A99F-CB737D9F76BC}" dt="2023-10-02T21:59:24.428" v="49730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1:59:24.396" v="49650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2:00:34.344" v="51336"/>
        <pc:sldMkLst>
          <pc:docMk/>
          <pc:sldMk cId="3959601197" sldId="285"/>
        </pc:sldMkLst>
        <pc:spChg chg="mod ord">
          <ac:chgData name="Joelle Brehm" userId="a518f54c-6985-42c0-8041-2bb16a414839" providerId="ADAL" clId="{BE3A2103-5170-40FE-A99F-CB737D9F76BC}" dt="2023-10-02T22:00:34.329" v="51330"/>
          <ac:spMkLst>
            <pc:docMk/>
            <pc:sldMk cId="3959601197" sldId="285"/>
            <ac:spMk id="2" creationId="{834E3642-3BF8-4D50-9A2A-9ADF91017D8B}"/>
          </ac:spMkLst>
        </pc:spChg>
        <pc:spChg chg="del mod ord">
          <ac:chgData name="Joelle Brehm" userId="a518f54c-6985-42c0-8041-2bb16a414839" providerId="ADAL" clId="{BE3A2103-5170-40FE-A99F-CB737D9F76BC}" dt="2023-10-02T22:00:13.900" v="50107" actId="478"/>
          <ac:spMkLst>
            <pc:docMk/>
            <pc:sldMk cId="3959601197" sldId="285"/>
            <ac:spMk id="3" creationId="{107BA3F2-BE72-204A-A64B-8B0C1CE29C9E}"/>
          </ac:spMkLst>
        </pc:spChg>
        <pc:spChg chg="add del mod modVis">
          <ac:chgData name="Joelle Brehm" userId="a518f54c-6985-42c0-8041-2bb16a414839" providerId="ADAL" clId="{BE3A2103-5170-40FE-A99F-CB737D9F76BC}" dt="2023-10-02T21:59:45.496" v="50014"/>
          <ac:spMkLst>
            <pc:docMk/>
            <pc:sldMk cId="3959601197" sldId="285"/>
            <ac:spMk id="5" creationId="{F06AE952-9744-D708-5F37-B214D39D7603}"/>
          </ac:spMkLst>
        </pc:spChg>
        <pc:spChg chg="mod ord">
          <ac:chgData name="Joelle Brehm" userId="a518f54c-6985-42c0-8041-2bb16a414839" providerId="ADAL" clId="{BE3A2103-5170-40FE-A99F-CB737D9F76BC}" dt="2023-10-02T22:00:34.312" v="51262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2:00:34.312" v="51295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BE3A2103-5170-40FE-A99F-CB737D9F76BC}" dt="2023-10-02T22:00:34.312" v="51269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2:00:34.312" v="51270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2:00:34.312" v="51274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2:00:34.312" v="51267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2:00:34.312" v="51271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2:00:34.312" v="51273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2:00:34.312" v="51272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2:00:34.312" v="51275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2:00:34.312" v="51276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2:00:34.312" v="51277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2:00:34.312" v="51268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2:00:34.312" v="51278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2:00:34.312" v="51280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2:00:34.312" v="51285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2:00:34.312" v="51283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2:00:34.312" v="51284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2:00:34.312" v="51286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2:00:34.312" v="51287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2:00:34.312" v="51289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2:00:34.312" v="51291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2T22:00:34.312" v="51298"/>
          <ac:spMkLst>
            <pc:docMk/>
            <pc:sldMk cId="3959601197" sldId="285"/>
            <ac:spMk id="32" creationId="{B0AF6ACE-86A6-94FA-8046-DB9299EFD512}"/>
          </ac:spMkLst>
        </pc:spChg>
        <pc:spChg chg="del mod">
          <ac:chgData name="Joelle Brehm" userId="a518f54c-6985-42c0-8041-2bb16a414839" providerId="ADAL" clId="{BE3A2103-5170-40FE-A99F-CB737D9F76BC}" dt="2023-10-02T22:00:24.886" v="50886"/>
          <ac:spMkLst>
            <pc:docMk/>
            <pc:sldMk cId="3959601197" sldId="285"/>
            <ac:spMk id="33" creationId="{C5132F62-12DF-25F1-3C35-C772E0E4C2D8}"/>
          </ac:spMkLst>
        </pc:spChg>
        <pc:spChg chg="mod">
          <ac:chgData name="Joelle Brehm" userId="a518f54c-6985-42c0-8041-2bb16a414839" providerId="ADAL" clId="{BE3A2103-5170-40FE-A99F-CB737D9F76BC}" dt="2023-10-02T22:00:34.312" v="51297"/>
          <ac:spMkLst>
            <pc:docMk/>
            <pc:sldMk cId="3959601197" sldId="285"/>
            <ac:spMk id="34" creationId="{7296A792-C9A5-603D-0DFE-510144F74B20}"/>
          </ac:spMkLst>
        </pc:spChg>
        <pc:spChg chg="mod">
          <ac:chgData name="Joelle Brehm" userId="a518f54c-6985-42c0-8041-2bb16a414839" providerId="ADAL" clId="{BE3A2103-5170-40FE-A99F-CB737D9F76BC}" dt="2023-10-02T22:00:34.312" v="51294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BE3A2103-5170-40FE-A99F-CB737D9F76BC}" dt="2023-10-02T22:00:34.312" v="51282"/>
          <ac:spMkLst>
            <pc:docMk/>
            <pc:sldMk cId="3959601197" sldId="285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BE3A2103-5170-40FE-A99F-CB737D9F76BC}" dt="2023-10-02T22:00:34.312" v="51305"/>
          <ac:spMkLst>
            <pc:docMk/>
            <pc:sldMk cId="3959601197" sldId="285"/>
            <ac:spMk id="38" creationId="{2FB404D9-C000-431B-6310-4B69B0746585}"/>
          </ac:spMkLst>
        </pc:spChg>
        <pc:spChg chg="mod">
          <ac:chgData name="Joelle Brehm" userId="a518f54c-6985-42c0-8041-2bb16a414839" providerId="ADAL" clId="{BE3A2103-5170-40FE-A99F-CB737D9F76BC}" dt="2023-10-02T22:00:34.312" v="51302"/>
          <ac:spMkLst>
            <pc:docMk/>
            <pc:sldMk cId="3959601197" sldId="285"/>
            <ac:spMk id="39" creationId="{49E3BF94-A3A3-6D9E-A640-936C4D588482}"/>
          </ac:spMkLst>
        </pc:spChg>
        <pc:spChg chg="mod">
          <ac:chgData name="Joelle Brehm" userId="a518f54c-6985-42c0-8041-2bb16a414839" providerId="ADAL" clId="{BE3A2103-5170-40FE-A99F-CB737D9F76BC}" dt="2023-10-02T22:00:34.312" v="51303"/>
          <ac:spMkLst>
            <pc:docMk/>
            <pc:sldMk cId="3959601197" sldId="285"/>
            <ac:spMk id="40" creationId="{EA599A54-45AC-0837-D7C5-3771AA871AAD}"/>
          </ac:spMkLst>
        </pc:spChg>
        <pc:spChg chg="mod">
          <ac:chgData name="Joelle Brehm" userId="a518f54c-6985-42c0-8041-2bb16a414839" providerId="ADAL" clId="{BE3A2103-5170-40FE-A99F-CB737D9F76BC}" dt="2023-10-02T22:00:34.312" v="51304"/>
          <ac:spMkLst>
            <pc:docMk/>
            <pc:sldMk cId="3959601197" sldId="285"/>
            <ac:spMk id="41" creationId="{EEDF60F4-83FD-2158-5CFE-740630E662A0}"/>
          </ac:spMkLst>
        </pc:spChg>
        <pc:spChg chg="mod">
          <ac:chgData name="Joelle Brehm" userId="a518f54c-6985-42c0-8041-2bb16a414839" providerId="ADAL" clId="{BE3A2103-5170-40FE-A99F-CB737D9F76BC}" dt="2023-10-02T22:00:34.312" v="51300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BE3A2103-5170-40FE-A99F-CB737D9F76BC}" dt="2023-10-02T22:00:34.312" v="51299"/>
          <ac:spMkLst>
            <pc:docMk/>
            <pc:sldMk cId="3959601197" sldId="285"/>
            <ac:spMk id="43" creationId="{7A0654C5-E72A-A91E-A2D8-90D96122F7D7}"/>
          </ac:spMkLst>
        </pc:spChg>
        <pc:spChg chg="add del mod modVis">
          <ac:chgData name="Joelle Brehm" userId="a518f54c-6985-42c0-8041-2bb16a414839" providerId="ADAL" clId="{BE3A2103-5170-40FE-A99F-CB737D9F76BC}" dt="2023-10-02T22:00:20.145" v="50721"/>
          <ac:spMkLst>
            <pc:docMk/>
            <pc:sldMk cId="3959601197" sldId="285"/>
            <ac:spMk id="44" creationId="{A3A2F408-4C4C-4FE5-9B9A-B7D94D3C9EB8}"/>
          </ac:spMkLst>
        </pc:spChg>
        <pc:spChg chg="mod">
          <ac:chgData name="Joelle Brehm" userId="a518f54c-6985-42c0-8041-2bb16a414839" providerId="ADAL" clId="{BE3A2103-5170-40FE-A99F-CB737D9F76BC}" dt="2023-10-02T22:00:34.312" v="51296"/>
          <ac:spMkLst>
            <pc:docMk/>
            <pc:sldMk cId="3959601197" sldId="285"/>
            <ac:spMk id="45" creationId="{C0C2677E-B02A-A9FD-C32D-94A1D148E0A5}"/>
          </ac:spMkLst>
        </pc:spChg>
        <pc:spChg chg="mod">
          <ac:chgData name="Joelle Brehm" userId="a518f54c-6985-42c0-8041-2bb16a414839" providerId="ADAL" clId="{BE3A2103-5170-40FE-A99F-CB737D9F76BC}" dt="2023-10-02T22:00:34.312" v="51301"/>
          <ac:spMkLst>
            <pc:docMk/>
            <pc:sldMk cId="3959601197" sldId="285"/>
            <ac:spMk id="47" creationId="{E68B1E78-8D9D-3E69-597C-1E05491CF1D5}"/>
          </ac:spMkLst>
        </pc:spChg>
        <pc:spChg chg="add del mod modVis">
          <ac:chgData name="Joelle Brehm" userId="a518f54c-6985-42c0-8041-2bb16a414839" providerId="ADAL" clId="{BE3A2103-5170-40FE-A99F-CB737D9F76BC}" dt="2023-10-02T22:00:22.632" v="50883"/>
          <ac:spMkLst>
            <pc:docMk/>
            <pc:sldMk cId="3959601197" sldId="285"/>
            <ac:spMk id="48" creationId="{7D0C94F7-237A-72CE-D836-1E1156D92772}"/>
          </ac:spMkLst>
        </pc:spChg>
        <pc:spChg chg="add del mod modVis">
          <ac:chgData name="Joelle Brehm" userId="a518f54c-6985-42c0-8041-2bb16a414839" providerId="ADAL" clId="{BE3A2103-5170-40FE-A99F-CB737D9F76BC}" dt="2023-10-02T22:00:25.043" v="51087"/>
          <ac:spMkLst>
            <pc:docMk/>
            <pc:sldMk cId="3959601197" sldId="285"/>
            <ac:spMk id="50" creationId="{7C54D457-A998-B0DC-9A99-21969A9FDA55}"/>
          </ac:spMkLst>
        </pc:spChg>
        <pc:spChg chg="add del mod modVis">
          <ac:chgData name="Joelle Brehm" userId="a518f54c-6985-42c0-8041-2bb16a414839" providerId="ADAL" clId="{BE3A2103-5170-40FE-A99F-CB737D9F76BC}" dt="2023-10-02T22:00:34.329" v="51334"/>
          <ac:spMkLst>
            <pc:docMk/>
            <pc:sldMk cId="3959601197" sldId="285"/>
            <ac:spMk id="52" creationId="{A8E4A39F-AC39-0C58-B34A-71C45C45320B}"/>
          </ac:spMkLst>
        </pc:spChg>
        <pc:spChg chg="mod">
          <ac:chgData name="Joelle Brehm" userId="a518f54c-6985-42c0-8041-2bb16a414839" providerId="ADAL" clId="{BE3A2103-5170-40FE-A99F-CB737D9F76BC}" dt="2023-10-02T22:00:34.312" v="51288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BE3A2103-5170-40FE-A99F-CB737D9F76BC}" dt="2023-10-02T22:00:34.312" v="51307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2:00:34.312" v="51309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2:00:34.329" v="51328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BE3A2103-5170-40FE-A99F-CB737D9F76BC}" dt="2023-10-02T22:00:34.312" v="51311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2:00:34.312" v="51313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2:00:34.312" v="51315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2:00:34.312" v="51317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2:00:34.329" v="51322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2:00:34.329" v="51323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2:00:34.329" v="51320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2:00:34.329" v="51321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2:00:34.329" v="51324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2:00:34.344" v="51336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1:59:45.424" v="49926"/>
          <ac:graphicFrameMkLst>
            <pc:docMk/>
            <pc:sldMk cId="3959601197" sldId="285"/>
            <ac:graphicFrameMk id="8" creationId="{730A0167-1836-CE3E-2003-7550D3641BC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2:00:34.312" v="51266"/>
          <ac:graphicFrameMkLst>
            <pc:docMk/>
            <pc:sldMk cId="3959601197" sldId="285"/>
            <ac:graphicFrameMk id="31" creationId="{4E408ADD-7F84-F7FC-3216-E200FC47B5C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2:00:22.570" v="50800"/>
          <ac:graphicFrameMkLst>
            <pc:docMk/>
            <pc:sldMk cId="3959601197" sldId="285"/>
            <ac:graphicFrameMk id="46" creationId="{261370D2-C6C2-A04F-E94C-0B479A9C4CC8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2:00:24.998" v="51005"/>
          <ac:graphicFrameMkLst>
            <pc:docMk/>
            <pc:sldMk cId="3959601197" sldId="285"/>
            <ac:graphicFrameMk id="49" creationId="{C875B62D-BF46-34FB-4042-68C47310B94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2:00:34.312" v="51293"/>
          <ac:graphicFrameMkLst>
            <pc:docMk/>
            <pc:sldMk cId="3959601197" sldId="285"/>
            <ac:graphicFrameMk id="51" creationId="{13232E72-FD7B-9CF1-48CE-359FFB2AB6BA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2:00:34.329" v="51319"/>
          <ac:graphicFrameMkLst>
            <pc:docMk/>
            <pc:sldMk cId="3959601197" sldId="285"/>
            <ac:graphicFrameMk id="53" creationId="{33666DF2-88C1-1E88-8267-32B3F81B95A5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2:00:20.080" v="50632"/>
          <ac:graphicFrameMkLst>
            <pc:docMk/>
            <pc:sldMk cId="3959601197" sldId="285"/>
            <ac:graphicFrameMk id="55" creationId="{76897D42-3606-0B3C-FA6D-FF014AC2AE98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2:00:34.281" v="51252"/>
          <ac:graphicFrameMkLst>
            <pc:docMk/>
            <pc:sldMk cId="3959601197" sldId="285"/>
            <ac:graphicFrameMk id="57" creationId="{1A62B9EE-AA8C-8B9F-7918-6015C0F2A765}"/>
          </ac:graphicFrameMkLst>
        </pc:graphicFrameChg>
        <pc:picChg chg="del mod ord">
          <ac:chgData name="Joelle Brehm" userId="a518f54c-6985-42c0-8041-2bb16a414839" providerId="ADAL" clId="{BE3A2103-5170-40FE-A99F-CB737D9F76BC}" dt="2023-10-02T22:00:11.077" v="50106" actId="478"/>
          <ac:picMkLst>
            <pc:docMk/>
            <pc:sldMk cId="3959601197" sldId="285"/>
            <ac:picMk id="10" creationId="{AD96506B-0589-6104-05C8-29405C606F98}"/>
          </ac:picMkLst>
        </pc:picChg>
        <pc:picChg chg="add mod ord">
          <ac:chgData name="Joelle Brehm" userId="a518f54c-6985-42c0-8041-2bb16a414839" providerId="ADAL" clId="{BE3A2103-5170-40FE-A99F-CB737D9F76BC}" dt="2023-10-02T22:00:34.312" v="51260"/>
          <ac:picMkLst>
            <pc:docMk/>
            <pc:sldMk cId="3959601197" sldId="285"/>
            <ac:picMk id="36" creationId="{2CEDCCE0-ADF6-854E-007B-E8603655CA0B}"/>
          </ac:picMkLst>
        </pc:picChg>
        <pc:picChg chg="mod ord">
          <ac:chgData name="Joelle Brehm" userId="a518f54c-6985-42c0-8041-2bb16a414839" providerId="ADAL" clId="{BE3A2103-5170-40FE-A99F-CB737D9F76BC}" dt="2023-10-02T22:00:34.329" v="51326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2:00:34.312" v="51264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2:02:37.950" v="53342"/>
        <pc:sldMkLst>
          <pc:docMk/>
          <pc:sldMk cId="3093897313" sldId="286"/>
        </pc:sldMkLst>
        <pc:spChg chg="mod ord">
          <ac:chgData name="Joelle Brehm" userId="a518f54c-6985-42c0-8041-2bb16a414839" providerId="ADAL" clId="{BE3A2103-5170-40FE-A99F-CB737D9F76BC}" dt="2023-10-02T22:02:37.937" v="53336"/>
          <ac:spMkLst>
            <pc:docMk/>
            <pc:sldMk cId="3093897313" sldId="286"/>
            <ac:spMk id="2" creationId="{F7E4C1AF-4B86-49C2-BCE8-3BD8367EC27A}"/>
          </ac:spMkLst>
        </pc:spChg>
        <pc:spChg chg="del">
          <ac:chgData name="Joelle Brehm" userId="a518f54c-6985-42c0-8041-2bb16a414839" providerId="ADAL" clId="{BE3A2103-5170-40FE-A99F-CB737D9F76BC}" dt="2023-10-02T22:01:13.616" v="51337" actId="478"/>
          <ac:spMkLst>
            <pc:docMk/>
            <pc:sldMk cId="3093897313" sldId="286"/>
            <ac:spMk id="3" creationId="{B080CA9D-C020-789C-D7FC-99CF9C782813}"/>
          </ac:spMkLst>
        </pc:spChg>
        <pc:spChg chg="add del mod modVis">
          <ac:chgData name="Joelle Brehm" userId="a518f54c-6985-42c0-8041-2bb16a414839" providerId="ADAL" clId="{BE3A2103-5170-40FE-A99F-CB737D9F76BC}" dt="2023-10-02T22:01:34.609" v="51605"/>
          <ac:spMkLst>
            <pc:docMk/>
            <pc:sldMk cId="3093897313" sldId="286"/>
            <ac:spMk id="5" creationId="{9997B11A-4B0E-4EF7-8DDD-30CD6051C041}"/>
          </ac:spMkLst>
        </pc:spChg>
        <pc:spChg chg="mod ord">
          <ac:chgData name="Joelle Brehm" userId="a518f54c-6985-42c0-8041-2bb16a414839" providerId="ADAL" clId="{BE3A2103-5170-40FE-A99F-CB737D9F76BC}" dt="2023-10-02T22:02:37.915" v="53268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2T22:02:37.928" v="53307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BE3A2103-5170-40FE-A99F-CB737D9F76BC}" dt="2023-10-02T22:02:37.917" v="53273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2T22:02:37.919" v="53278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2T22:02:37.919" v="53279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2T22:02:37.917" v="53275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2T22:02:37.918" v="53276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2T22:02:37.918" v="53277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2T22:02:37.919" v="53281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2T22:02:37.919" v="53280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2T22:02:37.920" v="53282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2T22:02:37.920" v="53283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2T22:02:37.921" v="53284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2T22:02:37.917" v="53274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2T22:02:37.921" v="53286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2T22:02:37.923" v="53289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2T22:02:37.922" v="53287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2T22:02:37.922" v="53288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2T22:02:37.924" v="53294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2T22:02:37.924" v="53292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2T22:02:37.924" v="53293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2T22:02:37.925" v="53297"/>
          <ac:spMkLst>
            <pc:docMk/>
            <pc:sldMk cId="3093897313" sldId="286"/>
            <ac:spMk id="30" creationId="{121A2A89-FB4E-4B9A-840D-28523B0B457F}"/>
          </ac:spMkLst>
        </pc:spChg>
        <pc:spChg chg="del mod">
          <ac:chgData name="Joelle Brehm" userId="a518f54c-6985-42c0-8041-2bb16a414839" providerId="ADAL" clId="{BE3A2103-5170-40FE-A99F-CB737D9F76BC}" dt="2023-10-02T22:02:33.635" v="52975"/>
          <ac:spMkLst>
            <pc:docMk/>
            <pc:sldMk cId="3093897313" sldId="286"/>
            <ac:spMk id="32" creationId="{5F8F84C4-6A6C-C5DC-AE29-77E5B4E909D7}"/>
          </ac:spMkLst>
        </pc:spChg>
        <pc:spChg chg="mod">
          <ac:chgData name="Joelle Brehm" userId="a518f54c-6985-42c0-8041-2bb16a414839" providerId="ADAL" clId="{BE3A2103-5170-40FE-A99F-CB737D9F76BC}" dt="2023-10-02T22:02:37.928" v="53306"/>
          <ac:spMkLst>
            <pc:docMk/>
            <pc:sldMk cId="3093897313" sldId="286"/>
            <ac:spMk id="33" creationId="{1334CF39-A6F8-7069-C022-3F7175A20401}"/>
          </ac:spMkLst>
        </pc:spChg>
        <pc:spChg chg="mod">
          <ac:chgData name="Joelle Brehm" userId="a518f54c-6985-42c0-8041-2bb16a414839" providerId="ADAL" clId="{BE3A2103-5170-40FE-A99F-CB737D9F76BC}" dt="2023-10-02T22:02:37.927" v="53303"/>
          <ac:spMkLst>
            <pc:docMk/>
            <pc:sldMk cId="3093897313" sldId="286"/>
            <ac:spMk id="34" creationId="{99F86B53-3C14-F4B7-5920-953490F3E4CD}"/>
          </ac:spMkLst>
        </pc:spChg>
        <pc:spChg chg="mod">
          <ac:chgData name="Joelle Brehm" userId="a518f54c-6985-42c0-8041-2bb16a414839" providerId="ADAL" clId="{BE3A2103-5170-40FE-A99F-CB737D9F76BC}" dt="2023-10-02T22:02:37.926" v="53300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BE3A2103-5170-40FE-A99F-CB737D9F76BC}" dt="2023-10-02T22:02:37.923" v="53291"/>
          <ac:spMkLst>
            <pc:docMk/>
            <pc:sldMk cId="3093897313" sldId="286"/>
            <ac:spMk id="37" creationId="{6E6D97FF-E2E0-42EA-A83A-C3DF9F3514AE}"/>
          </ac:spMkLst>
        </pc:spChg>
        <pc:spChg chg="add del mod modVis">
          <ac:chgData name="Joelle Brehm" userId="a518f54c-6985-42c0-8041-2bb16a414839" providerId="ADAL" clId="{BE3A2103-5170-40FE-A99F-CB737D9F76BC}" dt="2023-10-02T22:02:06.322" v="51956"/>
          <ac:spMkLst>
            <pc:docMk/>
            <pc:sldMk cId="3093897313" sldId="286"/>
            <ac:spMk id="38" creationId="{33631FB5-FCA9-D5C7-6AD6-C06CC486F2C3}"/>
          </ac:spMkLst>
        </pc:spChg>
        <pc:spChg chg="mod">
          <ac:chgData name="Joelle Brehm" userId="a518f54c-6985-42c0-8041-2bb16a414839" providerId="ADAL" clId="{BE3A2103-5170-40FE-A99F-CB737D9F76BC}" dt="2023-10-02T22:02:37.929" v="53309"/>
          <ac:spMkLst>
            <pc:docMk/>
            <pc:sldMk cId="3093897313" sldId="286"/>
            <ac:spMk id="39" creationId="{148BD74F-B08A-D055-2827-72B7638D08C5}"/>
          </ac:spMkLst>
        </pc:spChg>
        <pc:spChg chg="mod">
          <ac:chgData name="Joelle Brehm" userId="a518f54c-6985-42c0-8041-2bb16a414839" providerId="ADAL" clId="{BE3A2103-5170-40FE-A99F-CB737D9F76BC}" dt="2023-10-02T22:02:37.927" v="53305"/>
          <ac:spMkLst>
            <pc:docMk/>
            <pc:sldMk cId="3093897313" sldId="286"/>
            <ac:spMk id="40" creationId="{C9855917-BD95-0D5A-6B07-14EBAD7B2828}"/>
          </ac:spMkLst>
        </pc:spChg>
        <pc:spChg chg="mod">
          <ac:chgData name="Joelle Brehm" userId="a518f54c-6985-42c0-8041-2bb16a414839" providerId="ADAL" clId="{BE3A2103-5170-40FE-A99F-CB737D9F76BC}" dt="2023-10-02T22:02:37.927" v="53302"/>
          <ac:spMkLst>
            <pc:docMk/>
            <pc:sldMk cId="3093897313" sldId="286"/>
            <ac:spMk id="41" creationId="{FA3F9D1B-56DF-7D88-3CCF-9C83CF37CE74}"/>
          </ac:spMkLst>
        </pc:spChg>
        <pc:spChg chg="mod">
          <ac:chgData name="Joelle Brehm" userId="a518f54c-6985-42c0-8041-2bb16a414839" providerId="ADAL" clId="{BE3A2103-5170-40FE-A99F-CB737D9F76BC}" dt="2023-10-02T22:02:37.926" v="53301"/>
          <ac:spMkLst>
            <pc:docMk/>
            <pc:sldMk cId="3093897313" sldId="286"/>
            <ac:spMk id="42" creationId="{D859979A-C7CC-20E7-C4CA-F18D382485A8}"/>
          </ac:spMkLst>
        </pc:spChg>
        <pc:spChg chg="mod">
          <ac:chgData name="Joelle Brehm" userId="a518f54c-6985-42c0-8041-2bb16a414839" providerId="ADAL" clId="{BE3A2103-5170-40FE-A99F-CB737D9F76BC}" dt="2023-10-02T22:02:37.929" v="53310"/>
          <ac:spMkLst>
            <pc:docMk/>
            <pc:sldMk cId="3093897313" sldId="286"/>
            <ac:spMk id="43" creationId="{4123BF06-FBEE-9624-4928-4F1CA3AC4FBB}"/>
          </ac:spMkLst>
        </pc:spChg>
        <pc:spChg chg="mod">
          <ac:chgData name="Joelle Brehm" userId="a518f54c-6985-42c0-8041-2bb16a414839" providerId="ADAL" clId="{BE3A2103-5170-40FE-A99F-CB737D9F76BC}" dt="2023-10-02T22:02:37.927" v="53304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BE3A2103-5170-40FE-A99F-CB737D9F76BC}" dt="2023-10-02T22:02:37.929" v="53308"/>
          <ac:spMkLst>
            <pc:docMk/>
            <pc:sldMk cId="3093897313" sldId="286"/>
            <ac:spMk id="45" creationId="{0F9CEF9A-7834-B39E-CB12-DD7EDCF963B1}"/>
          </ac:spMkLst>
        </pc:spChg>
        <pc:spChg chg="add del mod modVis">
          <ac:chgData name="Joelle Brehm" userId="a518f54c-6985-42c0-8041-2bb16a414839" providerId="ADAL" clId="{BE3A2103-5170-40FE-A99F-CB737D9F76BC}" dt="2023-10-02T22:02:16.463" v="52102"/>
          <ac:spMkLst>
            <pc:docMk/>
            <pc:sldMk cId="3093897313" sldId="286"/>
            <ac:spMk id="47" creationId="{9F633165-382A-153B-0B25-C97286EED396}"/>
          </ac:spMkLst>
        </pc:spChg>
        <pc:spChg chg="add mod replST">
          <ac:chgData name="Joelle Brehm" userId="a518f54c-6985-42c0-8041-2bb16a414839" providerId="ADAL" clId="{BE3A2103-5170-40FE-A99F-CB737D9F76BC}" dt="2023-10-02T22:02:37.930" v="53311"/>
          <ac:spMkLst>
            <pc:docMk/>
            <pc:sldMk cId="3093897313" sldId="286"/>
            <ac:spMk id="49" creationId="{E1413394-7EF3-221F-2D8D-F13494FCD19F}"/>
          </ac:spMkLst>
        </pc:spChg>
        <pc:spChg chg="add del mod modVis">
          <ac:chgData name="Joelle Brehm" userId="a518f54c-6985-42c0-8041-2bb16a414839" providerId="ADAL" clId="{BE3A2103-5170-40FE-A99F-CB737D9F76BC}" dt="2023-10-02T22:02:30.796" v="52753"/>
          <ac:spMkLst>
            <pc:docMk/>
            <pc:sldMk cId="3093897313" sldId="286"/>
            <ac:spMk id="50" creationId="{4C72466F-A68A-4C3B-89D1-502967DFDF52}"/>
          </ac:spMkLst>
        </pc:spChg>
        <pc:spChg chg="add del mod ord replST">
          <ac:chgData name="Joelle Brehm" userId="a518f54c-6985-42c0-8041-2bb16a414839" providerId="ADAL" clId="{BE3A2103-5170-40FE-A99F-CB737D9F76BC}" dt="2023-10-02T22:02:37.892" v="53256"/>
          <ac:spMkLst>
            <pc:docMk/>
            <pc:sldMk cId="3093897313" sldId="286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2:02:31.970" v="52972"/>
          <ac:spMkLst>
            <pc:docMk/>
            <pc:sldMk cId="3093897313" sldId="286"/>
            <ac:spMk id="53" creationId="{1E32E850-45B0-03A9-A5A8-FEEB960A6E33}"/>
          </ac:spMkLst>
        </pc:spChg>
        <pc:spChg chg="add del mod modVis">
          <ac:chgData name="Joelle Brehm" userId="a518f54c-6985-42c0-8041-2bb16a414839" providerId="ADAL" clId="{BE3A2103-5170-40FE-A99F-CB737D9F76BC}" dt="2023-10-02T22:02:34.067" v="53179"/>
          <ac:spMkLst>
            <pc:docMk/>
            <pc:sldMk cId="3093897313" sldId="286"/>
            <ac:spMk id="56" creationId="{773EFBEF-6D77-F086-68CF-FF5C758AC416}"/>
          </ac:spMkLst>
        </pc:spChg>
        <pc:spChg chg="add del mod modVis">
          <ac:chgData name="Joelle Brehm" userId="a518f54c-6985-42c0-8041-2bb16a414839" providerId="ADAL" clId="{BE3A2103-5170-40FE-A99F-CB737D9F76BC}" dt="2023-10-02T22:02:37.939" v="53340"/>
          <ac:spMkLst>
            <pc:docMk/>
            <pc:sldMk cId="3093897313" sldId="286"/>
            <ac:spMk id="58" creationId="{624A208C-5931-314B-563F-9B4F19C3B429}"/>
          </ac:spMkLst>
        </pc:spChg>
        <pc:spChg chg="mod">
          <ac:chgData name="Joelle Brehm" userId="a518f54c-6985-42c0-8041-2bb16a414839" providerId="ADAL" clId="{BE3A2103-5170-40FE-A99F-CB737D9F76BC}" dt="2023-10-02T22:02:37.925" v="53295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BE3A2103-5170-40FE-A99F-CB737D9F76BC}" dt="2023-10-02T22:02:37.930" v="53313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2T22:02:37.931" v="53315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2T22:02:37.937" v="53334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BE3A2103-5170-40FE-A99F-CB737D9F76BC}" dt="2023-10-02T22:02:37.932" v="53317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2T22:02:37.932" v="53319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2T22:02:37.933" v="53321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2T22:02:37.934" v="53323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2T22:02:37.934" v="53326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2:02:37.935" v="53327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2:02:37.935" v="53328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2:02:37.935" v="53329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2T22:02:37.936" v="53330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2T22:02:37.950" v="53342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2T22:01:34.521" v="51519"/>
          <ac:graphicFrameMkLst>
            <pc:docMk/>
            <pc:sldMk cId="3093897313" sldId="286"/>
            <ac:graphicFrameMk id="8" creationId="{69F8B662-3A0B-BCBF-B72D-9E7F25634D6B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2:02:37.916" v="53272"/>
          <ac:graphicFrameMkLst>
            <pc:docMk/>
            <pc:sldMk cId="3093897313" sldId="286"/>
            <ac:graphicFrameMk id="31" creationId="{16B3A9F3-72A9-C163-9F49-1FB7882AEB0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2:02:16.396" v="52020"/>
          <ac:graphicFrameMkLst>
            <pc:docMk/>
            <pc:sldMk cId="3093897313" sldId="286"/>
            <ac:graphicFrameMk id="46" creationId="{5DFC49A2-7FD0-A105-8F08-464B2D0531F7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2:02:37.934" v="53325"/>
          <ac:graphicFrameMkLst>
            <pc:docMk/>
            <pc:sldMk cId="3093897313" sldId="286"/>
            <ac:graphicFrameMk id="48" creationId="{5259C4C5-020E-A3E6-241D-68E2E27A4534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2:02:31.794" v="52865"/>
          <ac:graphicFrameMkLst>
            <pc:docMk/>
            <pc:sldMk cId="3093897313" sldId="286"/>
            <ac:graphicFrameMk id="52" creationId="{50340373-EF70-25F9-4622-73AC56F2C84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2:02:33.934" v="53095"/>
          <ac:graphicFrameMkLst>
            <pc:docMk/>
            <pc:sldMk cId="3093897313" sldId="286"/>
            <ac:graphicFrameMk id="54" creationId="{E2583577-58C9-F5E3-B7CF-57AD2569F383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2:02:06.269" v="51874"/>
          <ac:graphicFrameMkLst>
            <pc:docMk/>
            <pc:sldMk cId="3093897313" sldId="286"/>
            <ac:graphicFrameMk id="55" creationId="{4B665DCA-A8F5-9A06-2446-A31921967DF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2:02:37.893" v="53258"/>
          <ac:graphicFrameMkLst>
            <pc:docMk/>
            <pc:sldMk cId="3093897313" sldId="286"/>
            <ac:graphicFrameMk id="57" creationId="{FDD4663F-4B26-8785-BE4C-5E6A7692DFE2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2:02:37.926" v="53299"/>
          <ac:graphicFrameMkLst>
            <pc:docMk/>
            <pc:sldMk cId="3093897313" sldId="286"/>
            <ac:graphicFrameMk id="59" creationId="{21469785-68F2-594A-A853-5BD9F788A413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2:02:30.685" v="52660"/>
          <ac:graphicFrameMkLst>
            <pc:docMk/>
            <pc:sldMk cId="3093897313" sldId="286"/>
            <ac:graphicFrameMk id="60" creationId="{060087B4-26FD-BA14-4ECC-AC924A0C5995}"/>
          </ac:graphicFrameMkLst>
        </pc:graphicFrameChg>
        <pc:picChg chg="del mod ord">
          <ac:chgData name="Joelle Brehm" userId="a518f54c-6985-42c0-8041-2bb16a414839" providerId="ADAL" clId="{BE3A2103-5170-40FE-A99F-CB737D9F76BC}" dt="2023-10-02T22:01:55.509" v="51712" actId="478"/>
          <ac:picMkLst>
            <pc:docMk/>
            <pc:sldMk cId="3093897313" sldId="286"/>
            <ac:picMk id="9" creationId="{BFC2F445-CB2B-F3E6-8FEE-9941AF698E15}"/>
          </ac:picMkLst>
        </pc:picChg>
        <pc:picChg chg="add mod ord">
          <ac:chgData name="Joelle Brehm" userId="a518f54c-6985-42c0-8041-2bb16a414839" providerId="ADAL" clId="{BE3A2103-5170-40FE-A99F-CB737D9F76BC}" dt="2023-10-02T22:02:37.915" v="53266"/>
          <ac:picMkLst>
            <pc:docMk/>
            <pc:sldMk cId="3093897313" sldId="286"/>
            <ac:picMk id="35" creationId="{B02E5A57-01B4-D4BC-C109-877573B02802}"/>
          </ac:picMkLst>
        </pc:picChg>
        <pc:picChg chg="mod ord">
          <ac:chgData name="Joelle Brehm" userId="a518f54c-6985-42c0-8041-2bb16a414839" providerId="ADAL" clId="{BE3A2103-5170-40FE-A99F-CB737D9F76BC}" dt="2023-10-02T22:02:37.936" v="53332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2T22:02:37.916" v="53270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3T15:03:22.426" v="55303"/>
        <pc:sldMkLst>
          <pc:docMk/>
          <pc:sldMk cId="1459118046" sldId="288"/>
        </pc:sldMkLst>
        <pc:spChg chg="mod ord">
          <ac:chgData name="Joelle Brehm" userId="a518f54c-6985-42c0-8041-2bb16a414839" providerId="ADAL" clId="{BE3A2103-5170-40FE-A99F-CB737D9F76BC}" dt="2023-10-03T15:03:22.378" v="55267"/>
          <ac:spMkLst>
            <pc:docMk/>
            <pc:sldMk cId="1459118046" sldId="288"/>
            <ac:spMk id="2" creationId="{845E990D-F1AA-419F-97F0-12FFB2CEF6D1}"/>
          </ac:spMkLst>
        </pc:spChg>
        <pc:spChg chg="del mod ord">
          <ac:chgData name="Joelle Brehm" userId="a518f54c-6985-42c0-8041-2bb16a414839" providerId="ADAL" clId="{BE3A2103-5170-40FE-A99F-CB737D9F76BC}" dt="2023-10-02T22:53:58.516" v="53701" actId="478"/>
          <ac:spMkLst>
            <pc:docMk/>
            <pc:sldMk cId="1459118046" sldId="288"/>
            <ac:spMk id="3" creationId="{42ABAFA7-50FC-7FEE-CCBA-9C13B2F49A29}"/>
          </ac:spMkLst>
        </pc:spChg>
        <pc:spChg chg="add del mod modVis">
          <ac:chgData name="Joelle Brehm" userId="a518f54c-6985-42c0-8041-2bb16a414839" providerId="ADAL" clId="{BE3A2103-5170-40FE-A99F-CB737D9F76BC}" dt="2023-10-03T15:02:35.247" v="54100"/>
          <ac:spMkLst>
            <pc:docMk/>
            <pc:sldMk cId="1459118046" sldId="288"/>
            <ac:spMk id="5" creationId="{4948917D-734F-6F2C-1720-CF950F8D8D6A}"/>
          </ac:spMkLst>
        </pc:spChg>
        <pc:spChg chg="add del mod modVis">
          <ac:chgData name="Joelle Brehm" userId="a518f54c-6985-42c0-8041-2bb16a414839" providerId="ADAL" clId="{BE3A2103-5170-40FE-A99F-CB737D9F76BC}" dt="2023-10-02T22:03:40.635" v="53611"/>
          <ac:spMkLst>
            <pc:docMk/>
            <pc:sldMk cId="1459118046" sldId="288"/>
            <ac:spMk id="5" creationId="{772F01F6-8C94-7EFE-4D8C-DC9FDFC781A5}"/>
          </ac:spMkLst>
        </pc:spChg>
        <pc:spChg chg="mod ord">
          <ac:chgData name="Joelle Brehm" userId="a518f54c-6985-42c0-8041-2bb16a414839" providerId="ADAL" clId="{BE3A2103-5170-40FE-A99F-CB737D9F76BC}" dt="2023-10-03T15:03:22.362" v="55229"/>
          <ac:spMkLst>
            <pc:docMk/>
            <pc:sldMk cId="1459118046" sldId="288"/>
            <ac:spMk id="6" creationId="{B47CE71D-7819-4857-B121-737A3BD39B4D}"/>
          </ac:spMkLst>
        </pc:spChg>
        <pc:spChg chg="del mod">
          <ac:chgData name="Joelle Brehm" userId="a518f54c-6985-42c0-8041-2bb16a414839" providerId="ADAL" clId="{BE3A2103-5170-40FE-A99F-CB737D9F76BC}" dt="2023-10-03T15:03:06.942" v="54940"/>
          <ac:spMkLst>
            <pc:docMk/>
            <pc:sldMk cId="1459118046" sldId="288"/>
            <ac:spMk id="8" creationId="{76022A0B-4CC0-BD01-B601-16975F52FDC8}"/>
          </ac:spMkLst>
        </pc:spChg>
        <pc:spChg chg="add mod replST">
          <ac:chgData name="Joelle Brehm" userId="a518f54c-6985-42c0-8041-2bb16a414839" providerId="ADAL" clId="{BE3A2103-5170-40FE-A99F-CB737D9F76BC}" dt="2023-10-03T15:03:22.378" v="55249"/>
          <ac:spMkLst>
            <pc:docMk/>
            <pc:sldMk cId="1459118046" sldId="288"/>
            <ac:spMk id="10" creationId="{F330FDA5-01AA-960D-FADC-74B8E7D526E8}"/>
          </ac:spMkLst>
        </pc:spChg>
        <pc:spChg chg="add del mod modVis">
          <ac:chgData name="Joelle Brehm" userId="a518f54c-6985-42c0-8041-2bb16a414839" providerId="ADAL" clId="{BE3A2103-5170-40FE-A99F-CB737D9F76BC}" dt="2023-10-03T15:03:02.912" v="54663"/>
          <ac:spMkLst>
            <pc:docMk/>
            <pc:sldMk cId="1459118046" sldId="288"/>
            <ac:spMk id="12" creationId="{40D08DE7-1ED0-E71D-9BD8-A9ED67680C6B}"/>
          </ac:spMkLst>
        </pc:spChg>
        <pc:spChg chg="mod">
          <ac:chgData name="Joelle Brehm" userId="a518f54c-6985-42c0-8041-2bb16a414839" providerId="ADAL" clId="{BE3A2103-5170-40FE-A99F-CB737D9F76BC}" dt="2023-10-03T15:03:22.362" v="55240"/>
          <ac:spMkLst>
            <pc:docMk/>
            <pc:sldMk cId="1459118046" sldId="288"/>
            <ac:spMk id="13" creationId="{3F6C20EF-E32A-5D01-E3DC-3079317054CC}"/>
          </ac:spMkLst>
        </pc:spChg>
        <pc:spChg chg="mod">
          <ac:chgData name="Joelle Brehm" userId="a518f54c-6985-42c0-8041-2bb16a414839" providerId="ADAL" clId="{BE3A2103-5170-40FE-A99F-CB737D9F76BC}" dt="2023-10-03T15:03:22.378" v="55243"/>
          <ac:spMkLst>
            <pc:docMk/>
            <pc:sldMk cId="1459118046" sldId="288"/>
            <ac:spMk id="14" creationId="{25D946D5-9986-579D-41E4-6C10E6C340A5}"/>
          </ac:spMkLst>
        </pc:spChg>
        <pc:spChg chg="add del mod modVis">
          <ac:chgData name="Joelle Brehm" userId="a518f54c-6985-42c0-8041-2bb16a414839" providerId="ADAL" clId="{BE3A2103-5170-40FE-A99F-CB737D9F76BC}" dt="2023-10-02T22:54:08.114" v="53944"/>
          <ac:spMkLst>
            <pc:docMk/>
            <pc:sldMk cId="1459118046" sldId="288"/>
            <ac:spMk id="15" creationId="{9CC3C94A-A188-2EDB-F704-D831E030183E}"/>
          </ac:spMkLst>
        </pc:spChg>
        <pc:spChg chg="mod">
          <ac:chgData name="Joelle Brehm" userId="a518f54c-6985-42c0-8041-2bb16a414839" providerId="ADAL" clId="{BE3A2103-5170-40FE-A99F-CB737D9F76BC}" dt="2023-10-03T15:03:22.362" v="55239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BE3A2103-5170-40FE-A99F-CB737D9F76BC}" dt="2023-10-03T15:03:22.362" v="55241"/>
          <ac:spMkLst>
            <pc:docMk/>
            <pc:sldMk cId="1459118046" sldId="288"/>
            <ac:spMk id="17" creationId="{DBE0A1F6-A1CF-2057-B929-F159E2F0790D}"/>
          </ac:spMkLst>
        </pc:spChg>
        <pc:spChg chg="mod">
          <ac:chgData name="Joelle Brehm" userId="a518f54c-6985-42c0-8041-2bb16a414839" providerId="ADAL" clId="{BE3A2103-5170-40FE-A99F-CB737D9F76BC}" dt="2023-10-03T15:03:22.378" v="55247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BE3A2103-5170-40FE-A99F-CB737D9F76BC}" dt="2023-10-03T15:03:22.362" v="55238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BE3A2103-5170-40FE-A99F-CB737D9F76BC}" dt="2023-10-03T15:03:22.378" v="55248"/>
          <ac:spMkLst>
            <pc:docMk/>
            <pc:sldMk cId="1459118046" sldId="288"/>
            <ac:spMk id="20" creationId="{1E04F6C7-C5CE-0639-E6EE-4EA6F2501082}"/>
          </ac:spMkLst>
        </pc:spChg>
        <pc:spChg chg="mod">
          <ac:chgData name="Joelle Brehm" userId="a518f54c-6985-42c0-8041-2bb16a414839" providerId="ADAL" clId="{BE3A2103-5170-40FE-A99F-CB737D9F76BC}" dt="2023-10-03T15:03:22.362" v="55242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BE3A2103-5170-40FE-A99F-CB737D9F76BC}" dt="2023-10-03T15:03:22.378" v="55246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BE3A2103-5170-40FE-A99F-CB737D9F76BC}" dt="2023-10-03T15:03:22.362" v="55233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3T15:03:22.378" v="55244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BE3A2103-5170-40FE-A99F-CB737D9F76BC}" dt="2023-10-03T15:03:05.119" v="54937"/>
          <ac:spMkLst>
            <pc:docMk/>
            <pc:sldMk cId="1459118046" sldId="288"/>
            <ac:spMk id="26" creationId="{B7716394-C02C-285E-FC9C-BAF621F77B51}"/>
          </ac:spMkLst>
        </pc:spChg>
        <pc:spChg chg="add del mod ord replST">
          <ac:chgData name="Joelle Brehm" userId="a518f54c-6985-42c0-8041-2bb16a414839" providerId="ADAL" clId="{BE3A2103-5170-40FE-A99F-CB737D9F76BC}" dt="2023-10-03T15:03:22.347" v="55217"/>
          <ac:spMkLst>
            <pc:docMk/>
            <pc:sldMk cId="1459118046" sldId="288"/>
            <ac:spMk id="27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3T15:03:07.093" v="55142"/>
          <ac:spMkLst>
            <pc:docMk/>
            <pc:sldMk cId="1459118046" sldId="288"/>
            <ac:spMk id="29" creationId="{8410AFEE-AE80-4FD3-D158-32B22B77B5B9}"/>
          </ac:spMkLst>
        </pc:spChg>
        <pc:spChg chg="mod ord">
          <ac:chgData name="Joelle Brehm" userId="a518f54c-6985-42c0-8041-2bb16a414839" providerId="ADAL" clId="{BE3A2103-5170-40FE-A99F-CB737D9F76BC}" dt="2023-10-03T15:03:22.362" v="55235"/>
          <ac:spMkLst>
            <pc:docMk/>
            <pc:sldMk cId="1459118046" sldId="288"/>
            <ac:spMk id="30" creationId="{121A2A89-FB4E-4B9A-840D-28523B0B457F}"/>
          </ac:spMkLst>
        </pc:spChg>
        <pc:spChg chg="mod">
          <ac:chgData name="Joelle Brehm" userId="a518f54c-6985-42c0-8041-2bb16a414839" providerId="ADAL" clId="{BE3A2103-5170-40FE-A99F-CB737D9F76BC}" dt="2023-10-03T15:03:22.378" v="55245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BE3A2103-5170-40FE-A99F-CB737D9F76BC}" dt="2023-10-03T15:03:22.394" v="55301"/>
          <ac:spMkLst>
            <pc:docMk/>
            <pc:sldMk cId="1459118046" sldId="288"/>
            <ac:spMk id="33" creationId="{3AF442FE-3AA7-156D-11A0-63CD24318063}"/>
          </ac:spMkLst>
        </pc:spChg>
        <pc:spChg chg="mod ord">
          <ac:chgData name="Joelle Brehm" userId="a518f54c-6985-42c0-8041-2bb16a414839" providerId="ADAL" clId="{BE3A2103-5170-40FE-A99F-CB737D9F76BC}" dt="2023-10-03T15:03:22.378" v="55251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3T15:03:22.378" v="55253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BE3A2103-5170-40FE-A99F-CB737D9F76BC}" dt="2023-10-03T15:03:22.378" v="55281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BE3A2103-5170-40FE-A99F-CB737D9F76BC}" dt="2023-10-03T15:03:22.378" v="55272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BE3A2103-5170-40FE-A99F-CB737D9F76BC}" dt="2023-10-03T15:03:22.378" v="55265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BE3A2103-5170-40FE-A99F-CB737D9F76BC}" dt="2023-10-03T15:03:22.378" v="55273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BE3A2103-5170-40FE-A99F-CB737D9F76BC}" dt="2023-10-03T15:03:22.378" v="55270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BE3A2103-5170-40FE-A99F-CB737D9F76BC}" dt="2023-10-03T15:03:22.378" v="55274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BE3A2103-5170-40FE-A99F-CB737D9F76BC}" dt="2023-10-03T15:03:22.378" v="55255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BE3A2103-5170-40FE-A99F-CB737D9F76BC}" dt="2023-10-03T15:03:22.378" v="55275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BE3A2103-5170-40FE-A99F-CB737D9F76BC}" dt="2023-10-03T15:03:22.378" v="55276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BE3A2103-5170-40FE-A99F-CB737D9F76BC}" dt="2023-10-03T15:03:22.378" v="55271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BE3A2103-5170-40FE-A99F-CB737D9F76BC}" dt="2023-10-03T15:03:22.378" v="55277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BE3A2103-5170-40FE-A99F-CB737D9F76BC}" dt="2023-10-03T15:03:22.378" v="55279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BE3A2103-5170-40FE-A99F-CB737D9F76BC}" dt="2023-10-03T15:03:22.378" v="55278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BE3A2103-5170-40FE-A99F-CB737D9F76BC}" dt="2023-10-03T15:03:22.378" v="55280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BE3A2103-5170-40FE-A99F-CB737D9F76BC}" dt="2023-10-03T15:03:22.378" v="55257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3T15:03:22.378" v="55259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3T15:03:22.378" v="55261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3T15:03:22.378" v="55284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BE3A2103-5170-40FE-A99F-CB737D9F76BC}" dt="2023-10-03T15:03:22.378" v="55285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BE3A2103-5170-40FE-A99F-CB737D9F76BC}" dt="2023-10-03T15:03:22.378" v="55286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BE3A2103-5170-40FE-A99F-CB737D9F76BC}" dt="2023-10-03T15:03:22.378" v="55283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BE3A2103-5170-40FE-A99F-CB737D9F76BC}" dt="2023-10-03T15:03:22.378" v="55288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BE3A2103-5170-40FE-A99F-CB737D9F76BC}" dt="2023-10-03T15:03:22.378" v="55290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BE3A2103-5170-40FE-A99F-CB737D9F76BC}" dt="2023-10-03T15:03:22.378" v="55289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BE3A2103-5170-40FE-A99F-CB737D9F76BC}" dt="2023-10-03T15:03:22.378" v="55287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BE3A2103-5170-40FE-A99F-CB737D9F76BC}" dt="2023-10-03T15:03:22.378" v="55295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BE3A2103-5170-40FE-A99F-CB737D9F76BC}" dt="2023-10-03T15:03:22.378" v="55296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BE3A2103-5170-40FE-A99F-CB737D9F76BC}" dt="2023-10-03T15:03:22.378" v="55293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BE3A2103-5170-40FE-A99F-CB737D9F76BC}" dt="2023-10-03T15:03:22.394" v="55297"/>
          <ac:spMkLst>
            <pc:docMk/>
            <pc:sldMk cId="1459118046" sldId="288"/>
            <ac:spMk id="179" creationId="{2DB7AD78-1CB7-4520-A137-CDF9BD645C94}"/>
          </ac:spMkLst>
        </pc:spChg>
        <pc:spChg chg="mod">
          <ac:chgData name="Joelle Brehm" userId="a518f54c-6985-42c0-8041-2bb16a414839" providerId="ADAL" clId="{BE3A2103-5170-40FE-A99F-CB737D9F76BC}" dt="2023-10-03T15:03:22.378" v="55294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BE3A2103-5170-40FE-A99F-CB737D9F76BC}" dt="2023-10-03T15:03:22.426" v="55303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3:22.378" v="55269"/>
          <ac:graphicFrameMkLst>
            <pc:docMk/>
            <pc:sldMk cId="1459118046" sldId="288"/>
            <ac:graphicFrameMk id="9" creationId="{B537F24E-DF70-E985-60E9-A1DFA792E265}"/>
          </ac:graphicFrameMkLst>
        </pc:graphicFrameChg>
        <pc:graphicFrameChg chg="del">
          <ac:chgData name="Joelle Brehm" userId="a518f54c-6985-42c0-8041-2bb16a414839" providerId="ADAL" clId="{BE3A2103-5170-40FE-A99F-CB737D9F76BC}" dt="2023-10-02T22:03:40.571" v="53525"/>
          <ac:graphicFrameMkLst>
            <pc:docMk/>
            <pc:sldMk cId="1459118046" sldId="288"/>
            <ac:graphicFrameMk id="10" creationId="{1BD707C1-FACD-F2E2-F0AD-FDADAA3482C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3:05.054" v="54832"/>
          <ac:graphicFrameMkLst>
            <pc:docMk/>
            <pc:sldMk cId="1459118046" sldId="288"/>
            <ac:graphicFrameMk id="15" creationId="{9DC682F4-70D9-1495-BBBB-B40CAB6F0B5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3:22.378" v="55292"/>
          <ac:graphicFrameMkLst>
            <pc:docMk/>
            <pc:sldMk cId="1459118046" sldId="288"/>
            <ac:graphicFrameMk id="25" creationId="{6C78DF13-6A6E-F613-D569-DE9DCDCBC023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3:07.045" v="55058"/>
          <ac:graphicFrameMkLst>
            <pc:docMk/>
            <pc:sldMk cId="1459118046" sldId="288"/>
            <ac:graphicFrameMk id="28" creationId="{E79ED983-7994-CA01-D683-EC81635F7112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3:22.347" v="55219"/>
          <ac:graphicFrameMkLst>
            <pc:docMk/>
            <pc:sldMk cId="1459118046" sldId="288"/>
            <ac:graphicFrameMk id="31" creationId="{8BCBC89C-4A53-A5E7-3806-C4BB45C5B248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3:22.362" v="55237"/>
          <ac:graphicFrameMkLst>
            <pc:docMk/>
            <pc:sldMk cId="1459118046" sldId="288"/>
            <ac:graphicFrameMk id="34" creationId="{772C01AA-8754-5DCE-EF9D-E7CD18C1B13A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2:54:08.050" v="53862"/>
          <ac:graphicFrameMkLst>
            <pc:docMk/>
            <pc:sldMk cId="1459118046" sldId="288"/>
            <ac:graphicFrameMk id="39" creationId="{BBE324AA-7362-099B-E393-ACAC667DC43E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3T15:03:02.850" v="54574"/>
          <ac:graphicFrameMkLst>
            <pc:docMk/>
            <pc:sldMk cId="1459118046" sldId="288"/>
            <ac:graphicFrameMk id="45" creationId="{B70582DC-7EB1-5E40-077F-6FDBBC7FC434}"/>
          </ac:graphicFrameMkLst>
        </pc:graphicFrameChg>
        <pc:picChg chg="add mod ord">
          <ac:chgData name="Joelle Brehm" userId="a518f54c-6985-42c0-8041-2bb16a414839" providerId="ADAL" clId="{BE3A2103-5170-40FE-A99F-CB737D9F76BC}" dt="2023-10-03T15:03:22.362" v="55227"/>
          <ac:picMkLst>
            <pc:docMk/>
            <pc:sldMk cId="1459118046" sldId="288"/>
            <ac:picMk id="3" creationId="{E0E11034-10A1-1F47-6434-634FDAF9669D}"/>
          </ac:picMkLst>
        </pc:picChg>
        <pc:picChg chg="add del mod ord">
          <ac:chgData name="Joelle Brehm" userId="a518f54c-6985-42c0-8041-2bb16a414839" providerId="ADAL" clId="{BE3A2103-5170-40FE-A99F-CB737D9F76BC}" dt="2023-10-03T15:02:36.504" v="54103" actId="478"/>
          <ac:picMkLst>
            <pc:docMk/>
            <pc:sldMk cId="1459118046" sldId="288"/>
            <ac:picMk id="11" creationId="{3FFA8435-6E06-6600-2117-E241B895B9B5}"/>
          </ac:picMkLst>
        </pc:picChg>
        <pc:picChg chg="del mod ord">
          <ac:chgData name="Joelle Brehm" userId="a518f54c-6985-42c0-8041-2bb16a414839" providerId="ADAL" clId="{BE3A2103-5170-40FE-A99F-CB737D9F76BC}" dt="2023-10-02T22:03:54.927" v="53700" actId="478"/>
          <ac:picMkLst>
            <pc:docMk/>
            <pc:sldMk cId="1459118046" sldId="288"/>
            <ac:picMk id="12" creationId="{3F2492A2-B9A5-7C59-6A98-15D71B6959B6}"/>
          </ac:picMkLst>
        </pc:picChg>
        <pc:picChg chg="mod ord">
          <ac:chgData name="Joelle Brehm" userId="a518f54c-6985-42c0-8041-2bb16a414839" providerId="ADAL" clId="{BE3A2103-5170-40FE-A99F-CB737D9F76BC}" dt="2023-10-03T15:03:22.378" v="55263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3T15:03:22.362" v="55231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3T15:05:55.031" v="57073"/>
        <pc:sldMkLst>
          <pc:docMk/>
          <pc:sldMk cId="10849840" sldId="290"/>
        </pc:sldMkLst>
        <pc:spChg chg="del">
          <ac:chgData name="Joelle Brehm" userId="a518f54c-6985-42c0-8041-2bb16a414839" providerId="ADAL" clId="{BE3A2103-5170-40FE-A99F-CB737D9F76BC}" dt="2023-10-03T15:03:33.567" v="55304" actId="478"/>
          <ac:spMkLst>
            <pc:docMk/>
            <pc:sldMk cId="10849840" sldId="290"/>
            <ac:spMk id="2" creationId="{0161ACEC-90ED-CC96-5A3F-80B22A8C325E}"/>
          </ac:spMkLst>
        </pc:spChg>
        <pc:spChg chg="mod ord">
          <ac:chgData name="Joelle Brehm" userId="a518f54c-6985-42c0-8041-2bb16a414839" providerId="ADAL" clId="{BE3A2103-5170-40FE-A99F-CB737D9F76BC}" dt="2023-10-03T15:05:55.008" v="57067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BE3A2103-5170-40FE-A99F-CB737D9F76BC}" dt="2023-10-03T15:05:54.998" v="57038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BE3A2103-5170-40FE-A99F-CB737D9F76BC}" dt="2023-10-03T15:05:54.984" v="56999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BE3A2103-5170-40FE-A99F-CB737D9F76BC}" dt="2023-10-03T15:03:47.411" v="55566"/>
          <ac:spMkLst>
            <pc:docMk/>
            <pc:sldMk cId="10849840" sldId="290"/>
            <ac:spMk id="8" creationId="{42F91BD3-2EDB-1A42-AF32-7BB4809A71B8}"/>
          </ac:spMkLst>
        </pc:spChg>
        <pc:spChg chg="mod">
          <ac:chgData name="Joelle Brehm" userId="a518f54c-6985-42c0-8041-2bb16a414839" providerId="ADAL" clId="{BE3A2103-5170-40FE-A99F-CB737D9F76BC}" dt="2023-10-03T15:05:54.988" v="57007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3T15:05:54.988" v="57009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3T15:05:54.988" v="57010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3T15:05:54.987" v="57006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3T15:05:54.988" v="57008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3T15:05:54.988" v="57011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3T15:05:54.984" v="57004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3T15:05:54.988" v="57012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3T15:05:54.988" v="57013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3T15:05:54.990" v="57014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3T15:05:54.987" v="57005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3T15:05:54.990" v="57015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3T15:05:54.991" v="57017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3T15:05:54.992" v="57018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3T15:05:54.993" v="57020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3T15:05:54.993" v="57019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3T15:05:54.994" v="57024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3T15:05:54.994" v="57023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3T15:05:54.994" v="57025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3T15:05:54.994" v="57028"/>
          <ac:spMkLst>
            <pc:docMk/>
            <pc:sldMk cId="10849840" sldId="290"/>
            <ac:spMk id="30" creationId="{121A2A89-FB4E-4B9A-840D-28523B0B457F}"/>
          </ac:spMkLst>
        </pc:spChg>
        <pc:spChg chg="del mod">
          <ac:chgData name="Joelle Brehm" userId="a518f54c-6985-42c0-8041-2bb16a414839" providerId="ADAL" clId="{BE3A2103-5170-40FE-A99F-CB737D9F76BC}" dt="2023-10-03T15:05:32.920" v="56584"/>
          <ac:spMkLst>
            <pc:docMk/>
            <pc:sldMk cId="10849840" sldId="290"/>
            <ac:spMk id="32" creationId="{47DE593B-1A30-2341-AF40-57CA8B07E1EE}"/>
          </ac:spMkLst>
        </pc:spChg>
        <pc:spChg chg="mod">
          <ac:chgData name="Joelle Brehm" userId="a518f54c-6985-42c0-8041-2bb16a414839" providerId="ADAL" clId="{BE3A2103-5170-40FE-A99F-CB737D9F76BC}" dt="2023-10-03T15:05:54.998" v="57039"/>
          <ac:spMkLst>
            <pc:docMk/>
            <pc:sldMk cId="10849840" sldId="290"/>
            <ac:spMk id="33" creationId="{A55B1EF4-73C4-D584-0203-A74707EA08E2}"/>
          </ac:spMkLst>
        </pc:spChg>
        <pc:spChg chg="mod">
          <ac:chgData name="Joelle Brehm" userId="a518f54c-6985-42c0-8041-2bb16a414839" providerId="ADAL" clId="{BE3A2103-5170-40FE-A99F-CB737D9F76BC}" dt="2023-10-03T15:05:54.997" v="57032"/>
          <ac:spMkLst>
            <pc:docMk/>
            <pc:sldMk cId="10849840" sldId="290"/>
            <ac:spMk id="34" creationId="{2324DD3B-E106-01D1-4B12-42A8E001839F}"/>
          </ac:spMkLst>
        </pc:spChg>
        <pc:spChg chg="mod">
          <ac:chgData name="Joelle Brehm" userId="a518f54c-6985-42c0-8041-2bb16a414839" providerId="ADAL" clId="{BE3A2103-5170-40FE-A99F-CB737D9F76BC}" dt="2023-10-03T15:05:54.994" v="57031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BE3A2103-5170-40FE-A99F-CB737D9F76BC}" dt="2023-10-03T15:05:54.998" v="57033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BE3A2103-5170-40FE-A99F-CB737D9F76BC}" dt="2023-10-03T15:05:54.994" v="57022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BE3A2103-5170-40FE-A99F-CB737D9F76BC}" dt="2023-10-03T15:05:54.998" v="57034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BE3A2103-5170-40FE-A99F-CB737D9F76BC}" dt="2023-10-03T15:05:54.998" v="57035"/>
          <ac:spMkLst>
            <pc:docMk/>
            <pc:sldMk cId="10849840" sldId="290"/>
            <ac:spMk id="39" creationId="{810C784D-B902-D4A3-E0DE-5483A97F9C49}"/>
          </ac:spMkLst>
        </pc:spChg>
        <pc:spChg chg="add del mod modVis">
          <ac:chgData name="Joelle Brehm" userId="a518f54c-6985-42c0-8041-2bb16a414839" providerId="ADAL" clId="{BE3A2103-5170-40FE-A99F-CB737D9F76BC}" dt="2023-10-03T15:04:42.506" v="55921"/>
          <ac:spMkLst>
            <pc:docMk/>
            <pc:sldMk cId="10849840" sldId="290"/>
            <ac:spMk id="41" creationId="{C72AC806-1964-F5E4-1CE9-DF0A250F765A}"/>
          </ac:spMkLst>
        </pc:spChg>
        <pc:spChg chg="mod">
          <ac:chgData name="Joelle Brehm" userId="a518f54c-6985-42c0-8041-2bb16a414839" providerId="ADAL" clId="{BE3A2103-5170-40FE-A99F-CB737D9F76BC}" dt="2023-10-03T15:05:54.998" v="57040"/>
          <ac:spMkLst>
            <pc:docMk/>
            <pc:sldMk cId="10849840" sldId="290"/>
            <ac:spMk id="42" creationId="{FFCC1BC0-06CA-CDAD-EEFE-FE2FB52A38E0}"/>
          </ac:spMkLst>
        </pc:spChg>
        <pc:spChg chg="mod">
          <ac:chgData name="Joelle Brehm" userId="a518f54c-6985-42c0-8041-2bb16a414839" providerId="ADAL" clId="{BE3A2103-5170-40FE-A99F-CB737D9F76BC}" dt="2023-10-03T15:05:55.001" v="57042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BE3A2103-5170-40FE-A99F-CB737D9F76BC}" dt="2023-10-03T15:05:54.998" v="57036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BE3A2103-5170-40FE-A99F-CB737D9F76BC}" dt="2023-10-03T15:05:54.998" v="57037"/>
          <ac:spMkLst>
            <pc:docMk/>
            <pc:sldMk cId="10849840" sldId="290"/>
            <ac:spMk id="46" creationId="{3E1C433A-5376-E641-B9A1-4367058A9B7F}"/>
          </ac:spMkLst>
        </pc:spChg>
        <pc:spChg chg="add mod replST">
          <ac:chgData name="Joelle Brehm" userId="a518f54c-6985-42c0-8041-2bb16a414839" providerId="ADAL" clId="{BE3A2103-5170-40FE-A99F-CB737D9F76BC}" dt="2023-10-03T15:05:55.001" v="57041"/>
          <ac:spMkLst>
            <pc:docMk/>
            <pc:sldMk cId="10849840" sldId="290"/>
            <ac:spMk id="47" creationId="{0E162DBF-E60F-A83B-56A5-E40D4E5B4D77}"/>
          </ac:spMkLst>
        </pc:spChg>
        <pc:spChg chg="add del mod modVis">
          <ac:chgData name="Joelle Brehm" userId="a518f54c-6985-42c0-8041-2bb16a414839" providerId="ADAL" clId="{BE3A2103-5170-40FE-A99F-CB737D9F76BC}" dt="2023-10-03T15:05:27.148" v="56425"/>
          <ac:spMkLst>
            <pc:docMk/>
            <pc:sldMk cId="10849840" sldId="290"/>
            <ac:spMk id="48" creationId="{70DBCAA9-1392-5AA3-1A40-3223BA763072}"/>
          </ac:spMkLst>
        </pc:spChg>
        <pc:spChg chg="add del mod modVis">
          <ac:chgData name="Joelle Brehm" userId="a518f54c-6985-42c0-8041-2bb16a414839" providerId="ADAL" clId="{BE3A2103-5170-40FE-A99F-CB737D9F76BC}" dt="2023-10-03T15:05:29.150" v="56581"/>
          <ac:spMkLst>
            <pc:docMk/>
            <pc:sldMk cId="10849840" sldId="290"/>
            <ac:spMk id="50" creationId="{A2B2DA27-0745-99E2-2886-9A580BCD8830}"/>
          </ac:spMkLst>
        </pc:spChg>
        <pc:spChg chg="add del mod modVis">
          <ac:chgData name="Joelle Brehm" userId="a518f54c-6985-42c0-8041-2bb16a414839" providerId="ADAL" clId="{BE3A2103-5170-40FE-A99F-CB737D9F76BC}" dt="2023-10-03T15:05:33.070" v="56779"/>
          <ac:spMkLst>
            <pc:docMk/>
            <pc:sldMk cId="10849840" sldId="290"/>
            <ac:spMk id="52" creationId="{F9DA71EA-1F01-3C2E-54C1-CE8F3952A878}"/>
          </ac:spMkLst>
        </pc:spChg>
        <pc:spChg chg="add del mod modVis">
          <ac:chgData name="Joelle Brehm" userId="a518f54c-6985-42c0-8041-2bb16a414839" providerId="ADAL" clId="{BE3A2103-5170-40FE-A99F-CB737D9F76BC}" dt="2023-10-03T15:05:49.551" v="56925"/>
          <ac:spMkLst>
            <pc:docMk/>
            <pc:sldMk cId="10849840" sldId="290"/>
            <ac:spMk id="54" creationId="{E8957C4E-B216-A507-6D36-057306D499A5}"/>
          </ac:spMkLst>
        </pc:spChg>
        <pc:spChg chg="add del mod modVis">
          <ac:chgData name="Joelle Brehm" userId="a518f54c-6985-42c0-8041-2bb16a414839" providerId="ADAL" clId="{BE3A2103-5170-40FE-A99F-CB737D9F76BC}" dt="2023-10-03T15:05:55.010" v="57071"/>
          <ac:spMkLst>
            <pc:docMk/>
            <pc:sldMk cId="10849840" sldId="290"/>
            <ac:spMk id="56" creationId="{81BAD7AA-41B7-6A3A-1FBE-F27D29EEC3DC}"/>
          </ac:spMkLst>
        </pc:spChg>
        <pc:spChg chg="mod ord">
          <ac:chgData name="Joelle Brehm" userId="a518f54c-6985-42c0-8041-2bb16a414839" providerId="ADAL" clId="{BE3A2103-5170-40FE-A99F-CB737D9F76BC}" dt="2023-10-03T15:05:55.008" v="57065"/>
          <ac:spMkLst>
            <pc:docMk/>
            <pc:sldMk cId="10849840" sldId="290"/>
            <ac:spMk id="60" creationId="{AB5689A7-20F6-4DF1-88AE-FB8557333BFB}"/>
          </ac:spMkLst>
        </pc:spChg>
        <pc:spChg chg="mod">
          <ac:chgData name="Joelle Brehm" userId="a518f54c-6985-42c0-8041-2bb16a414839" providerId="ADAL" clId="{BE3A2103-5170-40FE-A99F-CB737D9F76BC}" dt="2023-10-03T15:05:54.994" v="57026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BE3A2103-5170-40FE-A99F-CB737D9F76BC}" dt="2023-10-03T15:05:55.001" v="57044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3T15:05:55.001" v="57046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3T15:05:55.001" v="57048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3T15:05:55.001" v="57050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3T15:05:55.001" v="57052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3T15:05:55.001" v="57054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3T15:05:55.001" v="57057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5:55.001" v="57060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5:55.001" v="57059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5:55.001" v="57061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3T15:05:55.001" v="57058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3T15:05:55.031" v="57073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BE3A2103-5170-40FE-A99F-CB737D9F76BC}" dt="2023-10-03T15:03:47.339" v="55482"/>
          <ac:graphicFrameMkLst>
            <pc:docMk/>
            <pc:sldMk cId="10849840" sldId="290"/>
            <ac:graphicFrameMk id="9" creationId="{A1FF68BF-566B-A74D-7050-71DA60025D9D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5:54.984" v="57003"/>
          <ac:graphicFrameMkLst>
            <pc:docMk/>
            <pc:sldMk cId="10849840" sldId="290"/>
            <ac:graphicFrameMk id="31" creationId="{A8B764FD-1152-79CF-B7BA-C99214D19EB0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5:49.502" v="56843"/>
          <ac:graphicFrameMkLst>
            <pc:docMk/>
            <pc:sldMk cId="10849840" sldId="290"/>
            <ac:graphicFrameMk id="45" creationId="{4943BFD3-016E-11CD-7CE2-8546FC07C49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5:29.103" v="56498"/>
          <ac:graphicFrameMkLst>
            <pc:docMk/>
            <pc:sldMk cId="10849840" sldId="290"/>
            <ac:graphicFrameMk id="49" creationId="{54784A5E-B571-9430-B389-23EFF6213CA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5:33.015" v="56697"/>
          <ac:graphicFrameMkLst>
            <pc:docMk/>
            <pc:sldMk cId="10849840" sldId="290"/>
            <ac:graphicFrameMk id="51" creationId="{54116482-6358-29E2-C844-89826C936052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5:54.994" v="57030"/>
          <ac:graphicFrameMkLst>
            <pc:docMk/>
            <pc:sldMk cId="10849840" sldId="290"/>
            <ac:graphicFrameMk id="53" creationId="{008F8BCF-7F4D-65ED-2192-A90391297451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5:54.933" v="56989"/>
          <ac:graphicFrameMkLst>
            <pc:docMk/>
            <pc:sldMk cId="10849840" sldId="290"/>
            <ac:graphicFrameMk id="55" creationId="{BB19863E-BE65-DD7A-2EC7-4B5B91869A6B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5:55.001" v="57056"/>
          <ac:graphicFrameMkLst>
            <pc:docMk/>
            <pc:sldMk cId="10849840" sldId="290"/>
            <ac:graphicFrameMk id="57" creationId="{446703D8-1DB5-0BA8-3A7B-9C4E8BE8B088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3T15:04:42.457" v="55839"/>
          <ac:graphicFrameMkLst>
            <pc:docMk/>
            <pc:sldMk cId="10849840" sldId="290"/>
            <ac:graphicFrameMk id="58" creationId="{83A9DE8F-1E25-D10B-B3CB-D54C3E016C94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3T15:05:27.086" v="56336"/>
          <ac:graphicFrameMkLst>
            <pc:docMk/>
            <pc:sldMk cId="10849840" sldId="290"/>
            <ac:graphicFrameMk id="75" creationId="{E7E108D3-6DF0-DAB2-7D73-1ECC440F117D}"/>
          </ac:graphicFrameMkLst>
        </pc:graphicFrameChg>
        <pc:picChg chg="del mod ord">
          <ac:chgData name="Joelle Brehm" userId="a518f54c-6985-42c0-8041-2bb16a414839" providerId="ADAL" clId="{BE3A2103-5170-40FE-A99F-CB737D9F76BC}" dt="2023-10-03T15:04:26.891" v="55678" actId="478"/>
          <ac:picMkLst>
            <pc:docMk/>
            <pc:sldMk cId="10849840" sldId="290"/>
            <ac:picMk id="10" creationId="{A631AB19-651A-3F6B-4140-9C0F82949BFB}"/>
          </ac:picMkLst>
        </pc:picChg>
        <pc:picChg chg="add mod ord">
          <ac:chgData name="Joelle Brehm" userId="a518f54c-6985-42c0-8041-2bb16a414839" providerId="ADAL" clId="{BE3A2103-5170-40FE-A99F-CB737D9F76BC}" dt="2023-10-03T15:05:54.983" v="56997"/>
          <ac:picMkLst>
            <pc:docMk/>
            <pc:sldMk cId="10849840" sldId="290"/>
            <ac:picMk id="40" creationId="{5D2DC22A-1D80-BF6A-7B4A-B0C087E9A02B}"/>
          </ac:picMkLst>
        </pc:picChg>
        <pc:picChg chg="mod ord">
          <ac:chgData name="Joelle Brehm" userId="a518f54c-6985-42c0-8041-2bb16a414839" providerId="ADAL" clId="{BE3A2103-5170-40FE-A99F-CB737D9F76BC}" dt="2023-10-03T15:05:55.008" v="57063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3T15:05:54.984" v="57001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3T15:09:58.906" v="61076"/>
        <pc:sldMkLst>
          <pc:docMk/>
          <pc:sldMk cId="996393659" sldId="291"/>
        </pc:sldMkLst>
        <pc:spChg chg="mod ord">
          <ac:chgData name="Joelle Brehm" userId="a518f54c-6985-42c0-8041-2bb16a414839" providerId="ADAL" clId="{BE3A2103-5170-40FE-A99F-CB737D9F76BC}" dt="2023-10-03T15:09:58.906" v="61070"/>
          <ac:spMkLst>
            <pc:docMk/>
            <pc:sldMk cId="996393659" sldId="291"/>
            <ac:spMk id="2" creationId="{903BD9AC-C420-4F19-B1D1-731DE7D9A596}"/>
          </ac:spMkLst>
        </pc:spChg>
        <pc:spChg chg="del">
          <ac:chgData name="Joelle Brehm" userId="a518f54c-6985-42c0-8041-2bb16a414839" providerId="ADAL" clId="{BE3A2103-5170-40FE-A99F-CB737D9F76BC}" dt="2023-10-03T15:08:44.508" v="58698" actId="478"/>
          <ac:spMkLst>
            <pc:docMk/>
            <pc:sldMk cId="996393659" sldId="291"/>
            <ac:spMk id="3" creationId="{15E83EC4-C5A4-6592-36AF-7F7B08DC5015}"/>
          </ac:spMkLst>
        </pc:spChg>
        <pc:spChg chg="add del mod modVis">
          <ac:chgData name="Joelle Brehm" userId="a518f54c-6985-42c0-8041-2bb16a414839" providerId="ADAL" clId="{BE3A2103-5170-40FE-A99F-CB737D9F76BC}" dt="2023-10-03T15:08:52.407" v="58962"/>
          <ac:spMkLst>
            <pc:docMk/>
            <pc:sldMk cId="996393659" sldId="291"/>
            <ac:spMk id="5" creationId="{518EEF99-602B-EF79-87FF-5D77A262EA1E}"/>
          </ac:spMkLst>
        </pc:spChg>
        <pc:spChg chg="mod ord">
          <ac:chgData name="Joelle Brehm" userId="a518f54c-6985-42c0-8041-2bb16a414839" providerId="ADAL" clId="{BE3A2103-5170-40FE-A99F-CB737D9F76BC}" dt="2023-10-03T15:09:58.875" v="61002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3T15:09:58.875" v="61013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3T15:09:58.875" v="61010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3T15:09:58.875" v="61009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3T15:09:58.875" v="61011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3T15:09:58.875" v="61012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3T15:09:58.875" v="61014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3T15:09:58.875" v="61008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3T15:09:58.875" v="61007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3T15:09:58.875" v="61015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3T15:09:58.875" v="61016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3T15:09:58.875" v="61017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3T15:09:58.875" v="61018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3T15:09:58.890" v="61020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3T15:09:58.890" v="61025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3T15:09:58.890" v="61021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3T15:09:58.890" v="61024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3T15:09:58.890" v="61029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3T15:09:58.890" v="61027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3T15:09:58.890" v="61028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3T15:09:58.890" v="61031"/>
          <ac:spMkLst>
            <pc:docMk/>
            <pc:sldMk cId="996393659" sldId="291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3T15:09:31.633" v="59288"/>
          <ac:spMkLst>
            <pc:docMk/>
            <pc:sldMk cId="996393659" sldId="291"/>
            <ac:spMk id="32" creationId="{A0F6A6BE-5244-C934-6D6B-3C32A6043B17}"/>
          </ac:spMkLst>
        </pc:spChg>
        <pc:spChg chg="del mod">
          <ac:chgData name="Joelle Brehm" userId="a518f54c-6985-42c0-8041-2bb16a414839" providerId="ADAL" clId="{BE3A2103-5170-40FE-A99F-CB737D9F76BC}" dt="2023-10-03T15:09:42.984" v="60146"/>
          <ac:spMkLst>
            <pc:docMk/>
            <pc:sldMk cId="996393659" sldId="291"/>
            <ac:spMk id="33" creationId="{7F65E50F-0922-5AA2-A553-47A66BCD0434}"/>
          </ac:spMkLst>
        </pc:spChg>
        <pc:spChg chg="mod">
          <ac:chgData name="Joelle Brehm" userId="a518f54c-6985-42c0-8041-2bb16a414839" providerId="ADAL" clId="{BE3A2103-5170-40FE-A99F-CB737D9F76BC}" dt="2023-10-03T15:09:58.890" v="61036"/>
          <ac:spMkLst>
            <pc:docMk/>
            <pc:sldMk cId="996393659" sldId="291"/>
            <ac:spMk id="34" creationId="{93CE5F4B-80AA-6CF5-D97D-0127CD5DB126}"/>
          </ac:spMkLst>
        </pc:spChg>
        <pc:spChg chg="mod">
          <ac:chgData name="Joelle Brehm" userId="a518f54c-6985-42c0-8041-2bb16a414839" providerId="ADAL" clId="{BE3A2103-5170-40FE-A99F-CB737D9F76BC}" dt="2023-10-03T15:09:58.890" v="61039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BE3A2103-5170-40FE-A99F-CB737D9F76BC}" dt="2023-10-03T15:09:58.890" v="61040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BE3A2103-5170-40FE-A99F-CB737D9F76BC}" dt="2023-10-03T15:09:58.890" v="61023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BE3A2103-5170-40FE-A99F-CB737D9F76BC}" dt="2023-10-03T15:09:58.890" v="61041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BE3A2103-5170-40FE-A99F-CB737D9F76BC}" dt="2023-10-03T15:09:58.890" v="61042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BE3A2103-5170-40FE-A99F-CB737D9F76BC}" dt="2023-10-03T15:09:58.890" v="61037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BE3A2103-5170-40FE-A99F-CB737D9F76BC}" dt="2023-10-03T15:09:58.890" v="61034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BE3A2103-5170-40FE-A99F-CB737D9F76BC}" dt="2023-10-03T15:09:58.890" v="61035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BE3A2103-5170-40FE-A99F-CB737D9F76BC}" dt="2023-10-03T15:09:58.890" v="61043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BE3A2103-5170-40FE-A99F-CB737D9F76BC}" dt="2023-10-03T15:09:58.890" v="61038"/>
          <ac:spMkLst>
            <pc:docMk/>
            <pc:sldMk cId="996393659" sldId="291"/>
            <ac:spMk id="44" creationId="{DFD20995-23FA-9A59-8153-A2DE50612FF0}"/>
          </ac:spMkLst>
        </pc:spChg>
        <pc:spChg chg="mod">
          <ac:chgData name="Joelle Brehm" userId="a518f54c-6985-42c0-8041-2bb16a414839" providerId="ADAL" clId="{BE3A2103-5170-40FE-A99F-CB737D9F76BC}" dt="2023-10-03T15:09:58.890" v="61044"/>
          <ac:spMkLst>
            <pc:docMk/>
            <pc:sldMk cId="996393659" sldId="291"/>
            <ac:spMk id="45" creationId="{7A6869B6-C6F2-DDAD-D4B2-6D5DE21E6DC6}"/>
          </ac:spMkLst>
        </pc:spChg>
        <pc:spChg chg="add mod replST">
          <ac:chgData name="Joelle Brehm" userId="a518f54c-6985-42c0-8041-2bb16a414839" providerId="ADAL" clId="{BE3A2103-5170-40FE-A99F-CB737D9F76BC}" dt="2023-10-03T15:09:58.890" v="61045"/>
          <ac:spMkLst>
            <pc:docMk/>
            <pc:sldMk cId="996393659" sldId="291"/>
            <ac:spMk id="47" creationId="{954547EF-AD33-B12C-24C3-BC43A057FE8B}"/>
          </ac:spMkLst>
        </pc:spChg>
        <pc:spChg chg="add del mod modVis">
          <ac:chgData name="Joelle Brehm" userId="a518f54c-6985-42c0-8041-2bb16a414839" providerId="ADAL" clId="{BE3A2103-5170-40FE-A99F-CB737D9F76BC}" dt="2023-10-03T15:09:39.021" v="59984"/>
          <ac:spMkLst>
            <pc:docMk/>
            <pc:sldMk cId="996393659" sldId="291"/>
            <ac:spMk id="48" creationId="{55E6088C-7CF2-D7CB-08F9-9D5103F39E55}"/>
          </ac:spMkLst>
        </pc:spChg>
        <pc:spChg chg="add del mod ord replST">
          <ac:chgData name="Joelle Brehm" userId="a518f54c-6985-42c0-8041-2bb16a414839" providerId="ADAL" clId="{BE3A2103-5170-40FE-A99F-CB737D9F76BC}" dt="2023-10-03T15:09:54.073" v="60690"/>
          <ac:spMkLst>
            <pc:docMk/>
            <pc:sldMk cId="996393659" sldId="291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3T15:09:40.622" v="60143"/>
          <ac:spMkLst>
            <pc:docMk/>
            <pc:sldMk cId="996393659" sldId="291"/>
            <ac:spMk id="51" creationId="{789A5B37-8825-F21B-BF89-EADB8C9838ED}"/>
          </ac:spMkLst>
        </pc:spChg>
        <pc:spChg chg="add del mod modVis">
          <ac:chgData name="Joelle Brehm" userId="a518f54c-6985-42c0-8041-2bb16a414839" providerId="ADAL" clId="{BE3A2103-5170-40FE-A99F-CB737D9F76BC}" dt="2023-10-03T15:09:43.284" v="60465"/>
          <ac:spMkLst>
            <pc:docMk/>
            <pc:sldMk cId="996393659" sldId="291"/>
            <ac:spMk id="53" creationId="{1AB04703-8585-1254-044C-D8223D886C56}"/>
          </ac:spMkLst>
        </pc:spChg>
        <pc:spChg chg="add del mod ord replST">
          <ac:chgData name="Joelle Brehm" userId="a518f54c-6985-42c0-8041-2bb16a414839" providerId="ADAL" clId="{BE3A2103-5170-40FE-A99F-CB737D9F76BC}" dt="2023-10-03T15:09:52.062" v="60535"/>
          <ac:spMkLst>
            <pc:docMk/>
            <pc:sldMk cId="996393659" sldId="291"/>
            <ac:spMk id="54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3T15:09:52.109" v="60621"/>
          <ac:spMkLst>
            <pc:docMk/>
            <pc:sldMk cId="996393659" sldId="291"/>
            <ac:spMk id="57" creationId="{8CC67DCE-C450-1D24-D2DB-893FC2D3370E}"/>
          </ac:spMkLst>
        </pc:spChg>
        <pc:spChg chg="add del mod modVis">
          <ac:chgData name="Joelle Brehm" userId="a518f54c-6985-42c0-8041-2bb16a414839" providerId="ADAL" clId="{BE3A2103-5170-40FE-A99F-CB737D9F76BC}" dt="2023-10-03T15:09:54.120" v="60774"/>
          <ac:spMkLst>
            <pc:docMk/>
            <pc:sldMk cId="996393659" sldId="291"/>
            <ac:spMk id="60" creationId="{731C2254-ADB7-9A73-B028-99E6EAC55FD1}"/>
          </ac:spMkLst>
        </pc:spChg>
        <pc:spChg chg="add del mod modVis">
          <ac:chgData name="Joelle Brehm" userId="a518f54c-6985-42c0-8041-2bb16a414839" providerId="ADAL" clId="{BE3A2103-5170-40FE-A99F-CB737D9F76BC}" dt="2023-10-03T15:09:56.835" v="60924"/>
          <ac:spMkLst>
            <pc:docMk/>
            <pc:sldMk cId="996393659" sldId="291"/>
            <ac:spMk id="62" creationId="{DAE26B98-07D4-6E60-3BEA-B1CAB6D61E30}"/>
          </ac:spMkLst>
        </pc:spChg>
        <pc:spChg chg="add del mod modVis">
          <ac:chgData name="Joelle Brehm" userId="a518f54c-6985-42c0-8041-2bb16a414839" providerId="ADAL" clId="{BE3A2103-5170-40FE-A99F-CB737D9F76BC}" dt="2023-10-03T15:09:58.906" v="61074"/>
          <ac:spMkLst>
            <pc:docMk/>
            <pc:sldMk cId="996393659" sldId="291"/>
            <ac:spMk id="64" creationId="{FC4AB4E6-F274-88F0-1F2B-1D8240F692C7}"/>
          </ac:spMkLst>
        </pc:spChg>
        <pc:spChg chg="mod">
          <ac:chgData name="Joelle Brehm" userId="a518f54c-6985-42c0-8041-2bb16a414839" providerId="ADAL" clId="{BE3A2103-5170-40FE-A99F-CB737D9F76BC}" dt="2023-10-03T15:09:58.890" v="61026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BE3A2103-5170-40FE-A99F-CB737D9F76BC}" dt="2023-10-03T15:09:58.890" v="61047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3T15:09:58.890" v="61049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3T15:09:58.906" v="61068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BE3A2103-5170-40FE-A99F-CB737D9F76BC}" dt="2023-10-03T15:09:58.906" v="61051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3T15:09:58.906" v="61053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3T15:09:58.906" v="61055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3T15:09:58.906" v="61057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3T15:09:58.906" v="61060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9:58.906" v="61062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9:58.906" v="61063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9:58.906" v="61064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3T15:09:58.906" v="61061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3T15:09:58.906" v="61076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9:58.875" v="61006"/>
          <ac:graphicFrameMkLst>
            <pc:docMk/>
            <pc:sldMk cId="996393659" sldId="291"/>
            <ac:graphicFrameMk id="8" creationId="{61BC88B8-3E4C-A38C-EEEF-7AE9BE5DF4A0}"/>
          </ac:graphicFrameMkLst>
        </pc:graphicFrameChg>
        <pc:graphicFrameChg chg="del">
          <ac:chgData name="Joelle Brehm" userId="a518f54c-6985-42c0-8041-2bb16a414839" providerId="ADAL" clId="{BE3A2103-5170-40FE-A99F-CB737D9F76BC}" dt="2023-10-03T15:08:52.360" v="58878"/>
          <ac:graphicFrameMkLst>
            <pc:docMk/>
            <pc:sldMk cId="996393659" sldId="291"/>
            <ac:graphicFrameMk id="9" creationId="{A17686EA-0DBE-C62F-2750-D564C38954D2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9:58.906" v="61059"/>
          <ac:graphicFrameMkLst>
            <pc:docMk/>
            <pc:sldMk cId="996393659" sldId="291"/>
            <ac:graphicFrameMk id="46" creationId="{CD2D2251-19CF-D147-5F88-8D6EB8D51F2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9:40.523" v="60058"/>
          <ac:graphicFrameMkLst>
            <pc:docMk/>
            <pc:sldMk cId="996393659" sldId="291"/>
            <ac:graphicFrameMk id="50" creationId="{27D7C30E-ED8D-3755-A951-CB916FC9598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9:43.194" v="60357"/>
          <ac:graphicFrameMkLst>
            <pc:docMk/>
            <pc:sldMk cId="996393659" sldId="291"/>
            <ac:graphicFrameMk id="52" creationId="{DE7A7581-ED34-0236-350F-55D5EA553D16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3T15:09:31.586" v="59206"/>
          <ac:graphicFrameMkLst>
            <pc:docMk/>
            <pc:sldMk cId="996393659" sldId="291"/>
            <ac:graphicFrameMk id="55" creationId="{F3E0486D-909A-F8B3-B59F-2DFFE44779B4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9:52.062" v="60537"/>
          <ac:graphicFrameMkLst>
            <pc:docMk/>
            <pc:sldMk cId="996393659" sldId="291"/>
            <ac:graphicFrameMk id="56" creationId="{DD9FF769-1FBE-245B-0327-ED2D31B84769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9:54.089" v="60692"/>
          <ac:graphicFrameMkLst>
            <pc:docMk/>
            <pc:sldMk cId="996393659" sldId="291"/>
            <ac:graphicFrameMk id="58" creationId="{DF68AE33-58C1-7CB4-E7F0-B733114313EB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3T15:09:38.950" v="59877"/>
          <ac:graphicFrameMkLst>
            <pc:docMk/>
            <pc:sldMk cId="996393659" sldId="291"/>
            <ac:graphicFrameMk id="59" creationId="{B19A6DC5-8078-F074-1FA6-B2E501405000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9:56.799" v="60842"/>
          <ac:graphicFrameMkLst>
            <pc:docMk/>
            <pc:sldMk cId="996393659" sldId="291"/>
            <ac:graphicFrameMk id="61" creationId="{EEC29378-319A-9FEF-178C-3946062871D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9:58.859" v="60992"/>
          <ac:graphicFrameMkLst>
            <pc:docMk/>
            <pc:sldMk cId="996393659" sldId="291"/>
            <ac:graphicFrameMk id="63" creationId="{AF2DE753-17D7-4DCA-4C5E-AA12130CE1C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9:58.890" v="61033"/>
          <ac:graphicFrameMkLst>
            <pc:docMk/>
            <pc:sldMk cId="996393659" sldId="291"/>
            <ac:graphicFrameMk id="65" creationId="{97F08DD8-1AB0-4FB2-9257-B9AEDFCC4A77}"/>
          </ac:graphicFrameMkLst>
        </pc:graphicFrameChg>
        <pc:picChg chg="del mod ord">
          <ac:chgData name="Joelle Brehm" userId="a518f54c-6985-42c0-8041-2bb16a414839" providerId="ADAL" clId="{BE3A2103-5170-40FE-A99F-CB737D9F76BC}" dt="2023-10-03T15:09:18.514" v="59057" actId="478"/>
          <ac:picMkLst>
            <pc:docMk/>
            <pc:sldMk cId="996393659" sldId="291"/>
            <ac:picMk id="10" creationId="{0DF2991A-D76A-25E1-13F6-97AE946AE688}"/>
          </ac:picMkLst>
        </pc:picChg>
        <pc:picChg chg="add mod ord">
          <ac:chgData name="Joelle Brehm" userId="a518f54c-6985-42c0-8041-2bb16a414839" providerId="ADAL" clId="{BE3A2103-5170-40FE-A99F-CB737D9F76BC}" dt="2023-10-03T15:09:58.875" v="61000"/>
          <ac:picMkLst>
            <pc:docMk/>
            <pc:sldMk cId="996393659" sldId="291"/>
            <ac:picMk id="31" creationId="{833C07A7-7DBC-97D1-9E7D-1426AED5805D}"/>
          </ac:picMkLst>
        </pc:picChg>
        <pc:picChg chg="mod ord">
          <ac:chgData name="Joelle Brehm" userId="a518f54c-6985-42c0-8041-2bb16a414839" providerId="ADAL" clId="{BE3A2103-5170-40FE-A99F-CB737D9F76BC}" dt="2023-10-03T15:09:58.906" v="61066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3T15:09:58.875" v="61004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3T15:07:45.140" v="58697"/>
        <pc:sldMkLst>
          <pc:docMk/>
          <pc:sldMk cId="3635637425" sldId="292"/>
        </pc:sldMkLst>
        <pc:spChg chg="mod ord">
          <ac:chgData name="Joelle Brehm" userId="a518f54c-6985-42c0-8041-2bb16a414839" providerId="ADAL" clId="{BE3A2103-5170-40FE-A99F-CB737D9F76BC}" dt="2023-10-03T15:07:45.124" v="58691"/>
          <ac:spMkLst>
            <pc:docMk/>
            <pc:sldMk cId="3635637425" sldId="292"/>
            <ac:spMk id="2" creationId="{9445A78E-5217-4459-B540-57B5B2359A2E}"/>
          </ac:spMkLst>
        </pc:spChg>
        <pc:spChg chg="del">
          <ac:chgData name="Joelle Brehm" userId="a518f54c-6985-42c0-8041-2bb16a414839" providerId="ADAL" clId="{BE3A2103-5170-40FE-A99F-CB737D9F76BC}" dt="2023-10-03T15:06:09.427" v="57074" actId="478"/>
          <ac:spMkLst>
            <pc:docMk/>
            <pc:sldMk cId="3635637425" sldId="292"/>
            <ac:spMk id="3" creationId="{3E049BF9-99D1-228E-5541-D2959D21A503}"/>
          </ac:spMkLst>
        </pc:spChg>
        <pc:spChg chg="add del mod modVis">
          <ac:chgData name="Joelle Brehm" userId="a518f54c-6985-42c0-8041-2bb16a414839" providerId="ADAL" clId="{BE3A2103-5170-40FE-A99F-CB737D9F76BC}" dt="2023-10-03T15:06:24.682" v="57336"/>
          <ac:spMkLst>
            <pc:docMk/>
            <pc:sldMk cId="3635637425" sldId="292"/>
            <ac:spMk id="5" creationId="{5141766E-61E2-99F7-3428-99455D3CEDB9}"/>
          </ac:spMkLst>
        </pc:spChg>
        <pc:spChg chg="mod ord">
          <ac:chgData name="Joelle Brehm" userId="a518f54c-6985-42c0-8041-2bb16a414839" providerId="ADAL" clId="{BE3A2103-5170-40FE-A99F-CB737D9F76BC}" dt="2023-10-03T15:07:45.109" v="58623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BE3A2103-5170-40FE-A99F-CB737D9F76BC}" dt="2023-10-03T15:07:45.109" v="58629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BE3A2103-5170-40FE-A99F-CB737D9F76BC}" dt="2023-10-03T15:07:45.109" v="58634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BE3A2103-5170-40FE-A99F-CB737D9F76BC}" dt="2023-10-03T15:07:45.109" v="58635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BE3A2103-5170-40FE-A99F-CB737D9F76BC}" dt="2023-10-03T15:07:45.109" v="58630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BE3A2103-5170-40FE-A99F-CB737D9F76BC}" dt="2023-10-03T15:07:45.109" v="58632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BE3A2103-5170-40FE-A99F-CB737D9F76BC}" dt="2023-10-03T15:07:45.109" v="58631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BE3A2103-5170-40FE-A99F-CB737D9F76BC}" dt="2023-10-03T15:07:45.109" v="58633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BE3A2103-5170-40FE-A99F-CB737D9F76BC}" dt="2023-10-03T15:07:45.109" v="58628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BE3A2103-5170-40FE-A99F-CB737D9F76BC}" dt="2023-10-03T15:07:45.109" v="58636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BE3A2103-5170-40FE-A99F-CB737D9F76BC}" dt="2023-10-03T15:07:45.109" v="58637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BE3A2103-5170-40FE-A99F-CB737D9F76BC}" dt="2023-10-03T15:07:45.109" v="58638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BE3A2103-5170-40FE-A99F-CB737D9F76BC}" dt="2023-10-03T15:07:45.109" v="58639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BE3A2103-5170-40FE-A99F-CB737D9F76BC}" dt="2023-10-03T15:07:45.109" v="58641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BE3A2103-5170-40FE-A99F-CB737D9F76BC}" dt="2023-10-03T15:07:45.109" v="58642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BE3A2103-5170-40FE-A99F-CB737D9F76BC}" dt="2023-10-03T15:07:45.109" v="58643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BE3A2103-5170-40FE-A99F-CB737D9F76BC}" dt="2023-10-03T15:07:45.109" v="58646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BE3A2103-5170-40FE-A99F-CB737D9F76BC}" dt="2023-10-03T15:07:45.109" v="58649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BE3A2103-5170-40FE-A99F-CB737D9F76BC}" dt="2023-10-03T15:07:45.109" v="58648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BE3A2103-5170-40FE-A99F-CB737D9F76BC}" dt="2023-10-03T15:07:45.109" v="58647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BE3A2103-5170-40FE-A99F-CB737D9F76BC}" dt="2023-10-03T15:07:45.124" v="58652"/>
          <ac:spMkLst>
            <pc:docMk/>
            <pc:sldMk cId="3635637425" sldId="292"/>
            <ac:spMk id="30" creationId="{121A2A89-FB4E-4B9A-840D-28523B0B457F}"/>
          </ac:spMkLst>
        </pc:spChg>
        <pc:spChg chg="add del mod modVis">
          <ac:chgData name="Joelle Brehm" userId="a518f54c-6985-42c0-8041-2bb16a414839" providerId="ADAL" clId="{BE3A2103-5170-40FE-A99F-CB737D9F76BC}" dt="2023-10-03T15:07:05.514" v="57670"/>
          <ac:spMkLst>
            <pc:docMk/>
            <pc:sldMk cId="3635637425" sldId="292"/>
            <ac:spMk id="31" creationId="{CC152BC3-FCD5-B572-76F7-860236BA389C}"/>
          </ac:spMkLst>
        </pc:spChg>
        <pc:spChg chg="mod">
          <ac:chgData name="Joelle Brehm" userId="a518f54c-6985-42c0-8041-2bb16a414839" providerId="ADAL" clId="{BE3A2103-5170-40FE-A99F-CB737D9F76BC}" dt="2023-10-03T15:07:45.124" v="58661"/>
          <ac:spMkLst>
            <pc:docMk/>
            <pc:sldMk cId="3635637425" sldId="292"/>
            <ac:spMk id="32" creationId="{BD3A93E6-9730-3243-EF77-4E3AEAA78672}"/>
          </ac:spMkLst>
        </pc:spChg>
        <pc:spChg chg="del mod">
          <ac:chgData name="Joelle Brehm" userId="a518f54c-6985-42c0-8041-2bb16a414839" providerId="ADAL" clId="{BE3A2103-5170-40FE-A99F-CB737D9F76BC}" dt="2023-10-03T15:07:41.978" v="58346"/>
          <ac:spMkLst>
            <pc:docMk/>
            <pc:sldMk cId="3635637425" sldId="292"/>
            <ac:spMk id="33" creationId="{3D97C813-EA7E-2516-68C7-9A8F0022EEB9}"/>
          </ac:spMkLst>
        </pc:spChg>
        <pc:spChg chg="mod">
          <ac:chgData name="Joelle Brehm" userId="a518f54c-6985-42c0-8041-2bb16a414839" providerId="ADAL" clId="{BE3A2103-5170-40FE-A99F-CB737D9F76BC}" dt="2023-10-03T15:07:45.124" v="58655"/>
          <ac:spMkLst>
            <pc:docMk/>
            <pc:sldMk cId="3635637425" sldId="292"/>
            <ac:spMk id="34" creationId="{2D56DCBB-CAC0-D3CA-B5B2-D6B7B1E4A4D6}"/>
          </ac:spMkLst>
        </pc:spChg>
        <pc:spChg chg="mod">
          <ac:chgData name="Joelle Brehm" userId="a518f54c-6985-42c0-8041-2bb16a414839" providerId="ADAL" clId="{BE3A2103-5170-40FE-A99F-CB737D9F76BC}" dt="2023-10-03T15:07:45.124" v="58656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BE3A2103-5170-40FE-A99F-CB737D9F76BC}" dt="2023-10-03T15:07:45.109" v="58645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BE3A2103-5170-40FE-A99F-CB737D9F76BC}" dt="2023-10-03T15:07:45.124" v="58660"/>
          <ac:spMkLst>
            <pc:docMk/>
            <pc:sldMk cId="3635637425" sldId="292"/>
            <ac:spMk id="38" creationId="{3FFCD1FD-A1E7-E0E9-3B0A-272DB96B6E85}"/>
          </ac:spMkLst>
        </pc:spChg>
        <pc:spChg chg="mod">
          <ac:chgData name="Joelle Brehm" userId="a518f54c-6985-42c0-8041-2bb16a414839" providerId="ADAL" clId="{BE3A2103-5170-40FE-A99F-CB737D9F76BC}" dt="2023-10-03T15:07:45.124" v="58662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BE3A2103-5170-40FE-A99F-CB737D9F76BC}" dt="2023-10-03T15:07:45.124" v="58663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BE3A2103-5170-40FE-A99F-CB737D9F76BC}" dt="2023-10-03T15:07:45.124" v="58664"/>
          <ac:spMkLst>
            <pc:docMk/>
            <pc:sldMk cId="3635637425" sldId="292"/>
            <ac:spMk id="41" creationId="{CAD662BE-DA77-C496-2C1F-D8B2218DD0E5}"/>
          </ac:spMkLst>
        </pc:spChg>
        <pc:spChg chg="mod">
          <ac:chgData name="Joelle Brehm" userId="a518f54c-6985-42c0-8041-2bb16a414839" providerId="ADAL" clId="{BE3A2103-5170-40FE-A99F-CB737D9F76BC}" dt="2023-10-03T15:07:45.124" v="58657"/>
          <ac:spMkLst>
            <pc:docMk/>
            <pc:sldMk cId="3635637425" sldId="292"/>
            <ac:spMk id="42" creationId="{668AF5D9-4E8D-2E4B-2079-072182484759}"/>
          </ac:spMkLst>
        </pc:spChg>
        <pc:spChg chg="mod">
          <ac:chgData name="Joelle Brehm" userId="a518f54c-6985-42c0-8041-2bb16a414839" providerId="ADAL" clId="{BE3A2103-5170-40FE-A99F-CB737D9F76BC}" dt="2023-10-03T15:07:45.124" v="58665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BE3A2103-5170-40FE-A99F-CB737D9F76BC}" dt="2023-10-03T15:07:45.124" v="58659"/>
          <ac:spMkLst>
            <pc:docMk/>
            <pc:sldMk cId="3635637425" sldId="292"/>
            <ac:spMk id="44" creationId="{97D91EEA-F173-6276-F6D8-9287A845E3A2}"/>
          </ac:spMkLst>
        </pc:spChg>
        <pc:spChg chg="mod">
          <ac:chgData name="Joelle Brehm" userId="a518f54c-6985-42c0-8041-2bb16a414839" providerId="ADAL" clId="{BE3A2103-5170-40FE-A99F-CB737D9F76BC}" dt="2023-10-03T15:07:45.124" v="58658"/>
          <ac:spMkLst>
            <pc:docMk/>
            <pc:sldMk cId="3635637425" sldId="292"/>
            <ac:spMk id="46" creationId="{38D3D6F2-A854-D543-7C6D-CB3894DB11AC}"/>
          </ac:spMkLst>
        </pc:spChg>
        <pc:spChg chg="add del mod modVis">
          <ac:chgData name="Joelle Brehm" userId="a518f54c-6985-42c0-8041-2bb16a414839" providerId="ADAL" clId="{BE3A2103-5170-40FE-A99F-CB737D9F76BC}" dt="2023-10-03T15:07:10.832" v="57816"/>
          <ac:spMkLst>
            <pc:docMk/>
            <pc:sldMk cId="3635637425" sldId="292"/>
            <ac:spMk id="47" creationId="{CFB75A3C-9530-4637-EB51-AFB3E886F6E0}"/>
          </ac:spMkLst>
        </pc:spChg>
        <pc:spChg chg="add mod replST">
          <ac:chgData name="Joelle Brehm" userId="a518f54c-6985-42c0-8041-2bb16a414839" providerId="ADAL" clId="{BE3A2103-5170-40FE-A99F-CB737D9F76BC}" dt="2023-10-03T15:07:45.124" v="58666"/>
          <ac:spMkLst>
            <pc:docMk/>
            <pc:sldMk cId="3635637425" sldId="292"/>
            <ac:spMk id="49" creationId="{C2AC46DF-8DB5-4BF7-F270-6657C4B8CE44}"/>
          </ac:spMkLst>
        </pc:spChg>
        <pc:spChg chg="add del mod modVis">
          <ac:chgData name="Joelle Brehm" userId="a518f54c-6985-42c0-8041-2bb16a414839" providerId="ADAL" clId="{BE3A2103-5170-40FE-A99F-CB737D9F76BC}" dt="2023-10-03T15:07:32.932" v="58343"/>
          <ac:spMkLst>
            <pc:docMk/>
            <pc:sldMk cId="3635637425" sldId="292"/>
            <ac:spMk id="50" creationId="{84FACE92-610C-8F36-FEBC-D294DBE62EA8}"/>
          </ac:spMkLst>
        </pc:spChg>
        <pc:spChg chg="add del mod modVis">
          <ac:chgData name="Joelle Brehm" userId="a518f54c-6985-42c0-8041-2bb16a414839" providerId="ADAL" clId="{BE3A2103-5170-40FE-A99F-CB737D9F76BC}" dt="2023-10-03T15:07:42.120" v="58541"/>
          <ac:spMkLst>
            <pc:docMk/>
            <pc:sldMk cId="3635637425" sldId="292"/>
            <ac:spMk id="52" creationId="{4E5DDC39-FAEF-1782-DC59-9BFA4DE26D57}"/>
          </ac:spMkLst>
        </pc:spChg>
        <pc:spChg chg="add del mod modVis">
          <ac:chgData name="Joelle Brehm" userId="a518f54c-6985-42c0-8041-2bb16a414839" providerId="ADAL" clId="{BE3A2103-5170-40FE-A99F-CB737D9F76BC}" dt="2023-10-03T15:07:45.124" v="58695"/>
          <ac:spMkLst>
            <pc:docMk/>
            <pc:sldMk cId="3635637425" sldId="292"/>
            <ac:spMk id="54" creationId="{3876DEDC-6499-49A4-D52B-B2A03F84F319}"/>
          </ac:spMkLst>
        </pc:spChg>
        <pc:spChg chg="mod ord">
          <ac:chgData name="Joelle Brehm" userId="a518f54c-6985-42c0-8041-2bb16a414839" providerId="ADAL" clId="{BE3A2103-5170-40FE-A99F-CB737D9F76BC}" dt="2023-10-03T15:07:45.124" v="58689"/>
          <ac:spMkLst>
            <pc:docMk/>
            <pc:sldMk cId="3635637425" sldId="292"/>
            <ac:spMk id="60" creationId="{8AFF754E-1785-41DB-892C-A30765DCA565}"/>
          </ac:spMkLst>
        </pc:spChg>
        <pc:spChg chg="mod">
          <ac:chgData name="Joelle Brehm" userId="a518f54c-6985-42c0-8041-2bb16a414839" providerId="ADAL" clId="{BE3A2103-5170-40FE-A99F-CB737D9F76BC}" dt="2023-10-03T15:07:45.124" v="58650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BE3A2103-5170-40FE-A99F-CB737D9F76BC}" dt="2023-10-03T15:07:45.124" v="58668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BE3A2103-5170-40FE-A99F-CB737D9F76BC}" dt="2023-10-03T15:07:45.124" v="58670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BE3A2103-5170-40FE-A99F-CB737D9F76BC}" dt="2023-10-03T15:07:45.124" v="58672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BE3A2103-5170-40FE-A99F-CB737D9F76BC}" dt="2023-10-03T15:07:45.124" v="58674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BE3A2103-5170-40FE-A99F-CB737D9F76BC}" dt="2023-10-03T15:07:45.124" v="58676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BE3A2103-5170-40FE-A99F-CB737D9F76BC}" dt="2023-10-03T15:07:45.124" v="58678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BE3A2103-5170-40FE-A99F-CB737D9F76BC}" dt="2023-10-03T15:07:45.124" v="58682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7:45.124" v="58683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7:45.124" v="58681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3T15:07:45.124" v="58684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BE3A2103-5170-40FE-A99F-CB737D9F76BC}" dt="2023-10-03T15:07:45.124" v="58685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BE3A2103-5170-40FE-A99F-CB737D9F76BC}" dt="2023-10-03T15:07:45.140" v="58697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7:45.109" v="58627"/>
          <ac:graphicFrameMkLst>
            <pc:docMk/>
            <pc:sldMk cId="3635637425" sldId="292"/>
            <ac:graphicFrameMk id="8" creationId="{5D380C34-021A-990D-A0DE-DA467FA52F5D}"/>
          </ac:graphicFrameMkLst>
        </pc:graphicFrameChg>
        <pc:graphicFrameChg chg="del">
          <ac:chgData name="Joelle Brehm" userId="a518f54c-6985-42c0-8041-2bb16a414839" providerId="ADAL" clId="{BE3A2103-5170-40FE-A99F-CB737D9F76BC}" dt="2023-10-03T15:06:24.635" v="57250"/>
          <ac:graphicFrameMkLst>
            <pc:docMk/>
            <pc:sldMk cId="3635637425" sldId="292"/>
            <ac:graphicFrameMk id="9" creationId="{CD6BC159-48EB-70DC-3BED-348664F90AA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7:10.767" v="57734"/>
          <ac:graphicFrameMkLst>
            <pc:docMk/>
            <pc:sldMk cId="3635637425" sldId="292"/>
            <ac:graphicFrameMk id="45" creationId="{30A332AE-377B-4486-1433-4A59D58102D3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7:45.124" v="58680"/>
          <ac:graphicFrameMkLst>
            <pc:docMk/>
            <pc:sldMk cId="3635637425" sldId="292"/>
            <ac:graphicFrameMk id="48" creationId="{0210B1E2-6A8B-20E1-F520-5EDCD282A29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7:42.073" v="58459"/>
          <ac:graphicFrameMkLst>
            <pc:docMk/>
            <pc:sldMk cId="3635637425" sldId="292"/>
            <ac:graphicFrameMk id="51" creationId="{704EA55E-D841-CBD5-D021-ED7FDBC887D7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3T15:07:45.076" v="58613"/>
          <ac:graphicFrameMkLst>
            <pc:docMk/>
            <pc:sldMk cId="3635637425" sldId="292"/>
            <ac:graphicFrameMk id="53" creationId="{A5B479EA-1E43-24A5-7827-F9BB02E32A3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3T15:07:45.124" v="58654"/>
          <ac:graphicFrameMkLst>
            <pc:docMk/>
            <pc:sldMk cId="3635637425" sldId="292"/>
            <ac:graphicFrameMk id="55" creationId="{98829F27-71C7-E17A-2F49-6AF3C67D5CD6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3T15:07:05.435" v="57588"/>
          <ac:graphicFrameMkLst>
            <pc:docMk/>
            <pc:sldMk cId="3635637425" sldId="292"/>
            <ac:graphicFrameMk id="58" creationId="{32B5BF30-89F9-ACC2-4BA0-DAC586B4BE24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3T15:07:32.878" v="58238"/>
          <ac:graphicFrameMkLst>
            <pc:docMk/>
            <pc:sldMk cId="3635637425" sldId="292"/>
            <ac:graphicFrameMk id="63" creationId="{9E4E8C5B-4C55-7A9A-DE6E-39EBD6C78553}"/>
          </ac:graphicFrameMkLst>
        </pc:graphicFrameChg>
        <pc:picChg chg="add mod ord">
          <ac:chgData name="Joelle Brehm" userId="a518f54c-6985-42c0-8041-2bb16a414839" providerId="ADAL" clId="{BE3A2103-5170-40FE-A99F-CB737D9F76BC}" dt="2023-10-03T15:07:45.109" v="58621"/>
          <ac:picMkLst>
            <pc:docMk/>
            <pc:sldMk cId="3635637425" sldId="292"/>
            <ac:picMk id="10" creationId="{2C83AB2C-ED41-8C69-B29E-570A6F026284}"/>
          </ac:picMkLst>
        </pc:picChg>
        <pc:picChg chg="del mod ord">
          <ac:chgData name="Joelle Brehm" userId="a518f54c-6985-42c0-8041-2bb16a414839" providerId="ADAL" clId="{BE3A2103-5170-40FE-A99F-CB737D9F76BC}" dt="2023-10-03T15:06:49.671" v="57425" actId="478"/>
          <ac:picMkLst>
            <pc:docMk/>
            <pc:sldMk cId="3635637425" sldId="292"/>
            <ac:picMk id="35" creationId="{5FF22927-2627-4FDF-5397-4DABBDC9523D}"/>
          </ac:picMkLst>
        </pc:picChg>
        <pc:picChg chg="mod ord">
          <ac:chgData name="Joelle Brehm" userId="a518f54c-6985-42c0-8041-2bb16a414839" providerId="ADAL" clId="{BE3A2103-5170-40FE-A99F-CB737D9F76BC}" dt="2023-10-03T15:07:45.124" v="58687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BE3A2103-5170-40FE-A99F-CB737D9F76BC}" dt="2023-10-03T15:07:45.109" v="58625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BE3A2103-5170-40FE-A99F-CB737D9F76BC}" dt="2023-10-02T20:06:53.204" v="1132" actId="478"/>
        <pc:sldMkLst>
          <pc:docMk/>
          <pc:sldMk cId="4143996880" sldId="293"/>
        </pc:sldMkLst>
        <pc:spChg chg="mod ord">
          <ac:chgData name="Joelle Brehm" userId="a518f54c-6985-42c0-8041-2bb16a414839" providerId="ADAL" clId="{BE3A2103-5170-40FE-A99F-CB737D9F76BC}" dt="2023-10-02T20:06:51.824" v="1125"/>
          <ac:spMkLst>
            <pc:docMk/>
            <pc:sldMk cId="4143996880" sldId="293"/>
            <ac:spMk id="2" creationId="{01E014B2-1FBF-48C6-9093-6CFE20AFFCCE}"/>
          </ac:spMkLst>
        </pc:spChg>
        <pc:spChg chg="del">
          <ac:chgData name="Joelle Brehm" userId="a518f54c-6985-42c0-8041-2bb16a414839" providerId="ADAL" clId="{BE3A2103-5170-40FE-A99F-CB737D9F76BC}" dt="2023-10-02T20:04:44.399" v="566" actId="478"/>
          <ac:spMkLst>
            <pc:docMk/>
            <pc:sldMk cId="4143996880" sldId="293"/>
            <ac:spMk id="3" creationId="{1039023A-1912-708A-8382-77BDBA53A034}"/>
          </ac:spMkLst>
        </pc:spChg>
        <pc:spChg chg="mod ord">
          <ac:chgData name="Joelle Brehm" userId="a518f54c-6985-42c0-8041-2bb16a414839" providerId="ADAL" clId="{BE3A2103-5170-40FE-A99F-CB737D9F76BC}" dt="2023-10-02T20:06:51.817" v="1100"/>
          <ac:spMkLst>
            <pc:docMk/>
            <pc:sldMk cId="4143996880" sldId="293"/>
            <ac:spMk id="5" creationId="{7B827F87-784E-46DA-B4AC-26C5F16C015D}"/>
          </ac:spMkLst>
        </pc:spChg>
        <pc:spChg chg="add del mod modVis">
          <ac:chgData name="Joelle Brehm" userId="a518f54c-6985-42c0-8041-2bb16a414839" providerId="ADAL" clId="{BE3A2103-5170-40FE-A99F-CB737D9F76BC}" dt="2023-10-02T20:05:20.420" v="1083"/>
          <ac:spMkLst>
            <pc:docMk/>
            <pc:sldMk cId="4143996880" sldId="293"/>
            <ac:spMk id="7" creationId="{6147A1FC-77E9-4012-E091-61B6B4A4705B}"/>
          </ac:spMkLst>
        </pc:spChg>
        <pc:spChg chg="mod">
          <ac:chgData name="Joelle Brehm" userId="a518f54c-6985-42c0-8041-2bb16a414839" providerId="ADAL" clId="{BE3A2103-5170-40FE-A99F-CB737D9F76BC}" dt="2023-10-02T20:06:51.818" v="1103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BE3A2103-5170-40FE-A99F-CB737D9F76BC}" dt="2023-10-02T20:06:51.819" v="1107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BE3A2103-5170-40FE-A99F-CB737D9F76BC}" dt="2023-10-02T20:06:51.818" v="1104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BE3A2103-5170-40FE-A99F-CB737D9F76BC}" dt="2023-10-02T20:06:51.819" v="1105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BE3A2103-5170-40FE-A99F-CB737D9F76BC}" dt="2023-10-02T20:06:51.819" v="1106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BE3A2103-5170-40FE-A99F-CB737D9F76BC}" dt="2023-10-02T20:06:51.820" v="1112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BE3A2103-5170-40FE-A99F-CB737D9F76BC}" dt="2023-10-02T20:06:51.819" v="1108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BE3A2103-5170-40FE-A99F-CB737D9F76BC}" dt="2023-10-02T20:06:51.820" v="1110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BE3A2103-5170-40FE-A99F-CB737D9F76BC}" dt="2023-10-02T20:06:51.820" v="1109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BE3A2103-5170-40FE-A99F-CB737D9F76BC}" dt="2023-10-02T20:06:51.820" v="1111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BE3A2103-5170-40FE-A99F-CB737D9F76BC}" dt="2023-10-02T20:06:51.821" v="1113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BE3A2103-5170-40FE-A99F-CB737D9F76BC}" dt="2023-10-02T20:06:51.821" v="1114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BE3A2103-5170-40FE-A99F-CB737D9F76BC}" dt="2023-10-02T20:06:51.822" v="1116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BE3A2103-5170-40FE-A99F-CB737D9F76BC}" dt="2023-10-02T20:06:51.822" v="1118"/>
          <ac:spMkLst>
            <pc:docMk/>
            <pc:sldMk cId="4143996880" sldId="293"/>
            <ac:spMk id="21" creationId="{B5AE4010-508F-4A3F-85C7-752A1F15F54F}"/>
          </ac:spMkLst>
        </pc:spChg>
        <pc:spChg chg="mod ord">
          <ac:chgData name="Joelle Brehm" userId="a518f54c-6985-42c0-8041-2bb16a414839" providerId="ADAL" clId="{BE3A2103-5170-40FE-A99F-CB737D9F76BC}" dt="2023-10-02T20:06:51.824" v="1127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BE3A2103-5170-40FE-A99F-CB737D9F76BC}" dt="2023-10-02T20:06:51.823" v="1120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BE3A2103-5170-40FE-A99F-CB737D9F76BC}" dt="2023-10-02T20:06:51.823" v="1122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BE3A2103-5170-40FE-A99F-CB737D9F76BC}" dt="2023-10-02T20:06:51.838" v="1131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0:06:51.818" v="1102"/>
          <ac:graphicFrameMkLst>
            <pc:docMk/>
            <pc:sldMk cId="4143996880" sldId="293"/>
            <ac:graphicFrameMk id="23" creationId="{106ACE06-1B69-4EC2-D095-828673F40BDB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0:05:20.380" v="1040"/>
          <ac:graphicFrameMkLst>
            <pc:docMk/>
            <pc:sldMk cId="4143996880" sldId="293"/>
            <ac:graphicFrameMk id="25" creationId="{B38FD0D0-48F0-E7E0-F3F1-88DAF75741D7}"/>
          </ac:graphicFrameMkLst>
        </pc:graphicFrameChg>
        <pc:picChg chg="add mod ord">
          <ac:chgData name="Joelle Brehm" userId="a518f54c-6985-42c0-8041-2bb16a414839" providerId="ADAL" clId="{BE3A2103-5170-40FE-A99F-CB737D9F76BC}" dt="2023-10-02T20:06:51.815" v="1094"/>
          <ac:picMkLst>
            <pc:docMk/>
            <pc:sldMk cId="4143996880" sldId="293"/>
            <ac:picMk id="3" creationId="{AD019C9F-C8E7-D4E7-8408-5C6469EE8E3F}"/>
          </ac:picMkLst>
        </pc:picChg>
        <pc:picChg chg="add mod ord">
          <ac:chgData name="Joelle Brehm" userId="a518f54c-6985-42c0-8041-2bb16a414839" providerId="ADAL" clId="{BE3A2103-5170-40FE-A99F-CB737D9F76BC}" dt="2023-10-02T20:06:51.816" v="1096"/>
          <ac:picMkLst>
            <pc:docMk/>
            <pc:sldMk cId="4143996880" sldId="293"/>
            <ac:picMk id="6" creationId="{5A169DA3-D938-E1A8-E63B-53E1166B7B23}"/>
          </ac:picMkLst>
        </pc:picChg>
        <pc:picChg chg="del mod ord">
          <ac:chgData name="Joelle Brehm" userId="a518f54c-6985-42c0-8041-2bb16a414839" providerId="ADAL" clId="{BE3A2103-5170-40FE-A99F-CB737D9F76BC}" dt="2023-10-02T20:05:04.267" v="608" actId="478"/>
          <ac:picMkLst>
            <pc:docMk/>
            <pc:sldMk cId="4143996880" sldId="293"/>
            <ac:picMk id="22" creationId="{05F1D619-DC1F-3497-6867-1D6572257994}"/>
          </ac:picMkLst>
        </pc:picChg>
        <pc:picChg chg="add del mod">
          <ac:chgData name="Joelle Brehm" userId="a518f54c-6985-42c0-8041-2bb16a414839" providerId="ADAL" clId="{BE3A2103-5170-40FE-A99F-CB737D9F76BC}" dt="2023-10-02T20:05:34.146" v="1088" actId="478"/>
          <ac:picMkLst>
            <pc:docMk/>
            <pc:sldMk cId="4143996880" sldId="293"/>
            <ac:picMk id="24" creationId="{BA5A34B1-82F8-4909-300A-B09DC819A696}"/>
          </ac:picMkLst>
        </pc:picChg>
        <pc:picChg chg="add del mod ord">
          <ac:chgData name="Joelle Brehm" userId="a518f54c-6985-42c0-8041-2bb16a414839" providerId="ADAL" clId="{BE3A2103-5170-40FE-A99F-CB737D9F76BC}" dt="2023-10-02T20:06:53.204" v="1132" actId="478"/>
          <ac:picMkLst>
            <pc:docMk/>
            <pc:sldMk cId="4143996880" sldId="293"/>
            <ac:picMk id="26" creationId="{2FB4CBAC-9D8D-A46D-E324-5C3228E8CEF0}"/>
          </ac:picMkLst>
        </pc:picChg>
        <pc:picChg chg="mod">
          <ac:chgData name="Joelle Brehm" userId="a518f54c-6985-42c0-8041-2bb16a414839" providerId="ADAL" clId="{BE3A2103-5170-40FE-A99F-CB737D9F76BC}" dt="2023-10-02T20:06:51.823" v="1123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BE3A2103-5170-40FE-A99F-CB737D9F76BC}" dt="2023-10-02T20:43:29.973" v="6292"/>
        <pc:sldMkLst>
          <pc:docMk/>
          <pc:sldMk cId="77660323" sldId="295"/>
        </pc:sldMkLst>
        <pc:spChg chg="del mod ord">
          <ac:chgData name="Joelle Brehm" userId="a518f54c-6985-42c0-8041-2bb16a414839" providerId="ADAL" clId="{BE3A2103-5170-40FE-A99F-CB737D9F76BC}" dt="2023-10-02T20:42:42.193" v="2341" actId="478"/>
          <ac:spMkLst>
            <pc:docMk/>
            <pc:sldMk cId="77660323" sldId="295"/>
            <ac:spMk id="2" creationId="{2D32FDBE-5918-215B-2A25-BC59A6E1B4FB}"/>
          </ac:spMkLst>
        </pc:spChg>
        <pc:spChg chg="mod ord">
          <ac:chgData name="Joelle Brehm" userId="a518f54c-6985-42c0-8041-2bb16a414839" providerId="ADAL" clId="{BE3A2103-5170-40FE-A99F-CB737D9F76BC}" dt="2023-10-02T20:43:29.931" v="6187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BE3A2103-5170-40FE-A99F-CB737D9F76BC}" dt="2023-10-02T20:43:29.938" v="6212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BE3A2103-5170-40FE-A99F-CB737D9F76BC}" dt="2023-10-02T20:43:29.939" v="6217"/>
          <ac:spMkLst>
            <pc:docMk/>
            <pc:sldMk cId="77660323" sldId="295"/>
            <ac:spMk id="7" creationId="{AC248985-01B4-CD8C-E025-DF4D35603919}"/>
          </ac:spMkLst>
        </pc:spChg>
        <pc:spChg chg="add mod replST">
          <ac:chgData name="Joelle Brehm" userId="a518f54c-6985-42c0-8041-2bb16a414839" providerId="ADAL" clId="{BE3A2103-5170-40FE-A99F-CB737D9F76BC}" dt="2023-10-02T20:43:29.938" v="6210"/>
          <ac:spMkLst>
            <pc:docMk/>
            <pc:sldMk cId="77660323" sldId="295"/>
            <ac:spMk id="8" creationId="{4559295F-1CFC-FC07-C117-44F0566C941D}"/>
          </ac:spMkLst>
        </pc:spChg>
        <pc:spChg chg="mod">
          <ac:chgData name="Joelle Brehm" userId="a518f54c-6985-42c0-8041-2bb16a414839" providerId="ADAL" clId="{BE3A2103-5170-40FE-A99F-CB737D9F76BC}" dt="2023-10-02T20:43:29.940" v="6220"/>
          <ac:spMkLst>
            <pc:docMk/>
            <pc:sldMk cId="77660323" sldId="295"/>
            <ac:spMk id="9" creationId="{5B920F75-31B6-8B4B-7E2C-665E8C04F047}"/>
          </ac:spMkLst>
        </pc:spChg>
        <pc:spChg chg="add del mod modVis">
          <ac:chgData name="Joelle Brehm" userId="a518f54c-6985-42c0-8041-2bb16a414839" providerId="ADAL" clId="{BE3A2103-5170-40FE-A99F-CB737D9F76BC}" dt="2023-10-02T20:41:11.129" v="1664"/>
          <ac:spMkLst>
            <pc:docMk/>
            <pc:sldMk cId="77660323" sldId="295"/>
            <ac:spMk id="10" creationId="{55D54EEC-7FA2-B4D3-089D-D2B5374D4E75}"/>
          </ac:spMkLst>
        </pc:spChg>
        <pc:spChg chg="mod">
          <ac:chgData name="Joelle Brehm" userId="a518f54c-6985-42c0-8041-2bb16a414839" providerId="ADAL" clId="{BE3A2103-5170-40FE-A99F-CB737D9F76BC}" dt="2023-10-02T20:43:29.940" v="6219"/>
          <ac:spMkLst>
            <pc:docMk/>
            <pc:sldMk cId="77660323" sldId="295"/>
            <ac:spMk id="11" creationId="{4D142ECA-E2D8-9285-6C24-1D82A2038821}"/>
          </ac:spMkLst>
        </pc:spChg>
        <pc:spChg chg="add del mod modVis">
          <ac:chgData name="Joelle Brehm" userId="a518f54c-6985-42c0-8041-2bb16a414839" providerId="ADAL" clId="{BE3A2103-5170-40FE-A99F-CB737D9F76BC}" dt="2023-10-02T20:41:12.509" v="1940"/>
          <ac:spMkLst>
            <pc:docMk/>
            <pc:sldMk cId="77660323" sldId="295"/>
            <ac:spMk id="13" creationId="{BC4CFF1F-785B-42C9-EC40-11EF0FEC645F}"/>
          </ac:spMkLst>
        </pc:spChg>
        <pc:spChg chg="mod">
          <ac:chgData name="Joelle Brehm" userId="a518f54c-6985-42c0-8041-2bb16a414839" providerId="ADAL" clId="{BE3A2103-5170-40FE-A99F-CB737D9F76BC}" dt="2023-10-02T20:43:29.948" v="6251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BE3A2103-5170-40FE-A99F-CB737D9F76BC}" dt="2023-10-02T20:43:29.949" v="6252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BE3A2103-5170-40FE-A99F-CB737D9F76BC}" dt="2023-10-02T20:43:29.940" v="6218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BE3A2103-5170-40FE-A99F-CB737D9F76BC}" dt="2023-10-02T20:41:15.620" v="2211"/>
          <ac:spMkLst>
            <pc:docMk/>
            <pc:sldMk cId="77660323" sldId="295"/>
            <ac:spMk id="18" creationId="{02402F5B-3CA9-F557-07C6-1F37F8F577D7}"/>
          </ac:spMkLst>
        </pc:spChg>
        <pc:spChg chg="mod">
          <ac:chgData name="Joelle Brehm" userId="a518f54c-6985-42c0-8041-2bb16a414839" providerId="ADAL" clId="{BE3A2103-5170-40FE-A99F-CB737D9F76BC}" dt="2023-10-02T20:43:29.935" v="6203"/>
          <ac:spMkLst>
            <pc:docMk/>
            <pc:sldMk cId="77660323" sldId="295"/>
            <ac:spMk id="2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6" v="6206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54" v="6275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BE3A2103-5170-40FE-A99F-CB737D9F76BC}" dt="2023-10-02T20:43:29.949" v="6253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BE3A2103-5170-40FE-A99F-CB737D9F76BC}" dt="2023-10-02T20:43:29.935" v="6202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4" v="6200"/>
          <ac:spMkLst>
            <pc:docMk/>
            <pc:sldMk cId="77660323" sldId="295"/>
            <ac:spMk id="28" creationId="{7CAA3B95-4C78-4122-BECA-B5FB0F3F3764}"/>
          </ac:spMkLst>
        </pc:spChg>
        <pc:spChg chg="add mod replST">
          <ac:chgData name="Joelle Brehm" userId="a518f54c-6985-42c0-8041-2bb16a414839" providerId="ADAL" clId="{BE3A2103-5170-40FE-A99F-CB737D9F76BC}" dt="2023-10-02T20:43:29.950" v="6256"/>
          <ac:spMkLst>
            <pc:docMk/>
            <pc:sldMk cId="77660323" sldId="295"/>
            <ac:spMk id="29" creationId="{C91EE372-B381-84BD-F7CD-1CD5DBB058DB}"/>
          </ac:spMkLst>
        </pc:spChg>
        <pc:spChg chg="mod">
          <ac:chgData name="Joelle Brehm" userId="a518f54c-6985-42c0-8041-2bb16a414839" providerId="ADAL" clId="{BE3A2103-5170-40FE-A99F-CB737D9F76BC}" dt="2023-10-02T20:43:29.949" v="6254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BE3A2103-5170-40FE-A99F-CB737D9F76BC}" dt="2023-10-02T20:43:29.945" v="6237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49" v="6255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BE3A2103-5170-40FE-A99F-CB737D9F76BC}" dt="2023-10-02T20:43:29.945" v="6238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0:42:48.654" v="3027"/>
          <ac:spMkLst>
            <pc:docMk/>
            <pc:sldMk cId="77660323" sldId="295"/>
            <ac:spMk id="34" creationId="{AFCC9CB9-5A8A-64EF-0F58-B0A8C1FA2AA4}"/>
          </ac:spMkLst>
        </pc:spChg>
        <pc:spChg chg="add del mod modVis">
          <ac:chgData name="Joelle Brehm" userId="a518f54c-6985-42c0-8041-2bb16a414839" providerId="ADAL" clId="{BE3A2103-5170-40FE-A99F-CB737D9F76BC}" dt="2023-10-02T20:42:50.369" v="3359"/>
          <ac:spMkLst>
            <pc:docMk/>
            <pc:sldMk cId="77660323" sldId="295"/>
            <ac:spMk id="36" creationId="{0C46567C-1B4A-57F8-6F28-CF3334FCDEF6}"/>
          </ac:spMkLst>
        </pc:spChg>
        <pc:spChg chg="add del mod ord replST">
          <ac:chgData name="Joelle Brehm" userId="a518f54c-6985-42c0-8041-2bb16a414839" providerId="ADAL" clId="{BE3A2103-5170-40FE-A99F-CB737D9F76BC}" dt="2023-10-02T20:42:57.275" v="3897"/>
          <ac:spMkLst>
            <pc:docMk/>
            <pc:sldMk cId="77660323" sldId="295"/>
            <ac:spMk id="37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0:42:51.231" v="3576"/>
          <ac:spMkLst>
            <pc:docMk/>
            <pc:sldMk cId="77660323" sldId="295"/>
            <ac:spMk id="39" creationId="{28C2A3F2-4A3F-0ED7-DE23-ECF9E22B94DB}"/>
          </ac:spMkLst>
        </pc:spChg>
        <pc:spChg chg="mod">
          <ac:chgData name="Joelle Brehm" userId="a518f54c-6985-42c0-8041-2bb16a414839" providerId="ADAL" clId="{BE3A2103-5170-40FE-A99F-CB737D9F76BC}" dt="2023-10-02T20:43:29.945" v="6239"/>
          <ac:spMkLst>
            <pc:docMk/>
            <pc:sldMk cId="77660323" sldId="295"/>
            <ac:spMk id="42" creationId="{A32B7D8C-DAE5-D336-7D31-9ECFB1F6E20C}"/>
          </ac:spMkLst>
        </pc:spChg>
        <pc:spChg chg="mod">
          <ac:chgData name="Joelle Brehm" userId="a518f54c-6985-42c0-8041-2bb16a414839" providerId="ADAL" clId="{BE3A2103-5170-40FE-A99F-CB737D9F76BC}" dt="2023-10-02T20:43:29.955" v="6277"/>
          <ac:spMkLst>
            <pc:docMk/>
            <pc:sldMk cId="77660323" sldId="295"/>
            <ac:spMk id="43" creationId="{CB71E880-BE37-7B61-FE93-B2CADB32B81F}"/>
          </ac:spMkLst>
        </pc:spChg>
        <pc:spChg chg="add del mod modVis">
          <ac:chgData name="Joelle Brehm" userId="a518f54c-6985-42c0-8041-2bb16a414839" providerId="ADAL" clId="{BE3A2103-5170-40FE-A99F-CB737D9F76BC}" dt="2023-10-02T20:42:54.765" v="3821"/>
          <ac:spMkLst>
            <pc:docMk/>
            <pc:sldMk cId="77660323" sldId="295"/>
            <ac:spMk id="44" creationId="{8DCD0E5D-20D8-2345-C851-A934509FDA40}"/>
          </ac:spMkLst>
        </pc:spChg>
        <pc:spChg chg="mod">
          <ac:chgData name="Joelle Brehm" userId="a518f54c-6985-42c0-8041-2bb16a414839" providerId="ADAL" clId="{BE3A2103-5170-40FE-A99F-CB737D9F76BC}" dt="2023-10-02T20:43:29.953" v="6269"/>
          <ac:spMkLst>
            <pc:docMk/>
            <pc:sldMk cId="77660323" sldId="295"/>
            <ac:spMk id="45" creationId="{7B959589-9B04-0960-03A9-FE10F7C63094}"/>
          </ac:spMkLst>
        </pc:spChg>
        <pc:spChg chg="add del mod modVis">
          <ac:chgData name="Joelle Brehm" userId="a518f54c-6985-42c0-8041-2bb16a414839" providerId="ADAL" clId="{BE3A2103-5170-40FE-A99F-CB737D9F76BC}" dt="2023-10-02T20:42:57.337" v="4012"/>
          <ac:spMkLst>
            <pc:docMk/>
            <pc:sldMk cId="77660323" sldId="295"/>
            <ac:spMk id="47" creationId="{720168D0-056B-6150-6FC0-56008CF1BB14}"/>
          </ac:spMkLst>
        </pc:spChg>
        <pc:spChg chg="mod">
          <ac:chgData name="Joelle Brehm" userId="a518f54c-6985-42c0-8041-2bb16a414839" providerId="ADAL" clId="{BE3A2103-5170-40FE-A99F-CB737D9F76BC}" dt="2023-10-02T20:43:29.954" v="6274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BE3A2103-5170-40FE-A99F-CB737D9F76BC}" dt="2023-10-02T20:43:29.954" v="6276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BE3A2103-5170-40FE-A99F-CB737D9F76BC}" dt="2023-10-02T20:43:04.646" v="4268"/>
          <ac:spMkLst>
            <pc:docMk/>
            <pc:sldMk cId="77660323" sldId="295"/>
            <ac:spMk id="51" creationId="{F82BBEF1-1386-7BAC-EEE5-BE17151E38FB}"/>
          </ac:spMkLst>
        </pc:spChg>
        <pc:spChg chg="add mod replST">
          <ac:chgData name="Joelle Brehm" userId="a518f54c-6985-42c0-8041-2bb16a414839" providerId="ADAL" clId="{BE3A2103-5170-40FE-A99F-CB737D9F76BC}" dt="2023-10-02T20:43:29.955" v="6278"/>
          <ac:spMkLst>
            <pc:docMk/>
            <pc:sldMk cId="77660323" sldId="295"/>
            <ac:spMk id="53" creationId="{5EB6D661-779B-2B02-EA15-90F2D9CEB9D2}"/>
          </ac:spMkLst>
        </pc:spChg>
        <pc:spChg chg="add del mod modVis">
          <ac:chgData name="Joelle Brehm" userId="a518f54c-6985-42c0-8041-2bb16a414839" providerId="ADAL" clId="{BE3A2103-5170-40FE-A99F-CB737D9F76BC}" dt="2023-10-02T20:43:13.820" v="4968"/>
          <ac:spMkLst>
            <pc:docMk/>
            <pc:sldMk cId="77660323" sldId="295"/>
            <ac:spMk id="54" creationId="{D5855023-4D60-B3AB-D6F4-10B513C5A4AD}"/>
          </ac:spMkLst>
        </pc:spChg>
        <pc:spChg chg="add del mod modVis">
          <ac:chgData name="Joelle Brehm" userId="a518f54c-6985-42c0-8041-2bb16a414839" providerId="ADAL" clId="{BE3A2103-5170-40FE-A99F-CB737D9F76BC}" dt="2023-10-02T20:43:16.352" v="5306"/>
          <ac:spMkLst>
            <pc:docMk/>
            <pc:sldMk cId="77660323" sldId="295"/>
            <ac:spMk id="56" creationId="{1FCF55A8-FBA6-1C7D-6795-8B0502959D9A}"/>
          </ac:spMkLst>
        </pc:spChg>
        <pc:spChg chg="add del mod ord replST">
          <ac:chgData name="Joelle Brehm" userId="a518f54c-6985-42c0-8041-2bb16a414839" providerId="ADAL" clId="{BE3A2103-5170-40FE-A99F-CB737D9F76BC}" dt="2023-10-02T20:43:24.183" v="5976"/>
          <ac:spMkLst>
            <pc:docMk/>
            <pc:sldMk cId="77660323" sldId="295"/>
            <ac:spMk id="58" creationId="{7CAA3B95-4C78-4122-BECA-B5FB0F3F3764}"/>
          </ac:spMkLst>
        </pc:spChg>
        <pc:spChg chg="add del mod modVis">
          <ac:chgData name="Joelle Brehm" userId="a518f54c-6985-42c0-8041-2bb16a414839" providerId="ADAL" clId="{BE3A2103-5170-40FE-A99F-CB737D9F76BC}" dt="2023-10-02T20:43:17.071" v="5529"/>
          <ac:spMkLst>
            <pc:docMk/>
            <pc:sldMk cId="77660323" sldId="295"/>
            <ac:spMk id="60" creationId="{69D0BCD2-DDB0-4797-1155-13EB67C3FB7B}"/>
          </ac:spMkLst>
        </pc:spChg>
        <pc:spChg chg="add del mod modVis">
          <ac:chgData name="Joelle Brehm" userId="a518f54c-6985-42c0-8041-2bb16a414839" providerId="ADAL" clId="{BE3A2103-5170-40FE-A99F-CB737D9F76BC}" dt="2023-10-02T20:43:20.845" v="5893"/>
          <ac:spMkLst>
            <pc:docMk/>
            <pc:sldMk cId="77660323" sldId="295"/>
            <ac:spMk id="62" creationId="{A7F30EC4-A961-0D67-8C2A-FB112F6E44F9}"/>
          </ac:spMkLst>
        </pc:spChg>
        <pc:spChg chg="add del mod ord replST">
          <ac:chgData name="Joelle Brehm" userId="a518f54c-6985-42c0-8041-2bb16a414839" providerId="ADAL" clId="{BE3A2103-5170-40FE-A99F-CB737D9F76BC}" dt="2023-10-02T20:43:29.900" v="6175"/>
          <ac:spMkLst>
            <pc:docMk/>
            <pc:sldMk cId="77660323" sldId="295"/>
            <ac:spMk id="63" creationId="{7CAA3B95-4C78-4122-BECA-B5FB0F3F3764}"/>
          </ac:spMkLst>
        </pc:spChg>
        <pc:spChg chg="del mod">
          <ac:chgData name="Joelle Brehm" userId="a518f54c-6985-42c0-8041-2bb16a414839" providerId="ADAL" clId="{BE3A2103-5170-40FE-A99F-CB737D9F76BC}" dt="2023-10-02T20:43:20.527" v="5532"/>
          <ac:spMkLst>
            <pc:docMk/>
            <pc:sldMk cId="77660323" sldId="295"/>
            <ac:spMk id="8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53" v="6271"/>
          <ac:spMkLst>
            <pc:docMk/>
            <pc:sldMk cId="77660323" sldId="295"/>
            <ac:spMk id="8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53" v="6270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54" v="6272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53" v="6268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54" v="6273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52" v="6267"/>
          <ac:spMkLst>
            <pc:docMk/>
            <pc:sldMk cId="77660323" sldId="295"/>
            <ac:spMk id="87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0:43:29.932" v="6193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BE3A2103-5170-40FE-A99F-CB737D9F76BC}" dt="2023-10-02T20:43:29.933" v="6195"/>
          <ac:spMkLst>
            <pc:docMk/>
            <pc:sldMk cId="77660323" sldId="295"/>
            <ac:spMk id="97" creationId="{64B2B8D7-E8A8-4757-99A4-69F1EAA48321}"/>
          </ac:spMkLst>
        </pc:spChg>
        <pc:spChg chg="del mod">
          <ac:chgData name="Joelle Brehm" userId="a518f54c-6985-42c0-8041-2bb16a414839" providerId="ADAL" clId="{BE3A2103-5170-40FE-A99F-CB737D9F76BC}" dt="2023-10-02T20:41:15.417" v="1943"/>
          <ac:spMkLst>
            <pc:docMk/>
            <pc:sldMk cId="77660323" sldId="295"/>
            <ac:spMk id="99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5" v="6201"/>
          <ac:spMkLst>
            <pc:docMk/>
            <pc:sldMk cId="77660323" sldId="295"/>
            <ac:spMk id="100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9" v="6213"/>
          <ac:spMkLst>
            <pc:docMk/>
            <pc:sldMk cId="77660323" sldId="295"/>
            <ac:spMk id="10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9" v="6214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0:43:29.931" v="6189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BE3A2103-5170-40FE-A99F-CB737D9F76BC}" dt="2023-10-02T20:43:29.935" v="6204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8" v="6211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9" v="6215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7" v="6209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9" v="6216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7" v="6207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6" v="6205"/>
          <ac:spMkLst>
            <pc:docMk/>
            <pc:sldMk cId="77660323" sldId="295"/>
            <ac:spMk id="136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37" v="6208"/>
          <ac:spMkLst>
            <pc:docMk/>
            <pc:sldMk cId="77660323" sldId="295"/>
            <ac:spMk id="154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0:43:29.933" v="6197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BE3A2103-5170-40FE-A99F-CB737D9F76BC}" dt="2023-10-02T20:43:29.946" v="6242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BE3A2103-5170-40FE-A99F-CB737D9F76BC}" dt="2023-10-02T20:43:29.951" v="6263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BE3A2103-5170-40FE-A99F-CB737D9F76BC}" dt="2023-10-02T20:43:29.952" v="6264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BE3A2103-5170-40FE-A99F-CB737D9F76BC}" dt="2023-10-02T20:43:29.957" v="6285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BE3A2103-5170-40FE-A99F-CB737D9F76BC}" dt="2023-10-02T20:43:29.958" v="6286"/>
          <ac:spMkLst>
            <pc:docMk/>
            <pc:sldMk cId="77660323" sldId="295"/>
            <ac:spMk id="402" creationId="{54A50511-8137-91F0-6AA8-1D657EEE3E68}"/>
          </ac:spMkLst>
        </pc:spChg>
        <pc:spChg chg="add del mod modVis">
          <ac:chgData name="Joelle Brehm" userId="a518f54c-6985-42c0-8041-2bb16a414839" providerId="ADAL" clId="{BE3A2103-5170-40FE-A99F-CB737D9F76BC}" dt="2023-10-02T20:43:24.252" v="6093"/>
          <ac:spMkLst>
            <pc:docMk/>
            <pc:sldMk cId="77660323" sldId="295"/>
            <ac:spMk id="449" creationId="{690FB00B-0254-7F24-16A2-B6A3D0AC26F1}"/>
          </ac:spMkLst>
        </pc:spChg>
        <pc:spChg chg="add del mod modVis">
          <ac:chgData name="Joelle Brehm" userId="a518f54c-6985-42c0-8041-2bb16a414839" providerId="ADAL" clId="{BE3A2103-5170-40FE-A99F-CB737D9F76BC}" dt="2023-10-02T20:43:29.959" v="6290"/>
          <ac:spMkLst>
            <pc:docMk/>
            <pc:sldMk cId="77660323" sldId="295"/>
            <ac:spMk id="451" creationId="{C2F39CB7-E6D8-2C5F-5E40-A69D9E3D9A89}"/>
          </ac:spMkLst>
        </pc:spChg>
        <pc:spChg chg="mod ord">
          <ac:chgData name="Joelle Brehm" userId="a518f54c-6985-42c0-8041-2bb16a414839" providerId="ADAL" clId="{BE3A2103-5170-40FE-A99F-CB737D9F76BC}" dt="2023-10-02T20:43:29.943" v="6232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BE3A2103-5170-40FE-A99F-CB737D9F76BC}" dt="2023-10-02T20:43:29.943" v="6230"/>
          <ac:spMkLst>
            <pc:docMk/>
            <pc:sldMk cId="77660323" sldId="295"/>
            <ac:spMk id="485" creationId="{0E817BE1-E587-06E4-D9FC-07EC7C45C787}"/>
          </ac:spMkLst>
        </pc:spChg>
        <pc:spChg chg="mod ord">
          <ac:chgData name="Joelle Brehm" userId="a518f54c-6985-42c0-8041-2bb16a414839" providerId="ADAL" clId="{BE3A2103-5170-40FE-A99F-CB737D9F76BC}" dt="2023-10-02T20:43:29.944" v="6234"/>
          <ac:spMkLst>
            <pc:docMk/>
            <pc:sldMk cId="77660323" sldId="295"/>
            <ac:spMk id="490" creationId="{9C81118A-E471-58E2-D54E-14C43A3A7D15}"/>
          </ac:spMkLst>
        </pc:spChg>
        <pc:spChg chg="del mod">
          <ac:chgData name="Joelle Brehm" userId="a518f54c-6985-42c0-8041-2bb16a414839" providerId="ADAL" clId="{BE3A2103-5170-40FE-A99F-CB737D9F76BC}" dt="2023-10-02T20:42:54.533" v="3579"/>
          <ac:spMkLst>
            <pc:docMk/>
            <pc:sldMk cId="77660323" sldId="295"/>
            <ac:spMk id="491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47" v="6248"/>
          <ac:spMkLst>
            <pc:docMk/>
            <pc:sldMk cId="77660323" sldId="295"/>
            <ac:spMk id="492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47" v="6247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48" v="6249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48" v="6250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46" v="6240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BE3A2103-5170-40FE-A99F-CB737D9F76BC}" dt="2023-10-02T20:43:29.947" v="6246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BE3A2103-5170-40FE-A99F-CB737D9F76BC}" dt="2023-10-02T20:43:29.947" v="6245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BE3A2103-5170-40FE-A99F-CB737D9F76BC}" dt="2023-10-02T20:43:29.944" v="6236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BE3A2103-5170-40FE-A99F-CB737D9F76BC}" dt="2023-10-02T20:43:29.951" v="6262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BE3A2103-5170-40FE-A99F-CB737D9F76BC}" dt="2023-10-02T20:43:29.956" v="6284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BE3A2103-5170-40FE-A99F-CB737D9F76BC}" dt="2023-10-02T20:43:29.973" v="6292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1:12.374" v="1776"/>
          <ac:graphicFrameMkLst>
            <pc:docMk/>
            <pc:sldMk cId="77660323" sldId="295"/>
            <ac:graphicFrameMk id="12" creationId="{1B9B7514-F9B6-F860-E947-F237D231A40A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1:15.515" v="2048"/>
          <ac:graphicFrameMkLst>
            <pc:docMk/>
            <pc:sldMk cId="77660323" sldId="295"/>
            <ac:graphicFrameMk id="14" creationId="{6BEEF741-63A1-6BFE-3135-BAF4E67A83BE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0:43:29.934" v="6199"/>
          <ac:graphicFrameMkLst>
            <pc:docMk/>
            <pc:sldMk cId="77660323" sldId="295"/>
            <ac:graphicFrameMk id="19" creationId="{08BA7783-5B92-B820-0C6F-6DCD32F6FFD7}"/>
          </ac:graphicFrameMkLst>
        </pc:graphicFrameChg>
        <pc:graphicFrameChg chg="del">
          <ac:chgData name="Joelle Brehm" userId="a518f54c-6985-42c0-8041-2bb16a414839" providerId="ADAL" clId="{BE3A2103-5170-40FE-A99F-CB737D9F76BC}" dt="2023-10-02T20:41:10.991" v="1500"/>
          <ac:graphicFrameMkLst>
            <pc:docMk/>
            <pc:sldMk cId="77660323" sldId="295"/>
            <ac:graphicFrameMk id="21" creationId="{40C263CC-43E5-4B9B-EC97-38A9DCC8CF7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2:50.268" v="3196"/>
          <ac:graphicFrameMkLst>
            <pc:docMk/>
            <pc:sldMk cId="77660323" sldId="295"/>
            <ac:graphicFrameMk id="35" creationId="{120FF182-0632-340C-D02D-C15FBCAB8FBC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2:51.136" v="3436"/>
          <ac:graphicFrameMkLst>
            <pc:docMk/>
            <pc:sldMk cId="77660323" sldId="295"/>
            <ac:graphicFrameMk id="38" creationId="{E4F59640-785C-7607-A26A-5BC714D216BE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2:54.667" v="3682"/>
          <ac:graphicFrameMkLst>
            <pc:docMk/>
            <pc:sldMk cId="77660323" sldId="295"/>
            <ac:graphicFrameMk id="40" creationId="{F6027CA1-75E9-952C-F30D-5AE4BC432611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0:42:48.532" v="2879"/>
          <ac:graphicFrameMkLst>
            <pc:docMk/>
            <pc:sldMk cId="77660323" sldId="295"/>
            <ac:graphicFrameMk id="41" creationId="{713DECD9-D495-262C-1DD2-5B61A18ED19D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2:57.276" v="3899"/>
          <ac:graphicFrameMkLst>
            <pc:docMk/>
            <pc:sldMk cId="77660323" sldId="295"/>
            <ac:graphicFrameMk id="46" creationId="{5C600A8D-FF30-D159-D22A-47AD7D7DBE06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3:04.589" v="4155"/>
          <ac:graphicFrameMkLst>
            <pc:docMk/>
            <pc:sldMk cId="77660323" sldId="295"/>
            <ac:graphicFrameMk id="49" creationId="{493A8AC8-0933-FA1E-223B-7AA65B8AD25C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0:43:29.946" v="6244"/>
          <ac:graphicFrameMkLst>
            <pc:docMk/>
            <pc:sldMk cId="77660323" sldId="295"/>
            <ac:graphicFrameMk id="52" creationId="{61443928-B9FD-F1BB-7848-5CDB62BB7E72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3:16.241" v="5143"/>
          <ac:graphicFrameMkLst>
            <pc:docMk/>
            <pc:sldMk cId="77660323" sldId="295"/>
            <ac:graphicFrameMk id="55" creationId="{464537BA-C3E1-7E80-BB1A-173D5C07B47E}"/>
          </ac:graphicFrameMkLst>
        </pc:graphicFrameChg>
        <pc:graphicFrameChg chg="del mod ord">
          <ac:chgData name="Joelle Brehm" userId="a518f54c-6985-42c0-8041-2bb16a414839" providerId="ADAL" clId="{BE3A2103-5170-40FE-A99F-CB737D9F76BC}" dt="2023-10-02T20:43:13.716" v="4820"/>
          <ac:graphicFrameMkLst>
            <pc:docMk/>
            <pc:sldMk cId="77660323" sldId="295"/>
            <ac:graphicFrameMk id="57" creationId="{0E2E7E33-18BB-5370-FE67-950801EED289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3:16.976" v="5389"/>
          <ac:graphicFrameMkLst>
            <pc:docMk/>
            <pc:sldMk cId="77660323" sldId="295"/>
            <ac:graphicFrameMk id="59" creationId="{8CA4EAD0-5F33-6ABC-782A-2C1B98E259EB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3:20.734" v="5729"/>
          <ac:graphicFrameMkLst>
            <pc:docMk/>
            <pc:sldMk cId="77660323" sldId="295"/>
            <ac:graphicFrameMk id="61" creationId="{21C0FE71-C164-4741-6C81-C90B91BC959F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3:24.185" v="5978"/>
          <ac:graphicFrameMkLst>
            <pc:docMk/>
            <pc:sldMk cId="77660323" sldId="295"/>
            <ac:graphicFrameMk id="448" creationId="{28F79086-504C-2AF4-B7B0-2F607242FAD0}"/>
          </ac:graphicFrameMkLst>
        </pc:graphicFrameChg>
        <pc:graphicFrameChg chg="add del mod ord replST">
          <ac:chgData name="Joelle Brehm" userId="a518f54c-6985-42c0-8041-2bb16a414839" providerId="ADAL" clId="{BE3A2103-5170-40FE-A99F-CB737D9F76BC}" dt="2023-10-02T20:43:29.901" v="6177"/>
          <ac:graphicFrameMkLst>
            <pc:docMk/>
            <pc:sldMk cId="77660323" sldId="295"/>
            <ac:graphicFrameMk id="450" creationId="{BFA08A78-8478-DF26-8366-B3C485D61868}"/>
          </ac:graphicFrameMkLst>
        </pc:graphicFrameChg>
        <pc:graphicFrameChg chg="add mod ord replST">
          <ac:chgData name="Joelle Brehm" userId="a518f54c-6985-42c0-8041-2bb16a414839" providerId="ADAL" clId="{BE3A2103-5170-40FE-A99F-CB737D9F76BC}" dt="2023-10-02T20:43:29.952" v="6266"/>
          <ac:graphicFrameMkLst>
            <pc:docMk/>
            <pc:sldMk cId="77660323" sldId="295"/>
            <ac:graphicFrameMk id="452" creationId="{ECF32EC0-FE9D-9C7B-E171-4538742EB0AE}"/>
          </ac:graphicFrameMkLst>
        </pc:graphicFrameChg>
        <pc:picChg chg="mod ord">
          <ac:chgData name="Joelle Brehm" userId="a518f54c-6985-42c0-8041-2bb16a414839" providerId="ADAL" clId="{BE3A2103-5170-40FE-A99F-CB737D9F76BC}" dt="2023-10-02T20:43:29.932" v="6191"/>
          <ac:picMkLst>
            <pc:docMk/>
            <pc:sldMk cId="77660323" sldId="295"/>
            <ac:picMk id="3" creationId="{2D4B0DAF-6DD7-4B10-8D9C-0B8AAD6563B0}"/>
          </ac:picMkLst>
        </pc:picChg>
        <pc:picChg chg="add mod ord">
          <ac:chgData name="Joelle Brehm" userId="a518f54c-6985-42c0-8041-2bb16a414839" providerId="ADAL" clId="{BE3A2103-5170-40FE-A99F-CB737D9F76BC}" dt="2023-10-02T20:43:29.930" v="6185"/>
          <ac:picMkLst>
            <pc:docMk/>
            <pc:sldMk cId="77660323" sldId="295"/>
            <ac:picMk id="20" creationId="{CCC0DFDE-E613-2CC1-BE31-07A7F2189287}"/>
          </ac:picMkLst>
        </pc:picChg>
        <pc:picChg chg="del mod ord">
          <ac:chgData name="Joelle Brehm" userId="a518f54c-6985-42c0-8041-2bb16a414839" providerId="ADAL" clId="{BE3A2103-5170-40FE-A99F-CB737D9F76BC}" dt="2023-10-02T20:42:27.228" v="2335" actId="478"/>
          <ac:picMkLst>
            <pc:docMk/>
            <pc:sldMk cId="77660323" sldId="295"/>
            <ac:picMk id="23" creationId="{54B6CAB3-C95E-592E-7129-6B5DA116EF35}"/>
          </ac:picMkLst>
        </pc:picChg>
        <pc:cxnChg chg="mod ord">
          <ac:chgData name="Joelle Brehm" userId="a518f54c-6985-42c0-8041-2bb16a414839" providerId="ADAL" clId="{BE3A2103-5170-40FE-A99F-CB737D9F76BC}" dt="2023-10-02T20:43:29.941" v="6222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BE3A2103-5170-40FE-A99F-CB737D9F76BC}" dt="2023-10-02T20:43:29.942" v="6226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BE3A2103-5170-40FE-A99F-CB737D9F76BC}" dt="2023-10-02T20:43:29.941" v="6224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BE3A2103-5170-40FE-A99F-CB737D9F76BC}" dt="2023-10-02T20:43:29.951" v="6260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BE3A2103-5170-40FE-A99F-CB737D9F76BC}" dt="2023-10-02T20:43:29.950" v="6258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BE3A2103-5170-40FE-A99F-CB737D9F76BC}" dt="2023-10-02T20:43:29.955" v="6280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BE3A2103-5170-40FE-A99F-CB737D9F76BC}" dt="2023-10-02T20:43:29.956" v="6282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BE3A2103-5170-40FE-A99F-CB737D9F76BC}" dt="2023-10-02T20:43:29.942" v="6228"/>
          <ac:cxnSpMkLst>
            <pc:docMk/>
            <pc:sldMk cId="77660323" sldId="295"/>
            <ac:cxnSpMk id="499" creationId="{03F78B4F-B1A0-4DEB-C1BE-2365D8B94D05}"/>
          </ac:cxnSpMkLst>
        </pc:cxnChg>
      </pc:sldChg>
    </pc:docChg>
  </pc:docChgLst>
  <pc:docChgLst>
    <pc:chgData name="Joelle Brehm" userId="a518f54c-6985-42c0-8041-2bb16a414839" providerId="ADAL" clId="{11F4A39F-1802-4DA4-AB6C-561BDA6399D2}"/>
    <pc:docChg chg="undo custSel modSld sldOrd replTag">
      <pc:chgData name="Joelle Brehm" userId="a518f54c-6985-42c0-8041-2bb16a414839" providerId="ADAL" clId="{11F4A39F-1802-4DA4-AB6C-561BDA6399D2}" dt="2023-07-06T19:00:23.113" v="60859"/>
      <pc:docMkLst>
        <pc:docMk/>
      </pc:docMkLst>
      <pc:sldChg chg="addSp delSp modSp mod">
        <pc:chgData name="Joelle Brehm" userId="a518f54c-6985-42c0-8041-2bb16a414839" providerId="ADAL" clId="{11F4A39F-1802-4DA4-AB6C-561BDA6399D2}" dt="2023-07-05T23:23:33.921" v="57895" actId="20577"/>
        <pc:sldMkLst>
          <pc:docMk/>
          <pc:sldMk cId="3839614074" sldId="258"/>
        </pc:sldMkLst>
        <pc:spChg chg="add del mod">
          <ac:chgData name="Joelle Brehm" userId="a518f54c-6985-42c0-8041-2bb16a414839" providerId="ADAL" clId="{11F4A39F-1802-4DA4-AB6C-561BDA6399D2}" dt="2023-07-05T15:45:24.201" v="1373" actId="478"/>
          <ac:spMkLst>
            <pc:docMk/>
            <pc:sldMk cId="3839614074" sldId="258"/>
            <ac:spMk id="2" creationId="{31DC4E1B-722F-E85A-00D3-A67A9D5F84DA}"/>
          </ac:spMkLst>
        </pc:spChg>
        <pc:spChg chg="add del mod">
          <ac:chgData name="Joelle Brehm" userId="a518f54c-6985-42c0-8041-2bb16a414839" providerId="ADAL" clId="{11F4A39F-1802-4DA4-AB6C-561BDA6399D2}" dt="2023-07-05T15:07:26.115" v="1225" actId="478"/>
          <ac:spMkLst>
            <pc:docMk/>
            <pc:sldMk cId="3839614074" sldId="258"/>
            <ac:spMk id="9" creationId="{C88D10F0-255E-5D45-5C9E-9FC8CF05D2F1}"/>
          </ac:spMkLst>
        </pc:spChg>
        <pc:spChg chg="mod">
          <ac:chgData name="Joelle Brehm" userId="a518f54c-6985-42c0-8041-2bb16a414839" providerId="ADAL" clId="{11F4A39F-1802-4DA4-AB6C-561BDA6399D2}" dt="2023-07-05T23:23:33.921" v="57895" actId="20577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11F4A39F-1802-4DA4-AB6C-561BDA6399D2}" dt="2023-07-05T15:07:29.510" v="1231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11F4A39F-1802-4DA4-AB6C-561BDA6399D2}" dt="2023-07-05T20:52:49.939" v="31662" actId="1036"/>
        <pc:sldMkLst>
          <pc:docMk/>
          <pc:sldMk cId="3798164587" sldId="259"/>
        </pc:sldMkLst>
        <pc:spChg chg="mod ord">
          <ac:chgData name="Joelle Brehm" userId="a518f54c-6985-42c0-8041-2bb16a414839" providerId="ADAL" clId="{11F4A39F-1802-4DA4-AB6C-561BDA6399D2}" dt="2023-07-05T20:31:29.057" v="13210"/>
          <ac:spMkLst>
            <pc:docMk/>
            <pc:sldMk cId="3798164587" sldId="259"/>
            <ac:spMk id="2" creationId="{8EDF2A74-9587-4C1D-91CA-8D21248ED6E8}"/>
          </ac:spMkLst>
        </pc:spChg>
        <pc:spChg chg="add del mod">
          <ac:chgData name="Joelle Brehm" userId="a518f54c-6985-42c0-8041-2bb16a414839" providerId="ADAL" clId="{11F4A39F-1802-4DA4-AB6C-561BDA6399D2}" dt="2023-07-05T20:25:07.444" v="11292" actId="478"/>
          <ac:spMkLst>
            <pc:docMk/>
            <pc:sldMk cId="3798164587" sldId="259"/>
            <ac:spMk id="3" creationId="{6821E543-E874-6246-9A49-87A0BB8F909C}"/>
          </ac:spMkLst>
        </pc:spChg>
        <pc:spChg chg="mod ord">
          <ac:chgData name="Joelle Brehm" userId="a518f54c-6985-42c0-8041-2bb16a414839" providerId="ADAL" clId="{11F4A39F-1802-4DA4-AB6C-561BDA6399D2}" dt="2023-07-05T20:31:29.042" v="13128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1F4A39F-1802-4DA4-AB6C-561BDA6399D2}" dt="2023-07-05T20:25:12.032" v="11572"/>
          <ac:spMkLst>
            <pc:docMk/>
            <pc:sldMk cId="3798164587" sldId="259"/>
            <ac:spMk id="8" creationId="{9E755567-000E-63D2-8915-1E30501B5652}"/>
          </ac:spMkLst>
        </pc:spChg>
        <pc:spChg chg="mod">
          <ac:chgData name="Joelle Brehm" userId="a518f54c-6985-42c0-8041-2bb16a414839" providerId="ADAL" clId="{11F4A39F-1802-4DA4-AB6C-561BDA6399D2}" dt="2023-07-05T20:31:29.042" v="13138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31:29.042" v="13141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31:29.042" v="13142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31:29.042" v="13137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31:29.042" v="13134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31:29.042" v="13136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31:29.042" v="13140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31:29.042" v="13133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31:29.042" v="13143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31:29.042" v="13139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31:29.042" v="13135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31:29.042" v="13144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31:29.042" v="13146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31:29.042" v="13148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31:29.042" v="13147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31:29.042" v="13149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31:29.042" v="13151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31:29.042" v="13150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31:29.042" v="13152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31:29.042" v="13154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31:29.057" v="13168"/>
          <ac:spMkLst>
            <pc:docMk/>
            <pc:sldMk cId="3798164587" sldId="259"/>
            <ac:spMk id="33" creationId="{275DD78E-6C37-19E2-BB7D-7EC5FAF1B229}"/>
          </ac:spMkLst>
        </pc:spChg>
        <pc:spChg chg="mod">
          <ac:chgData name="Joelle Brehm" userId="a518f54c-6985-42c0-8041-2bb16a414839" providerId="ADAL" clId="{11F4A39F-1802-4DA4-AB6C-561BDA6399D2}" dt="2023-07-05T20:31:29.057" v="13186"/>
          <ac:spMkLst>
            <pc:docMk/>
            <pc:sldMk cId="3798164587" sldId="259"/>
            <ac:spMk id="34" creationId="{6CEAC9A5-DF5A-A5A4-6B08-69378419D16C}"/>
          </ac:spMkLst>
        </pc:spChg>
        <pc:spChg chg="mod ord">
          <ac:chgData name="Joelle Brehm" userId="a518f54c-6985-42c0-8041-2bb16a414839" providerId="ADAL" clId="{11F4A39F-1802-4DA4-AB6C-561BDA6399D2}" dt="2023-07-05T20:31:29.057" v="13166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11F4A39F-1802-4DA4-AB6C-561BDA6399D2}" dt="2023-07-05T20:31:29.057" v="13170"/>
          <ac:spMkLst>
            <pc:docMk/>
            <pc:sldMk cId="3798164587" sldId="259"/>
            <ac:spMk id="36" creationId="{17FE84B0-8441-0A09-95B5-2EDD40F6EB1C}"/>
          </ac:spMkLst>
        </pc:spChg>
        <pc:spChg chg="add del mod modVis">
          <ac:chgData name="Joelle Brehm" userId="a518f54c-6985-42c0-8041-2bb16a414839" providerId="ADAL" clId="{11F4A39F-1802-4DA4-AB6C-561BDA6399D2}" dt="2023-07-05T20:25:50.853" v="11908"/>
          <ac:spMkLst>
            <pc:docMk/>
            <pc:sldMk cId="3798164587" sldId="259"/>
            <ac:spMk id="37" creationId="{B88615B8-1D5E-E0CC-AC38-C44651E1A266}"/>
          </ac:spMkLst>
        </pc:spChg>
        <pc:spChg chg="mod">
          <ac:chgData name="Joelle Brehm" userId="a518f54c-6985-42c0-8041-2bb16a414839" providerId="ADAL" clId="{11F4A39F-1802-4DA4-AB6C-561BDA6399D2}" dt="2023-07-05T20:31:29.057" v="13174"/>
          <ac:spMkLst>
            <pc:docMk/>
            <pc:sldMk cId="3798164587" sldId="259"/>
            <ac:spMk id="38" creationId="{F9718545-2C79-73C0-B314-2B5D8CF60E56}"/>
          </ac:spMkLst>
        </pc:spChg>
        <pc:spChg chg="add mod replST">
          <ac:chgData name="Joelle Brehm" userId="a518f54c-6985-42c0-8041-2bb16a414839" providerId="ADAL" clId="{11F4A39F-1802-4DA4-AB6C-561BDA6399D2}" dt="2023-07-05T20:31:29.057" v="13165"/>
          <ac:spMkLst>
            <pc:docMk/>
            <pc:sldMk cId="3798164587" sldId="259"/>
            <ac:spMk id="40" creationId="{C2BC67C2-24A1-1F5C-D921-6C3618C10072}"/>
          </ac:spMkLst>
        </pc:spChg>
        <pc:spChg chg="add mod ord replST">
          <ac:chgData name="Joelle Brehm" userId="a518f54c-6985-42c0-8041-2bb16a414839" providerId="ADAL" clId="{11F4A39F-1802-4DA4-AB6C-561BDA6399D2}" dt="2023-07-05T20:31:29.057" v="13187"/>
          <ac:spMkLst>
            <pc:docMk/>
            <pc:sldMk cId="3798164587" sldId="259"/>
            <ac:spMk id="41" creationId="{AAEA4991-6EDC-4585-53B3-43FCB8287F41}"/>
          </ac:spMkLst>
        </pc:spChg>
        <pc:spChg chg="mod">
          <ac:chgData name="Joelle Brehm" userId="a518f54c-6985-42c0-8041-2bb16a414839" providerId="ADAL" clId="{11F4A39F-1802-4DA4-AB6C-561BDA6399D2}" dt="2023-07-05T20:31:29.057" v="13176"/>
          <ac:spMkLst>
            <pc:docMk/>
            <pc:sldMk cId="3798164587" sldId="259"/>
            <ac:spMk id="42" creationId="{17E5CF1F-B68A-803E-7A46-9E4C2586B04A}"/>
          </ac:spMkLst>
        </pc:spChg>
        <pc:spChg chg="mod">
          <ac:chgData name="Joelle Brehm" userId="a518f54c-6985-42c0-8041-2bb16a414839" providerId="ADAL" clId="{11F4A39F-1802-4DA4-AB6C-561BDA6399D2}" dt="2023-07-05T20:31:29.057" v="13179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11F4A39F-1802-4DA4-AB6C-561BDA6399D2}" dt="2023-07-05T20:31:29.057" v="13173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11F4A39F-1802-4DA4-AB6C-561BDA6399D2}" dt="2023-07-05T20:31:29.042" v="13158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42" v="13163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42" v="13159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11F4A39F-1802-4DA4-AB6C-561BDA6399D2}" dt="2023-07-05T20:31:29.057" v="13184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11F4A39F-1802-4DA4-AB6C-561BDA6399D2}" dt="2023-07-05T20:31:29.057" v="13182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11F4A39F-1802-4DA4-AB6C-561BDA6399D2}" dt="2023-07-05T20:31:29.057" v="13171"/>
          <ac:spMkLst>
            <pc:docMk/>
            <pc:sldMk cId="3798164587" sldId="259"/>
            <ac:spMk id="50" creationId="{6E0EEE28-854C-B3D5-8CC6-BD69B0BE61B8}"/>
          </ac:spMkLst>
        </pc:spChg>
        <pc:spChg chg="add del mod modVis">
          <ac:chgData name="Joelle Brehm" userId="a518f54c-6985-42c0-8041-2bb16a414839" providerId="ADAL" clId="{11F4A39F-1802-4DA4-AB6C-561BDA6399D2}" dt="2023-07-05T20:25:56.365" v="12328"/>
          <ac:spMkLst>
            <pc:docMk/>
            <pc:sldMk cId="3798164587" sldId="259"/>
            <ac:spMk id="51" creationId="{45A55515-7EA3-EDD2-FA48-0C3552D1380A}"/>
          </ac:spMkLst>
        </pc:spChg>
        <pc:spChg chg="add del mod modVis">
          <ac:chgData name="Joelle Brehm" userId="a518f54c-6985-42c0-8041-2bb16a414839" providerId="ADAL" clId="{11F4A39F-1802-4DA4-AB6C-561BDA6399D2}" dt="2023-07-05T20:25:58.017" v="12555"/>
          <ac:spMkLst>
            <pc:docMk/>
            <pc:sldMk cId="3798164587" sldId="259"/>
            <ac:spMk id="53" creationId="{457F61EA-E357-4596-A2BD-B0C428CC62E5}"/>
          </ac:spMkLst>
        </pc:spChg>
        <pc:spChg chg="add del mod modVis">
          <ac:chgData name="Joelle Brehm" userId="a518f54c-6985-42c0-8041-2bb16a414839" providerId="ADAL" clId="{11F4A39F-1802-4DA4-AB6C-561BDA6399D2}" dt="2023-07-05T20:26:00.018" v="12816"/>
          <ac:spMkLst>
            <pc:docMk/>
            <pc:sldMk cId="3798164587" sldId="259"/>
            <ac:spMk id="56" creationId="{6BFEDB4A-6A75-FE44-4D27-27D140510E3A}"/>
          </ac:spMkLst>
        </pc:spChg>
        <pc:spChg chg="add del mod modVis">
          <ac:chgData name="Joelle Brehm" userId="a518f54c-6985-42c0-8041-2bb16a414839" providerId="ADAL" clId="{11F4A39F-1802-4DA4-AB6C-561BDA6399D2}" dt="2023-07-05T20:31:26.642" v="13016"/>
          <ac:spMkLst>
            <pc:docMk/>
            <pc:sldMk cId="3798164587" sldId="259"/>
            <ac:spMk id="59" creationId="{C2A334C3-DC7B-6F87-6434-368CE04672C3}"/>
          </ac:spMkLst>
        </pc:spChg>
        <pc:spChg chg="mod">
          <ac:chgData name="Joelle Brehm" userId="a518f54c-6985-42c0-8041-2bb16a414839" providerId="ADAL" clId="{11F4A39F-1802-4DA4-AB6C-561BDA6399D2}" dt="2023-07-05T20:31:29.042" v="13160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11F4A39F-1802-4DA4-AB6C-561BDA6399D2}" dt="2023-07-05T20:31:29.042" v="13157"/>
          <ac:spMkLst>
            <pc:docMk/>
            <pc:sldMk cId="3798164587" sldId="259"/>
            <ac:spMk id="62" creationId="{E621A99F-79E6-44D1-808B-D950A3930E70}"/>
          </ac:spMkLst>
        </pc:spChg>
        <pc:spChg chg="add del mod modVis">
          <ac:chgData name="Joelle Brehm" userId="a518f54c-6985-42c0-8041-2bb16a414839" providerId="ADAL" clId="{11F4A39F-1802-4DA4-AB6C-561BDA6399D2}" dt="2023-07-05T20:31:29.057" v="13214"/>
          <ac:spMkLst>
            <pc:docMk/>
            <pc:sldMk cId="3798164587" sldId="259"/>
            <ac:spMk id="63" creationId="{CCC04C33-C197-18C7-2C86-00A3C0290174}"/>
          </ac:spMkLst>
        </pc:spChg>
        <pc:spChg chg="mod">
          <ac:chgData name="Joelle Brehm" userId="a518f54c-6985-42c0-8041-2bb16a414839" providerId="ADAL" clId="{11F4A39F-1802-4DA4-AB6C-561BDA6399D2}" dt="2023-07-05T20:31:29.042" v="13161"/>
          <ac:spMkLst>
            <pc:docMk/>
            <pc:sldMk cId="3798164587" sldId="259"/>
            <ac:spMk id="64" creationId="{28987B1A-D33C-4BEB-B42D-5DE09D6199E9}"/>
          </ac:spMkLst>
        </pc:spChg>
        <pc:spChg chg="mod ord">
          <ac:chgData name="Joelle Brehm" userId="a518f54c-6985-42c0-8041-2bb16a414839" providerId="ADAL" clId="{11F4A39F-1802-4DA4-AB6C-561BDA6399D2}" dt="2023-07-05T20:31:29.057" v="13189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31:29.057" v="13191"/>
          <ac:spMkLst>
            <pc:docMk/>
            <pc:sldMk cId="3798164587" sldId="259"/>
            <ac:spMk id="79" creationId="{F1476AC4-694B-4D83-BFD8-8DCAA4BB1923}"/>
          </ac:spMkLst>
        </pc:spChg>
        <pc:spChg chg="del mod">
          <ac:chgData name="Joelle Brehm" userId="a518f54c-6985-42c0-8041-2bb16a414839" providerId="ADAL" clId="{11F4A39F-1802-4DA4-AB6C-561BDA6399D2}" dt="2023-07-05T20:25:59.693" v="12559"/>
          <ac:spMkLst>
            <pc:docMk/>
            <pc:sldMk cId="3798164587" sldId="259"/>
            <ac:spMk id="8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42" v="13164"/>
          <ac:spMkLst>
            <pc:docMk/>
            <pc:sldMk cId="3798164587" sldId="259"/>
            <ac:spMk id="8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69"/>
          <ac:spMkLst>
            <pc:docMk/>
            <pc:sldMk cId="3798164587" sldId="259"/>
            <ac:spMk id="8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72"/>
          <ac:spMkLst>
            <pc:docMk/>
            <pc:sldMk cId="3798164587" sldId="259"/>
            <ac:spMk id="8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75"/>
          <ac:spMkLst>
            <pc:docMk/>
            <pc:sldMk cId="3798164587" sldId="259"/>
            <ac:spMk id="8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77"/>
          <ac:spMkLst>
            <pc:docMk/>
            <pc:sldMk cId="3798164587" sldId="259"/>
            <ac:spMk id="89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80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42" v="13162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81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83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185"/>
          <ac:spMkLst>
            <pc:docMk/>
            <pc:sldMk cId="3798164587" sldId="259"/>
            <ac:spMk id="95" creationId="{7CAA3B95-4C78-4122-BECA-B5FB0F3F3764}"/>
          </ac:spMkLst>
        </pc:spChg>
        <pc:spChg chg="del mod">
          <ac:chgData name="Joelle Brehm" userId="a518f54c-6985-42c0-8041-2bb16a414839" providerId="ADAL" clId="{11F4A39F-1802-4DA4-AB6C-561BDA6399D2}" dt="2023-07-05T20:25:59.693" v="12558"/>
          <ac:spMkLst>
            <pc:docMk/>
            <pc:sldMk cId="3798164587" sldId="259"/>
            <ac:spMk id="96" creationId="{B0CA5BD9-5CCF-4C87-0BE7-E4C0D2E84131}"/>
          </ac:spMkLst>
        </pc:spChg>
        <pc:spChg chg="mod">
          <ac:chgData name="Joelle Brehm" userId="a518f54c-6985-42c0-8041-2bb16a414839" providerId="ADAL" clId="{11F4A39F-1802-4DA4-AB6C-561BDA6399D2}" dt="2023-07-05T20:31:29.057" v="13167"/>
          <ac:spMkLst>
            <pc:docMk/>
            <pc:sldMk cId="3798164587" sldId="259"/>
            <ac:spMk id="98" creationId="{5C2D14D9-12F3-09BB-CF0F-B06C9774FBF8}"/>
          </ac:spMkLst>
        </pc:spChg>
        <pc:spChg chg="mod ord">
          <ac:chgData name="Joelle Brehm" userId="a518f54c-6985-42c0-8041-2bb16a414839" providerId="ADAL" clId="{11F4A39F-1802-4DA4-AB6C-561BDA6399D2}" dt="2023-07-05T20:31:29.057" v="13193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11F4A39F-1802-4DA4-AB6C-561BDA6399D2}" dt="2023-07-05T20:31:29.057" v="13178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31:29.057" v="13195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31:29.057" v="13197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31:29.057" v="13199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31:29.057" v="13202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203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204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31:29.057" v="13205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31:29.057" v="13206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31:29.073" v="13216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31:29.042" v="13132"/>
          <ac:graphicFrameMkLst>
            <pc:docMk/>
            <pc:sldMk cId="3798164587" sldId="259"/>
            <ac:graphicFrameMk id="9" creationId="{1C9BF198-5FA5-492F-7948-449945DE573C}"/>
          </ac:graphicFrameMkLst>
        </pc:graphicFrameChg>
        <pc:graphicFrameChg chg="del">
          <ac:chgData name="Joelle Brehm" userId="a518f54c-6985-42c0-8041-2bb16a414839" providerId="ADAL" clId="{11F4A39F-1802-4DA4-AB6C-561BDA6399D2}" dt="2023-07-05T20:25:11.918" v="11469"/>
          <ac:graphicFrameMkLst>
            <pc:docMk/>
            <pc:sldMk cId="3798164587" sldId="259"/>
            <ac:graphicFrameMk id="10" creationId="{B24143CE-12C5-9CE0-D3E0-DF6D9FE16E9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31:29.057" v="13201"/>
          <ac:graphicFrameMkLst>
            <pc:docMk/>
            <pc:sldMk cId="3798164587" sldId="259"/>
            <ac:graphicFrameMk id="39" creationId="{7688D1DB-56A1-6A7B-2B99-011B95CECD2B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25:57.935" v="12453"/>
          <ac:graphicFrameMkLst>
            <pc:docMk/>
            <pc:sldMk cId="3798164587" sldId="259"/>
            <ac:graphicFrameMk id="52" creationId="{7BE255B6-7038-5757-9703-E147673C7DF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25:59.914" v="12716"/>
          <ac:graphicFrameMkLst>
            <pc:docMk/>
            <pc:sldMk cId="3798164587" sldId="259"/>
            <ac:graphicFrameMk id="54" creationId="{A512D9A3-2851-C0A3-F703-30A41B902107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25:56.290" v="12226"/>
          <ac:graphicFrameMkLst>
            <pc:docMk/>
            <pc:sldMk cId="3798164587" sldId="259"/>
            <ac:graphicFrameMk id="55" creationId="{BDC51F09-8F62-9AC6-E65E-4FFA04B9E41E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25:50.808" v="11809"/>
          <ac:graphicFrameMkLst>
            <pc:docMk/>
            <pc:sldMk cId="3798164587" sldId="259"/>
            <ac:graphicFrameMk id="57" creationId="{59D22685-9AE8-D1CB-83B1-F02AFFEEED99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1:26.605" v="12917"/>
          <ac:graphicFrameMkLst>
            <pc:docMk/>
            <pc:sldMk cId="3798164587" sldId="259"/>
            <ac:graphicFrameMk id="58" creationId="{80107707-D43F-480F-B182-BD5D49B5132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1:29.026" v="13116"/>
          <ac:graphicFrameMkLst>
            <pc:docMk/>
            <pc:sldMk cId="3798164587" sldId="259"/>
            <ac:graphicFrameMk id="60" creationId="{57DA17EF-DD28-F1CE-8C53-EB661D90C3CF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31:29.042" v="13156"/>
          <ac:graphicFrameMkLst>
            <pc:docMk/>
            <pc:sldMk cId="3798164587" sldId="259"/>
            <ac:graphicFrameMk id="65" creationId="{E01D7D4E-E461-8FDF-1C01-4136E76D5A68}"/>
          </ac:graphicFrameMkLst>
        </pc:graphicFrameChg>
        <pc:picChg chg="mod ord">
          <ac:chgData name="Joelle Brehm" userId="a518f54c-6985-42c0-8041-2bb16a414839" providerId="ADAL" clId="{11F4A39F-1802-4DA4-AB6C-561BDA6399D2}" dt="2023-07-05T20:31:29.042" v="13126"/>
          <ac:picMkLst>
            <pc:docMk/>
            <pc:sldMk cId="3798164587" sldId="259"/>
            <ac:picMk id="5" creationId="{8F4A2CF4-0CF3-47E4-B23B-AC49D50CFFA1}"/>
          </ac:picMkLst>
        </pc:picChg>
        <pc:picChg chg="del mod ord">
          <ac:chgData name="Joelle Brehm" userId="a518f54c-6985-42c0-8041-2bb16a414839" providerId="ADAL" clId="{11F4A39F-1802-4DA4-AB6C-561BDA6399D2}" dt="2023-07-05T20:25:34.073" v="11675" actId="478"/>
          <ac:picMkLst>
            <pc:docMk/>
            <pc:sldMk cId="3798164587" sldId="259"/>
            <ac:picMk id="31" creationId="{7A4A79F1-6050-9D4A-C93D-284BCC5D7BF4}"/>
          </ac:picMkLst>
        </pc:picChg>
        <pc:picChg chg="add del mod ord">
          <ac:chgData name="Joelle Brehm" userId="a518f54c-6985-42c0-8041-2bb16a414839" providerId="ADAL" clId="{11F4A39F-1802-4DA4-AB6C-561BDA6399D2}" dt="2023-07-05T20:52:42.469" v="31659" actId="478"/>
          <ac:picMkLst>
            <pc:docMk/>
            <pc:sldMk cId="3798164587" sldId="259"/>
            <ac:picMk id="32" creationId="{D5081B2C-4B8A-E4CF-748F-7FA1E20F6355}"/>
          </ac:picMkLst>
        </pc:picChg>
        <pc:picChg chg="add mod">
          <ac:chgData name="Joelle Brehm" userId="a518f54c-6985-42c0-8041-2bb16a414839" providerId="ADAL" clId="{11F4A39F-1802-4DA4-AB6C-561BDA6399D2}" dt="2023-07-05T20:52:49.939" v="31662" actId="1036"/>
          <ac:picMkLst>
            <pc:docMk/>
            <pc:sldMk cId="3798164587" sldId="259"/>
            <ac:picMk id="66" creationId="{BB4B5FBE-C5A1-9447-2956-114388C86BCA}"/>
          </ac:picMkLst>
        </pc:picChg>
        <pc:picChg chg="mod ord">
          <ac:chgData name="Joelle Brehm" userId="a518f54c-6985-42c0-8041-2bb16a414839" providerId="ADAL" clId="{11F4A39F-1802-4DA4-AB6C-561BDA6399D2}" dt="2023-07-05T20:31:29.057" v="13208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31:29.042" v="13130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11F4A39F-1802-4DA4-AB6C-561BDA6399D2}" dt="2023-07-04T16:44:36.028" v="3" actId="20577"/>
        <pc:sldMkLst>
          <pc:docMk/>
          <pc:sldMk cId="4090961396" sldId="260"/>
        </pc:sldMkLst>
        <pc:spChg chg="mod">
          <ac:chgData name="Joelle Brehm" userId="a518f54c-6985-42c0-8041-2bb16a414839" providerId="ADAL" clId="{11F4A39F-1802-4DA4-AB6C-561BDA6399D2}" dt="2023-07-04T16:44:36.028" v="3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11F4A39F-1802-4DA4-AB6C-561BDA6399D2}" dt="2023-07-05T15:58:30.977" v="1512" actId="20577"/>
        <pc:sldMkLst>
          <pc:docMk/>
          <pc:sldMk cId="2525895214" sldId="262"/>
        </pc:sldMkLst>
        <pc:spChg chg="add del mod">
          <ac:chgData name="Joelle Brehm" userId="a518f54c-6985-42c0-8041-2bb16a414839" providerId="ADAL" clId="{11F4A39F-1802-4DA4-AB6C-561BDA6399D2}" dt="2023-07-05T15:57:14.084" v="1378" actId="478"/>
          <ac:spMkLst>
            <pc:docMk/>
            <pc:sldMk cId="2525895214" sldId="262"/>
            <ac:spMk id="3" creationId="{3FFE9039-11F2-1892-3523-AC4F1C54DC72}"/>
          </ac:spMkLst>
        </pc:spChg>
        <pc:graphicFrameChg chg="modGraphic">
          <ac:chgData name="Joelle Brehm" userId="a518f54c-6985-42c0-8041-2bb16a414839" providerId="ADAL" clId="{11F4A39F-1802-4DA4-AB6C-561BDA6399D2}" dt="2023-07-05T15:58:30.977" v="1512" actId="20577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11F4A39F-1802-4DA4-AB6C-561BDA6399D2}" dt="2023-07-05T16:18:46.267" v="10763"/>
        <pc:sldMkLst>
          <pc:docMk/>
          <pc:sldMk cId="3980989934" sldId="263"/>
        </pc:sldMkLst>
        <pc:spChg chg="mod ord">
          <ac:chgData name="Joelle Brehm" userId="a518f54c-6985-42c0-8041-2bb16a414839" providerId="ADAL" clId="{11F4A39F-1802-4DA4-AB6C-561BDA6399D2}" dt="2023-07-05T16:18:46.252" v="10755"/>
          <ac:spMkLst>
            <pc:docMk/>
            <pc:sldMk cId="3980989934" sldId="263"/>
            <ac:spMk id="2" creationId="{75C72E1E-661F-4997-A353-2798333F5BE3}"/>
          </ac:spMkLst>
        </pc:spChg>
        <pc:spChg chg="add del mod ord">
          <ac:chgData name="Joelle Brehm" userId="a518f54c-6985-42c0-8041-2bb16a414839" providerId="ADAL" clId="{11F4A39F-1802-4DA4-AB6C-561BDA6399D2}" dt="2023-07-05T16:17:31.015" v="10243" actId="478"/>
          <ac:spMkLst>
            <pc:docMk/>
            <pc:sldMk cId="3980989934" sldId="263"/>
            <ac:spMk id="3" creationId="{17390A36-0EEF-BEB9-11C9-61C2C3D2D316}"/>
          </ac:spMkLst>
        </pc:spChg>
        <pc:spChg chg="mod ord">
          <ac:chgData name="Joelle Brehm" userId="a518f54c-6985-42c0-8041-2bb16a414839" providerId="ADAL" clId="{11F4A39F-1802-4DA4-AB6C-561BDA6399D2}" dt="2023-07-05T16:18:46.240" v="10730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11F4A39F-1802-4DA4-AB6C-561BDA6399D2}" dt="2023-07-05T16:18:46.244" v="10739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11F4A39F-1802-4DA4-AB6C-561BDA6399D2}" dt="2023-07-05T16:18:46.242" v="10734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11F4A39F-1802-4DA4-AB6C-561BDA6399D2}" dt="2023-07-05T16:18:46.242" v="10735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11F4A39F-1802-4DA4-AB6C-561BDA6399D2}" dt="2023-07-05T16:18:46.241" v="10733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11F4A39F-1802-4DA4-AB6C-561BDA6399D2}" dt="2023-07-05T16:18:46.242" v="10736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11F4A39F-1802-4DA4-AB6C-561BDA6399D2}" dt="2023-07-05T16:18:46.246" v="10742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11F4A39F-1802-4DA4-AB6C-561BDA6399D2}" dt="2023-07-05T16:18:46.244" v="10737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11F4A39F-1802-4DA4-AB6C-561BDA6399D2}" dt="2023-07-05T16:18:46.245" v="10740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11F4A39F-1802-4DA4-AB6C-561BDA6399D2}" dt="2023-07-05T16:18:46.244" v="10738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11F4A39F-1802-4DA4-AB6C-561BDA6399D2}" dt="2023-07-05T16:18:46.245" v="10741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11F4A39F-1802-4DA4-AB6C-561BDA6399D2}" dt="2023-07-05T16:18:46.246" v="10743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11F4A39F-1802-4DA4-AB6C-561BDA6399D2}" dt="2023-07-05T16:18:46.246" v="10744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11F4A39F-1802-4DA4-AB6C-561BDA6399D2}" dt="2023-07-05T16:18:46.247" v="10746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11F4A39F-1802-4DA4-AB6C-561BDA6399D2}" dt="2023-07-05T16:18:46.248" v="10748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11F4A39F-1802-4DA4-AB6C-561BDA6399D2}" dt="2023-07-05T16:18:46.256" v="10761"/>
          <ac:spMkLst>
            <pc:docMk/>
            <pc:sldMk cId="3980989934" sldId="263"/>
            <ac:spMk id="23" creationId="{62A8B835-B877-4659-3D84-2004DE62D48B}"/>
          </ac:spMkLst>
        </pc:spChg>
        <pc:spChg chg="mod ord">
          <ac:chgData name="Joelle Brehm" userId="a518f54c-6985-42c0-8041-2bb16a414839" providerId="ADAL" clId="{11F4A39F-1802-4DA4-AB6C-561BDA6399D2}" dt="2023-07-05T16:18:46.253" v="10757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11F4A39F-1802-4DA4-AB6C-561BDA6399D2}" dt="2023-07-05T16:18:46.249" v="10750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11F4A39F-1802-4DA4-AB6C-561BDA6399D2}" dt="2023-07-05T16:18:46.250" v="10752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11F4A39F-1802-4DA4-AB6C-561BDA6399D2}" dt="2023-07-05T16:18:46.267" v="10763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18:46.216" v="10718"/>
          <ac:graphicFrameMkLst>
            <pc:docMk/>
            <pc:sldMk cId="3980989934" sldId="263"/>
            <ac:graphicFrameMk id="24" creationId="{CC0B85D4-1EE5-BE4C-EFFB-0737675A468F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16:18:46.240" v="10732"/>
          <ac:graphicFrameMkLst>
            <pc:docMk/>
            <pc:sldMk cId="3980989934" sldId="263"/>
            <ac:graphicFrameMk id="26" creationId="{527D1E15-4F29-C46F-69E9-39C7F15D84CB}"/>
          </ac:graphicFrameMkLst>
        </pc:graphicFrameChg>
        <pc:picChg chg="del mod ord">
          <ac:chgData name="Joelle Brehm" userId="a518f54c-6985-42c0-8041-2bb16a414839" providerId="ADAL" clId="{11F4A39F-1802-4DA4-AB6C-561BDA6399D2}" dt="2023-07-05T16:17:24.533" v="10241" actId="478"/>
          <ac:picMkLst>
            <pc:docMk/>
            <pc:sldMk cId="3980989934" sldId="263"/>
            <ac:picMk id="6" creationId="{3E72DF2F-6493-4EB7-FD6B-067E2AB87971}"/>
          </ac:picMkLst>
        </pc:picChg>
        <pc:picChg chg="add mod ord">
          <ac:chgData name="Joelle Brehm" userId="a518f54c-6985-42c0-8041-2bb16a414839" providerId="ADAL" clId="{11F4A39F-1802-4DA4-AB6C-561BDA6399D2}" dt="2023-07-05T16:18:46.238" v="10728"/>
          <ac:picMkLst>
            <pc:docMk/>
            <pc:sldMk cId="3980989934" sldId="263"/>
            <ac:picMk id="7" creationId="{052EEEE8-801C-8F53-9E14-6548942E0A40}"/>
          </ac:picMkLst>
        </pc:picChg>
        <pc:picChg chg="add mod ord">
          <ac:chgData name="Joelle Brehm" userId="a518f54c-6985-42c0-8041-2bb16a414839" providerId="ADAL" clId="{11F4A39F-1802-4DA4-AB6C-561BDA6399D2}" dt="2023-07-05T16:18:46.238" v="10726"/>
          <ac:picMkLst>
            <pc:docMk/>
            <pc:sldMk cId="3980989934" sldId="263"/>
            <ac:picMk id="22" creationId="{01B92419-1689-6219-9CA9-702BEC2A5DC3}"/>
          </ac:picMkLst>
        </pc:picChg>
        <pc:picChg chg="del mod ord">
          <ac:chgData name="Joelle Brehm" userId="a518f54c-6985-42c0-8041-2bb16a414839" providerId="ADAL" clId="{11F4A39F-1802-4DA4-AB6C-561BDA6399D2}" dt="2023-07-05T16:18:27.651" v="10285" actId="478"/>
          <ac:picMkLst>
            <pc:docMk/>
            <pc:sldMk cId="3980989934" sldId="263"/>
            <ac:picMk id="25" creationId="{0DD4C43A-CAF2-2783-AAB9-C685C6A8CFB3}"/>
          </ac:picMkLst>
        </pc:picChg>
        <pc:picChg chg="mod">
          <ac:chgData name="Joelle Brehm" userId="a518f54c-6985-42c0-8041-2bb16a414839" providerId="ADAL" clId="{11F4A39F-1802-4DA4-AB6C-561BDA6399D2}" dt="2023-07-05T16:18:46.251" v="10753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11F4A39F-1802-4DA4-AB6C-561BDA6399D2}" dt="2023-07-06T19:00:23.113" v="60859"/>
        <pc:sldMkLst>
          <pc:docMk/>
          <pc:sldMk cId="1450446987" sldId="264"/>
        </pc:sldMkLst>
        <pc:spChg chg="add del mod ord">
          <ac:chgData name="Joelle Brehm" userId="a518f54c-6985-42c0-8041-2bb16a414839" providerId="ADAL" clId="{11F4A39F-1802-4DA4-AB6C-561BDA6399D2}" dt="2023-07-06T18:57:59.414" v="57896" actId="478"/>
          <ac:spMkLst>
            <pc:docMk/>
            <pc:sldMk cId="1450446987" sldId="264"/>
            <ac:spMk id="2" creationId="{AA44A687-E654-A13C-8A46-B6706DF116A1}"/>
          </ac:spMkLst>
        </pc:spChg>
        <pc:spChg chg="mod ord">
          <ac:chgData name="Joelle Brehm" userId="a518f54c-6985-42c0-8041-2bb16a414839" providerId="ADAL" clId="{11F4A39F-1802-4DA4-AB6C-561BDA6399D2}" dt="2023-07-06T19:00:23.026" v="60718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11F4A39F-1802-4DA4-AB6C-561BDA6399D2}" dt="2023-07-06T19:00:23.044" v="60781"/>
          <ac:spMkLst>
            <pc:docMk/>
            <pc:sldMk cId="1450446987" sldId="264"/>
            <ac:spMk id="6" creationId="{C68F5169-412D-ED3A-1A99-F1B307B865FB}"/>
          </ac:spMkLst>
        </pc:spChg>
        <pc:spChg chg="mod ord">
          <ac:chgData name="Joelle Brehm" userId="a518f54c-6985-42c0-8041-2bb16a414839" providerId="ADAL" clId="{11F4A39F-1802-4DA4-AB6C-561BDA6399D2}" dt="2023-07-06T19:00:23.058" v="60825"/>
          <ac:spMkLst>
            <pc:docMk/>
            <pc:sldMk cId="1450446987" sldId="264"/>
            <ac:spMk id="7" creationId="{E1E64566-68A0-42EC-A2FA-A382E667F65C}"/>
          </ac:spMkLst>
        </pc:spChg>
        <pc:spChg chg="add del mod modVis">
          <ac:chgData name="Joelle Brehm" userId="a518f54c-6985-42c0-8041-2bb16a414839" providerId="ADAL" clId="{11F4A39F-1802-4DA4-AB6C-561BDA6399D2}" dt="2023-07-06T18:59:41.286" v="58327"/>
          <ac:spMkLst>
            <pc:docMk/>
            <pc:sldMk cId="1450446987" sldId="264"/>
            <ac:spMk id="8" creationId="{444C96AF-71B8-9B1C-6971-36A01C09DAF6}"/>
          </ac:spMkLst>
        </pc:spChg>
        <pc:spChg chg="add del mod replST">
          <ac:chgData name="Joelle Brehm" userId="a518f54c-6985-42c0-8041-2bb16a414839" providerId="ADAL" clId="{11F4A39F-1802-4DA4-AB6C-561BDA6399D2}" dt="2023-07-06T18:59:41.594" v="58396"/>
          <ac:spMkLst>
            <pc:docMk/>
            <pc:sldMk cId="1450446987" sldId="264"/>
            <ac:spMk id="9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6T19:00:23.043" v="60778"/>
          <ac:spMkLst>
            <pc:docMk/>
            <pc:sldMk cId="1450446987" sldId="264"/>
            <ac:spMk id="10" creationId="{0B5A57DD-7EDA-25CF-0BB0-3E0418CFBDB6}"/>
          </ac:spMkLst>
        </pc:spChg>
        <pc:spChg chg="mod">
          <ac:chgData name="Joelle Brehm" userId="a518f54c-6985-42c0-8041-2bb16a414839" providerId="ADAL" clId="{11F4A39F-1802-4DA4-AB6C-561BDA6399D2}" dt="2023-07-06T19:00:23.049" v="60794"/>
          <ac:spMkLst>
            <pc:docMk/>
            <pc:sldMk cId="1450446987" sldId="264"/>
            <ac:spMk id="11" creationId="{A6526291-8335-68F9-3992-BACCF85E017D}"/>
          </ac:spMkLst>
        </pc:spChg>
        <pc:spChg chg="mod">
          <ac:chgData name="Joelle Brehm" userId="a518f54c-6985-42c0-8041-2bb16a414839" providerId="ADAL" clId="{11F4A39F-1802-4DA4-AB6C-561BDA6399D2}" dt="2023-07-06T19:00:23.047" v="60789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11F4A39F-1802-4DA4-AB6C-561BDA6399D2}" dt="2023-07-06T19:00:23.044" v="60783"/>
          <ac:spMkLst>
            <pc:docMk/>
            <pc:sldMk cId="1450446987" sldId="264"/>
            <ac:spMk id="13" creationId="{ADECDCFA-1E1B-DA79-857B-6C2FA278DB11}"/>
          </ac:spMkLst>
        </pc:spChg>
        <pc:spChg chg="add del mod modVis">
          <ac:chgData name="Joelle Brehm" userId="a518f54c-6985-42c0-8041-2bb16a414839" providerId="ADAL" clId="{11F4A39F-1802-4DA4-AB6C-561BDA6399D2}" dt="2023-07-05T16:12:17.295" v="7015"/>
          <ac:spMkLst>
            <pc:docMk/>
            <pc:sldMk cId="1450446987" sldId="264"/>
            <ac:spMk id="14" creationId="{13C3F6AE-5DA2-03D8-66E6-C6BA205F0B3A}"/>
          </ac:spMkLst>
        </pc:spChg>
        <pc:spChg chg="mod">
          <ac:chgData name="Joelle Brehm" userId="a518f54c-6985-42c0-8041-2bb16a414839" providerId="ADAL" clId="{11F4A39F-1802-4DA4-AB6C-561BDA6399D2}" dt="2023-07-06T19:00:23.030" v="60731"/>
          <ac:spMkLst>
            <pc:docMk/>
            <pc:sldMk cId="1450446987" sldId="264"/>
            <ac:spMk id="15" creationId="{5B084CC3-E175-D9CA-87E6-954E2FBF59B5}"/>
          </ac:spMkLst>
        </pc:spChg>
        <pc:spChg chg="mod ord">
          <ac:chgData name="Joelle Brehm" userId="a518f54c-6985-42c0-8041-2bb16a414839" providerId="ADAL" clId="{11F4A39F-1802-4DA4-AB6C-561BDA6399D2}" dt="2023-07-06T19:00:23.057" v="60823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11F4A39F-1802-4DA4-AB6C-561BDA6399D2}" dt="2023-07-06T19:00:23.049" v="60795"/>
          <ac:spMkLst>
            <pc:docMk/>
            <pc:sldMk cId="1450446987" sldId="264"/>
            <ac:spMk id="17" creationId="{9F3E8293-6A80-77D9-FC6A-6EEAEB0893E2}"/>
          </ac:spMkLst>
        </pc:spChg>
        <pc:spChg chg="mod">
          <ac:chgData name="Joelle Brehm" userId="a518f54c-6985-42c0-8041-2bb16a414839" providerId="ADAL" clId="{11F4A39F-1802-4DA4-AB6C-561BDA6399D2}" dt="2023-07-06T19:00:23.062" v="60841"/>
          <ac:spMkLst>
            <pc:docMk/>
            <pc:sldMk cId="1450446987" sldId="264"/>
            <ac:spMk id="18" creationId="{7CE63A35-6A90-6D8B-CF40-7241933EF0EF}"/>
          </ac:spMkLst>
        </pc:spChg>
        <pc:spChg chg="mod">
          <ac:chgData name="Joelle Brehm" userId="a518f54c-6985-42c0-8041-2bb16a414839" providerId="ADAL" clId="{11F4A39F-1802-4DA4-AB6C-561BDA6399D2}" dt="2023-07-06T19:00:23.032" v="60739"/>
          <ac:spMkLst>
            <pc:docMk/>
            <pc:sldMk cId="1450446987" sldId="264"/>
            <ac:spMk id="19" creationId="{609141C7-071C-280D-1E22-F588C79AA2D4}"/>
          </ac:spMkLst>
        </pc:spChg>
        <pc:spChg chg="mod">
          <ac:chgData name="Joelle Brehm" userId="a518f54c-6985-42c0-8041-2bb16a414839" providerId="ADAL" clId="{11F4A39F-1802-4DA4-AB6C-561BDA6399D2}" dt="2023-07-06T19:00:23.049" v="60796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11F4A39F-1802-4DA4-AB6C-561BDA6399D2}" dt="2023-07-06T19:00:23.045" v="60784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11F4A39F-1802-4DA4-AB6C-561BDA6399D2}" dt="2023-07-06T19:00:23.064" v="60848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11F4A39F-1802-4DA4-AB6C-561BDA6399D2}" dt="2023-07-06T19:00:23.036" v="60752"/>
          <ac:spMkLst>
            <pc:docMk/>
            <pc:sldMk cId="1450446987" sldId="264"/>
            <ac:spMk id="23" creationId="{1C8A8CD9-592C-1226-E7D9-8A782BAF6ADF}"/>
          </ac:spMkLst>
        </pc:spChg>
        <pc:spChg chg="mod">
          <ac:chgData name="Joelle Brehm" userId="a518f54c-6985-42c0-8041-2bb16a414839" providerId="ADAL" clId="{11F4A39F-1802-4DA4-AB6C-561BDA6399D2}" dt="2023-07-06T19:00:23.030" v="60733"/>
          <ac:spMkLst>
            <pc:docMk/>
            <pc:sldMk cId="1450446987" sldId="264"/>
            <ac:spMk id="24" creationId="{033E07CF-73C8-D4DB-8DB3-DC68E9322327}"/>
          </ac:spMkLst>
        </pc:spChg>
        <pc:spChg chg="mod">
          <ac:chgData name="Joelle Brehm" userId="a518f54c-6985-42c0-8041-2bb16a414839" providerId="ADAL" clId="{11F4A39F-1802-4DA4-AB6C-561BDA6399D2}" dt="2023-07-06T19:00:23.047" v="60790"/>
          <ac:spMkLst>
            <pc:docMk/>
            <pc:sldMk cId="1450446987" sldId="264"/>
            <ac:spMk id="25" creationId="{DDCB9CFD-6336-9FEE-8109-046E7B1EDE09}"/>
          </ac:spMkLst>
        </pc:spChg>
        <pc:spChg chg="mod">
          <ac:chgData name="Joelle Brehm" userId="a518f54c-6985-42c0-8041-2bb16a414839" providerId="ADAL" clId="{11F4A39F-1802-4DA4-AB6C-561BDA6399D2}" dt="2023-07-06T19:00:23.040" v="60767"/>
          <ac:spMkLst>
            <pc:docMk/>
            <pc:sldMk cId="1450446987" sldId="264"/>
            <ac:spMk id="26" creationId="{CF9D487A-C1AA-6A8A-6FDD-D507F2BA7550}"/>
          </ac:spMkLst>
        </pc:spChg>
        <pc:spChg chg="mod">
          <ac:chgData name="Joelle Brehm" userId="a518f54c-6985-42c0-8041-2bb16a414839" providerId="ADAL" clId="{11F4A39F-1802-4DA4-AB6C-561BDA6399D2}" dt="2023-07-06T19:00:23.045" v="60786"/>
          <ac:spMkLst>
            <pc:docMk/>
            <pc:sldMk cId="1450446987" sldId="264"/>
            <ac:spMk id="27" creationId="{7F5EB4C1-D71D-BF03-066C-3EB62DE130E1}"/>
          </ac:spMkLst>
        </pc:spChg>
        <pc:spChg chg="mod">
          <ac:chgData name="Joelle Brehm" userId="a518f54c-6985-42c0-8041-2bb16a414839" providerId="ADAL" clId="{11F4A39F-1802-4DA4-AB6C-561BDA6399D2}" dt="2023-07-06T19:00:23.032" v="60740"/>
          <ac:spMkLst>
            <pc:docMk/>
            <pc:sldMk cId="1450446987" sldId="264"/>
            <ac:spMk id="28" creationId="{CCA5008F-57EC-C24D-08AD-B7F154B6F4E7}"/>
          </ac:spMkLst>
        </pc:spChg>
        <pc:spChg chg="mod">
          <ac:chgData name="Joelle Brehm" userId="a518f54c-6985-42c0-8041-2bb16a414839" providerId="ADAL" clId="{11F4A39F-1802-4DA4-AB6C-561BDA6399D2}" dt="2023-07-06T19:00:23.029" v="60728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11F4A39F-1802-4DA4-AB6C-561BDA6399D2}" dt="2023-07-06T19:00:23.050" v="60797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11F4A39F-1802-4DA4-AB6C-561BDA6399D2}" dt="2023-07-06T19:00:23.048" v="60791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11F4A39F-1802-4DA4-AB6C-561BDA6399D2}" dt="2023-07-06T19:00:23.033" v="60741"/>
          <ac:spMkLst>
            <pc:docMk/>
            <pc:sldMk cId="1450446987" sldId="264"/>
            <ac:spMk id="32" creationId="{AA10C851-A6B4-C67A-2815-80E945AB6CF4}"/>
          </ac:spMkLst>
        </pc:spChg>
        <pc:spChg chg="mod">
          <ac:chgData name="Joelle Brehm" userId="a518f54c-6985-42c0-8041-2bb16a414839" providerId="ADAL" clId="{11F4A39F-1802-4DA4-AB6C-561BDA6399D2}" dt="2023-07-06T19:00:23.054" v="60813"/>
          <ac:spMkLst>
            <pc:docMk/>
            <pc:sldMk cId="1450446987" sldId="264"/>
            <ac:spMk id="33" creationId="{0B94E95E-1FDC-4AF3-0124-1E50049ED65B}"/>
          </ac:spMkLst>
        </pc:spChg>
        <pc:spChg chg="mod">
          <ac:chgData name="Joelle Brehm" userId="a518f54c-6985-42c0-8041-2bb16a414839" providerId="ADAL" clId="{11F4A39F-1802-4DA4-AB6C-561BDA6399D2}" dt="2023-07-06T19:00:23.051" v="60799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11F4A39F-1802-4DA4-AB6C-561BDA6399D2}" dt="2023-07-06T19:00:23.050" v="60798"/>
          <ac:spMkLst>
            <pc:docMk/>
            <pc:sldMk cId="1450446987" sldId="264"/>
            <ac:spMk id="35" creationId="{693A4766-C773-96C2-36A2-80D63FCE1E41}"/>
          </ac:spMkLst>
        </pc:spChg>
        <pc:spChg chg="mod">
          <ac:chgData name="Joelle Brehm" userId="a518f54c-6985-42c0-8041-2bb16a414839" providerId="ADAL" clId="{11F4A39F-1802-4DA4-AB6C-561BDA6399D2}" dt="2023-07-06T19:00:23.045" v="60785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11F4A39F-1802-4DA4-AB6C-561BDA6399D2}" dt="2023-07-06T19:00:23.044" v="60782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11F4A39F-1802-4DA4-AB6C-561BDA6399D2}" dt="2023-07-06T19:00:23.028" v="60725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11F4A39F-1802-4DA4-AB6C-561BDA6399D2}" dt="2023-07-06T19:00:23.046" v="60788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11F4A39F-1802-4DA4-AB6C-561BDA6399D2}" dt="2023-07-06T19:00:23.041" v="60769"/>
          <ac:spMkLst>
            <pc:docMk/>
            <pc:sldMk cId="1450446987" sldId="264"/>
            <ac:spMk id="41" creationId="{17283985-5541-D643-07F1-12A6C1BB03BE}"/>
          </ac:spMkLst>
        </pc:spChg>
        <pc:spChg chg="add mod replST">
          <ac:chgData name="Joelle Brehm" userId="a518f54c-6985-42c0-8041-2bb16a414839" providerId="ADAL" clId="{11F4A39F-1802-4DA4-AB6C-561BDA6399D2}" dt="2023-07-06T19:00:23.048" v="60792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11F4A39F-1802-4DA4-AB6C-561BDA6399D2}" dt="2023-07-06T19:00:23.031" v="60735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11F4A39F-1802-4DA4-AB6C-561BDA6399D2}" dt="2023-07-06T19:00:23.033" v="60744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11F4A39F-1802-4DA4-AB6C-561BDA6399D2}" dt="2023-07-06T19:00:23.043" v="60777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11F4A39F-1802-4DA4-AB6C-561BDA6399D2}" dt="2023-07-06T19:00:23.028" v="60726"/>
          <ac:spMkLst>
            <pc:docMk/>
            <pc:sldMk cId="1450446987" sldId="264"/>
            <ac:spMk id="46" creationId="{42ABD060-FEE1-EDE0-E99B-69A399E6BFE4}"/>
          </ac:spMkLst>
        </pc:spChg>
        <pc:spChg chg="add del mod modVis">
          <ac:chgData name="Joelle Brehm" userId="a518f54c-6985-42c0-8041-2bb16a414839" providerId="ADAL" clId="{11F4A39F-1802-4DA4-AB6C-561BDA6399D2}" dt="2023-07-06T18:59:41.661" v="58550"/>
          <ac:spMkLst>
            <pc:docMk/>
            <pc:sldMk cId="1450446987" sldId="264"/>
            <ac:spMk id="47" creationId="{632D79E1-1964-6BAD-F3DA-59189FE58DA4}"/>
          </ac:spMkLst>
        </pc:spChg>
        <pc:spChg chg="add del mod modVis">
          <ac:chgData name="Joelle Brehm" userId="a518f54c-6985-42c0-8041-2bb16a414839" providerId="ADAL" clId="{11F4A39F-1802-4DA4-AB6C-561BDA6399D2}" dt="2023-07-05T16:13:03.991" v="7357"/>
          <ac:spMkLst>
            <pc:docMk/>
            <pc:sldMk cId="1450446987" sldId="264"/>
            <ac:spMk id="47" creationId="{7D8716B4-6C51-2D1E-AE8F-47A4E424810D}"/>
          </ac:spMkLst>
        </pc:spChg>
        <pc:spChg chg="mod">
          <ac:chgData name="Joelle Brehm" userId="a518f54c-6985-42c0-8041-2bb16a414839" providerId="ADAL" clId="{11F4A39F-1802-4DA4-AB6C-561BDA6399D2}" dt="2023-07-06T19:00:23.043" v="60779"/>
          <ac:spMkLst>
            <pc:docMk/>
            <pc:sldMk cId="1450446987" sldId="264"/>
            <ac:spMk id="48" creationId="{DBF6EA08-CAF4-86D2-F9E1-E4CF8AFC464F}"/>
          </ac:spMkLst>
        </pc:spChg>
        <pc:spChg chg="mod">
          <ac:chgData name="Joelle Brehm" userId="a518f54c-6985-42c0-8041-2bb16a414839" providerId="ADAL" clId="{11F4A39F-1802-4DA4-AB6C-561BDA6399D2}" dt="2023-07-06T19:00:23.033" v="60742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11F4A39F-1802-4DA4-AB6C-561BDA6399D2}" dt="2023-07-06T19:00:23.062" v="60840"/>
          <ac:spMkLst>
            <pc:docMk/>
            <pc:sldMk cId="1450446987" sldId="264"/>
            <ac:spMk id="52" creationId="{35E94CE7-373A-9E4A-3654-13C7C305FD02}"/>
          </ac:spMkLst>
        </pc:spChg>
        <pc:spChg chg="mod">
          <ac:chgData name="Joelle Brehm" userId="a518f54c-6985-42c0-8041-2bb16a414839" providerId="ADAL" clId="{11F4A39F-1802-4DA4-AB6C-561BDA6399D2}" dt="2023-07-06T19:00:23.046" v="60787"/>
          <ac:spMkLst>
            <pc:docMk/>
            <pc:sldMk cId="1450446987" sldId="264"/>
            <ac:spMk id="53" creationId="{07583A85-3A1C-05BF-197B-FC4414C47FD4}"/>
          </ac:spMkLst>
        </pc:spChg>
        <pc:spChg chg="mod">
          <ac:chgData name="Joelle Brehm" userId="a518f54c-6985-42c0-8041-2bb16a414839" providerId="ADAL" clId="{11F4A39F-1802-4DA4-AB6C-561BDA6399D2}" dt="2023-07-06T19:00:23.034" v="60747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11F4A39F-1802-4DA4-AB6C-561BDA6399D2}" dt="2023-07-06T19:00:23.030" v="60732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11F4A39F-1802-4DA4-AB6C-561BDA6399D2}" dt="2023-07-06T19:00:23.062" v="60842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11F4A39F-1802-4DA4-AB6C-561BDA6399D2}" dt="2023-07-06T19:00:23.031" v="60734"/>
          <ac:spMkLst>
            <pc:docMk/>
            <pc:sldMk cId="1450446987" sldId="264"/>
            <ac:spMk id="57" creationId="{691D1289-3B15-0AD2-5838-E87715C40325}"/>
          </ac:spMkLst>
        </pc:spChg>
        <pc:spChg chg="del mod">
          <ac:chgData name="Joelle Brehm" userId="a518f54c-6985-42c0-8041-2bb16a414839" providerId="ADAL" clId="{11F4A39F-1802-4DA4-AB6C-561BDA6399D2}" dt="2023-07-06T19:00:09.936" v="59727"/>
          <ac:spMkLst>
            <pc:docMk/>
            <pc:sldMk cId="1450446987" sldId="264"/>
            <ac:spMk id="58" creationId="{89BF1F7A-55A8-FB33-7AAA-AA43F796D8AC}"/>
          </ac:spMkLst>
        </pc:spChg>
        <pc:spChg chg="mod">
          <ac:chgData name="Joelle Brehm" userId="a518f54c-6985-42c0-8041-2bb16a414839" providerId="ADAL" clId="{11F4A39F-1802-4DA4-AB6C-561BDA6399D2}" dt="2023-07-06T19:00:23.031" v="60736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11F4A39F-1802-4DA4-AB6C-561BDA6399D2}" dt="2023-07-06T19:00:23.052" v="60802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11F4A39F-1802-4DA4-AB6C-561BDA6399D2}" dt="2023-07-06T19:00:23.052" v="60804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11F4A39F-1802-4DA4-AB6C-561BDA6399D2}" dt="2023-07-06T19:00:23.053" v="60806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11F4A39F-1802-4DA4-AB6C-561BDA6399D2}" dt="2023-07-06T19:00:23.037" v="60758"/>
          <ac:spMkLst>
            <pc:docMk/>
            <pc:sldMk cId="1450446987" sldId="264"/>
            <ac:spMk id="63" creationId="{09FCBDA2-2BA1-FD0B-C70E-29EBF0B27C7B}"/>
          </ac:spMkLst>
        </pc:spChg>
        <pc:spChg chg="add mod replST">
          <ac:chgData name="Joelle Brehm" userId="a518f54c-6985-42c0-8041-2bb16a414839" providerId="ADAL" clId="{11F4A39F-1802-4DA4-AB6C-561BDA6399D2}" dt="2023-07-06T19:00:23.051" v="60800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11F4A39F-1802-4DA4-AB6C-561BDA6399D2}" dt="2023-07-06T19:00:23.034" v="60745"/>
          <ac:spMkLst>
            <pc:docMk/>
            <pc:sldMk cId="1450446987" sldId="264"/>
            <ac:spMk id="65" creationId="{3157109A-3120-04A6-D693-60F57F766A08}"/>
          </ac:spMkLst>
        </pc:spChg>
        <pc:spChg chg="mod">
          <ac:chgData name="Joelle Brehm" userId="a518f54c-6985-42c0-8041-2bb16a414839" providerId="ADAL" clId="{11F4A39F-1802-4DA4-AB6C-561BDA6399D2}" dt="2023-07-06T19:00:23.028" v="60727"/>
          <ac:spMkLst>
            <pc:docMk/>
            <pc:sldMk cId="1450446987" sldId="264"/>
            <ac:spMk id="66" creationId="{716B7597-758E-617A-BFDD-E998C7101D5B}"/>
          </ac:spMkLst>
        </pc:spChg>
        <pc:spChg chg="mod">
          <ac:chgData name="Joelle Brehm" userId="a518f54c-6985-42c0-8041-2bb16a414839" providerId="ADAL" clId="{11F4A39F-1802-4DA4-AB6C-561BDA6399D2}" dt="2023-07-06T19:00:23.041" v="60771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11F4A39F-1802-4DA4-AB6C-561BDA6399D2}" dt="2023-07-06T19:00:23.034" v="60746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11F4A39F-1802-4DA4-AB6C-561BDA6399D2}" dt="2023-07-06T19:00:23.063" v="60845"/>
          <ac:spMkLst>
            <pc:docMk/>
            <pc:sldMk cId="1450446987" sldId="264"/>
            <ac:spMk id="69" creationId="{DE2291CF-E337-7DDA-5968-40B109D88D57}"/>
          </ac:spMkLst>
        </pc:spChg>
        <pc:spChg chg="mod">
          <ac:chgData name="Joelle Brehm" userId="a518f54c-6985-42c0-8041-2bb16a414839" providerId="ADAL" clId="{11F4A39F-1802-4DA4-AB6C-561BDA6399D2}" dt="2023-07-06T19:00:23.029" v="60729"/>
          <ac:spMkLst>
            <pc:docMk/>
            <pc:sldMk cId="1450446987" sldId="264"/>
            <ac:spMk id="70" creationId="{5BDC691D-C8E2-B27A-3AB8-2FC6A54A898E}"/>
          </ac:spMkLst>
        </pc:spChg>
        <pc:spChg chg="add del mod modVis">
          <ac:chgData name="Joelle Brehm" userId="a518f54c-6985-42c0-8041-2bb16a414839" providerId="ADAL" clId="{11F4A39F-1802-4DA4-AB6C-561BDA6399D2}" dt="2023-07-06T18:59:55.842" v="59031"/>
          <ac:spMkLst>
            <pc:docMk/>
            <pc:sldMk cId="1450446987" sldId="264"/>
            <ac:spMk id="71" creationId="{4F40DD60-7FCC-2A24-E992-4D1672551CD9}"/>
          </ac:spMkLst>
        </pc:spChg>
        <pc:spChg chg="add del mod modVis">
          <ac:chgData name="Joelle Brehm" userId="a518f54c-6985-42c0-8041-2bb16a414839" providerId="ADAL" clId="{11F4A39F-1802-4DA4-AB6C-561BDA6399D2}" dt="2023-07-05T16:13:07.710" v="7633"/>
          <ac:spMkLst>
            <pc:docMk/>
            <pc:sldMk cId="1450446987" sldId="264"/>
            <ac:spMk id="71" creationId="{63BFF5D4-5A02-6FE7-C42D-034BCD0646F4}"/>
          </ac:spMkLst>
        </pc:spChg>
        <pc:spChg chg="add del mod replST">
          <ac:chgData name="Joelle Brehm" userId="a518f54c-6985-42c0-8041-2bb16a414839" providerId="ADAL" clId="{11F4A39F-1802-4DA4-AB6C-561BDA6399D2}" dt="2023-07-06T18:59:56.552" v="59103"/>
          <ac:spMkLst>
            <pc:docMk/>
            <pc:sldMk cId="1450446987" sldId="264"/>
            <ac:spMk id="7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6T19:00:23.038" v="60761"/>
          <ac:spMkLst>
            <pc:docMk/>
            <pc:sldMk cId="1450446987" sldId="264"/>
            <ac:spMk id="73" creationId="{9222FB5E-7628-BAAE-A4E4-E9F13F9B74EE}"/>
          </ac:spMkLst>
        </pc:spChg>
        <pc:spChg chg="mod">
          <ac:chgData name="Joelle Brehm" userId="a518f54c-6985-42c0-8041-2bb16a414839" providerId="ADAL" clId="{11F4A39F-1802-4DA4-AB6C-561BDA6399D2}" dt="2023-07-06T19:00:23.035" v="60751"/>
          <ac:spMkLst>
            <pc:docMk/>
            <pc:sldMk cId="1450446987" sldId="264"/>
            <ac:spMk id="74" creationId="{F958F86A-808B-E798-783E-1A1F613E0728}"/>
          </ac:spMkLst>
        </pc:spChg>
        <pc:spChg chg="mod">
          <ac:chgData name="Joelle Brehm" userId="a518f54c-6985-42c0-8041-2bb16a414839" providerId="ADAL" clId="{11F4A39F-1802-4DA4-AB6C-561BDA6399D2}" dt="2023-07-06T19:00:23.036" v="60754"/>
          <ac:spMkLst>
            <pc:docMk/>
            <pc:sldMk cId="1450446987" sldId="264"/>
            <ac:spMk id="75" creationId="{13410235-2E0C-20D9-B17D-8C7B02B22762}"/>
          </ac:spMkLst>
        </pc:spChg>
        <pc:spChg chg="mod">
          <ac:chgData name="Joelle Brehm" userId="a518f54c-6985-42c0-8041-2bb16a414839" providerId="ADAL" clId="{11F4A39F-1802-4DA4-AB6C-561BDA6399D2}" dt="2023-07-06T19:00:23.033" v="60743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11F4A39F-1802-4DA4-AB6C-561BDA6399D2}" dt="2023-07-06T19:00:23.055" v="60815"/>
          <ac:spMkLst>
            <pc:docMk/>
            <pc:sldMk cId="1450446987" sldId="264"/>
            <ac:spMk id="77" creationId="{60F97E40-1529-395D-816D-8834F0F881FD}"/>
          </ac:spMkLst>
        </pc:spChg>
        <pc:spChg chg="mod">
          <ac:chgData name="Joelle Brehm" userId="a518f54c-6985-42c0-8041-2bb16a414839" providerId="ADAL" clId="{11F4A39F-1802-4DA4-AB6C-561BDA6399D2}" dt="2023-07-06T19:00:23.037" v="60757"/>
          <ac:spMkLst>
            <pc:docMk/>
            <pc:sldMk cId="1450446987" sldId="264"/>
            <ac:spMk id="78" creationId="{CC7AB43F-0280-E74F-A136-01BBACF44D65}"/>
          </ac:spMkLst>
        </pc:spChg>
        <pc:spChg chg="mod">
          <ac:chgData name="Joelle Brehm" userId="a518f54c-6985-42c0-8041-2bb16a414839" providerId="ADAL" clId="{11F4A39F-1802-4DA4-AB6C-561BDA6399D2}" dt="2023-07-06T19:00:23.040" v="60768"/>
          <ac:spMkLst>
            <pc:docMk/>
            <pc:sldMk cId="1450446987" sldId="264"/>
            <ac:spMk id="79" creationId="{7839083A-6222-21DF-942E-D412CB0A038D}"/>
          </ac:spMkLst>
        </pc:spChg>
        <pc:spChg chg="mod">
          <ac:chgData name="Joelle Brehm" userId="a518f54c-6985-42c0-8041-2bb16a414839" providerId="ADAL" clId="{11F4A39F-1802-4DA4-AB6C-561BDA6399D2}" dt="2023-07-06T19:00:23.065" v="60850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11F4A39F-1802-4DA4-AB6C-561BDA6399D2}" dt="2023-07-06T19:00:23.039" v="60762"/>
          <ac:spMkLst>
            <pc:docMk/>
            <pc:sldMk cId="1450446987" sldId="264"/>
            <ac:spMk id="81" creationId="{6F4C96C8-F30F-B7F9-162B-D0B13BC90C2B}"/>
          </ac:spMkLst>
        </pc:spChg>
        <pc:spChg chg="mod">
          <ac:chgData name="Joelle Brehm" userId="a518f54c-6985-42c0-8041-2bb16a414839" providerId="ADAL" clId="{11F4A39F-1802-4DA4-AB6C-561BDA6399D2}" dt="2023-07-06T19:00:23.056" v="60818"/>
          <ac:spMkLst>
            <pc:docMk/>
            <pc:sldMk cId="1450446987" sldId="264"/>
            <ac:spMk id="82" creationId="{47495649-1334-BE38-2A0B-39662035FACE}"/>
          </ac:spMkLst>
        </pc:spChg>
        <pc:spChg chg="mod">
          <ac:chgData name="Joelle Brehm" userId="a518f54c-6985-42c0-8041-2bb16a414839" providerId="ADAL" clId="{11F4A39F-1802-4DA4-AB6C-561BDA6399D2}" dt="2023-07-06T19:00:23.063" v="60843"/>
          <ac:spMkLst>
            <pc:docMk/>
            <pc:sldMk cId="1450446987" sldId="264"/>
            <ac:spMk id="84" creationId="{C6FD14B3-2B6F-F354-0055-5C4DEDC0FDA2}"/>
          </ac:spMkLst>
        </pc:spChg>
        <pc:spChg chg="add mod replST">
          <ac:chgData name="Joelle Brehm" userId="a518f54c-6985-42c0-8041-2bb16a414839" providerId="ADAL" clId="{11F4A39F-1802-4DA4-AB6C-561BDA6399D2}" dt="2023-07-06T19:00:23.031" v="60737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11F4A39F-1802-4DA4-AB6C-561BDA6399D2}" dt="2023-07-06T19:00:23.039" v="60765"/>
          <ac:spMkLst>
            <pc:docMk/>
            <pc:sldMk cId="1450446987" sldId="264"/>
            <ac:spMk id="86" creationId="{8755EB97-A2D7-E12E-1034-20F2D9D1D86D}"/>
          </ac:spMkLst>
        </pc:spChg>
        <pc:spChg chg="add del mod modVis">
          <ac:chgData name="Joelle Brehm" userId="a518f54c-6985-42c0-8041-2bb16a414839" providerId="ADAL" clId="{11F4A39F-1802-4DA4-AB6C-561BDA6399D2}" dt="2023-07-05T16:13:15.603" v="8158"/>
          <ac:spMkLst>
            <pc:docMk/>
            <pc:sldMk cId="1450446987" sldId="264"/>
            <ac:spMk id="87" creationId="{977491BF-3EB0-086D-48BD-46EB75F938BC}"/>
          </ac:spMkLst>
        </pc:spChg>
        <pc:spChg chg="add del mod modVis">
          <ac:chgData name="Joelle Brehm" userId="a518f54c-6985-42c0-8041-2bb16a414839" providerId="ADAL" clId="{11F4A39F-1802-4DA4-AB6C-561BDA6399D2}" dt="2023-07-06T18:59:56.627" v="59256"/>
          <ac:spMkLst>
            <pc:docMk/>
            <pc:sldMk cId="1450446987" sldId="264"/>
            <ac:spMk id="88" creationId="{5FC4518F-88D0-1326-17A3-45ED4E9C2B01}"/>
          </ac:spMkLst>
        </pc:spChg>
        <pc:spChg chg="mod">
          <ac:chgData name="Joelle Brehm" userId="a518f54c-6985-42c0-8041-2bb16a414839" providerId="ADAL" clId="{11F4A39F-1802-4DA4-AB6C-561BDA6399D2}" dt="2023-07-06T19:00:23.064" v="60849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11F4A39F-1802-4DA4-AB6C-561BDA6399D2}" dt="2023-07-06T19:00:23.041" v="60772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11F4A39F-1802-4DA4-AB6C-561BDA6399D2}" dt="2023-07-06T19:00:23.063" v="60846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11F4A39F-1802-4DA4-AB6C-561BDA6399D2}" dt="2023-07-06T19:00:23.061" v="60837"/>
          <ac:spMkLst>
            <pc:docMk/>
            <pc:sldMk cId="1450446987" sldId="264"/>
            <ac:spMk id="93" creationId="{E3535E8F-2FE1-602D-1DEE-9C3D3425F046}"/>
          </ac:spMkLst>
        </pc:spChg>
        <pc:spChg chg="del mod">
          <ac:chgData name="Joelle Brehm" userId="a518f54c-6985-42c0-8041-2bb16a414839" providerId="ADAL" clId="{11F4A39F-1802-4DA4-AB6C-561BDA6399D2}" dt="2023-07-06T18:59:47.489" v="58553"/>
          <ac:spMkLst>
            <pc:docMk/>
            <pc:sldMk cId="1450446987" sldId="264"/>
            <ac:spMk id="94" creationId="{8C809B8E-62D5-1F87-D2E3-8D3241CF3F73}"/>
          </ac:spMkLst>
        </pc:spChg>
        <pc:spChg chg="add mod replST">
          <ac:chgData name="Joelle Brehm" userId="a518f54c-6985-42c0-8041-2bb16a414839" providerId="ADAL" clId="{11F4A39F-1802-4DA4-AB6C-561BDA6399D2}" dt="2023-07-06T19:00:23.035" v="60748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11F4A39F-1802-4DA4-AB6C-561BDA6399D2}" dt="2023-07-06T19:00:23.053" v="60808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11F4A39F-1802-4DA4-AB6C-561BDA6399D2}" dt="2023-07-06T19:00:23.053" v="60810"/>
          <ac:spMkLst>
            <pc:docMk/>
            <pc:sldMk cId="1450446987" sldId="264"/>
            <ac:spMk id="97" creationId="{64B2B8D7-E8A8-4757-99A4-69F1EAA48321}"/>
          </ac:spMkLst>
        </pc:spChg>
        <pc:spChg chg="add del mod modVis">
          <ac:chgData name="Joelle Brehm" userId="a518f54c-6985-42c0-8041-2bb16a414839" providerId="ADAL" clId="{11F4A39F-1802-4DA4-AB6C-561BDA6399D2}" dt="2023-07-05T16:13:22.303" v="8410"/>
          <ac:spMkLst>
            <pc:docMk/>
            <pc:sldMk cId="1450446987" sldId="264"/>
            <ac:spMk id="98" creationId="{16AD1411-38CF-6155-1E0B-E24BD274226E}"/>
          </ac:spMkLst>
        </pc:spChg>
        <pc:spChg chg="mod">
          <ac:chgData name="Joelle Brehm" userId="a518f54c-6985-42c0-8041-2bb16a414839" providerId="ADAL" clId="{11F4A39F-1802-4DA4-AB6C-561BDA6399D2}" dt="2023-07-06T19:00:23.065" v="60851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11F4A39F-1802-4DA4-AB6C-561BDA6399D2}" dt="2023-07-06T19:00:03.488" v="59724"/>
          <ac:spMkLst>
            <pc:docMk/>
            <pc:sldMk cId="1450446987" sldId="264"/>
            <ac:spMk id="100" creationId="{94888B65-65C0-4766-DC00-5E877D94CCDB}"/>
          </ac:spMkLst>
        </pc:spChg>
        <pc:spChg chg="mod">
          <ac:chgData name="Joelle Brehm" userId="a518f54c-6985-42c0-8041-2bb16a414839" providerId="ADAL" clId="{11F4A39F-1802-4DA4-AB6C-561BDA6399D2}" dt="2023-07-06T19:00:23.044" v="60780"/>
          <ac:spMkLst>
            <pc:docMk/>
            <pc:sldMk cId="1450446987" sldId="264"/>
            <ac:spMk id="102" creationId="{D01E11A6-CF9D-DEED-2CEC-6D0A4A368A39}"/>
          </ac:spMkLst>
        </pc:spChg>
        <pc:spChg chg="mod">
          <ac:chgData name="Joelle Brehm" userId="a518f54c-6985-42c0-8041-2bb16a414839" providerId="ADAL" clId="{11F4A39F-1802-4DA4-AB6C-561BDA6399D2}" dt="2023-07-06T19:00:23.048" v="60793"/>
          <ac:spMkLst>
            <pc:docMk/>
            <pc:sldMk cId="1450446987" sldId="264"/>
            <ac:spMk id="103" creationId="{387E2E26-D12F-7AF0-9A22-25AAA09DD6F2}"/>
          </ac:spMkLst>
        </pc:spChg>
        <pc:spChg chg="mod">
          <ac:chgData name="Joelle Brehm" userId="a518f54c-6985-42c0-8041-2bb16a414839" providerId="ADAL" clId="{11F4A39F-1802-4DA4-AB6C-561BDA6399D2}" dt="2023-07-06T19:00:23.039" v="60763"/>
          <ac:spMkLst>
            <pc:docMk/>
            <pc:sldMk cId="1450446987" sldId="264"/>
            <ac:spMk id="104" creationId="{FEE84FEA-7BD5-C89A-81E3-D4196031D1EF}"/>
          </ac:spMkLst>
        </pc:spChg>
        <pc:spChg chg="add mod replST">
          <ac:chgData name="Joelle Brehm" userId="a518f54c-6985-42c0-8041-2bb16a414839" providerId="ADAL" clId="{11F4A39F-1802-4DA4-AB6C-561BDA6399D2}" dt="2023-07-06T19:00:23.064" v="60847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11F4A39F-1802-4DA4-AB6C-561BDA6399D2}" dt="2023-07-06T19:00:23.027" v="60720"/>
          <ac:spMkLst>
            <pc:docMk/>
            <pc:sldMk cId="1450446987" sldId="264"/>
            <ac:spMk id="106" creationId="{58013157-8B72-4777-A1DA-B9BACD5A28D4}"/>
          </ac:spMkLst>
        </pc:spChg>
        <pc:spChg chg="add mod replST">
          <ac:chgData name="Joelle Brehm" userId="a518f54c-6985-42c0-8041-2bb16a414839" providerId="ADAL" clId="{11F4A39F-1802-4DA4-AB6C-561BDA6399D2}" dt="2023-07-06T19:00:23.056" v="60819"/>
          <ac:spMkLst>
            <pc:docMk/>
            <pc:sldMk cId="1450446987" sldId="264"/>
            <ac:spMk id="10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6T19:00:23.038" v="60759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11F4A39F-1802-4DA4-AB6C-561BDA6399D2}" dt="2023-07-06T19:00:23.040" v="60766"/>
          <ac:spMkLst>
            <pc:docMk/>
            <pc:sldMk cId="1450446987" sldId="264"/>
            <ac:spMk id="109" creationId="{6190254C-63EA-3137-CA9E-EDEF286647D9}"/>
          </ac:spMkLst>
        </pc:spChg>
        <pc:spChg chg="add del mod modVis">
          <ac:chgData name="Joelle Brehm" userId="a518f54c-6985-42c0-8041-2bb16a414839" providerId="ADAL" clId="{11F4A39F-1802-4DA4-AB6C-561BDA6399D2}" dt="2023-07-05T16:13:30.141" v="8917"/>
          <ac:spMkLst>
            <pc:docMk/>
            <pc:sldMk cId="1450446987" sldId="264"/>
            <ac:spMk id="110" creationId="{2685148C-6EEC-9080-4013-7BB512EAFD34}"/>
          </ac:spMkLst>
        </pc:spChg>
        <pc:spChg chg="mod">
          <ac:chgData name="Joelle Brehm" userId="a518f54c-6985-42c0-8041-2bb16a414839" providerId="ADAL" clId="{11F4A39F-1802-4DA4-AB6C-561BDA6399D2}" dt="2023-07-06T19:00:23.057" v="60821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11F4A39F-1802-4DA4-AB6C-561BDA6399D2}" dt="2023-07-06T19:00:23.042" v="60773"/>
          <ac:spMkLst>
            <pc:docMk/>
            <pc:sldMk cId="1450446987" sldId="264"/>
            <ac:spMk id="113" creationId="{345D71C8-6CA8-CC84-D4E5-408E5C14405E}"/>
          </ac:spMkLst>
        </pc:spChg>
        <pc:spChg chg="mod">
          <ac:chgData name="Joelle Brehm" userId="a518f54c-6985-42c0-8041-2bb16a414839" providerId="ADAL" clId="{11F4A39F-1802-4DA4-AB6C-561BDA6399D2}" dt="2023-07-06T19:00:23.029" v="60730"/>
          <ac:spMkLst>
            <pc:docMk/>
            <pc:sldMk cId="1450446987" sldId="264"/>
            <ac:spMk id="114" creationId="{5B68E733-D471-6032-5D77-FB849AB2ADCF}"/>
          </ac:spMkLst>
        </pc:spChg>
        <pc:spChg chg="mod">
          <ac:chgData name="Joelle Brehm" userId="a518f54c-6985-42c0-8041-2bb16a414839" providerId="ADAL" clId="{11F4A39F-1802-4DA4-AB6C-561BDA6399D2}" dt="2023-07-06T19:00:23.059" v="60828"/>
          <ac:spMkLst>
            <pc:docMk/>
            <pc:sldMk cId="1450446987" sldId="264"/>
            <ac:spMk id="115" creationId="{F83AC835-A6EF-4A7F-8442-CDE1F97238F5}"/>
          </ac:spMkLst>
        </pc:spChg>
        <pc:spChg chg="add mod replST">
          <ac:chgData name="Joelle Brehm" userId="a518f54c-6985-42c0-8041-2bb16a414839" providerId="ADAL" clId="{11F4A39F-1802-4DA4-AB6C-561BDA6399D2}" dt="2023-07-06T19:00:23.061" v="60836"/>
          <ac:spMkLst>
            <pc:docMk/>
            <pc:sldMk cId="1450446987" sldId="264"/>
            <ac:spMk id="116" creationId="{E6B2D068-E691-A10D-15D8-F8578EFD4C29}"/>
          </ac:spMkLst>
        </pc:spChg>
        <pc:spChg chg="mod">
          <ac:chgData name="Joelle Brehm" userId="a518f54c-6985-42c0-8041-2bb16a414839" providerId="ADAL" clId="{11F4A39F-1802-4DA4-AB6C-561BDA6399D2}" dt="2023-07-06T19:00:23.058" v="60827"/>
          <ac:spMkLst>
            <pc:docMk/>
            <pc:sldMk cId="1450446987" sldId="264"/>
            <ac:spMk id="117" creationId="{CA507393-C271-461C-833F-D27183C2BAD3}"/>
          </ac:spMkLst>
        </pc:spChg>
        <pc:spChg chg="mod">
          <ac:chgData name="Joelle Brehm" userId="a518f54c-6985-42c0-8041-2bb16a414839" providerId="ADAL" clId="{11F4A39F-1802-4DA4-AB6C-561BDA6399D2}" dt="2023-07-06T19:00:23.032" v="60738"/>
          <ac:spMkLst>
            <pc:docMk/>
            <pc:sldMk cId="1450446987" sldId="264"/>
            <ac:spMk id="118" creationId="{5EDAD042-B830-C9D1-8CBE-2AF11422AA75}"/>
          </ac:spMkLst>
        </pc:spChg>
        <pc:spChg chg="add del mod modVis">
          <ac:chgData name="Joelle Brehm" userId="a518f54c-6985-42c0-8041-2bb16a414839" providerId="ADAL" clId="{11F4A39F-1802-4DA4-AB6C-561BDA6399D2}" dt="2023-07-06T19:00:17.590" v="60209"/>
          <ac:spMkLst>
            <pc:docMk/>
            <pc:sldMk cId="1450446987" sldId="264"/>
            <ac:spMk id="119" creationId="{51300469-F86F-871C-FBED-89FB5FABF58E}"/>
          </ac:spMkLst>
        </pc:spChg>
        <pc:spChg chg="add del mod modVis">
          <ac:chgData name="Joelle Brehm" userId="a518f54c-6985-42c0-8041-2bb16a414839" providerId="ADAL" clId="{11F4A39F-1802-4DA4-AB6C-561BDA6399D2}" dt="2023-07-05T16:13:33.709" v="9175"/>
          <ac:spMkLst>
            <pc:docMk/>
            <pc:sldMk cId="1450446987" sldId="264"/>
            <ac:spMk id="119" creationId="{82822F9D-CC78-67AC-2DF0-EF50219AA8F8}"/>
          </ac:spMkLst>
        </pc:spChg>
        <pc:spChg chg="add mod replST">
          <ac:chgData name="Joelle Brehm" userId="a518f54c-6985-42c0-8041-2bb16a414839" providerId="ADAL" clId="{11F4A39F-1802-4DA4-AB6C-561BDA6399D2}" dt="2023-07-06T19:00:23.057" v="60820"/>
          <ac:spMkLst>
            <pc:docMk/>
            <pc:sldMk cId="1450446987" sldId="264"/>
            <ac:spMk id="12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6T19:00:23.060" v="60833"/>
          <ac:spMkLst>
            <pc:docMk/>
            <pc:sldMk cId="1450446987" sldId="264"/>
            <ac:spMk id="121" creationId="{476A269C-5CB6-E359-9D54-D0E45330A526}"/>
          </ac:spMkLst>
        </pc:spChg>
        <pc:spChg chg="add mod replST">
          <ac:chgData name="Joelle Brehm" userId="a518f54c-6985-42c0-8041-2bb16a414839" providerId="ADAL" clId="{11F4A39F-1802-4DA4-AB6C-561BDA6399D2}" dt="2023-07-06T19:00:23.039" v="60764"/>
          <ac:spMkLst>
            <pc:docMk/>
            <pc:sldMk cId="1450446987" sldId="264"/>
            <ac:spMk id="124" creationId="{E29C0612-0AFE-B996-B33A-B76C1FA88F23}"/>
          </ac:spMkLst>
        </pc:spChg>
        <pc:spChg chg="add del mod modVis">
          <ac:chgData name="Joelle Brehm" userId="a518f54c-6985-42c0-8041-2bb16a414839" providerId="ADAL" clId="{11F4A39F-1802-4DA4-AB6C-561BDA6399D2}" dt="2023-07-06T19:00:18.246" v="60450"/>
          <ac:spMkLst>
            <pc:docMk/>
            <pc:sldMk cId="1450446987" sldId="264"/>
            <ac:spMk id="125" creationId="{3AD82297-7DEC-579A-98CD-202BDC30CD7F}"/>
          </ac:spMkLst>
        </pc:spChg>
        <pc:spChg chg="add del mod modVis">
          <ac:chgData name="Joelle Brehm" userId="a518f54c-6985-42c0-8041-2bb16a414839" providerId="ADAL" clId="{11F4A39F-1802-4DA4-AB6C-561BDA6399D2}" dt="2023-07-05T16:13:41.822" v="9686"/>
          <ac:spMkLst>
            <pc:docMk/>
            <pc:sldMk cId="1450446987" sldId="264"/>
            <ac:spMk id="125" creationId="{6CD1D34E-D749-416A-7170-180C208A8A74}"/>
          </ac:spMkLst>
        </pc:spChg>
        <pc:spChg chg="add mod replST">
          <ac:chgData name="Joelle Brehm" userId="a518f54c-6985-42c0-8041-2bb16a414839" providerId="ADAL" clId="{11F4A39F-1802-4DA4-AB6C-561BDA6399D2}" dt="2023-07-06T19:00:23.042" v="60774"/>
          <ac:spMkLst>
            <pc:docMk/>
            <pc:sldMk cId="1450446987" sldId="264"/>
            <ac:spMk id="127" creationId="{2CF9A986-1E95-AE1A-FD0F-F8AD045E4589}"/>
          </ac:spMkLst>
        </pc:spChg>
        <pc:spChg chg="add del mod modVis">
          <ac:chgData name="Joelle Brehm" userId="a518f54c-6985-42c0-8041-2bb16a414839" providerId="ADAL" clId="{11F4A39F-1802-4DA4-AB6C-561BDA6399D2}" dt="2023-07-05T16:13:46.097" v="9963"/>
          <ac:spMkLst>
            <pc:docMk/>
            <pc:sldMk cId="1450446987" sldId="264"/>
            <ac:spMk id="128" creationId="{4EF8813D-DEB9-6679-6CB4-C15DA585321B}"/>
          </ac:spMkLst>
        </pc:spChg>
        <pc:spChg chg="add del mod modVis">
          <ac:chgData name="Joelle Brehm" userId="a518f54c-6985-42c0-8041-2bb16a414839" providerId="ADAL" clId="{11F4A39F-1802-4DA4-AB6C-561BDA6399D2}" dt="2023-07-06T19:00:18.907" v="60673"/>
          <ac:spMkLst>
            <pc:docMk/>
            <pc:sldMk cId="1450446987" sldId="264"/>
            <ac:spMk id="128" creationId="{66257CE4-3E77-C63B-02A0-9CC806770E8A}"/>
          </ac:spMkLst>
        </pc:spChg>
        <pc:spChg chg="del mod">
          <ac:chgData name="Joelle Brehm" userId="a518f54c-6985-42c0-8041-2bb16a414839" providerId="ADAL" clId="{11F4A39F-1802-4DA4-AB6C-561BDA6399D2}" dt="2023-07-05T16:13:35.959" v="9178"/>
          <ac:spMkLst>
            <pc:docMk/>
            <pc:sldMk cId="1450446987" sldId="264"/>
            <ac:spMk id="129" creationId="{556E1ACB-04B2-5FBB-E211-5E44E25F9DFA}"/>
          </ac:spMkLst>
        </pc:spChg>
        <pc:spChg chg="mod">
          <ac:chgData name="Joelle Brehm" userId="a518f54c-6985-42c0-8041-2bb16a414839" providerId="ADAL" clId="{11F4A39F-1802-4DA4-AB6C-561BDA6399D2}" dt="2023-07-06T19:00:23.060" v="60835"/>
          <ac:spMkLst>
            <pc:docMk/>
            <pc:sldMk cId="1450446987" sldId="264"/>
            <ac:spMk id="133" creationId="{27E751A0-7D1F-8C13-F04F-59DC6E236D65}"/>
          </ac:spMkLst>
        </pc:spChg>
        <pc:spChg chg="mod">
          <ac:chgData name="Joelle Brehm" userId="a518f54c-6985-42c0-8041-2bb16a414839" providerId="ADAL" clId="{11F4A39F-1802-4DA4-AB6C-561BDA6399D2}" dt="2023-07-06T19:00:23.037" v="60755"/>
          <ac:spMkLst>
            <pc:docMk/>
            <pc:sldMk cId="1450446987" sldId="264"/>
            <ac:spMk id="135" creationId="{157CAC38-1013-FF7F-5384-7241D692C85F}"/>
          </ac:spMkLst>
        </pc:spChg>
        <pc:spChg chg="mod">
          <ac:chgData name="Joelle Brehm" userId="a518f54c-6985-42c0-8041-2bb16a414839" providerId="ADAL" clId="{11F4A39F-1802-4DA4-AB6C-561BDA6399D2}" dt="2023-07-06T19:00:23.055" v="60814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11F4A39F-1802-4DA4-AB6C-561BDA6399D2}" dt="2023-07-06T19:00:23.036" v="60753"/>
          <ac:spMkLst>
            <pc:docMk/>
            <pc:sldMk cId="1450446987" sldId="264"/>
            <ac:spMk id="137" creationId="{9E2688B6-E861-7EEB-63C2-D727A9E9A01E}"/>
          </ac:spMkLst>
        </pc:spChg>
        <pc:spChg chg="del mod">
          <ac:chgData name="Joelle Brehm" userId="a518f54c-6985-42c0-8041-2bb16a414839" providerId="ADAL" clId="{11F4A39F-1802-4DA4-AB6C-561BDA6399D2}" dt="2023-07-06T19:00:18.832" v="60520"/>
          <ac:spMkLst>
            <pc:docMk/>
            <pc:sldMk cId="1450446987" sldId="264"/>
            <ac:spMk id="14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6T19:00:23.060" v="60834"/>
          <ac:spMkLst>
            <pc:docMk/>
            <pc:sldMk cId="1450446987" sldId="264"/>
            <ac:spMk id="142" creationId="{4C243CA7-30C6-C41B-1F6A-8A2CF12A5651}"/>
          </ac:spMkLst>
        </pc:spChg>
        <pc:spChg chg="mod">
          <ac:chgData name="Joelle Brehm" userId="a518f54c-6985-42c0-8041-2bb16a414839" providerId="ADAL" clId="{11F4A39F-1802-4DA4-AB6C-561BDA6399D2}" dt="2023-07-06T19:00:23.061" v="60838"/>
          <ac:spMkLst>
            <pc:docMk/>
            <pc:sldMk cId="1450446987" sldId="264"/>
            <ac:spMk id="151" creationId="{7EF7CCB6-B417-DC51-1AB2-68262CB2FA75}"/>
          </ac:spMkLst>
        </pc:spChg>
        <pc:spChg chg="mod">
          <ac:chgData name="Joelle Brehm" userId="a518f54c-6985-42c0-8041-2bb16a414839" providerId="ADAL" clId="{11F4A39F-1802-4DA4-AB6C-561BDA6399D2}" dt="2023-07-06T19:00:23.061" v="60839"/>
          <ac:spMkLst>
            <pc:docMk/>
            <pc:sldMk cId="1450446987" sldId="264"/>
            <ac:spMk id="152" creationId="{DA6FB46B-FE82-345B-FD6E-877AEF916054}"/>
          </ac:spMkLst>
        </pc:spChg>
        <pc:spChg chg="mod">
          <ac:chgData name="Joelle Brehm" userId="a518f54c-6985-42c0-8041-2bb16a414839" providerId="ADAL" clId="{11F4A39F-1802-4DA4-AB6C-561BDA6399D2}" dt="2023-07-06T19:00:23.056" v="60817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11F4A39F-1802-4DA4-AB6C-561BDA6399D2}" dt="2023-07-06T19:00:23.058" v="60826"/>
          <ac:spMkLst>
            <pc:docMk/>
            <pc:sldMk cId="1450446987" sldId="264"/>
            <ac:spMk id="162" creationId="{A162EB60-F907-7F32-BE30-A5DD5012E9B2}"/>
          </ac:spMkLst>
        </pc:spChg>
        <pc:spChg chg="del mod">
          <ac:chgData name="Joelle Brehm" userId="a518f54c-6985-42c0-8041-2bb16a414839" providerId="ADAL" clId="{11F4A39F-1802-4DA4-AB6C-561BDA6399D2}" dt="2023-07-05T16:13:09.611" v="7637"/>
          <ac:spMkLst>
            <pc:docMk/>
            <pc:sldMk cId="1450446987" sldId="264"/>
            <ac:spMk id="177" creationId="{5EF5A94E-675C-C3E5-116B-9D99173D50D9}"/>
          </ac:spMkLst>
        </pc:spChg>
        <pc:spChg chg="del mod">
          <ac:chgData name="Joelle Brehm" userId="a518f54c-6985-42c0-8041-2bb16a414839" providerId="ADAL" clId="{11F4A39F-1802-4DA4-AB6C-561BDA6399D2}" dt="2023-07-05T16:13:09.600" v="7636"/>
          <ac:spMkLst>
            <pc:docMk/>
            <pc:sldMk cId="1450446987" sldId="264"/>
            <ac:spMk id="180" creationId="{A86D3A91-516E-859E-8B91-49561B54A22D}"/>
          </ac:spMkLst>
        </pc:spChg>
        <pc:spChg chg="mod">
          <ac:chgData name="Joelle Brehm" userId="a518f54c-6985-42c0-8041-2bb16a414839" providerId="ADAL" clId="{11F4A39F-1802-4DA4-AB6C-561BDA6399D2}" dt="2023-07-06T19:00:23.063" v="60844"/>
          <ac:spMkLst>
            <pc:docMk/>
            <pc:sldMk cId="1450446987" sldId="264"/>
            <ac:spMk id="183" creationId="{AF9B10EE-106F-F48F-396B-6E0A5755F50A}"/>
          </ac:spMkLst>
        </pc:spChg>
        <pc:spChg chg="del mod">
          <ac:chgData name="Joelle Brehm" userId="a518f54c-6985-42c0-8041-2bb16a414839" providerId="ADAL" clId="{11F4A39F-1802-4DA4-AB6C-561BDA6399D2}" dt="2023-07-05T16:13:24.598" v="8414"/>
          <ac:spMkLst>
            <pc:docMk/>
            <pc:sldMk cId="1450446987" sldId="264"/>
            <ac:spMk id="186" creationId="{6B41FF62-2B71-BDDC-6867-82772018D01F}"/>
          </ac:spMkLst>
        </pc:spChg>
        <pc:spChg chg="mod">
          <ac:chgData name="Joelle Brehm" userId="a518f54c-6985-42c0-8041-2bb16a414839" providerId="ADAL" clId="{11F4A39F-1802-4DA4-AB6C-561BDA6399D2}" dt="2023-07-06T19:00:23.055" v="60816"/>
          <ac:spMkLst>
            <pc:docMk/>
            <pc:sldMk cId="1450446987" sldId="264"/>
            <ac:spMk id="188" creationId="{3EAD5544-D356-497E-99A8-A208C0CDD275}"/>
          </ac:spMkLst>
        </pc:spChg>
        <pc:spChg chg="del mod">
          <ac:chgData name="Joelle Brehm" userId="a518f54c-6985-42c0-8041-2bb16a414839" providerId="ADAL" clId="{11F4A39F-1802-4DA4-AB6C-561BDA6399D2}" dt="2023-07-05T16:13:24.598" v="8413"/>
          <ac:spMkLst>
            <pc:docMk/>
            <pc:sldMk cId="1450446987" sldId="264"/>
            <ac:spMk id="190" creationId="{B9C55F07-0B64-C081-E59D-1BDA2A37CE56}"/>
          </ac:spMkLst>
        </pc:spChg>
        <pc:spChg chg="del mod">
          <ac:chgData name="Joelle Brehm" userId="a518f54c-6985-42c0-8041-2bb16a414839" providerId="ADAL" clId="{11F4A39F-1802-4DA4-AB6C-561BDA6399D2}" dt="2023-07-05T16:13:48.658" v="9967"/>
          <ac:spMkLst>
            <pc:docMk/>
            <pc:sldMk cId="1450446987" sldId="264"/>
            <ac:spMk id="193" creationId="{3D8BF698-E445-4938-7124-83C29C500F12}"/>
          </ac:spMkLst>
        </pc:spChg>
        <pc:spChg chg="del mod">
          <ac:chgData name="Joelle Brehm" userId="a518f54c-6985-42c0-8041-2bb16a414839" providerId="ADAL" clId="{11F4A39F-1802-4DA4-AB6C-561BDA6399D2}" dt="2023-07-05T16:13:48.657" v="9966"/>
          <ac:spMkLst>
            <pc:docMk/>
            <pc:sldMk cId="1450446987" sldId="264"/>
            <ac:spMk id="195" creationId="{2816887B-399A-8554-0951-DD202BD9A4C3}"/>
          </ac:spMkLst>
        </pc:spChg>
        <pc:spChg chg="mod">
          <ac:chgData name="Joelle Brehm" userId="a518f54c-6985-42c0-8041-2bb16a414839" providerId="ADAL" clId="{11F4A39F-1802-4DA4-AB6C-561BDA6399D2}" dt="2023-07-06T19:00:23.037" v="60756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11F4A39F-1802-4DA4-AB6C-561BDA6399D2}" dt="2023-07-06T19:00:23.038" v="60760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11F4A39F-1802-4DA4-AB6C-561BDA6399D2}" dt="2023-07-06T19:00:23.041" v="60770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11F4A39F-1802-4DA4-AB6C-561BDA6399D2}" dt="2023-07-06T19:00:23.059" v="60830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11F4A39F-1802-4DA4-AB6C-561BDA6399D2}" dt="2023-07-06T19:00:23.065" v="60853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11F4A39F-1802-4DA4-AB6C-561BDA6399D2}" dt="2023-07-06T19:00:23.113" v="60859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8:59:41.596" v="58400"/>
          <ac:graphicFrameMkLst>
            <pc:docMk/>
            <pc:sldMk cId="1450446987" sldId="264"/>
            <ac:graphicFrameMk id="14" creationId="{8135855B-EC16-D20B-3069-DBC9E917DFF2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07.626" v="7480"/>
          <ac:graphicFrameMkLst>
            <pc:docMk/>
            <pc:sldMk cId="1450446987" sldId="264"/>
            <ac:graphicFrameMk id="49" creationId="{25D34113-9F8A-58CD-6D92-4836D5580DA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8:59:47.520" v="58584"/>
          <ac:graphicFrameMkLst>
            <pc:docMk/>
            <pc:sldMk cId="1450446987" sldId="264"/>
            <ac:graphicFrameMk id="49" creationId="{2A5BC80C-9C99-2C87-74D3-C95E75F2BB5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8:59:55.789" v="58881"/>
          <ac:graphicFrameMkLst>
            <pc:docMk/>
            <pc:sldMk cId="1450446987" sldId="264"/>
            <ac:graphicFrameMk id="50" creationId="{2BE68082-C1FB-DFDD-B36D-DAC40A43BD98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13:03.903" v="7205"/>
          <ac:graphicFrameMkLst>
            <pc:docMk/>
            <pc:sldMk cId="1450446987" sldId="264"/>
            <ac:graphicFrameMk id="50" creationId="{3B3B473F-5416-8AB1-44F2-5C30FA6418F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09.698" v="7714"/>
          <ac:graphicFrameMkLst>
            <pc:docMk/>
            <pc:sldMk cId="1450446987" sldId="264"/>
            <ac:graphicFrameMk id="72" creationId="{0D2AE2F1-6ED6-DC11-6684-DA725F6F5E58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6T19:00:23.042" v="60776"/>
          <ac:graphicFrameMkLst>
            <pc:docMk/>
            <pc:sldMk cId="1450446987" sldId="264"/>
            <ac:graphicFrameMk id="83" creationId="{B1D54E36-B974-6370-03FF-9AE959EF0E6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8:59:56.553" v="59107"/>
          <ac:graphicFrameMkLst>
            <pc:docMk/>
            <pc:sldMk cId="1450446987" sldId="264"/>
            <ac:graphicFrameMk id="87" creationId="{4D153F6A-624C-B82F-FF5A-C66EF232003D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13:15.513" v="8006"/>
          <ac:graphicFrameMkLst>
            <pc:docMk/>
            <pc:sldMk cId="1450446987" sldId="264"/>
            <ac:graphicFrameMk id="88" creationId="{420413F3-E54C-F331-3B60-769439B6B38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9:00:02.106" v="59271"/>
          <ac:graphicFrameMkLst>
            <pc:docMk/>
            <pc:sldMk cId="1450446987" sldId="264"/>
            <ac:graphicFrameMk id="92" creationId="{0C3D2606-AB47-C7CD-3129-873872403A7D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22.161" v="8257"/>
          <ac:graphicFrameMkLst>
            <pc:docMk/>
            <pc:sldMk cId="1450446987" sldId="264"/>
            <ac:graphicFrameMk id="92" creationId="{989D23FA-B534-68BB-3034-D438F43DF34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9:00:03.435" v="59574"/>
          <ac:graphicFrameMkLst>
            <pc:docMk/>
            <pc:sldMk cId="1450446987" sldId="264"/>
            <ac:graphicFrameMk id="98" creationId="{6E8615FD-2D75-C299-370E-56AE4BC230A3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24.664" v="8491"/>
          <ac:graphicFrameMkLst>
            <pc:docMk/>
            <pc:sldMk cId="1450446987" sldId="264"/>
            <ac:graphicFrameMk id="100" creationId="{25C1899F-B5A3-B547-9CEA-864C5146851F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6T19:00:23.028" v="60724"/>
          <ac:graphicFrameMkLst>
            <pc:docMk/>
            <pc:sldMk cId="1450446987" sldId="264"/>
            <ac:graphicFrameMk id="101" creationId="{EF09E841-DCA0-0E29-9C6F-AA66D0F5A346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13:30.033" v="8765"/>
          <ac:graphicFrameMkLst>
            <pc:docMk/>
            <pc:sldMk cId="1450446987" sldId="264"/>
            <ac:graphicFrameMk id="107" creationId="{51B01BCC-6533-56C0-2210-5D3B30524568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9:00:09.961" v="59762"/>
          <ac:graphicFrameMkLst>
            <pc:docMk/>
            <pc:sldMk cId="1450446987" sldId="264"/>
            <ac:graphicFrameMk id="110" creationId="{BCB91891-FF80-D835-8A8C-CEF4AA47F2B6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9:00:17.519" v="60059"/>
          <ac:graphicFrameMkLst>
            <pc:docMk/>
            <pc:sldMk cId="1450446987" sldId="264"/>
            <ac:graphicFrameMk id="111" creationId="{76F05306-2CAD-CB06-4D11-FE2C8E0BE98E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33.616" v="9022"/>
          <ac:graphicFrameMkLst>
            <pc:docMk/>
            <pc:sldMk cId="1450446987" sldId="264"/>
            <ac:graphicFrameMk id="111" creationId="{A80DCF30-2AE1-2E6B-6ABC-3925F9DBCB0F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13:41.719" v="9533"/>
          <ac:graphicFrameMkLst>
            <pc:docMk/>
            <pc:sldMk cId="1450446987" sldId="264"/>
            <ac:graphicFrameMk id="120" creationId="{04B0C271-6F3A-F20F-63E6-A863028D329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9:00:18.181" v="60300"/>
          <ac:graphicFrameMkLst>
            <pc:docMk/>
            <pc:sldMk cId="1450446987" sldId="264"/>
            <ac:graphicFrameMk id="122" creationId="{1F61EE90-AA63-4DAB-75E3-2DF9D716DDF4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36.005" v="9240"/>
          <ac:graphicFrameMkLst>
            <pc:docMk/>
            <pc:sldMk cId="1450446987" sldId="264"/>
            <ac:graphicFrameMk id="122" creationId="{3160ABB1-1448-A633-0ED8-F741F122C0D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6T19:00:23.060" v="60832"/>
          <ac:graphicFrameMkLst>
            <pc:docMk/>
            <pc:sldMk cId="1450446987" sldId="264"/>
            <ac:graphicFrameMk id="123" creationId="{0726F88C-3400-A009-2BCD-D80C461CBAB9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9:00:18.833" v="60524"/>
          <ac:graphicFrameMkLst>
            <pc:docMk/>
            <pc:sldMk cId="1450446987" sldId="264"/>
            <ac:graphicFrameMk id="126" creationId="{AEEA4171-074C-0413-B2DA-88B3205565F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45.936" v="9809"/>
          <ac:graphicFrameMkLst>
            <pc:docMk/>
            <pc:sldMk cId="1450446987" sldId="264"/>
            <ac:graphicFrameMk id="126" creationId="{D3E16345-6034-D644-0668-36AF53D5D2B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6T19:00:23.009" v="60710"/>
          <ac:graphicFrameMkLst>
            <pc:docMk/>
            <pc:sldMk cId="1450446987" sldId="264"/>
            <ac:graphicFrameMk id="129" creationId="{CB41C720-9CD6-66B3-9F20-30B924AEB3A5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6T19:00:23.054" v="60812"/>
          <ac:graphicFrameMkLst>
            <pc:docMk/>
            <pc:sldMk cId="1450446987" sldId="264"/>
            <ac:graphicFrameMk id="130" creationId="{9C2FD8A1-6F3E-5EE8-9C29-1B6EC5DAF81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3:48.744" v="10044"/>
          <ac:graphicFrameMkLst>
            <pc:docMk/>
            <pc:sldMk cId="1450446987" sldId="264"/>
            <ac:graphicFrameMk id="130" creationId="{F6BE5B8D-E1D5-5A34-C7F6-67F8BDA03407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6T19:00:23.035" v="60750"/>
          <ac:graphicFrameMkLst>
            <pc:docMk/>
            <pc:sldMk cId="1450446987" sldId="264"/>
            <ac:graphicFrameMk id="131" creationId="{F7B47687-EEFD-B14A-2F2A-218242452E05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6T18:59:41.213" v="58176"/>
          <ac:graphicFrameMkLst>
            <pc:docMk/>
            <pc:sldMk cId="1450446987" sldId="264"/>
            <ac:graphicFrameMk id="153" creationId="{80944A7A-1B6B-A89E-676C-0703D51D1679}"/>
          </ac:graphicFrameMkLst>
        </pc:graphicFrameChg>
        <pc:picChg chg="mod ord">
          <ac:chgData name="Joelle Brehm" userId="a518f54c-6985-42c0-8041-2bb16a414839" providerId="ADAL" clId="{11F4A39F-1802-4DA4-AB6C-561BDA6399D2}" dt="2023-07-06T19:00:23.027" v="60722"/>
          <ac:picMkLst>
            <pc:docMk/>
            <pc:sldMk cId="1450446987" sldId="264"/>
            <ac:picMk id="3" creationId="{2D4B0DAF-6DD7-4B10-8D9C-0B8AAD6563B0}"/>
          </ac:picMkLst>
        </pc:picChg>
        <pc:picChg chg="add del mod ord">
          <ac:chgData name="Joelle Brehm" userId="a518f54c-6985-42c0-8041-2bb16a414839" providerId="ADAL" clId="{11F4A39F-1802-4DA4-AB6C-561BDA6399D2}" dt="2023-07-05T16:12:23.818" v="7019" actId="478"/>
          <ac:picMkLst>
            <pc:docMk/>
            <pc:sldMk cId="1450446987" sldId="264"/>
            <ac:picMk id="8" creationId="{1AFB3257-7811-AE34-8049-CC2C79EC8EA3}"/>
          </ac:picMkLst>
        </pc:picChg>
        <pc:picChg chg="del mod ord">
          <ac:chgData name="Joelle Brehm" userId="a518f54c-6985-42c0-8041-2bb16a414839" providerId="ADAL" clId="{11F4A39F-1802-4DA4-AB6C-561BDA6399D2}" dt="2023-07-05T16:12:19.590" v="7018" actId="478"/>
          <ac:picMkLst>
            <pc:docMk/>
            <pc:sldMk cId="1450446987" sldId="264"/>
            <ac:picMk id="9" creationId="{64593511-B055-A031-3979-F41F5AD10498}"/>
          </ac:picMkLst>
        </pc:picChg>
        <pc:picChg chg="add mod ord">
          <ac:chgData name="Joelle Brehm" userId="a518f54c-6985-42c0-8041-2bb16a414839" providerId="ADAL" clId="{11F4A39F-1802-4DA4-AB6C-561BDA6399D2}" dt="2023-07-06T19:00:23.066" v="60855"/>
          <ac:picMkLst>
            <pc:docMk/>
            <pc:sldMk cId="1450446987" sldId="264"/>
            <ac:picMk id="36" creationId="{88087826-C921-B6AD-38E8-9A3AF6D893FE}"/>
          </ac:picMkLst>
        </pc:picChg>
      </pc:sldChg>
      <pc:sldChg chg="addSp delSp modSp mod">
        <pc:chgData name="Joelle Brehm" userId="a518f54c-6985-42c0-8041-2bb16a414839" providerId="ADAL" clId="{11F4A39F-1802-4DA4-AB6C-561BDA6399D2}" dt="2023-07-05T20:53:26.690" v="31845" actId="478"/>
        <pc:sldMkLst>
          <pc:docMk/>
          <pc:sldMk cId="3436037945" sldId="265"/>
        </pc:sldMkLst>
        <pc:spChg chg="mod ord">
          <ac:chgData name="Joelle Brehm" userId="a518f54c-6985-42c0-8041-2bb16a414839" providerId="ADAL" clId="{11F4A39F-1802-4DA4-AB6C-561BDA6399D2}" dt="2023-07-05T20:53:25.302" v="31838"/>
          <ac:spMkLst>
            <pc:docMk/>
            <pc:sldMk cId="3436037945" sldId="265"/>
            <ac:spMk id="2" creationId="{6E232D48-9913-4AD2-87D8-2BF43FF429A0}"/>
          </ac:spMkLst>
        </pc:spChg>
        <pc:spChg chg="add del mod ord">
          <ac:chgData name="Joelle Brehm" userId="a518f54c-6985-42c0-8041-2bb16a414839" providerId="ADAL" clId="{11F4A39F-1802-4DA4-AB6C-561BDA6399D2}" dt="2023-07-05T20:36:08.803" v="15009" actId="478"/>
          <ac:spMkLst>
            <pc:docMk/>
            <pc:sldMk cId="3436037945" sldId="265"/>
            <ac:spMk id="3" creationId="{5C370C96-ABF4-8F00-6DCB-CFE07281F428}"/>
          </ac:spMkLst>
        </pc:spChg>
        <pc:spChg chg="add del mod modVis">
          <ac:chgData name="Joelle Brehm" userId="a518f54c-6985-42c0-8041-2bb16a414839" providerId="ADAL" clId="{11F4A39F-1802-4DA4-AB6C-561BDA6399D2}" dt="2023-07-05T20:35:36.791" v="14997"/>
          <ac:spMkLst>
            <pc:docMk/>
            <pc:sldMk cId="3436037945" sldId="265"/>
            <ac:spMk id="5" creationId="{D5697AE8-DD38-5297-C971-2CADB9A79E2C}"/>
          </ac:spMkLst>
        </pc:spChg>
        <pc:spChg chg="mod ord">
          <ac:chgData name="Joelle Brehm" userId="a518f54c-6985-42c0-8041-2bb16a414839" providerId="ADAL" clId="{11F4A39F-1802-4DA4-AB6C-561BDA6399D2}" dt="2023-07-05T20:53:25.283" v="31773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3:25.302" v="31803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11F4A39F-1802-4DA4-AB6C-561BDA6399D2}" dt="2023-07-05T20:53:25.299" v="31786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3:25.299" v="31779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3:25.299" v="31784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3:25.299" v="31780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3:25.299" v="31781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3:25.299" v="31783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3:25.299" v="31785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3:25.299" v="31782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3:25.283" v="31778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3:25.299" v="31787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3:25.299" v="31788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3:25.299" v="31789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3:25.302" v="31791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3:25.302" v="31794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3:25.302" v="31792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3:25.302" v="31793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3:25.302" v="31795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3:25.302" v="31796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3:25.302" v="31797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3:25.302" v="31799"/>
          <ac:spMkLst>
            <pc:docMk/>
            <pc:sldMk cId="3436037945" sldId="265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3:25.302" v="31806"/>
          <ac:spMkLst>
            <pc:docMk/>
            <pc:sldMk cId="3436037945" sldId="265"/>
            <ac:spMk id="31" creationId="{618E9228-3A8F-6AD1-2FE9-4CA197D85F6A}"/>
          </ac:spMkLst>
        </pc:spChg>
        <pc:spChg chg="mod">
          <ac:chgData name="Joelle Brehm" userId="a518f54c-6985-42c0-8041-2bb16a414839" providerId="ADAL" clId="{11F4A39F-1802-4DA4-AB6C-561BDA6399D2}" dt="2023-07-05T20:53:25.302" v="31807"/>
          <ac:spMkLst>
            <pc:docMk/>
            <pc:sldMk cId="3436037945" sldId="265"/>
            <ac:spMk id="33" creationId="{228F34A2-7DB7-9D12-615E-E947B53315B2}"/>
          </ac:spMkLst>
        </pc:spChg>
        <pc:spChg chg="mod">
          <ac:chgData name="Joelle Brehm" userId="a518f54c-6985-42c0-8041-2bb16a414839" providerId="ADAL" clId="{11F4A39F-1802-4DA4-AB6C-561BDA6399D2}" dt="2023-07-05T20:53:25.302" v="31804"/>
          <ac:spMkLst>
            <pc:docMk/>
            <pc:sldMk cId="3436037945" sldId="265"/>
            <ac:spMk id="34" creationId="{A7A9CC08-35FC-512B-D6D9-BC2ABCCAD648}"/>
          </ac:spMkLst>
        </pc:spChg>
        <pc:spChg chg="mod">
          <ac:chgData name="Joelle Brehm" userId="a518f54c-6985-42c0-8041-2bb16a414839" providerId="ADAL" clId="{11F4A39F-1802-4DA4-AB6C-561BDA6399D2}" dt="2023-07-05T20:53:25.302" v="31802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11F4A39F-1802-4DA4-AB6C-561BDA6399D2}" dt="2023-07-05T20:53:25.302" v="31808"/>
          <ac:spMkLst>
            <pc:docMk/>
            <pc:sldMk cId="3436037945" sldId="265"/>
            <ac:spMk id="36" creationId="{0BBAC582-1932-357A-D778-84237C43CF05}"/>
          </ac:spMkLst>
        </pc:spChg>
        <pc:spChg chg="mod">
          <ac:chgData name="Joelle Brehm" userId="a518f54c-6985-42c0-8041-2bb16a414839" providerId="ADAL" clId="{11F4A39F-1802-4DA4-AB6C-561BDA6399D2}" dt="2023-07-05T20:53:25.302" v="31809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11F4A39F-1802-4DA4-AB6C-561BDA6399D2}" dt="2023-07-05T20:53:25.302" v="31810"/>
          <ac:spMkLst>
            <pc:docMk/>
            <pc:sldMk cId="3436037945" sldId="265"/>
            <ac:spMk id="39" creationId="{D3B6923F-EF2F-5CB1-1EC9-23DAFECD1AD3}"/>
          </ac:spMkLst>
        </pc:spChg>
        <pc:spChg chg="add del mod modVis">
          <ac:chgData name="Joelle Brehm" userId="a518f54c-6985-42c0-8041-2bb16a414839" providerId="ADAL" clId="{11F4A39F-1802-4DA4-AB6C-561BDA6399D2}" dt="2023-07-05T20:36:16.637" v="15250"/>
          <ac:spMkLst>
            <pc:docMk/>
            <pc:sldMk cId="3436037945" sldId="265"/>
            <ac:spMk id="40" creationId="{AA8EA6AC-F01B-F53E-7642-925F63F0C86A}"/>
          </ac:spMkLst>
        </pc:spChg>
        <pc:spChg chg="mod">
          <ac:chgData name="Joelle Brehm" userId="a518f54c-6985-42c0-8041-2bb16a414839" providerId="ADAL" clId="{11F4A39F-1802-4DA4-AB6C-561BDA6399D2}" dt="2023-07-05T20:53:25.302" v="31811"/>
          <ac:spMkLst>
            <pc:docMk/>
            <pc:sldMk cId="3436037945" sldId="265"/>
            <ac:spMk id="42" creationId="{C3432236-FD50-8E13-A648-6A2FCA3BBBAE}"/>
          </ac:spMkLst>
        </pc:spChg>
        <pc:spChg chg="mod">
          <ac:chgData name="Joelle Brehm" userId="a518f54c-6985-42c0-8041-2bb16a414839" providerId="ADAL" clId="{11F4A39F-1802-4DA4-AB6C-561BDA6399D2}" dt="2023-07-05T20:53:25.302" v="31812"/>
          <ac:spMkLst>
            <pc:docMk/>
            <pc:sldMk cId="3436037945" sldId="265"/>
            <ac:spMk id="44" creationId="{16F84182-CECA-3CD8-7D89-52B39ECEBFE4}"/>
          </ac:spMkLst>
        </pc:spChg>
        <pc:spChg chg="add del mod modVis">
          <ac:chgData name="Joelle Brehm" userId="a518f54c-6985-42c0-8041-2bb16a414839" providerId="ADAL" clId="{11F4A39F-1802-4DA4-AB6C-561BDA6399D2}" dt="2023-07-05T20:36:22.042" v="15392"/>
          <ac:spMkLst>
            <pc:docMk/>
            <pc:sldMk cId="3436037945" sldId="265"/>
            <ac:spMk id="45" creationId="{6AC04D43-E180-5871-5F2E-4D1D5B52CB38}"/>
          </ac:spMkLst>
        </pc:spChg>
        <pc:spChg chg="add mod replST">
          <ac:chgData name="Joelle Brehm" userId="a518f54c-6985-42c0-8041-2bb16a414839" providerId="ADAL" clId="{11F4A39F-1802-4DA4-AB6C-561BDA6399D2}" dt="2023-07-05T20:53:25.302" v="31813"/>
          <ac:spMkLst>
            <pc:docMk/>
            <pc:sldMk cId="3436037945" sldId="265"/>
            <ac:spMk id="47" creationId="{DA382430-2E3A-48A8-BD50-8227787BBF7B}"/>
          </ac:spMkLst>
        </pc:spChg>
        <pc:spChg chg="add del mod modVis">
          <ac:chgData name="Joelle Brehm" userId="a518f54c-6985-42c0-8041-2bb16a414839" providerId="ADAL" clId="{11F4A39F-1802-4DA4-AB6C-561BDA6399D2}" dt="2023-07-05T20:36:28.793" v="15975"/>
          <ac:spMkLst>
            <pc:docMk/>
            <pc:sldMk cId="3436037945" sldId="265"/>
            <ac:spMk id="48" creationId="{6B9E238E-AE63-D6C8-A70A-6B85DFA1010C}"/>
          </ac:spMkLst>
        </pc:spChg>
        <pc:spChg chg="add del mod ord replST">
          <ac:chgData name="Joelle Brehm" userId="a518f54c-6985-42c0-8041-2bb16a414839" providerId="ADAL" clId="{11F4A39F-1802-4DA4-AB6C-561BDA6399D2}" dt="2023-07-05T20:36:38.174" v="16350"/>
          <ac:spMkLst>
            <pc:docMk/>
            <pc:sldMk cId="3436037945" sldId="265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0:36:34.997" v="16250"/>
          <ac:spMkLst>
            <pc:docMk/>
            <pc:sldMk cId="3436037945" sldId="265"/>
            <ac:spMk id="51" creationId="{1A763FBD-FF6B-0A8E-50FA-074FDDDC8A12}"/>
          </ac:spMkLst>
        </pc:spChg>
        <pc:spChg chg="add del mod ord replST">
          <ac:chgData name="Joelle Brehm" userId="a518f54c-6985-42c0-8041-2bb16a414839" providerId="ADAL" clId="{11F4A39F-1802-4DA4-AB6C-561BDA6399D2}" dt="2023-07-05T20:36:42.107" v="16526"/>
          <ac:spMkLst>
            <pc:docMk/>
            <pc:sldMk cId="3436037945" sldId="265"/>
            <ac:spMk id="52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0:36:38.206" v="16452"/>
          <ac:spMkLst>
            <pc:docMk/>
            <pc:sldMk cId="3436037945" sldId="265"/>
            <ac:spMk id="55" creationId="{75CC5B65-4804-0202-6853-8AEB487BA91E}"/>
          </ac:spMkLst>
        </pc:spChg>
        <pc:spChg chg="add del mod modVis">
          <ac:chgData name="Joelle Brehm" userId="a518f54c-6985-42c0-8041-2bb16a414839" providerId="ADAL" clId="{11F4A39F-1802-4DA4-AB6C-561BDA6399D2}" dt="2023-07-05T20:36:42.159" v="16607"/>
          <ac:spMkLst>
            <pc:docMk/>
            <pc:sldMk cId="3436037945" sldId="265"/>
            <ac:spMk id="57" creationId="{368708CB-B8A5-F5F2-33DB-B951C61A0347}"/>
          </ac:spMkLst>
        </pc:spChg>
        <pc:spChg chg="mod">
          <ac:chgData name="Joelle Brehm" userId="a518f54c-6985-42c0-8041-2bb16a414839" providerId="ADAL" clId="{11F4A39F-1802-4DA4-AB6C-561BDA6399D2}" dt="2023-07-05T20:53:25.302" v="31805"/>
          <ac:spMkLst>
            <pc:docMk/>
            <pc:sldMk cId="3436037945" sldId="265"/>
            <ac:spMk id="62" creationId="{BEDB5BD1-9064-F903-1AE0-56AE80C9B05B}"/>
          </ac:spMkLst>
        </pc:spChg>
        <pc:spChg chg="del mod">
          <ac:chgData name="Joelle Brehm" userId="a518f54c-6985-42c0-8041-2bb16a414839" providerId="ADAL" clId="{11F4A39F-1802-4DA4-AB6C-561BDA6399D2}" dt="2023-07-05T20:36:38.105" v="16253"/>
          <ac:spMkLst>
            <pc:docMk/>
            <pc:sldMk cId="3436037945" sldId="265"/>
            <ac:spMk id="65" creationId="{144DCADE-7870-4E5E-3516-0379A7BCFDF0}"/>
          </ac:spMkLst>
        </pc:spChg>
        <pc:spChg chg="mod ord">
          <ac:chgData name="Joelle Brehm" userId="a518f54c-6985-42c0-8041-2bb16a414839" providerId="ADAL" clId="{11F4A39F-1802-4DA4-AB6C-561BDA6399D2}" dt="2023-07-05T20:53:25.302" v="31815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3:25.302" v="31817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0:53:25.302" v="31819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3:25.302" v="31821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3:25.302" v="31823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3:25.302" v="31825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11F4A39F-1802-4DA4-AB6C-561BDA6399D2}" dt="2023-07-05T20:53:25.302" v="31836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11F4A39F-1802-4DA4-AB6C-561BDA6399D2}" dt="2023-07-05T20:53:25.302" v="31828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25.302" v="31829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25.302" v="31831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25.302" v="31832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3:25.302" v="31830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3:25.319" v="31844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0:35:36.721" v="14912"/>
          <ac:graphicFrameMkLst>
            <pc:docMk/>
            <pc:sldMk cId="3436037945" sldId="265"/>
            <ac:graphicFrameMk id="8" creationId="{B4C21660-33E8-4A09-3750-85B01D4CD5A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25.283" v="31777"/>
          <ac:graphicFrameMkLst>
            <pc:docMk/>
            <pc:sldMk cId="3436037945" sldId="265"/>
            <ac:graphicFrameMk id="32" creationId="{C7FA1BDF-9209-BA1E-857E-1AB68238B214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6:21.998" v="15313"/>
          <ac:graphicFrameMkLst>
            <pc:docMk/>
            <pc:sldMk cId="3436037945" sldId="265"/>
            <ac:graphicFrameMk id="41" creationId="{12223806-D37F-8693-51FD-D30E47878B25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36:16.547" v="15171"/>
          <ac:graphicFrameMkLst>
            <pc:docMk/>
            <pc:sldMk cId="3436037945" sldId="265"/>
            <ac:graphicFrameMk id="43" creationId="{7CDA20E4-BFDA-B3CC-8CCE-D05EB35D0D1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25.302" v="31827"/>
          <ac:graphicFrameMkLst>
            <pc:docMk/>
            <pc:sldMk cId="3436037945" sldId="265"/>
            <ac:graphicFrameMk id="46" creationId="{B89FE124-32E1-2270-45A7-6A70EF6560E2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6:34.918" v="16144"/>
          <ac:graphicFrameMkLst>
            <pc:docMk/>
            <pc:sldMk cId="3436037945" sldId="265"/>
            <ac:graphicFrameMk id="50" creationId="{A9BA1277-7E83-56A9-4A1D-FE11CD85B922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6:38.174" v="16371"/>
          <ac:graphicFrameMkLst>
            <pc:docMk/>
            <pc:sldMk cId="3436037945" sldId="265"/>
            <ac:graphicFrameMk id="53" creationId="{73007079-A8F3-BB0F-DF4C-2F05D4C1DA47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36:28.753" v="15885"/>
          <ac:graphicFrameMkLst>
            <pc:docMk/>
            <pc:sldMk cId="3436037945" sldId="265"/>
            <ac:graphicFrameMk id="54" creationId="{019C4182-E1A2-BB68-B3F3-C6C175574A27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6:42.122" v="16528"/>
          <ac:graphicFrameMkLst>
            <pc:docMk/>
            <pc:sldMk cId="3436037945" sldId="265"/>
            <ac:graphicFrameMk id="56" creationId="{00F5C07F-72AF-47BB-29CC-0380BD4A2285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25.302" v="31801"/>
          <ac:graphicFrameMkLst>
            <pc:docMk/>
            <pc:sldMk cId="3436037945" sldId="265"/>
            <ac:graphicFrameMk id="58" creationId="{528FE758-65FC-21E2-707F-E73C5FC590A2}"/>
          </ac:graphicFrameMkLst>
        </pc:graphicFrameChg>
        <pc:picChg chg="del mod ord">
          <ac:chgData name="Joelle Brehm" userId="a518f54c-6985-42c0-8041-2bb16a414839" providerId="ADAL" clId="{11F4A39F-1802-4DA4-AB6C-561BDA6399D2}" dt="2023-07-05T20:35:56.843" v="15001" actId="478"/>
          <ac:picMkLst>
            <pc:docMk/>
            <pc:sldMk cId="3436037945" sldId="265"/>
            <ac:picMk id="10" creationId="{BF2241D3-8061-204A-6F6D-B74D8F5335A9}"/>
          </ac:picMkLst>
        </pc:picChg>
        <pc:picChg chg="add del mod ord">
          <ac:chgData name="Joelle Brehm" userId="a518f54c-6985-42c0-8041-2bb16a414839" providerId="ADAL" clId="{11F4A39F-1802-4DA4-AB6C-561BDA6399D2}" dt="2023-07-05T20:53:26.690" v="31845" actId="478"/>
          <ac:picMkLst>
            <pc:docMk/>
            <pc:sldMk cId="3436037945" sldId="265"/>
            <ac:picMk id="37" creationId="{AF4C91BB-3402-0947-BE22-ADCAB62F3A48}"/>
          </ac:picMkLst>
        </pc:picChg>
        <pc:picChg chg="add mod ord">
          <ac:chgData name="Joelle Brehm" userId="a518f54c-6985-42c0-8041-2bb16a414839" providerId="ADAL" clId="{11F4A39F-1802-4DA4-AB6C-561BDA6399D2}" dt="2023-07-05T20:53:25.283" v="31771"/>
          <ac:picMkLst>
            <pc:docMk/>
            <pc:sldMk cId="3436037945" sldId="265"/>
            <ac:picMk id="59" creationId="{91939524-2A74-7B86-6D73-066B27091B81}"/>
          </ac:picMkLst>
        </pc:picChg>
        <pc:picChg chg="mod ord">
          <ac:chgData name="Joelle Brehm" userId="a518f54c-6985-42c0-8041-2bb16a414839" providerId="ADAL" clId="{11F4A39F-1802-4DA4-AB6C-561BDA6399D2}" dt="2023-07-05T20:53:25.302" v="31834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3:25.283" v="31775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3:06.890" v="31762" actId="478"/>
        <pc:sldMkLst>
          <pc:docMk/>
          <pc:sldMk cId="2057745716" sldId="266"/>
        </pc:sldMkLst>
        <pc:spChg chg="mod ord">
          <ac:chgData name="Joelle Brehm" userId="a518f54c-6985-42c0-8041-2bb16a414839" providerId="ADAL" clId="{11F4A39F-1802-4DA4-AB6C-561BDA6399D2}" dt="2023-07-05T20:53:05.521" v="31757"/>
          <ac:spMkLst>
            <pc:docMk/>
            <pc:sldMk cId="2057745716" sldId="266"/>
            <ac:spMk id="2" creationId="{F6B4C531-23B2-41FF-8356-EA9D6490FDEB}"/>
          </ac:spMkLst>
        </pc:spChg>
        <pc:spChg chg="add del mod ord">
          <ac:chgData name="Joelle Brehm" userId="a518f54c-6985-42c0-8041-2bb16a414839" providerId="ADAL" clId="{11F4A39F-1802-4DA4-AB6C-561BDA6399D2}" dt="2023-07-05T20:34:06.075" v="13622" actId="478"/>
          <ac:spMkLst>
            <pc:docMk/>
            <pc:sldMk cId="2057745716" sldId="266"/>
            <ac:spMk id="3" creationId="{2292F4EC-50F9-9EA2-2D05-8D3BC13139C9}"/>
          </ac:spMkLst>
        </pc:spChg>
        <pc:spChg chg="add del mod modVis">
          <ac:chgData name="Joelle Brehm" userId="a518f54c-6985-42c0-8041-2bb16a414839" providerId="ADAL" clId="{11F4A39F-1802-4DA4-AB6C-561BDA6399D2}" dt="2023-07-05T20:31:45.405" v="13517"/>
          <ac:spMkLst>
            <pc:docMk/>
            <pc:sldMk cId="2057745716" sldId="266"/>
            <ac:spMk id="5" creationId="{A58429AD-CA3F-743A-856C-46DFF9003035}"/>
          </ac:spMkLst>
        </pc:spChg>
        <pc:spChg chg="mod ord">
          <ac:chgData name="Joelle Brehm" userId="a518f54c-6985-42c0-8041-2bb16a414839" providerId="ADAL" clId="{11F4A39F-1802-4DA4-AB6C-561BDA6399D2}" dt="2023-07-05T20:53:05.505" v="31675"/>
          <ac:spMkLst>
            <pc:docMk/>
            <pc:sldMk cId="2057745716" sldId="266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3:05.521" v="31723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11F4A39F-1802-4DA4-AB6C-561BDA6399D2}" dt="2023-07-05T20:53:05.521" v="31688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3:05.505" v="31682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3:05.505" v="31686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3:05.505" v="31684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3:05.505" v="31685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3:05.521" v="31687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3:05.505" v="31680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3:05.505" v="31681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3:05.521" v="31689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3:05.505" v="31683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3:05.521" v="31690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3:05.521" v="31691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3:05.521" v="31693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3:05.521" v="31695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3:05.521" v="31694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3:05.521" v="31696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3:05.521" v="31698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3:05.521" v="31697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3:05.521" v="31699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3:05.521" v="31701"/>
          <ac:spMkLst>
            <pc:docMk/>
            <pc:sldMk cId="2057745716" sldId="266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3:05.521" v="31713"/>
          <ac:spMkLst>
            <pc:docMk/>
            <pc:sldMk cId="2057745716" sldId="266"/>
            <ac:spMk id="31" creationId="{541335D7-D042-7B18-CE6A-46B34332637A}"/>
          </ac:spMkLst>
        </pc:spChg>
        <pc:spChg chg="mod">
          <ac:chgData name="Joelle Brehm" userId="a518f54c-6985-42c0-8041-2bb16a414839" providerId="ADAL" clId="{11F4A39F-1802-4DA4-AB6C-561BDA6399D2}" dt="2023-07-05T20:53:05.521" v="31730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11F4A39F-1802-4DA4-AB6C-561BDA6399D2}" dt="2023-07-05T20:53:05.521" v="31710"/>
          <ac:spMkLst>
            <pc:docMk/>
            <pc:sldMk cId="2057745716" sldId="266"/>
            <ac:spMk id="33" creationId="{1F14E375-AE0C-B86C-5AA8-BDDE7B453E82}"/>
          </ac:spMkLst>
        </pc:spChg>
        <pc:spChg chg="mod">
          <ac:chgData name="Joelle Brehm" userId="a518f54c-6985-42c0-8041-2bb16a414839" providerId="ADAL" clId="{11F4A39F-1802-4DA4-AB6C-561BDA6399D2}" dt="2023-07-05T20:53:05.521" v="31717"/>
          <ac:spMkLst>
            <pc:docMk/>
            <pc:sldMk cId="2057745716" sldId="266"/>
            <ac:spMk id="34" creationId="{7686A18E-A22D-EB32-E9A2-F74C94C23822}"/>
          </ac:spMkLst>
        </pc:spChg>
        <pc:spChg chg="mod">
          <ac:chgData name="Joelle Brehm" userId="a518f54c-6985-42c0-8041-2bb16a414839" providerId="ADAL" clId="{11F4A39F-1802-4DA4-AB6C-561BDA6399D2}" dt="2023-07-05T20:53:05.521" v="31718"/>
          <ac:spMkLst>
            <pc:docMk/>
            <pc:sldMk cId="2057745716" sldId="266"/>
            <ac:spMk id="35" creationId="{3AD29896-D042-6C80-A93D-02668CD2E53C}"/>
          </ac:spMkLst>
        </pc:spChg>
        <pc:spChg chg="mod">
          <ac:chgData name="Joelle Brehm" userId="a518f54c-6985-42c0-8041-2bb16a414839" providerId="ADAL" clId="{11F4A39F-1802-4DA4-AB6C-561BDA6399D2}" dt="2023-07-05T20:53:05.521" v="31720"/>
          <ac:spMkLst>
            <pc:docMk/>
            <pc:sldMk cId="2057745716" sldId="266"/>
            <ac:spMk id="36" creationId="{5C57A8EA-9071-29F4-B24C-235140A0F3D6}"/>
          </ac:spMkLst>
        </pc:spChg>
        <pc:spChg chg="mod">
          <ac:chgData name="Joelle Brehm" userId="a518f54c-6985-42c0-8041-2bb16a414839" providerId="ADAL" clId="{11F4A39F-1802-4DA4-AB6C-561BDA6399D2}" dt="2023-07-05T20:53:05.521" v="31711"/>
          <ac:spMkLst>
            <pc:docMk/>
            <pc:sldMk cId="2057745716" sldId="266"/>
            <ac:spMk id="37" creationId="{597526D1-0B00-BB9B-B8E0-3CF7DA66C023}"/>
          </ac:spMkLst>
        </pc:spChg>
        <pc:spChg chg="mod">
          <ac:chgData name="Joelle Brehm" userId="a518f54c-6985-42c0-8041-2bb16a414839" providerId="ADAL" clId="{11F4A39F-1802-4DA4-AB6C-561BDA6399D2}" dt="2023-07-05T20:53:05.521" v="31719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11F4A39F-1802-4DA4-AB6C-561BDA6399D2}" dt="2023-07-05T20:53:05.521" v="31716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11F4A39F-1802-4DA4-AB6C-561BDA6399D2}" dt="2023-07-05T20:53:05.521" v="31728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11F4A39F-1802-4DA4-AB6C-561BDA6399D2}" dt="2023-07-05T20:53:05.521" v="31722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11F4A39F-1802-4DA4-AB6C-561BDA6399D2}" dt="2023-07-05T20:53:05.521" v="31725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11F4A39F-1802-4DA4-AB6C-561BDA6399D2}" dt="2023-07-05T20:53:05.521" v="31726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11F4A39F-1802-4DA4-AB6C-561BDA6399D2}" dt="2023-07-05T20:53:05.521" v="31727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11F4A39F-1802-4DA4-AB6C-561BDA6399D2}" dt="2023-07-05T20:53:05.521" v="31724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11F4A39F-1802-4DA4-AB6C-561BDA6399D2}" dt="2023-07-05T20:53:05.521" v="31721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11F4A39F-1802-4DA4-AB6C-561BDA6399D2}" dt="2023-07-05T20:53:05.521" v="31729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11F4A39F-1802-4DA4-AB6C-561BDA6399D2}" dt="2023-07-05T20:53:05.521" v="31731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11F4A39F-1802-4DA4-AB6C-561BDA6399D2}" dt="2023-07-05T20:53:05.521" v="31712"/>
          <ac:spMkLst>
            <pc:docMk/>
            <pc:sldMk cId="2057745716" sldId="266"/>
            <ac:spMk id="51" creationId="{C9D2CB7B-D271-C497-DAD6-584C7ADF3223}"/>
          </ac:spMkLst>
        </pc:spChg>
        <pc:spChg chg="add del mod modVis">
          <ac:chgData name="Joelle Brehm" userId="a518f54c-6985-42c0-8041-2bb16a414839" providerId="ADAL" clId="{11F4A39F-1802-4DA4-AB6C-561BDA6399D2}" dt="2023-07-05T20:34:10.737" v="13866"/>
          <ac:spMkLst>
            <pc:docMk/>
            <pc:sldMk cId="2057745716" sldId="266"/>
            <ac:spMk id="52" creationId="{3E1511BB-A3D3-6D07-DF5E-90BD02C24074}"/>
          </ac:spMkLst>
        </pc:spChg>
        <pc:spChg chg="add mod replST">
          <ac:chgData name="Joelle Brehm" userId="a518f54c-6985-42c0-8041-2bb16a414839" providerId="ADAL" clId="{11F4A39F-1802-4DA4-AB6C-561BDA6399D2}" dt="2023-07-05T20:53:05.521" v="31715"/>
          <ac:spMkLst>
            <pc:docMk/>
            <pc:sldMk cId="2057745716" sldId="266"/>
            <ac:spMk id="54" creationId="{C68FB9B8-E149-DE9C-BBED-40FE69C511C2}"/>
          </ac:spMkLst>
        </pc:spChg>
        <pc:spChg chg="add mod replST">
          <ac:chgData name="Joelle Brehm" userId="a518f54c-6985-42c0-8041-2bb16a414839" providerId="ADAL" clId="{11F4A39F-1802-4DA4-AB6C-561BDA6399D2}" dt="2023-07-05T20:53:05.521" v="31732"/>
          <ac:spMkLst>
            <pc:docMk/>
            <pc:sldMk cId="2057745716" sldId="266"/>
            <ac:spMk id="55" creationId="{690E2C54-9686-C808-DDEC-227810BB047A}"/>
          </ac:spMkLst>
        </pc:spChg>
        <pc:spChg chg="add del mod modVis">
          <ac:chgData name="Joelle Brehm" userId="a518f54c-6985-42c0-8041-2bb16a414839" providerId="ADAL" clId="{11F4A39F-1802-4DA4-AB6C-561BDA6399D2}" dt="2023-07-05T20:34:17.212" v="14266"/>
          <ac:spMkLst>
            <pc:docMk/>
            <pc:sldMk cId="2057745716" sldId="266"/>
            <ac:spMk id="56" creationId="{B2B574E7-83D3-2868-DC54-E3031D177052}"/>
          </ac:spMkLst>
        </pc:spChg>
        <pc:spChg chg="add del mod modVis">
          <ac:chgData name="Joelle Brehm" userId="a518f54c-6985-42c0-8041-2bb16a414839" providerId="ADAL" clId="{11F4A39F-1802-4DA4-AB6C-561BDA6399D2}" dt="2023-07-05T20:34:19.995" v="14483"/>
          <ac:spMkLst>
            <pc:docMk/>
            <pc:sldMk cId="2057745716" sldId="266"/>
            <ac:spMk id="58" creationId="{C08C3EDA-F4FA-5D8E-8D88-F055B967B4B3}"/>
          </ac:spMkLst>
        </pc:spChg>
        <pc:spChg chg="add del mod modVis">
          <ac:chgData name="Joelle Brehm" userId="a518f54c-6985-42c0-8041-2bb16a414839" providerId="ADAL" clId="{11F4A39F-1802-4DA4-AB6C-561BDA6399D2}" dt="2023-07-05T20:34:21.898" v="14732"/>
          <ac:spMkLst>
            <pc:docMk/>
            <pc:sldMk cId="2057745716" sldId="266"/>
            <ac:spMk id="62" creationId="{90CE8C4C-EDA5-0573-FBCF-B1B8555BADCB}"/>
          </ac:spMkLst>
        </pc:spChg>
        <pc:spChg chg="mod">
          <ac:chgData name="Joelle Brehm" userId="a518f54c-6985-42c0-8041-2bb16a414839" providerId="ADAL" clId="{11F4A39F-1802-4DA4-AB6C-561BDA6399D2}" dt="2023-07-05T20:53:05.521" v="31714"/>
          <ac:spMkLst>
            <pc:docMk/>
            <pc:sldMk cId="2057745716" sldId="266"/>
            <ac:spMk id="76" creationId="{039768EB-A261-18F6-0AF2-126D0A594518}"/>
          </ac:spMkLst>
        </pc:spChg>
        <pc:spChg chg="mod ord">
          <ac:chgData name="Joelle Brehm" userId="a518f54c-6985-42c0-8041-2bb16a414839" providerId="ADAL" clId="{11F4A39F-1802-4DA4-AB6C-561BDA6399D2}" dt="2023-07-05T20:53:05.521" v="31734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3:05.521" v="31736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11F4A39F-1802-4DA4-AB6C-561BDA6399D2}" dt="2023-07-05T20:53:05.521" v="31709"/>
          <ac:spMkLst>
            <pc:docMk/>
            <pc:sldMk cId="2057745716" sldId="266"/>
            <ac:spMk id="81" creationId="{2F6CBD17-E9F7-7AAD-1088-F3A86BFA66B9}"/>
          </ac:spMkLst>
        </pc:spChg>
        <pc:spChg chg="del mod">
          <ac:chgData name="Joelle Brehm" userId="a518f54c-6985-42c0-8041-2bb16a414839" providerId="ADAL" clId="{11F4A39F-1802-4DA4-AB6C-561BDA6399D2}" dt="2023-07-05T20:34:21.722" v="14487"/>
          <ac:spMkLst>
            <pc:docMk/>
            <pc:sldMk cId="2057745716" sldId="266"/>
            <ac:spMk id="85" creationId="{B0302A9E-2AE8-8509-DD05-E53D8136B94C}"/>
          </ac:spMkLst>
        </pc:spChg>
        <pc:spChg chg="del mod">
          <ac:chgData name="Joelle Brehm" userId="a518f54c-6985-42c0-8041-2bb16a414839" providerId="ADAL" clId="{11F4A39F-1802-4DA4-AB6C-561BDA6399D2}" dt="2023-07-05T20:34:21.720" v="14486"/>
          <ac:spMkLst>
            <pc:docMk/>
            <pc:sldMk cId="2057745716" sldId="266"/>
            <ac:spMk id="97" creationId="{9F50D670-332F-FEC4-F5FA-1274C5B2CB6D}"/>
          </ac:spMkLst>
        </pc:spChg>
        <pc:spChg chg="mod">
          <ac:chgData name="Joelle Brehm" userId="a518f54c-6985-42c0-8041-2bb16a414839" providerId="ADAL" clId="{11F4A39F-1802-4DA4-AB6C-561BDA6399D2}" dt="2023-07-05T20:53:05.521" v="31705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3:05.521" v="31738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3:05.521" v="31740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3:05.521" v="31742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3:05.521" v="31744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3:05.521" v="31704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05.521" v="31708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05.521" v="31706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05.521" v="31707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05.521" v="31748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05.521" v="31749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05.521" v="31747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05.521" v="31751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3:05.521" v="31750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3:05.541" v="31761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05.505" v="31679"/>
          <ac:graphicFrameMkLst>
            <pc:docMk/>
            <pc:sldMk cId="2057745716" sldId="266"/>
            <ac:graphicFrameMk id="8" creationId="{D6B37C36-023C-4A1E-E126-4D0F9F41880A}"/>
          </ac:graphicFrameMkLst>
        </pc:graphicFrameChg>
        <pc:graphicFrameChg chg="del">
          <ac:chgData name="Joelle Brehm" userId="a518f54c-6985-42c0-8041-2bb16a414839" providerId="ADAL" clId="{11F4A39F-1802-4DA4-AB6C-561BDA6399D2}" dt="2023-07-05T20:31:45.353" v="13413"/>
          <ac:graphicFrameMkLst>
            <pc:docMk/>
            <pc:sldMk cId="2057745716" sldId="266"/>
            <ac:graphicFrameMk id="46" creationId="{8C50C563-5AE8-5A77-FB40-FACADEC46274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05.521" v="31746"/>
          <ac:graphicFrameMkLst>
            <pc:docMk/>
            <pc:sldMk cId="2057745716" sldId="266"/>
            <ac:graphicFrameMk id="53" creationId="{D912BF31-C420-6E9D-0CC8-CCC1ACC81057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4:19.952" v="14385"/>
          <ac:graphicFrameMkLst>
            <pc:docMk/>
            <pc:sldMk cId="2057745716" sldId="266"/>
            <ac:graphicFrameMk id="57" creationId="{06E62F55-9A21-1377-4B88-59324CA72BC3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34:17.156" v="14168"/>
          <ac:graphicFrameMkLst>
            <pc:docMk/>
            <pc:sldMk cId="2057745716" sldId="266"/>
            <ac:graphicFrameMk id="59" creationId="{B73DBA9A-BAE8-BF71-009C-E17B9D64D69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34:21.825" v="14636"/>
          <ac:graphicFrameMkLst>
            <pc:docMk/>
            <pc:sldMk cId="2057745716" sldId="266"/>
            <ac:graphicFrameMk id="60" creationId="{3B9463E3-7857-8F78-641D-A0FD02DAEFBB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34:10.693" v="13770"/>
          <ac:graphicFrameMkLst>
            <pc:docMk/>
            <pc:sldMk cId="2057745716" sldId="266"/>
            <ac:graphicFrameMk id="61" creationId="{319F0BFE-32B2-A3D3-BF2E-0C3E2A9FC374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05.521" v="31703"/>
          <ac:graphicFrameMkLst>
            <pc:docMk/>
            <pc:sldMk cId="2057745716" sldId="266"/>
            <ac:graphicFrameMk id="63" creationId="{C791A186-4635-58DA-E97B-3786E3BA43B3}"/>
          </ac:graphicFrameMkLst>
        </pc:graphicFrameChg>
        <pc:picChg chg="add del mod ord">
          <ac:chgData name="Joelle Brehm" userId="a518f54c-6985-42c0-8041-2bb16a414839" providerId="ADAL" clId="{11F4A39F-1802-4DA4-AB6C-561BDA6399D2}" dt="2023-07-05T20:53:06.890" v="31762" actId="478"/>
          <ac:picMkLst>
            <pc:docMk/>
            <pc:sldMk cId="2057745716" sldId="266"/>
            <ac:picMk id="9" creationId="{0B141902-EED5-7654-E129-995746335360}"/>
          </ac:picMkLst>
        </pc:picChg>
        <pc:picChg chg="del mod ord">
          <ac:chgData name="Joelle Brehm" userId="a518f54c-6985-42c0-8041-2bb16a414839" providerId="ADAL" clId="{11F4A39F-1802-4DA4-AB6C-561BDA6399D2}" dt="2023-07-05T20:32:10.553" v="13621" actId="478"/>
          <ac:picMkLst>
            <pc:docMk/>
            <pc:sldMk cId="2057745716" sldId="266"/>
            <ac:picMk id="48" creationId="{F7C7A64D-155B-C2A5-B304-D7BD707D8E90}"/>
          </ac:picMkLst>
        </pc:picChg>
        <pc:picChg chg="add mod ord">
          <ac:chgData name="Joelle Brehm" userId="a518f54c-6985-42c0-8041-2bb16a414839" providerId="ADAL" clId="{11F4A39F-1802-4DA4-AB6C-561BDA6399D2}" dt="2023-07-05T20:53:05.505" v="31671"/>
          <ac:picMkLst>
            <pc:docMk/>
            <pc:sldMk cId="2057745716" sldId="266"/>
            <ac:picMk id="64" creationId="{A4EC29F0-6CB9-8B9A-88E5-8C02C6F019FE}"/>
          </ac:picMkLst>
        </pc:picChg>
        <pc:picChg chg="mod ord">
          <ac:chgData name="Joelle Brehm" userId="a518f54c-6985-42c0-8041-2bb16a414839" providerId="ADAL" clId="{11F4A39F-1802-4DA4-AB6C-561BDA6399D2}" dt="2023-07-05T20:53:05.521" v="31755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11F4A39F-1802-4DA4-AB6C-561BDA6399D2}" dt="2023-07-05T20:53:05.521" v="31753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3:05.505" v="31677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3:51.171" v="31933" actId="478"/>
        <pc:sldMkLst>
          <pc:docMk/>
          <pc:sldMk cId="3795966898" sldId="267"/>
        </pc:sldMkLst>
        <pc:spChg chg="mod ord">
          <ac:chgData name="Joelle Brehm" userId="a518f54c-6985-42c0-8041-2bb16a414839" providerId="ADAL" clId="{11F4A39F-1802-4DA4-AB6C-561BDA6399D2}" dt="2023-07-05T20:53:49.919" v="31928"/>
          <ac:spMkLst>
            <pc:docMk/>
            <pc:sldMk cId="3795966898" sldId="267"/>
            <ac:spMk id="2" creationId="{8ADF3DAD-89AE-4B6D-9F50-64987A2AE5AE}"/>
          </ac:spMkLst>
        </pc:spChg>
        <pc:spChg chg="add del mod ord">
          <ac:chgData name="Joelle Brehm" userId="a518f54c-6985-42c0-8041-2bb16a414839" providerId="ADAL" clId="{11F4A39F-1802-4DA4-AB6C-561BDA6399D2}" dt="2023-07-05T20:42:22.915" v="16964" actId="478"/>
          <ac:spMkLst>
            <pc:docMk/>
            <pc:sldMk cId="3795966898" sldId="267"/>
            <ac:spMk id="3" creationId="{7FCE75B2-AC47-6877-7EC8-EAAFD0D786AC}"/>
          </ac:spMkLst>
        </pc:spChg>
        <pc:spChg chg="add del mod modVis">
          <ac:chgData name="Joelle Brehm" userId="a518f54c-6985-42c0-8041-2bb16a414839" providerId="ADAL" clId="{11F4A39F-1802-4DA4-AB6C-561BDA6399D2}" dt="2023-07-05T20:41:29.853" v="16878"/>
          <ac:spMkLst>
            <pc:docMk/>
            <pc:sldMk cId="3795966898" sldId="267"/>
            <ac:spMk id="5" creationId="{B0AC3B57-696A-F759-E995-E6F06D071BDA}"/>
          </ac:spMkLst>
        </pc:spChg>
        <pc:spChg chg="mod ord">
          <ac:chgData name="Joelle Brehm" userId="a518f54c-6985-42c0-8041-2bb16a414839" providerId="ADAL" clId="{11F4A39F-1802-4DA4-AB6C-561BDA6399D2}" dt="2023-07-05T20:53:49.903" v="31863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3:49.903" v="31868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3:49.903" v="31873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3:49.903" v="31869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3:49.903" v="31871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3:49.903" v="31872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3:49.903" v="31875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3:49.903" v="31870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3:49.903" v="31874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3:49.903" v="31876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3:49.903" v="31877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3:49.903" v="31878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3:49.903" v="31879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3:49.903" v="31881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3:49.903" v="31884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3:49.903" v="31882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3:49.903" v="31883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3:49.903" v="31886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3:49.903" v="31885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3:49.903" v="31887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3:49.903" v="31889"/>
          <ac:spMkLst>
            <pc:docMk/>
            <pc:sldMk cId="3795966898" sldId="267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3:49.903" v="31898"/>
          <ac:spMkLst>
            <pc:docMk/>
            <pc:sldMk cId="3795966898" sldId="267"/>
            <ac:spMk id="31" creationId="{1FD446DE-B952-ACD9-BEA6-D4E54F5804A8}"/>
          </ac:spMkLst>
        </pc:spChg>
        <pc:spChg chg="mod">
          <ac:chgData name="Joelle Brehm" userId="a518f54c-6985-42c0-8041-2bb16a414839" providerId="ADAL" clId="{11F4A39F-1802-4DA4-AB6C-561BDA6399D2}" dt="2023-07-05T20:53:49.903" v="31895"/>
          <ac:spMkLst>
            <pc:docMk/>
            <pc:sldMk cId="3795966898" sldId="267"/>
            <ac:spMk id="33" creationId="{0AF17994-2A88-B5A9-1960-3D49D7A5E286}"/>
          </ac:spMkLst>
        </pc:spChg>
        <pc:spChg chg="mod">
          <ac:chgData name="Joelle Brehm" userId="a518f54c-6985-42c0-8041-2bb16a414839" providerId="ADAL" clId="{11F4A39F-1802-4DA4-AB6C-561BDA6399D2}" dt="2023-07-05T20:53:49.903" v="31892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11F4A39F-1802-4DA4-AB6C-561BDA6399D2}" dt="2023-07-05T20:53:49.903" v="31896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11F4A39F-1802-4DA4-AB6C-561BDA6399D2}" dt="2023-07-05T20:53:49.903" v="31901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11F4A39F-1802-4DA4-AB6C-561BDA6399D2}" dt="2023-07-05T20:53:49.903" v="31894"/>
          <ac:spMkLst>
            <pc:docMk/>
            <pc:sldMk cId="3795966898" sldId="267"/>
            <ac:spMk id="37" creationId="{2C18F645-6C7C-E805-959B-6BCC1E699323}"/>
          </ac:spMkLst>
        </pc:spChg>
        <pc:spChg chg="mod">
          <ac:chgData name="Joelle Brehm" userId="a518f54c-6985-42c0-8041-2bb16a414839" providerId="ADAL" clId="{11F4A39F-1802-4DA4-AB6C-561BDA6399D2}" dt="2023-07-05T20:53:49.903" v="31893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11F4A39F-1802-4DA4-AB6C-561BDA6399D2}" dt="2023-07-05T20:53:49.903" v="31899"/>
          <ac:spMkLst>
            <pc:docMk/>
            <pc:sldMk cId="3795966898" sldId="267"/>
            <ac:spMk id="39" creationId="{83832067-25B3-AFCE-E78B-F25DBF661146}"/>
          </ac:spMkLst>
        </pc:spChg>
        <pc:spChg chg="mod">
          <ac:chgData name="Joelle Brehm" userId="a518f54c-6985-42c0-8041-2bb16a414839" providerId="ADAL" clId="{11F4A39F-1802-4DA4-AB6C-561BDA6399D2}" dt="2023-07-05T20:53:49.903" v="31902"/>
          <ac:spMkLst>
            <pc:docMk/>
            <pc:sldMk cId="3795966898" sldId="267"/>
            <ac:spMk id="40" creationId="{E572EFC5-A7FD-69F6-5C31-AAA859CEB992}"/>
          </ac:spMkLst>
        </pc:spChg>
        <pc:spChg chg="add del mod modVis">
          <ac:chgData name="Joelle Brehm" userId="a518f54c-6985-42c0-8041-2bb16a414839" providerId="ADAL" clId="{11F4A39F-1802-4DA4-AB6C-561BDA6399D2}" dt="2023-07-05T20:42:29.613" v="17244"/>
          <ac:spMkLst>
            <pc:docMk/>
            <pc:sldMk cId="3795966898" sldId="267"/>
            <ac:spMk id="41" creationId="{7D29040C-EFEE-F849-04FB-0C878D0F0E07}"/>
          </ac:spMkLst>
        </pc:spChg>
        <pc:spChg chg="mod">
          <ac:chgData name="Joelle Brehm" userId="a518f54c-6985-42c0-8041-2bb16a414839" providerId="ADAL" clId="{11F4A39F-1802-4DA4-AB6C-561BDA6399D2}" dt="2023-07-05T20:53:49.903" v="31900"/>
          <ac:spMkLst>
            <pc:docMk/>
            <pc:sldMk cId="3795966898" sldId="267"/>
            <ac:spMk id="42" creationId="{00A8D05A-611B-5627-879F-426A9C84E224}"/>
          </ac:spMkLst>
        </pc:spChg>
        <pc:spChg chg="add mod replST">
          <ac:chgData name="Joelle Brehm" userId="a518f54c-6985-42c0-8041-2bb16a414839" providerId="ADAL" clId="{11F4A39F-1802-4DA4-AB6C-561BDA6399D2}" dt="2023-07-05T20:53:49.903" v="31903"/>
          <ac:spMkLst>
            <pc:docMk/>
            <pc:sldMk cId="3795966898" sldId="267"/>
            <ac:spMk id="44" creationId="{40B65240-400F-5791-7F3E-FCB0C3838579}"/>
          </ac:spMkLst>
        </pc:spChg>
        <pc:spChg chg="add del mod modVis">
          <ac:chgData name="Joelle Brehm" userId="a518f54c-6985-42c0-8041-2bb16a414839" providerId="ADAL" clId="{11F4A39F-1802-4DA4-AB6C-561BDA6399D2}" dt="2023-07-05T20:42:35.405" v="17935"/>
          <ac:spMkLst>
            <pc:docMk/>
            <pc:sldMk cId="3795966898" sldId="267"/>
            <ac:spMk id="45" creationId="{5CFA7823-2936-A716-753F-FB2B58AEFAA5}"/>
          </ac:spMkLst>
        </pc:spChg>
        <pc:spChg chg="add del mod ord replST">
          <ac:chgData name="Joelle Brehm" userId="a518f54c-6985-42c0-8041-2bb16a414839" providerId="ADAL" clId="{11F4A39F-1802-4DA4-AB6C-561BDA6399D2}" dt="2023-07-05T20:42:38.651" v="18226"/>
          <ac:spMkLst>
            <pc:docMk/>
            <pc:sldMk cId="3795966898" sldId="267"/>
            <ac:spMk id="4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49.903" v="31921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11F4A39F-1802-4DA4-AB6C-561BDA6399D2}" dt="2023-07-05T20:42:36.884" v="18141"/>
          <ac:spMkLst>
            <pc:docMk/>
            <pc:sldMk cId="3795966898" sldId="267"/>
            <ac:spMk id="49" creationId="{0F4E29A4-0EB0-7B47-F8F2-EAF71D547935}"/>
          </ac:spMkLst>
        </pc:spChg>
        <pc:spChg chg="add del mod modVis">
          <ac:chgData name="Joelle Brehm" userId="a518f54c-6985-42c0-8041-2bb16a414839" providerId="ADAL" clId="{11F4A39F-1802-4DA4-AB6C-561BDA6399D2}" dt="2023-07-05T20:42:38.716" v="18338"/>
          <ac:spMkLst>
            <pc:docMk/>
            <pc:sldMk cId="3795966898" sldId="267"/>
            <ac:spMk id="52" creationId="{5CAC2E59-5136-743D-CEF2-CDE6487CECC7}"/>
          </ac:spMkLst>
        </pc:spChg>
        <pc:spChg chg="mod">
          <ac:chgData name="Joelle Brehm" userId="a518f54c-6985-42c0-8041-2bb16a414839" providerId="ADAL" clId="{11F4A39F-1802-4DA4-AB6C-561BDA6399D2}" dt="2023-07-05T20:53:49.903" v="31897"/>
          <ac:spMkLst>
            <pc:docMk/>
            <pc:sldMk cId="3795966898" sldId="267"/>
            <ac:spMk id="63" creationId="{053D79FA-9959-DC9B-AD5D-DAC4EDF9A224}"/>
          </ac:spMkLst>
        </pc:spChg>
        <pc:spChg chg="del mod">
          <ac:chgData name="Joelle Brehm" userId="a518f54c-6985-42c0-8041-2bb16a414839" providerId="ADAL" clId="{11F4A39F-1802-4DA4-AB6C-561BDA6399D2}" dt="2023-07-05T20:42:38.600" v="18144"/>
          <ac:spMkLst>
            <pc:docMk/>
            <pc:sldMk cId="3795966898" sldId="267"/>
            <ac:spMk id="65" creationId="{50F9D6DC-E276-FE03-B9BC-7046DB37B88B}"/>
          </ac:spMkLst>
        </pc:spChg>
        <pc:spChg chg="mod ord">
          <ac:chgData name="Joelle Brehm" userId="a518f54c-6985-42c0-8041-2bb16a414839" providerId="ADAL" clId="{11F4A39F-1802-4DA4-AB6C-561BDA6399D2}" dt="2023-07-05T20:53:49.903" v="31905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3:49.903" v="31907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0:53:49.903" v="31909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3:49.919" v="31926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11F4A39F-1802-4DA4-AB6C-561BDA6399D2}" dt="2023-07-05T20:53:49.903" v="31911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3:49.903" v="31913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3:49.903" v="31915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3:49.903" v="31918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49.903" v="31920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3:49.903" v="31919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3:49.903" v="31922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3:49.919" v="31932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0:41:29.800" v="16795"/>
          <ac:graphicFrameMkLst>
            <pc:docMk/>
            <pc:sldMk cId="3795966898" sldId="267"/>
            <ac:graphicFrameMk id="8" creationId="{809ADF1D-218F-6FCC-4FC0-C2B483BFD0C8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49.903" v="31867"/>
          <ac:graphicFrameMkLst>
            <pc:docMk/>
            <pc:sldMk cId="3795966898" sldId="267"/>
            <ac:graphicFrameMk id="9" creationId="{7A225B4E-EEBF-58B5-E3D1-CF840438CA63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49.903" v="31917"/>
          <ac:graphicFrameMkLst>
            <pc:docMk/>
            <pc:sldMk cId="3795966898" sldId="267"/>
            <ac:graphicFrameMk id="43" creationId="{23295E3C-2618-9F02-1D0B-80D25B807BAB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2:36.813" v="18039"/>
          <ac:graphicFrameMkLst>
            <pc:docMk/>
            <pc:sldMk cId="3795966898" sldId="267"/>
            <ac:graphicFrameMk id="47" creationId="{DFE23E5C-79E2-E8A0-8921-7B4598264380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2:35.339" v="17847"/>
          <ac:graphicFrameMkLst>
            <pc:docMk/>
            <pc:sldMk cId="3795966898" sldId="267"/>
            <ac:graphicFrameMk id="50" creationId="{9447E833-2EA3-419C-36D6-7A9A4BFA6F1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2:38.667" v="18259"/>
          <ac:graphicFrameMkLst>
            <pc:docMk/>
            <pc:sldMk cId="3795966898" sldId="267"/>
            <ac:graphicFrameMk id="51" creationId="{1C10C47A-734E-B257-8FD6-B952A829A889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2:29.566" v="17165"/>
          <ac:graphicFrameMkLst>
            <pc:docMk/>
            <pc:sldMk cId="3795966898" sldId="267"/>
            <ac:graphicFrameMk id="53" creationId="{9E3A27C4-43D4-EC2F-D82A-55D844177B6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3:49.903" v="31891"/>
          <ac:graphicFrameMkLst>
            <pc:docMk/>
            <pc:sldMk cId="3795966898" sldId="267"/>
            <ac:graphicFrameMk id="54" creationId="{8A1C8C17-B7F0-92A2-B43C-EC59676A1B6F}"/>
          </ac:graphicFrameMkLst>
        </pc:graphicFrameChg>
        <pc:picChg chg="add del mod ord">
          <ac:chgData name="Joelle Brehm" userId="a518f54c-6985-42c0-8041-2bb16a414839" providerId="ADAL" clId="{11F4A39F-1802-4DA4-AB6C-561BDA6399D2}" dt="2023-07-05T20:53:51.171" v="31933" actId="478"/>
          <ac:picMkLst>
            <pc:docMk/>
            <pc:sldMk cId="3795966898" sldId="267"/>
            <ac:picMk id="10" creationId="{DE6793A0-60A6-084B-96B4-4DD585408C7E}"/>
          </ac:picMkLst>
        </pc:picChg>
        <pc:picChg chg="del mod ord">
          <ac:chgData name="Joelle Brehm" userId="a518f54c-6985-42c0-8041-2bb16a414839" providerId="ADAL" clId="{11F4A39F-1802-4DA4-AB6C-561BDA6399D2}" dt="2023-07-05T20:42:20.625" v="16963" actId="478"/>
          <ac:picMkLst>
            <pc:docMk/>
            <pc:sldMk cId="3795966898" sldId="267"/>
            <ac:picMk id="32" creationId="{8B2C6CEA-76E6-6A0A-3477-5ACF1928E7EE}"/>
          </ac:picMkLst>
        </pc:picChg>
        <pc:picChg chg="add mod ord">
          <ac:chgData name="Joelle Brehm" userId="a518f54c-6985-42c0-8041-2bb16a414839" providerId="ADAL" clId="{11F4A39F-1802-4DA4-AB6C-561BDA6399D2}" dt="2023-07-05T20:53:49.903" v="31859"/>
          <ac:picMkLst>
            <pc:docMk/>
            <pc:sldMk cId="3795966898" sldId="267"/>
            <ac:picMk id="55" creationId="{BA8C5FCD-7C48-7029-81D0-A5C5CFF8D3AD}"/>
          </ac:picMkLst>
        </pc:picChg>
        <pc:picChg chg="mod ord">
          <ac:chgData name="Joelle Brehm" userId="a518f54c-6985-42c0-8041-2bb16a414839" providerId="ADAL" clId="{11F4A39F-1802-4DA4-AB6C-561BDA6399D2}" dt="2023-07-05T20:53:49.903" v="31924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3:49.903" v="31865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4:14.688" v="32018" actId="1036"/>
        <pc:sldMkLst>
          <pc:docMk/>
          <pc:sldMk cId="622078465" sldId="269"/>
        </pc:sldMkLst>
        <pc:spChg chg="add del mod ord">
          <ac:chgData name="Joelle Brehm" userId="a518f54c-6985-42c0-8041-2bb16a414839" providerId="ADAL" clId="{11F4A39F-1802-4DA4-AB6C-561BDA6399D2}" dt="2023-07-05T20:43:16.522" v="19745" actId="478"/>
          <ac:spMkLst>
            <pc:docMk/>
            <pc:sldMk cId="622078465" sldId="269"/>
            <ac:spMk id="2" creationId="{9EE1540E-5735-1478-618C-AD4887FAE946}"/>
          </ac:spMkLst>
        </pc:spChg>
        <pc:spChg chg="mod ord">
          <ac:chgData name="Joelle Brehm" userId="a518f54c-6985-42c0-8041-2bb16a414839" providerId="ADAL" clId="{11F4A39F-1802-4DA4-AB6C-561BDA6399D2}" dt="2023-07-05T20:54:10.143" v="32012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11F4A39F-1802-4DA4-AB6C-561BDA6399D2}" dt="2023-07-05T20:42:54.780" v="18603"/>
          <ac:spMkLst>
            <pc:docMk/>
            <pc:sldMk cId="622078465" sldId="269"/>
            <ac:spMk id="5" creationId="{7D8EE502-8E6D-4966-1876-97FF4DAFC221}"/>
          </ac:spMkLst>
        </pc:spChg>
        <pc:spChg chg="mod ord">
          <ac:chgData name="Joelle Brehm" userId="a518f54c-6985-42c0-8041-2bb16a414839" providerId="ADAL" clId="{11F4A39F-1802-4DA4-AB6C-561BDA6399D2}" dt="2023-07-05T20:54:10.102" v="31947"/>
          <ac:spMkLst>
            <pc:docMk/>
            <pc:sldMk cId="622078465" sldId="269"/>
            <ac:spMk id="6" creationId="{B47CE71D-7819-4857-B121-737A3BD39B4D}"/>
          </ac:spMkLst>
        </pc:spChg>
        <pc:spChg chg="add mod replST">
          <ac:chgData name="Joelle Brehm" userId="a518f54c-6985-42c0-8041-2bb16a414839" providerId="ADAL" clId="{11F4A39F-1802-4DA4-AB6C-561BDA6399D2}" dt="2023-07-05T20:54:10.125" v="31981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11F4A39F-1802-4DA4-AB6C-561BDA6399D2}" dt="2023-07-05T20:54:10.111" v="31960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4:10.107" v="31954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4:10.110" v="31958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4:10.107" v="31955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4:10.108" v="31956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4:10.106" v="31953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4:10.110" v="31959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4:10.105" v="31952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4:10.112" v="31961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4:10.113" v="31962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4:10.109" v="31957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4:10.113" v="31963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4:10.114" v="31965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4:10.115" v="31966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4:10.117" v="31968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4:10.116" v="31967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4:10.118" v="31970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4:10.118" v="31969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4:10.119" v="31971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4:10.120" v="31973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4:10.129" v="31987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11F4A39F-1802-4DA4-AB6C-561BDA6399D2}" dt="2023-07-05T20:54:10.127" v="31984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11F4A39F-1802-4DA4-AB6C-561BDA6399D2}" dt="2023-07-05T20:54:10.129" v="31986"/>
          <ac:spMkLst>
            <pc:docMk/>
            <pc:sldMk cId="622078465" sldId="269"/>
            <ac:spMk id="34" creationId="{361A309D-582A-9EF2-AAA6-D0365E1E80AF}"/>
          </ac:spMkLst>
        </pc:spChg>
        <pc:spChg chg="add del mod modVis">
          <ac:chgData name="Joelle Brehm" userId="a518f54c-6985-42c0-8041-2bb16a414839" providerId="ADAL" clId="{11F4A39F-1802-4DA4-AB6C-561BDA6399D2}" dt="2023-07-05T20:43:06.018" v="19110"/>
          <ac:spMkLst>
            <pc:docMk/>
            <pc:sldMk cId="622078465" sldId="269"/>
            <ac:spMk id="35" creationId="{9AD2BC35-A261-183B-71E7-74D2B8F012EF}"/>
          </ac:spMkLst>
        </pc:spChg>
        <pc:spChg chg="add del mod modVis">
          <ac:chgData name="Joelle Brehm" userId="a518f54c-6985-42c0-8041-2bb16a414839" providerId="ADAL" clId="{11F4A39F-1802-4DA4-AB6C-561BDA6399D2}" dt="2023-07-05T20:43:10.159" v="19384"/>
          <ac:spMkLst>
            <pc:docMk/>
            <pc:sldMk cId="622078465" sldId="269"/>
            <ac:spMk id="37" creationId="{E09DD3FA-0D04-7FE3-A5DF-071CB026BD8D}"/>
          </ac:spMkLst>
        </pc:spChg>
        <pc:spChg chg="add del mod ord replST">
          <ac:chgData name="Joelle Brehm" userId="a518f54c-6985-42c0-8041-2bb16a414839" providerId="ADAL" clId="{11F4A39F-1802-4DA4-AB6C-561BDA6399D2}" dt="2023-07-05T20:43:15.269" v="19659"/>
          <ac:spMkLst>
            <pc:docMk/>
            <pc:sldMk cId="622078465" sldId="269"/>
            <ac:spMk id="38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0:43:12.132" v="19585"/>
          <ac:spMkLst>
            <pc:docMk/>
            <pc:sldMk cId="622078465" sldId="269"/>
            <ac:spMk id="40" creationId="{5FA89154-8742-F273-6425-996311340E48}"/>
          </ac:spMkLst>
        </pc:spChg>
        <pc:spChg chg="add del mod modVis">
          <ac:chgData name="Joelle Brehm" userId="a518f54c-6985-42c0-8041-2bb16a414839" providerId="ADAL" clId="{11F4A39F-1802-4DA4-AB6C-561BDA6399D2}" dt="2023-07-05T20:43:15.312" v="19742"/>
          <ac:spMkLst>
            <pc:docMk/>
            <pc:sldMk cId="622078465" sldId="269"/>
            <ac:spMk id="42" creationId="{4D7935DC-819C-0EA3-778E-F76E76924753}"/>
          </ac:spMkLst>
        </pc:spChg>
        <pc:spChg chg="add del mod modVis">
          <ac:chgData name="Joelle Brehm" userId="a518f54c-6985-42c0-8041-2bb16a414839" providerId="ADAL" clId="{11F4A39F-1802-4DA4-AB6C-561BDA6399D2}" dt="2023-07-05T20:43:46.675" v="20077"/>
          <ac:spMkLst>
            <pc:docMk/>
            <pc:sldMk cId="622078465" sldId="269"/>
            <ac:spMk id="45" creationId="{0E4BBA78-C9CB-5C39-0B02-BA8D1523AA36}"/>
          </ac:spMkLst>
        </pc:spChg>
        <pc:spChg chg="mod ord">
          <ac:chgData name="Joelle Brehm" userId="a518f54c-6985-42c0-8041-2bb16a414839" providerId="ADAL" clId="{11F4A39F-1802-4DA4-AB6C-561BDA6399D2}" dt="2023-07-05T20:54:10.142" v="32010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11F4A39F-1802-4DA4-AB6C-561BDA6399D2}" dt="2023-07-05T20:54:10.130" v="31989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4:10.131" v="31991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11F4A39F-1802-4DA4-AB6C-561BDA6399D2}" dt="2023-07-05T20:43:12.005" v="19387"/>
          <ac:spMkLst>
            <pc:docMk/>
            <pc:sldMk cId="622078465" sldId="269"/>
            <ac:spMk id="8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2" v="31977"/>
          <ac:spMkLst>
            <pc:docMk/>
            <pc:sldMk cId="622078465" sldId="269"/>
            <ac:spMk id="8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3" v="31978"/>
          <ac:spMkLst>
            <pc:docMk/>
            <pc:sldMk cId="622078465" sldId="269"/>
            <ac:spMk id="8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4" v="31980"/>
          <ac:spMkLst>
            <pc:docMk/>
            <pc:sldMk cId="622078465" sldId="269"/>
            <ac:spMk id="8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7" v="31983"/>
          <ac:spMkLst>
            <pc:docMk/>
            <pc:sldMk cId="622078465" sldId="269"/>
            <ac:spMk id="8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6" v="31982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4" v="31979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2" v="31976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28" v="31985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4:10.132" v="31993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4:10.133" v="31995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4:10.134" v="31997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4:10.135" v="31999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4:10.137" v="32002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38" v="32003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38" v="32004"/>
          <ac:spMkLst>
            <pc:docMk/>
            <pc:sldMk cId="622078465" sldId="269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10.139" v="32005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4:10.139" v="32006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4:10.168" v="32016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3:46.606" v="19994"/>
          <ac:graphicFrameMkLst>
            <pc:docMk/>
            <pc:sldMk cId="622078465" sldId="269"/>
            <ac:graphicFrameMk id="8" creationId="{7B04E2DC-5DD4-D4A3-26E7-BEA5044F634B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4:10.136" v="32001"/>
          <ac:graphicFrameMkLst>
            <pc:docMk/>
            <pc:sldMk cId="622078465" sldId="269"/>
            <ac:graphicFrameMk id="9" creationId="{2921E565-2022-A06D-0C8F-03C1C81A25E8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3:10.112" v="19278"/>
          <ac:graphicFrameMkLst>
            <pc:docMk/>
            <pc:sldMk cId="622078465" sldId="269"/>
            <ac:graphicFrameMk id="36" creationId="{087C4FE8-9FC0-92E9-6C44-C91FE5FA447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3:12.085" v="19502"/>
          <ac:graphicFrameMkLst>
            <pc:docMk/>
            <pc:sldMk cId="622078465" sldId="269"/>
            <ac:graphicFrameMk id="39" creationId="{42B5D1FE-3ACF-7409-A78F-232536C7223D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3:15.269" v="19661"/>
          <ac:graphicFrameMkLst>
            <pc:docMk/>
            <pc:sldMk cId="622078465" sldId="269"/>
            <ac:graphicFrameMk id="41" creationId="{E140D25D-B8F2-CD98-09B9-FFA0285ADD0E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4:10.121" v="31975"/>
          <ac:graphicFrameMkLst>
            <pc:docMk/>
            <pc:sldMk cId="622078465" sldId="269"/>
            <ac:graphicFrameMk id="43" creationId="{E3BDA500-9814-449C-31B3-56AE65BB4753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4:10.104" v="31951"/>
          <ac:graphicFrameMkLst>
            <pc:docMk/>
            <pc:sldMk cId="622078465" sldId="269"/>
            <ac:graphicFrameMk id="46" creationId="{9CB58D56-578D-2184-9FD4-93440E185214}"/>
          </ac:graphicFrameMkLst>
        </pc:graphicFrameChg>
        <pc:graphicFrameChg chg="del">
          <ac:chgData name="Joelle Brehm" userId="a518f54c-6985-42c0-8041-2bb16a414839" providerId="ADAL" clId="{11F4A39F-1802-4DA4-AB6C-561BDA6399D2}" dt="2023-07-05T20:42:54.719" v="18522"/>
          <ac:graphicFrameMkLst>
            <pc:docMk/>
            <pc:sldMk cId="622078465" sldId="269"/>
            <ac:graphicFrameMk id="47" creationId="{1BC024BD-52AF-B30E-4ABC-F4315B54431E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3:05.957" v="19020"/>
          <ac:graphicFrameMkLst>
            <pc:docMk/>
            <pc:sldMk cId="622078465" sldId="269"/>
            <ac:graphicFrameMk id="50" creationId="{A902D93E-3246-90C9-2025-3D5EEAEDDC52}"/>
          </ac:graphicFrameMkLst>
        </pc:graphicFrameChg>
        <pc:picChg chg="del mod ord">
          <ac:chgData name="Joelle Brehm" userId="a518f54c-6985-42c0-8041-2bb16a414839" providerId="ADAL" clId="{11F4A39F-1802-4DA4-AB6C-561BDA6399D2}" dt="2023-07-05T20:43:37.112" v="19836" actId="478"/>
          <ac:picMkLst>
            <pc:docMk/>
            <pc:sldMk cId="622078465" sldId="269"/>
            <ac:picMk id="31" creationId="{E8368CAD-8FEB-645A-3470-05F6D9B6ADB9}"/>
          </ac:picMkLst>
        </pc:picChg>
        <pc:picChg chg="add del mod ord">
          <ac:chgData name="Joelle Brehm" userId="a518f54c-6985-42c0-8041-2bb16a414839" providerId="ADAL" clId="{11F4A39F-1802-4DA4-AB6C-561BDA6399D2}" dt="2023-07-05T20:54:11.950" v="32017" actId="478"/>
          <ac:picMkLst>
            <pc:docMk/>
            <pc:sldMk cId="622078465" sldId="269"/>
            <ac:picMk id="44" creationId="{6B7C4CAE-DC72-BCA9-FB4B-6DF57831256A}"/>
          </ac:picMkLst>
        </pc:picChg>
        <pc:picChg chg="add mod ord">
          <ac:chgData name="Joelle Brehm" userId="a518f54c-6985-42c0-8041-2bb16a414839" providerId="ADAL" clId="{11F4A39F-1802-4DA4-AB6C-561BDA6399D2}" dt="2023-07-05T20:54:14.688" v="32018" actId="1036"/>
          <ac:picMkLst>
            <pc:docMk/>
            <pc:sldMk cId="622078465" sldId="269"/>
            <ac:picMk id="48" creationId="{8B2D8C16-BC22-DC10-8CFB-11B875ACA85D}"/>
          </ac:picMkLst>
        </pc:picChg>
        <pc:picChg chg="mod ord">
          <ac:chgData name="Joelle Brehm" userId="a518f54c-6985-42c0-8041-2bb16a414839" providerId="ADAL" clId="{11F4A39F-1802-4DA4-AB6C-561BDA6399D2}" dt="2023-07-05T20:54:10.140" v="32008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4:10.103" v="31949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36:59.641" v="42922"/>
        <pc:sldMkLst>
          <pc:docMk/>
          <pc:sldMk cId="1002023985" sldId="270"/>
        </pc:sldMkLst>
        <pc:spChg chg="mod ord">
          <ac:chgData name="Joelle Brehm" userId="a518f54c-6985-42c0-8041-2bb16a414839" providerId="ADAL" clId="{11F4A39F-1802-4DA4-AB6C-561BDA6399D2}" dt="2023-07-05T21:36:59.626" v="42916"/>
          <ac:spMkLst>
            <pc:docMk/>
            <pc:sldMk cId="1002023985" sldId="270"/>
            <ac:spMk id="2" creationId="{2799481D-3313-41C1-9238-7B9AB0AAF857}"/>
          </ac:spMkLst>
        </pc:spChg>
        <pc:spChg chg="add del mod ord">
          <ac:chgData name="Joelle Brehm" userId="a518f54c-6985-42c0-8041-2bb16a414839" providerId="ADAL" clId="{11F4A39F-1802-4DA4-AB6C-561BDA6399D2}" dt="2023-07-05T21:36:36.920" v="41788" actId="478"/>
          <ac:spMkLst>
            <pc:docMk/>
            <pc:sldMk cId="1002023985" sldId="270"/>
            <ac:spMk id="5" creationId="{9A7ACBD3-3517-202F-F393-26FF71996199}"/>
          </ac:spMkLst>
        </pc:spChg>
        <pc:spChg chg="mod ord">
          <ac:chgData name="Joelle Brehm" userId="a518f54c-6985-42c0-8041-2bb16a414839" providerId="ADAL" clId="{11F4A39F-1802-4DA4-AB6C-561BDA6399D2}" dt="2023-07-05T21:36:59.593" v="42831"/>
          <ac:spMkLst>
            <pc:docMk/>
            <pc:sldMk cId="1002023985" sldId="27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1F4A39F-1802-4DA4-AB6C-561BDA6399D2}" dt="2023-07-05T21:35:57.328" v="41678"/>
          <ac:spMkLst>
            <pc:docMk/>
            <pc:sldMk cId="1002023985" sldId="270"/>
            <ac:spMk id="8" creationId="{DAAE94D5-002D-BE9F-600F-35E8AE05D67A}"/>
          </ac:spMkLst>
        </pc:spChg>
        <pc:spChg chg="mod">
          <ac:chgData name="Joelle Brehm" userId="a518f54c-6985-42c0-8041-2bb16a414839" providerId="ADAL" clId="{11F4A39F-1802-4DA4-AB6C-561BDA6399D2}" dt="2023-07-05T21:36:59.610" v="42870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11F4A39F-1802-4DA4-AB6C-561BDA6399D2}" dt="2023-07-05T21:36:59.593" v="42836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36:59.593" v="42837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36:59.593" v="42841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36:59.593" v="42838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36:59.593" v="42840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36:59.593" v="42842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36:59.593" v="42843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36:59.593" v="42839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36:59.593" v="42844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36:59.609" v="42845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36:59.609" v="42846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36:59.610" v="42847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36:59.610" v="42849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36:59.610" v="42852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36:59.610" v="42850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36:59.610" v="42851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36:59.610" v="42856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36:59.610" v="42855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36:59.610" v="42858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36:59.610" v="42860"/>
          <ac:spMkLst>
            <pc:docMk/>
            <pc:sldMk cId="1002023985" sldId="270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36:59.610" v="42873"/>
          <ac:spMkLst>
            <pc:docMk/>
            <pc:sldMk cId="1002023985" sldId="270"/>
            <ac:spMk id="31" creationId="{2B843E61-16B1-B2FE-A419-E688DD153EE9}"/>
          </ac:spMkLst>
        </pc:spChg>
        <pc:spChg chg="mod">
          <ac:chgData name="Joelle Brehm" userId="a518f54c-6985-42c0-8041-2bb16a414839" providerId="ADAL" clId="{11F4A39F-1802-4DA4-AB6C-561BDA6399D2}" dt="2023-07-05T21:36:59.610" v="42872"/>
          <ac:spMkLst>
            <pc:docMk/>
            <pc:sldMk cId="1002023985" sldId="270"/>
            <ac:spMk id="32" creationId="{0BE92A1F-B2E2-867E-0B96-57FFDAFB5078}"/>
          </ac:spMkLst>
        </pc:spChg>
        <pc:spChg chg="mod">
          <ac:chgData name="Joelle Brehm" userId="a518f54c-6985-42c0-8041-2bb16a414839" providerId="ADAL" clId="{11F4A39F-1802-4DA4-AB6C-561BDA6399D2}" dt="2023-07-05T21:36:59.610" v="42869"/>
          <ac:spMkLst>
            <pc:docMk/>
            <pc:sldMk cId="1002023985" sldId="270"/>
            <ac:spMk id="33" creationId="{F76D64DC-4154-E4CF-EF48-9A68CB6317E4}"/>
          </ac:spMkLst>
        </pc:spChg>
        <pc:spChg chg="mod">
          <ac:chgData name="Joelle Brehm" userId="a518f54c-6985-42c0-8041-2bb16a414839" providerId="ADAL" clId="{11F4A39F-1802-4DA4-AB6C-561BDA6399D2}" dt="2023-07-05T21:36:59.610" v="42876"/>
          <ac:spMkLst>
            <pc:docMk/>
            <pc:sldMk cId="1002023985" sldId="270"/>
            <ac:spMk id="34" creationId="{9648527B-C461-9A7E-67C5-5AEE8C3C47B5}"/>
          </ac:spMkLst>
        </pc:spChg>
        <pc:spChg chg="mod">
          <ac:chgData name="Joelle Brehm" userId="a518f54c-6985-42c0-8041-2bb16a414839" providerId="ADAL" clId="{11F4A39F-1802-4DA4-AB6C-561BDA6399D2}" dt="2023-07-05T21:36:59.610" v="42875"/>
          <ac:spMkLst>
            <pc:docMk/>
            <pc:sldMk cId="1002023985" sldId="270"/>
            <ac:spMk id="35" creationId="{3A6B1803-B9A1-DDD4-5DB0-ABDF3CF4E32A}"/>
          </ac:spMkLst>
        </pc:spChg>
        <pc:spChg chg="mod">
          <ac:chgData name="Joelle Brehm" userId="a518f54c-6985-42c0-8041-2bb16a414839" providerId="ADAL" clId="{11F4A39F-1802-4DA4-AB6C-561BDA6399D2}" dt="2023-07-05T21:36:59.610" v="42878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11F4A39F-1802-4DA4-AB6C-561BDA6399D2}" dt="2023-07-05T21:36:59.610" v="42854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11F4A39F-1802-4DA4-AB6C-561BDA6399D2}" dt="2023-07-05T21:36:59.610" v="42877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11F4A39F-1802-4DA4-AB6C-561BDA6399D2}" dt="2023-07-05T21:36:59.610" v="42880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11F4A39F-1802-4DA4-AB6C-561BDA6399D2}" dt="2023-07-05T21:36:59.610" v="42879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11F4A39F-1802-4DA4-AB6C-561BDA6399D2}" dt="2023-07-05T21:36:59.610" v="42882"/>
          <ac:spMkLst>
            <pc:docMk/>
            <pc:sldMk cId="1002023985" sldId="270"/>
            <ac:spMk id="41" creationId="{51DF5FF8-D483-FA48-6208-139CC6F687D3}"/>
          </ac:spMkLst>
        </pc:spChg>
        <pc:spChg chg="mod">
          <ac:chgData name="Joelle Brehm" userId="a518f54c-6985-42c0-8041-2bb16a414839" providerId="ADAL" clId="{11F4A39F-1802-4DA4-AB6C-561BDA6399D2}" dt="2023-07-05T21:36:59.610" v="42881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11F4A39F-1802-4DA4-AB6C-561BDA6399D2}" dt="2023-07-05T21:36:59.610" v="42884"/>
          <ac:spMkLst>
            <pc:docMk/>
            <pc:sldMk cId="1002023985" sldId="270"/>
            <ac:spMk id="43" creationId="{29357330-070C-17EC-0CAB-CAD445419341}"/>
          </ac:spMkLst>
        </pc:spChg>
        <pc:spChg chg="mod">
          <ac:chgData name="Joelle Brehm" userId="a518f54c-6985-42c0-8041-2bb16a414839" providerId="ADAL" clId="{11F4A39F-1802-4DA4-AB6C-561BDA6399D2}" dt="2023-07-05T21:36:59.610" v="42874"/>
          <ac:spMkLst>
            <pc:docMk/>
            <pc:sldMk cId="1002023985" sldId="270"/>
            <ac:spMk id="44" creationId="{D21335E5-EBC4-9286-DD2D-7735A09D41EB}"/>
          </ac:spMkLst>
        </pc:spChg>
        <pc:spChg chg="add mod replST">
          <ac:chgData name="Joelle Brehm" userId="a518f54c-6985-42c0-8041-2bb16a414839" providerId="ADAL" clId="{11F4A39F-1802-4DA4-AB6C-561BDA6399D2}" dt="2023-07-05T21:36:59.610" v="42890"/>
          <ac:spMkLst>
            <pc:docMk/>
            <pc:sldMk cId="1002023985" sldId="270"/>
            <ac:spMk id="46" creationId="{25944032-4776-632B-7FEC-F3C2EE42ED40}"/>
          </ac:spMkLst>
        </pc:spChg>
        <pc:spChg chg="add mod replST">
          <ac:chgData name="Joelle Brehm" userId="a518f54c-6985-42c0-8041-2bb16a414839" providerId="ADAL" clId="{11F4A39F-1802-4DA4-AB6C-561BDA6399D2}" dt="2023-07-05T21:36:59.610" v="42891"/>
          <ac:spMkLst>
            <pc:docMk/>
            <pc:sldMk cId="1002023985" sldId="270"/>
            <ac:spMk id="48" creationId="{6B485F64-D882-03C4-1207-7FC065D51BB7}"/>
          </ac:spMkLst>
        </pc:spChg>
        <pc:spChg chg="add del mod modVis">
          <ac:chgData name="Joelle Brehm" userId="a518f54c-6985-42c0-8041-2bb16a414839" providerId="ADAL" clId="{11F4A39F-1802-4DA4-AB6C-561BDA6399D2}" dt="2023-07-05T21:36:45.812" v="42192"/>
          <ac:spMkLst>
            <pc:docMk/>
            <pc:sldMk cId="1002023985" sldId="270"/>
            <ac:spMk id="49" creationId="{8BFACF43-FED7-BF6A-E25F-D2A7360A9085}"/>
          </ac:spMkLst>
        </pc:spChg>
        <pc:spChg chg="mod">
          <ac:chgData name="Joelle Brehm" userId="a518f54c-6985-42c0-8041-2bb16a414839" providerId="ADAL" clId="{11F4A39F-1802-4DA4-AB6C-561BDA6399D2}" dt="2023-07-05T21:36:59.610" v="42887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11F4A39F-1802-4DA4-AB6C-561BDA6399D2}" dt="2023-07-05T21:36:59.610" v="42886"/>
          <ac:spMkLst>
            <pc:docMk/>
            <pc:sldMk cId="1002023985" sldId="270"/>
            <ac:spMk id="51" creationId="{9459FE82-DBC5-AAD1-46F4-768D76416103}"/>
          </ac:spMkLst>
        </pc:spChg>
        <pc:spChg chg="mod">
          <ac:chgData name="Joelle Brehm" userId="a518f54c-6985-42c0-8041-2bb16a414839" providerId="ADAL" clId="{11F4A39F-1802-4DA4-AB6C-561BDA6399D2}" dt="2023-07-05T21:36:59.610" v="42883"/>
          <ac:spMkLst>
            <pc:docMk/>
            <pc:sldMk cId="1002023985" sldId="270"/>
            <ac:spMk id="52" creationId="{CDAA8CD8-B796-5FFD-8D34-2773F7AB7F1D}"/>
          </ac:spMkLst>
        </pc:spChg>
        <pc:spChg chg="add del mod modVis">
          <ac:chgData name="Joelle Brehm" userId="a518f54c-6985-42c0-8041-2bb16a414839" providerId="ADAL" clId="{11F4A39F-1802-4DA4-AB6C-561BDA6399D2}" dt="2023-07-05T21:36:47.576" v="42415"/>
          <ac:spMkLst>
            <pc:docMk/>
            <pc:sldMk cId="1002023985" sldId="270"/>
            <ac:spMk id="54" creationId="{AFEB4FAD-B9A9-9A61-2AE0-7343799491CD}"/>
          </ac:spMkLst>
        </pc:spChg>
        <pc:spChg chg="mod">
          <ac:chgData name="Joelle Brehm" userId="a518f54c-6985-42c0-8041-2bb16a414839" providerId="ADAL" clId="{11F4A39F-1802-4DA4-AB6C-561BDA6399D2}" dt="2023-07-05T21:36:59.610" v="42885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11F4A39F-1802-4DA4-AB6C-561BDA6399D2}" dt="2023-07-05T21:36:59.610" v="42889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11F4A39F-1802-4DA4-AB6C-561BDA6399D2}" dt="2023-07-05T21:36:59.610" v="42888"/>
          <ac:spMkLst>
            <pc:docMk/>
            <pc:sldMk cId="1002023985" sldId="270"/>
            <ac:spMk id="59" creationId="{15DED5C0-8834-6FCE-242E-76495D4381EE}"/>
          </ac:spMkLst>
        </pc:spChg>
        <pc:spChg chg="add del mod modVis">
          <ac:chgData name="Joelle Brehm" userId="a518f54c-6985-42c0-8041-2bb16a414839" providerId="ADAL" clId="{11F4A39F-1802-4DA4-AB6C-561BDA6399D2}" dt="2023-07-05T21:36:49.524" v="42670"/>
          <ac:spMkLst>
            <pc:docMk/>
            <pc:sldMk cId="1002023985" sldId="270"/>
            <ac:spMk id="61" creationId="{24AB8026-4F8A-C05B-58F1-EBEDF762EA67}"/>
          </ac:spMkLst>
        </pc:spChg>
        <pc:spChg chg="mod">
          <ac:chgData name="Joelle Brehm" userId="a518f54c-6985-42c0-8041-2bb16a414839" providerId="ADAL" clId="{11F4A39F-1802-4DA4-AB6C-561BDA6399D2}" dt="2023-07-05T21:36:59.610" v="42864"/>
          <ac:spMkLst>
            <pc:docMk/>
            <pc:sldMk cId="1002023985" sldId="270"/>
            <ac:spMk id="62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1:36:59.626" v="42920"/>
          <ac:spMkLst>
            <pc:docMk/>
            <pc:sldMk cId="1002023985" sldId="270"/>
            <ac:spMk id="64" creationId="{0558FB20-EBEA-4A8E-F611-1A87BA3EA732}"/>
          </ac:spMkLst>
        </pc:spChg>
        <pc:spChg chg="mod">
          <ac:chgData name="Joelle Brehm" userId="a518f54c-6985-42c0-8041-2bb16a414839" providerId="ADAL" clId="{11F4A39F-1802-4DA4-AB6C-561BDA6399D2}" dt="2023-07-05T21:36:59.610" v="42857"/>
          <ac:spMkLst>
            <pc:docMk/>
            <pc:sldMk cId="1002023985" sldId="270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1:36:59.610" v="42893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36:59.626" v="42895"/>
          <ac:spMkLst>
            <pc:docMk/>
            <pc:sldMk cId="1002023985" sldId="270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36:59.626" v="42897"/>
          <ac:spMkLst>
            <pc:docMk/>
            <pc:sldMk cId="1002023985" sldId="270"/>
            <ac:spMk id="100" creationId="{8B5667AB-609C-4AEA-83B3-24E395C8F420}"/>
          </ac:spMkLst>
        </pc:spChg>
        <pc:spChg chg="del mod">
          <ac:chgData name="Joelle Brehm" userId="a518f54c-6985-42c0-8041-2bb16a414839" providerId="ADAL" clId="{11F4A39F-1802-4DA4-AB6C-561BDA6399D2}" dt="2023-07-05T21:36:49.304" v="42419"/>
          <ac:spMkLst>
            <pc:docMk/>
            <pc:sldMk cId="1002023985" sldId="270"/>
            <ac:spMk id="104" creationId="{0B26C638-FD44-BFF3-7C0D-E419A877AB19}"/>
          </ac:spMkLst>
        </pc:spChg>
        <pc:spChg chg="del mod">
          <ac:chgData name="Joelle Brehm" userId="a518f54c-6985-42c0-8041-2bb16a414839" providerId="ADAL" clId="{11F4A39F-1802-4DA4-AB6C-561BDA6399D2}" dt="2023-07-05T21:36:49.304" v="42418"/>
          <ac:spMkLst>
            <pc:docMk/>
            <pc:sldMk cId="1002023985" sldId="270"/>
            <ac:spMk id="105" creationId="{3A38D256-35D3-4CDF-DF0C-E105072D6FE7}"/>
          </ac:spMkLst>
        </pc:spChg>
        <pc:spChg chg="mod ord">
          <ac:chgData name="Joelle Brehm" userId="a518f54c-6985-42c0-8041-2bb16a414839" providerId="ADAL" clId="{11F4A39F-1802-4DA4-AB6C-561BDA6399D2}" dt="2023-07-05T21:36:59.626" v="42899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36:59.626" v="42901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36:59.626" v="42903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36:59.610" v="42871"/>
          <ac:spMkLst>
            <pc:docMk/>
            <pc:sldMk cId="1002023985" sldId="270"/>
            <ac:spMk id="111" creationId="{182EC51E-240E-E991-6C1D-CEA66613C7A4}"/>
          </ac:spMkLst>
        </pc:spChg>
        <pc:spChg chg="mod">
          <ac:chgData name="Joelle Brehm" userId="a518f54c-6985-42c0-8041-2bb16a414839" providerId="ADAL" clId="{11F4A39F-1802-4DA4-AB6C-561BDA6399D2}" dt="2023-07-05T21:36:59.610" v="42868"/>
          <ac:spMkLst>
            <pc:docMk/>
            <pc:sldMk cId="1002023985" sldId="270"/>
            <ac:spMk id="112" creationId="{6D6DD08F-D718-19E3-F51D-AAEF3B68183C}"/>
          </ac:spMkLst>
        </pc:spChg>
        <pc:spChg chg="mod">
          <ac:chgData name="Joelle Brehm" userId="a518f54c-6985-42c0-8041-2bb16a414839" providerId="ADAL" clId="{11F4A39F-1802-4DA4-AB6C-561BDA6399D2}" dt="2023-07-05T21:36:59.610" v="42865"/>
          <ac:spMkLst>
            <pc:docMk/>
            <pc:sldMk cId="1002023985" sldId="270"/>
            <ac:spMk id="11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6:59.610" v="42867"/>
          <ac:spMkLst>
            <pc:docMk/>
            <pc:sldMk cId="1002023985" sldId="270"/>
            <ac:spMk id="11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6:59.626" v="42907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6:59.626" v="42909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6:59.626" v="42908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6:59.626" v="42910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36:59.626" v="42906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11F4A39F-1802-4DA4-AB6C-561BDA6399D2}" dt="2023-07-05T21:36:59.610" v="42863"/>
          <ac:spMkLst>
            <pc:docMk/>
            <pc:sldMk cId="1002023985" sldId="270"/>
            <ac:spMk id="16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6:59.610" v="42866"/>
          <ac:spMkLst>
            <pc:docMk/>
            <pc:sldMk cId="1002023985" sldId="270"/>
            <ac:spMk id="171" creationId="{7CAA3B95-4C78-4122-BECA-B5FB0F3F3764}"/>
          </ac:spMkLst>
        </pc:spChg>
        <pc:graphicFrameChg chg="mod">
          <ac:chgData name="Joelle Brehm" userId="a518f54c-6985-42c0-8041-2bb16a414839" providerId="ADAL" clId="{11F4A39F-1802-4DA4-AB6C-561BDA6399D2}" dt="2023-07-05T21:36:59.641" v="42922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6:59.593" v="42835"/>
          <ac:graphicFrameMkLst>
            <pc:docMk/>
            <pc:sldMk cId="1002023985" sldId="270"/>
            <ac:graphicFrameMk id="9" creationId="{8812D659-6566-8F6A-4C99-02AC6D9A4DDE}"/>
          </ac:graphicFrameMkLst>
        </pc:graphicFrameChg>
        <pc:graphicFrameChg chg="del">
          <ac:chgData name="Joelle Brehm" userId="a518f54c-6985-42c0-8041-2bb16a414839" providerId="ADAL" clId="{11F4A39F-1802-4DA4-AB6C-561BDA6399D2}" dt="2023-07-05T21:35:57.281" v="41573"/>
          <ac:graphicFrameMkLst>
            <pc:docMk/>
            <pc:sldMk cId="1002023985" sldId="270"/>
            <ac:graphicFrameMk id="47" creationId="{BF5A1FDC-9B33-F09F-0100-D1D713655AC3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6:47.531" v="42314"/>
          <ac:graphicFrameMkLst>
            <pc:docMk/>
            <pc:sldMk cId="1002023985" sldId="270"/>
            <ac:graphicFrameMk id="53" creationId="{A8D23BD8-522A-4974-22F7-7026655A6DDE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6:59.574" v="42821"/>
          <ac:graphicFrameMkLst>
            <pc:docMk/>
            <pc:sldMk cId="1002023985" sldId="270"/>
            <ac:graphicFrameMk id="55" creationId="{B1B4886E-581D-1820-21A4-F60130743D2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6:49.448" v="42571"/>
          <ac:graphicFrameMkLst>
            <pc:docMk/>
            <pc:sldMk cId="1002023985" sldId="270"/>
            <ac:graphicFrameMk id="60" creationId="{ADDB300A-CE84-3438-0993-F7A4D3E71308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6:59.610" v="42862"/>
          <ac:graphicFrameMkLst>
            <pc:docMk/>
            <pc:sldMk cId="1002023985" sldId="270"/>
            <ac:graphicFrameMk id="63" creationId="{D0552194-43D5-010A-7255-B5B660C0551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6:59.626" v="42905"/>
          <ac:graphicFrameMkLst>
            <pc:docMk/>
            <pc:sldMk cId="1002023985" sldId="270"/>
            <ac:graphicFrameMk id="65" creationId="{340EF7BA-2590-890A-261B-574E04F27A70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6:45.760" v="42091"/>
          <ac:graphicFrameMkLst>
            <pc:docMk/>
            <pc:sldMk cId="1002023985" sldId="270"/>
            <ac:graphicFrameMk id="67" creationId="{20A79248-56A2-C77E-4EA2-86423C1E9DBC}"/>
          </ac:graphicFrameMkLst>
        </pc:graphicFrameChg>
        <pc:picChg chg="del mod ord">
          <ac:chgData name="Joelle Brehm" userId="a518f54c-6985-42c0-8041-2bb16a414839" providerId="ADAL" clId="{11F4A39F-1802-4DA4-AB6C-561BDA6399D2}" dt="2023-07-05T21:36:32.867" v="41785" actId="478"/>
          <ac:picMkLst>
            <pc:docMk/>
            <pc:sldMk cId="1002023985" sldId="270"/>
            <ac:picMk id="3" creationId="{C556872A-0A75-310A-666E-63D3976A6E87}"/>
          </ac:picMkLst>
        </pc:picChg>
        <pc:picChg chg="add mod ord">
          <ac:chgData name="Joelle Brehm" userId="a518f54c-6985-42c0-8041-2bb16a414839" providerId="ADAL" clId="{11F4A39F-1802-4DA4-AB6C-561BDA6399D2}" dt="2023-07-05T21:36:59.593" v="42829"/>
          <ac:picMkLst>
            <pc:docMk/>
            <pc:sldMk cId="1002023985" sldId="270"/>
            <ac:picMk id="45" creationId="{995B94B7-7AE1-8350-EAFE-3DF2CF92CDDA}"/>
          </ac:picMkLst>
        </pc:picChg>
        <pc:picChg chg="mod ord">
          <ac:chgData name="Joelle Brehm" userId="a518f54c-6985-42c0-8041-2bb16a414839" providerId="ADAL" clId="{11F4A39F-1802-4DA4-AB6C-561BDA6399D2}" dt="2023-07-05T21:36:59.626" v="42914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11F4A39F-1802-4DA4-AB6C-561BDA6399D2}" dt="2023-07-05T21:36:59.626" v="42912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36:59.593" v="42833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4:41.189" v="32098" actId="478"/>
        <pc:sldMkLst>
          <pc:docMk/>
          <pc:sldMk cId="2815334483" sldId="271"/>
        </pc:sldMkLst>
        <pc:spChg chg="add del mod">
          <ac:chgData name="Joelle Brehm" userId="a518f54c-6985-42c0-8041-2bb16a414839" providerId="ADAL" clId="{11F4A39F-1802-4DA4-AB6C-561BDA6399D2}" dt="2023-07-05T20:44:03.694" v="20080" actId="478"/>
          <ac:spMkLst>
            <pc:docMk/>
            <pc:sldMk cId="2815334483" sldId="271"/>
            <ac:spMk id="2" creationId="{9088B671-B740-ADB4-445D-DF8C0577248B}"/>
          </ac:spMkLst>
        </pc:spChg>
        <pc:spChg chg="mod ord">
          <ac:chgData name="Joelle Brehm" userId="a518f54c-6985-42c0-8041-2bb16a414839" providerId="ADAL" clId="{11F4A39F-1802-4DA4-AB6C-561BDA6399D2}" dt="2023-07-05T20:54:39.870" v="32093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11F4A39F-1802-4DA4-AB6C-561BDA6399D2}" dt="2023-07-05T20:44:07.176" v="20332"/>
          <ac:spMkLst>
            <pc:docMk/>
            <pc:sldMk cId="2815334483" sldId="271"/>
            <ac:spMk id="5" creationId="{E7A06AA1-F4D2-A265-573C-83F3EEFDE0A1}"/>
          </ac:spMkLst>
        </pc:spChg>
        <pc:spChg chg="mod ord">
          <ac:chgData name="Joelle Brehm" userId="a518f54c-6985-42c0-8041-2bb16a414839" providerId="ADAL" clId="{11F4A39F-1802-4DA4-AB6C-561BDA6399D2}" dt="2023-07-05T20:54:39.848" v="32029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4:39.864" v="32065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11F4A39F-1802-4DA4-AB6C-561BDA6399D2}" dt="2023-07-05T20:54:39.848" v="32034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4:39.848" v="32040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4:39.848" v="32039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4:39.848" v="32036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4:39.848" v="32037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4:39.863" v="32041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4:39.848" v="32035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4:39.848" v="32038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4:39.864" v="32042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4:39.864" v="32043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4:39.864" v="32044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4:39.864" v="32045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4:39.864" v="32047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4:39.864" v="32050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4:39.864" v="32048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4:39.864" v="32049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4:39.864" v="32052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4:39.864" v="32051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4:39.864" v="32053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4:39.864" v="32055"/>
          <ac:spMkLst>
            <pc:docMk/>
            <pc:sldMk cId="2815334483" sldId="271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4:39.864" v="32061"/>
          <ac:spMkLst>
            <pc:docMk/>
            <pc:sldMk cId="2815334483" sldId="271"/>
            <ac:spMk id="31" creationId="{6BE24B84-EE94-3D2E-728D-88F2988B4658}"/>
          </ac:spMkLst>
        </pc:spChg>
        <pc:spChg chg="mod">
          <ac:chgData name="Joelle Brehm" userId="a518f54c-6985-42c0-8041-2bb16a414839" providerId="ADAL" clId="{11F4A39F-1802-4DA4-AB6C-561BDA6399D2}" dt="2023-07-05T20:54:39.864" v="32066"/>
          <ac:spMkLst>
            <pc:docMk/>
            <pc:sldMk cId="2815334483" sldId="271"/>
            <ac:spMk id="32" creationId="{8777249A-D943-16C1-E900-269856ADE995}"/>
          </ac:spMkLst>
        </pc:spChg>
        <pc:spChg chg="mod">
          <ac:chgData name="Joelle Brehm" userId="a518f54c-6985-42c0-8041-2bb16a414839" providerId="ADAL" clId="{11F4A39F-1802-4DA4-AB6C-561BDA6399D2}" dt="2023-07-05T20:54:39.864" v="32060"/>
          <ac:spMkLst>
            <pc:docMk/>
            <pc:sldMk cId="2815334483" sldId="271"/>
            <ac:spMk id="33" creationId="{7F959949-4A68-1491-C284-14230CE75987}"/>
          </ac:spMkLst>
        </pc:spChg>
        <pc:spChg chg="mod">
          <ac:chgData name="Joelle Brehm" userId="a518f54c-6985-42c0-8041-2bb16a414839" providerId="ADAL" clId="{11F4A39F-1802-4DA4-AB6C-561BDA6399D2}" dt="2023-07-05T20:54:39.864" v="32063"/>
          <ac:spMkLst>
            <pc:docMk/>
            <pc:sldMk cId="2815334483" sldId="271"/>
            <ac:spMk id="34" creationId="{316D5F01-433D-33E2-C79F-6FBFCD17CB7D}"/>
          </ac:spMkLst>
        </pc:spChg>
        <pc:spChg chg="mod">
          <ac:chgData name="Joelle Brehm" userId="a518f54c-6985-42c0-8041-2bb16a414839" providerId="ADAL" clId="{11F4A39F-1802-4DA4-AB6C-561BDA6399D2}" dt="2023-07-05T20:54:39.864" v="32062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11F4A39F-1802-4DA4-AB6C-561BDA6399D2}" dt="2023-07-05T20:54:39.864" v="32064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11F4A39F-1802-4DA4-AB6C-561BDA6399D2}" dt="2023-07-05T20:54:39.864" v="32058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11F4A39F-1802-4DA4-AB6C-561BDA6399D2}" dt="2023-07-05T20:54:39.870" v="32085"/>
          <ac:spMkLst>
            <pc:docMk/>
            <pc:sldMk cId="2815334483" sldId="271"/>
            <ac:spMk id="38" creationId="{CC5FA94A-B8E0-E7C9-DB9D-BB5C4E4406D1}"/>
          </ac:spMkLst>
        </pc:spChg>
        <pc:spChg chg="mod">
          <ac:chgData name="Joelle Brehm" userId="a518f54c-6985-42c0-8041-2bb16a414839" providerId="ADAL" clId="{11F4A39F-1802-4DA4-AB6C-561BDA6399D2}" dt="2023-07-05T20:54:39.870" v="32086"/>
          <ac:spMkLst>
            <pc:docMk/>
            <pc:sldMk cId="2815334483" sldId="271"/>
            <ac:spMk id="40" creationId="{B3CE3016-99B3-974F-1EC7-6BAAE2BADCD1}"/>
          </ac:spMkLst>
        </pc:spChg>
        <pc:spChg chg="add mod replST">
          <ac:chgData name="Joelle Brehm" userId="a518f54c-6985-42c0-8041-2bb16a414839" providerId="ADAL" clId="{11F4A39F-1802-4DA4-AB6C-561BDA6399D2}" dt="2023-07-05T20:54:39.870" v="32069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11F4A39F-1802-4DA4-AB6C-561BDA6399D2}" dt="2023-07-05T20:54:39.864" v="32067"/>
          <ac:spMkLst>
            <pc:docMk/>
            <pc:sldMk cId="2815334483" sldId="271"/>
            <ac:spMk id="42" creationId="{6259DA9A-2854-0028-25DD-8E34BDEB2937}"/>
          </ac:spMkLst>
        </pc:spChg>
        <pc:spChg chg="mod">
          <ac:chgData name="Joelle Brehm" userId="a518f54c-6985-42c0-8041-2bb16a414839" providerId="ADAL" clId="{11F4A39F-1802-4DA4-AB6C-561BDA6399D2}" dt="2023-07-05T20:54:39.870" v="32087"/>
          <ac:spMkLst>
            <pc:docMk/>
            <pc:sldMk cId="2815334483" sldId="271"/>
            <ac:spMk id="43" creationId="{BEA60322-B850-D12E-7FCF-66BC91EC080A}"/>
          </ac:spMkLst>
        </pc:spChg>
        <pc:spChg chg="del mod">
          <ac:chgData name="Joelle Brehm" userId="a518f54c-6985-42c0-8041-2bb16a414839" providerId="ADAL" clId="{11F4A39F-1802-4DA4-AB6C-561BDA6399D2}" dt="2023-07-05T20:44:46.610" v="22168"/>
          <ac:spMkLst>
            <pc:docMk/>
            <pc:sldMk cId="2815334483" sldId="271"/>
            <ac:spMk id="44" creationId="{CAF88ADA-38F8-27CD-7000-39BEF277AA3B}"/>
          </ac:spMkLst>
        </pc:spChg>
        <pc:spChg chg="add del mod modVis">
          <ac:chgData name="Joelle Brehm" userId="a518f54c-6985-42c0-8041-2bb16a414839" providerId="ADAL" clId="{11F4A39F-1802-4DA4-AB6C-561BDA6399D2}" dt="2023-07-05T20:44:27.968" v="21160"/>
          <ac:spMkLst>
            <pc:docMk/>
            <pc:sldMk cId="2815334483" sldId="271"/>
            <ac:spMk id="45" creationId="{73A53DF3-F365-1BE3-35ED-767439EF0EB3}"/>
          </ac:spMkLst>
        </pc:spChg>
        <pc:spChg chg="add del mod ord replST">
          <ac:chgData name="Joelle Brehm" userId="a518f54c-6985-42c0-8041-2bb16a414839" providerId="ADAL" clId="{11F4A39F-1802-4DA4-AB6C-561BDA6399D2}" dt="2023-07-05T20:44:34.431" v="21604"/>
          <ac:spMkLst>
            <pc:docMk/>
            <pc:sldMk cId="2815334483" sldId="271"/>
            <ac:spMk id="4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4:39.864" v="32068"/>
          <ac:spMkLst>
            <pc:docMk/>
            <pc:sldMk cId="2815334483" sldId="271"/>
            <ac:spMk id="48" creationId="{E51CFCE3-4E32-6059-9327-A1EFC827F040}"/>
          </ac:spMkLst>
        </pc:spChg>
        <pc:spChg chg="add del mod modVis">
          <ac:chgData name="Joelle Brehm" userId="a518f54c-6985-42c0-8041-2bb16a414839" providerId="ADAL" clId="{11F4A39F-1802-4DA4-AB6C-561BDA6399D2}" dt="2023-07-05T20:44:29.870" v="21315"/>
          <ac:spMkLst>
            <pc:docMk/>
            <pc:sldMk cId="2815334483" sldId="271"/>
            <ac:spMk id="49" creationId="{E6BE007C-4FE3-DBA1-7DCA-19C0C240945E}"/>
          </ac:spMkLst>
        </pc:spChg>
        <pc:spChg chg="add del mod modVis">
          <ac:chgData name="Joelle Brehm" userId="a518f54c-6985-42c0-8041-2bb16a414839" providerId="ADAL" clId="{11F4A39F-1802-4DA4-AB6C-561BDA6399D2}" dt="2023-07-05T20:44:31.704" v="21526"/>
          <ac:spMkLst>
            <pc:docMk/>
            <pc:sldMk cId="2815334483" sldId="271"/>
            <ac:spMk id="52" creationId="{84DC60EB-8F4A-43F2-27AE-1E8D02229E6C}"/>
          </ac:spMkLst>
        </pc:spChg>
        <pc:spChg chg="add del mod modVis">
          <ac:chgData name="Joelle Brehm" userId="a518f54c-6985-42c0-8041-2bb16a414839" providerId="ADAL" clId="{11F4A39F-1802-4DA4-AB6C-561BDA6399D2}" dt="2023-07-05T20:44:34.463" v="21685"/>
          <ac:spMkLst>
            <pc:docMk/>
            <pc:sldMk cId="2815334483" sldId="271"/>
            <ac:spMk id="54" creationId="{E81FC9EE-7A91-A9AB-CB0B-9C06831A9AA4}"/>
          </ac:spMkLst>
        </pc:spChg>
        <pc:spChg chg="mod ord">
          <ac:chgData name="Joelle Brehm" userId="a518f54c-6985-42c0-8041-2bb16a414839" providerId="ADAL" clId="{11F4A39F-1802-4DA4-AB6C-561BDA6399D2}" dt="2023-07-05T20:54:39.870" v="32091"/>
          <ac:spMkLst>
            <pc:docMk/>
            <pc:sldMk cId="2815334483" sldId="271"/>
            <ac:spMk id="58" creationId="{13D3C19C-081E-48C7-8BE2-5EF3E8A1DEEB}"/>
          </ac:spMkLst>
        </pc:spChg>
        <pc:spChg chg="add del mod modVis">
          <ac:chgData name="Joelle Brehm" userId="a518f54c-6985-42c0-8041-2bb16a414839" providerId="ADAL" clId="{11F4A39F-1802-4DA4-AB6C-561BDA6399D2}" dt="2023-07-05T20:44:36.560" v="21841"/>
          <ac:spMkLst>
            <pc:docMk/>
            <pc:sldMk cId="2815334483" sldId="271"/>
            <ac:spMk id="59" creationId="{7EE1DA78-DFB6-F788-93BE-BB7B82038A07}"/>
          </ac:spMkLst>
        </pc:spChg>
        <pc:spChg chg="mod">
          <ac:chgData name="Joelle Brehm" userId="a518f54c-6985-42c0-8041-2bb16a414839" providerId="ADAL" clId="{11F4A39F-1802-4DA4-AB6C-561BDA6399D2}" dt="2023-07-05T20:54:39.864" v="32059"/>
          <ac:spMkLst>
            <pc:docMk/>
            <pc:sldMk cId="2815334483" sldId="271"/>
            <ac:spMk id="61" creationId="{8EF73248-EE25-106D-5FF1-4042C3063FAC}"/>
          </ac:spMkLst>
        </pc:spChg>
        <pc:spChg chg="add del mod modVis">
          <ac:chgData name="Joelle Brehm" userId="a518f54c-6985-42c0-8041-2bb16a414839" providerId="ADAL" clId="{11F4A39F-1802-4DA4-AB6C-561BDA6399D2}" dt="2023-07-05T20:44:44.173" v="22165"/>
          <ac:spMkLst>
            <pc:docMk/>
            <pc:sldMk cId="2815334483" sldId="271"/>
            <ac:spMk id="62" creationId="{DD3F3274-2A1A-947B-C5F8-E3897EE5D3AF}"/>
          </ac:spMkLst>
        </pc:spChg>
        <pc:spChg chg="del mod">
          <ac:chgData name="Joelle Brehm" userId="a518f54c-6985-42c0-8041-2bb16a414839" providerId="ADAL" clId="{11F4A39F-1802-4DA4-AB6C-561BDA6399D2}" dt="2023-07-05T20:44:31.585" v="21318"/>
          <ac:spMkLst>
            <pc:docMk/>
            <pc:sldMk cId="2815334483" sldId="271"/>
            <ac:spMk id="63" creationId="{33CF73DD-CC51-6A85-BF30-50C708C42A82}"/>
          </ac:spMkLst>
        </pc:spChg>
        <pc:spChg chg="mod ord">
          <ac:chgData name="Joelle Brehm" userId="a518f54c-6985-42c0-8041-2bb16a414839" providerId="ADAL" clId="{11F4A39F-1802-4DA4-AB6C-561BDA6399D2}" dt="2023-07-05T20:54:39.870" v="32071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4:39.870" v="32073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0:54:39.870" v="32075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4:39.870" v="32077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4:39.870" v="32079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4:39.870" v="32081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4:39.870" v="32084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4:39.870" v="32097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0:44:07.114" v="20247"/>
          <ac:graphicFrameMkLst>
            <pc:docMk/>
            <pc:sldMk cId="2815334483" sldId="271"/>
            <ac:graphicFrameMk id="8" creationId="{16B9EB6F-D164-47D5-0C14-6EDDB693B0A6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4:39.848" v="32033"/>
          <ac:graphicFrameMkLst>
            <pc:docMk/>
            <pc:sldMk cId="2815334483" sldId="271"/>
            <ac:graphicFrameMk id="9" creationId="{488D02F7-6C25-9306-0F82-1C60FEEE0FD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4:29.833" v="21233"/>
          <ac:graphicFrameMkLst>
            <pc:docMk/>
            <pc:sldMk cId="2815334483" sldId="271"/>
            <ac:graphicFrameMk id="47" creationId="{4255C63C-FCAC-5585-7D7D-4605B629692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4:31.672" v="21445"/>
          <ac:graphicFrameMkLst>
            <pc:docMk/>
            <pc:sldMk cId="2815334483" sldId="271"/>
            <ac:graphicFrameMk id="50" creationId="{2323F537-5731-E698-4B03-030F5D0259FE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4:27.936" v="21072"/>
          <ac:graphicFrameMkLst>
            <pc:docMk/>
            <pc:sldMk cId="2815334483" sldId="271"/>
            <ac:graphicFrameMk id="51" creationId="{40D24EA3-35FB-34B2-F917-D6C5CA3BD238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4:34.431" v="21606"/>
          <ac:graphicFrameMkLst>
            <pc:docMk/>
            <pc:sldMk cId="2815334483" sldId="271"/>
            <ac:graphicFrameMk id="53" creationId="{9905E7F7-50B3-EAC6-4ABF-D88EA7A5A6F7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4:44.129" v="22086"/>
          <ac:graphicFrameMkLst>
            <pc:docMk/>
            <pc:sldMk cId="2815334483" sldId="271"/>
            <ac:graphicFrameMk id="55" creationId="{86C2DBF3-026A-B7C5-C335-5BB6CAF8DA7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4:36.519" v="21762"/>
          <ac:graphicFrameMkLst>
            <pc:docMk/>
            <pc:sldMk cId="2815334483" sldId="271"/>
            <ac:graphicFrameMk id="57" creationId="{C075DA81-4C21-A807-8090-6559A3FAEB94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4:39.864" v="32057"/>
          <ac:graphicFrameMkLst>
            <pc:docMk/>
            <pc:sldMk cId="2815334483" sldId="271"/>
            <ac:graphicFrameMk id="60" creationId="{B23F3B77-0FEE-CB82-24A2-B42B3A4EFB8D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4:46.632" v="22181"/>
          <ac:graphicFrameMkLst>
            <pc:docMk/>
            <pc:sldMk cId="2815334483" sldId="271"/>
            <ac:graphicFrameMk id="64" creationId="{F732E5E8-2FB1-6910-ADF5-E4E192E3538B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4:48.987" v="22276"/>
          <ac:graphicFrameMkLst>
            <pc:docMk/>
            <pc:sldMk cId="2815334483" sldId="271"/>
            <ac:graphicFrameMk id="65" creationId="{D2466094-7E70-F77B-97BB-EECCF2FC2FCE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4:52.301" v="22371"/>
          <ac:graphicFrameMkLst>
            <pc:docMk/>
            <pc:sldMk cId="2815334483" sldId="271"/>
            <ac:graphicFrameMk id="66" creationId="{980B992D-0CA9-5F2F-0A09-074BC072965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4:39.870" v="32083"/>
          <ac:graphicFrameMkLst>
            <pc:docMk/>
            <pc:sldMk cId="2815334483" sldId="271"/>
            <ac:graphicFrameMk id="67" creationId="{A2D0BFD2-EC3D-6327-9665-81EC042A56EE}"/>
          </ac:graphicFrameMkLst>
        </pc:graphicFrameChg>
        <pc:picChg chg="add del mod ord">
          <ac:chgData name="Joelle Brehm" userId="a518f54c-6985-42c0-8041-2bb16a414839" providerId="ADAL" clId="{11F4A39F-1802-4DA4-AB6C-561BDA6399D2}" dt="2023-07-05T20:54:41.189" v="32098" actId="478"/>
          <ac:picMkLst>
            <pc:docMk/>
            <pc:sldMk cId="2815334483" sldId="271"/>
            <ac:picMk id="39" creationId="{A0B4AB44-CB82-D8F9-249C-78B95F0E9FEE}"/>
          </ac:picMkLst>
        </pc:picChg>
        <pc:picChg chg="del mod ord">
          <ac:chgData name="Joelle Brehm" userId="a518f54c-6985-42c0-8041-2bb16a414839" providerId="ADAL" clId="{11F4A39F-1802-4DA4-AB6C-561BDA6399D2}" dt="2023-07-05T20:44:22.048" v="20421" actId="478"/>
          <ac:picMkLst>
            <pc:docMk/>
            <pc:sldMk cId="2815334483" sldId="271"/>
            <ac:picMk id="56" creationId="{32D679C8-06CE-15BA-6449-825844A17365}"/>
          </ac:picMkLst>
        </pc:picChg>
        <pc:picChg chg="add mod ord">
          <ac:chgData name="Joelle Brehm" userId="a518f54c-6985-42c0-8041-2bb16a414839" providerId="ADAL" clId="{11F4A39F-1802-4DA4-AB6C-561BDA6399D2}" dt="2023-07-05T20:54:39.848" v="32025"/>
          <ac:picMkLst>
            <pc:docMk/>
            <pc:sldMk cId="2815334483" sldId="271"/>
            <ac:picMk id="68" creationId="{66EABA3F-ADD4-31CB-CB10-31DF18AE6542}"/>
          </ac:picMkLst>
        </pc:picChg>
        <pc:picChg chg="mod ord">
          <ac:chgData name="Joelle Brehm" userId="a518f54c-6985-42c0-8041-2bb16a414839" providerId="ADAL" clId="{11F4A39F-1802-4DA4-AB6C-561BDA6399D2}" dt="2023-07-05T20:54:39.870" v="32089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4:39.848" v="32031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5:02.064" v="32179" actId="478"/>
        <pc:sldMkLst>
          <pc:docMk/>
          <pc:sldMk cId="1407012127" sldId="272"/>
        </pc:sldMkLst>
        <pc:spChg chg="mod ord">
          <ac:chgData name="Joelle Brehm" userId="a518f54c-6985-42c0-8041-2bb16a414839" providerId="ADAL" clId="{11F4A39F-1802-4DA4-AB6C-561BDA6399D2}" dt="2023-07-05T20:55:00.592" v="32174"/>
          <ac:spMkLst>
            <pc:docMk/>
            <pc:sldMk cId="1407012127" sldId="272"/>
            <ac:spMk id="2" creationId="{7B63279B-FBC7-4B7C-A9D5-69987BC864D5}"/>
          </ac:spMkLst>
        </pc:spChg>
        <pc:spChg chg="add del mod ord">
          <ac:chgData name="Joelle Brehm" userId="a518f54c-6985-42c0-8041-2bb16a414839" providerId="ADAL" clId="{11F4A39F-1802-4DA4-AB6C-561BDA6399D2}" dt="2023-07-05T20:45:28.204" v="22804" actId="478"/>
          <ac:spMkLst>
            <pc:docMk/>
            <pc:sldMk cId="1407012127" sldId="272"/>
            <ac:spMk id="3" creationId="{204EDFAB-7874-0452-CEB7-99086FD20E08}"/>
          </ac:spMkLst>
        </pc:spChg>
        <pc:spChg chg="add del mod modVis">
          <ac:chgData name="Joelle Brehm" userId="a518f54c-6985-42c0-8041-2bb16a414839" providerId="ADAL" clId="{11F4A39F-1802-4DA4-AB6C-561BDA6399D2}" dt="2023-07-05T20:45:07.445" v="22708"/>
          <ac:spMkLst>
            <pc:docMk/>
            <pc:sldMk cId="1407012127" sldId="272"/>
            <ac:spMk id="5" creationId="{14BEAD9C-E635-1E06-6743-246B67F28350}"/>
          </ac:spMkLst>
        </pc:spChg>
        <pc:spChg chg="mod ord">
          <ac:chgData name="Joelle Brehm" userId="a518f54c-6985-42c0-8041-2bb16a414839" providerId="ADAL" clId="{11F4A39F-1802-4DA4-AB6C-561BDA6399D2}" dt="2023-07-05T20:55:00.576" v="32109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5:00.592" v="32122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5:00.592" v="32120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5:00.592" v="32115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5:00.592" v="32116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5:00.592" v="32119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5:00.592" v="32117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5:00.592" v="32121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5:00.592" v="32114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5:00.592" v="32118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5:00.592" v="32123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5:00.592" v="32124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5:00.592" v="32125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5:00.592" v="32127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5:00.592" v="32130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5:00.592" v="32128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5:00.592" v="32129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5:00.592" v="32131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5:00.592" v="32132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5:00.592" v="32133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5:00.592" v="32135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5:00.592" v="32141"/>
          <ac:spMkLst>
            <pc:docMk/>
            <pc:sldMk cId="1407012127" sldId="272"/>
            <ac:spMk id="32" creationId="{99895A00-E6FD-8315-8545-8F5C97720D4E}"/>
          </ac:spMkLst>
        </pc:spChg>
        <pc:spChg chg="mod">
          <ac:chgData name="Joelle Brehm" userId="a518f54c-6985-42c0-8041-2bb16a414839" providerId="ADAL" clId="{11F4A39F-1802-4DA4-AB6C-561BDA6399D2}" dt="2023-07-05T20:55:00.592" v="32143"/>
          <ac:spMkLst>
            <pc:docMk/>
            <pc:sldMk cId="1407012127" sldId="272"/>
            <ac:spMk id="33" creationId="{FA851268-0C57-C1F8-D85D-FE1413AC1777}"/>
          </ac:spMkLst>
        </pc:spChg>
        <pc:spChg chg="mod">
          <ac:chgData name="Joelle Brehm" userId="a518f54c-6985-42c0-8041-2bb16a414839" providerId="ADAL" clId="{11F4A39F-1802-4DA4-AB6C-561BDA6399D2}" dt="2023-07-05T20:55:00.592" v="32144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11F4A39F-1802-4DA4-AB6C-561BDA6399D2}" dt="2023-07-05T20:55:00.592" v="32140"/>
          <ac:spMkLst>
            <pc:docMk/>
            <pc:sldMk cId="1407012127" sldId="272"/>
            <ac:spMk id="35" creationId="{4B6310D6-23E5-0588-F042-388EAC57E1DA}"/>
          </ac:spMkLst>
        </pc:spChg>
        <pc:spChg chg="mod">
          <ac:chgData name="Joelle Brehm" userId="a518f54c-6985-42c0-8041-2bb16a414839" providerId="ADAL" clId="{11F4A39F-1802-4DA4-AB6C-561BDA6399D2}" dt="2023-07-05T20:55:00.592" v="32142"/>
          <ac:spMkLst>
            <pc:docMk/>
            <pc:sldMk cId="1407012127" sldId="272"/>
            <ac:spMk id="36" creationId="{037FE80B-438D-9EB3-2953-BBBE4A06709F}"/>
          </ac:spMkLst>
        </pc:spChg>
        <pc:spChg chg="mod">
          <ac:chgData name="Joelle Brehm" userId="a518f54c-6985-42c0-8041-2bb16a414839" providerId="ADAL" clId="{11F4A39F-1802-4DA4-AB6C-561BDA6399D2}" dt="2023-07-05T20:55:00.592" v="32138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11F4A39F-1802-4DA4-AB6C-561BDA6399D2}" dt="2023-07-05T20:55:00.592" v="32145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11F4A39F-1802-4DA4-AB6C-561BDA6399D2}" dt="2023-07-05T20:55:00.592" v="32147"/>
          <ac:spMkLst>
            <pc:docMk/>
            <pc:sldMk cId="1407012127" sldId="272"/>
            <ac:spMk id="39" creationId="{BC8B8CEB-DD48-E296-513C-6E912EEE1511}"/>
          </ac:spMkLst>
        </pc:spChg>
        <pc:spChg chg="add mod replST">
          <ac:chgData name="Joelle Brehm" userId="a518f54c-6985-42c0-8041-2bb16a414839" providerId="ADAL" clId="{11F4A39F-1802-4DA4-AB6C-561BDA6399D2}" dt="2023-07-05T20:55:00.592" v="32149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11F4A39F-1802-4DA4-AB6C-561BDA6399D2}" dt="2023-07-05T20:55:00.592" v="32146"/>
          <ac:spMkLst>
            <pc:docMk/>
            <pc:sldMk cId="1407012127" sldId="272"/>
            <ac:spMk id="41" creationId="{3B0A3A52-5D18-7245-58AE-791EE368F68D}"/>
          </ac:spMkLst>
        </pc:spChg>
        <pc:spChg chg="mod">
          <ac:chgData name="Joelle Brehm" userId="a518f54c-6985-42c0-8041-2bb16a414839" providerId="ADAL" clId="{11F4A39F-1802-4DA4-AB6C-561BDA6399D2}" dt="2023-07-05T20:55:00.592" v="32148"/>
          <ac:spMkLst>
            <pc:docMk/>
            <pc:sldMk cId="1407012127" sldId="272"/>
            <ac:spMk id="43" creationId="{FB4FB43F-D084-EE9C-5BF8-B064116032D0}"/>
          </ac:spMkLst>
        </pc:spChg>
        <pc:spChg chg="add del mod modVis">
          <ac:chgData name="Joelle Brehm" userId="a518f54c-6985-42c0-8041-2bb16a414839" providerId="ADAL" clId="{11F4A39F-1802-4DA4-AB6C-561BDA6399D2}" dt="2023-07-05T20:45:36.123" v="23492"/>
          <ac:spMkLst>
            <pc:docMk/>
            <pc:sldMk cId="1407012127" sldId="272"/>
            <ac:spMk id="44" creationId="{686CAF0B-F3C5-3F05-C366-235AC27AC406}"/>
          </ac:spMkLst>
        </pc:spChg>
        <pc:spChg chg="add del mod ord replST">
          <ac:chgData name="Joelle Brehm" userId="a518f54c-6985-42c0-8041-2bb16a414839" providerId="ADAL" clId="{11F4A39F-1802-4DA4-AB6C-561BDA6399D2}" dt="2023-07-05T20:46:45.698" v="23969"/>
          <ac:spMkLst>
            <pc:docMk/>
            <pc:sldMk cId="1407012127" sldId="272"/>
            <ac:spMk id="45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0:46:39.508" v="23700"/>
          <ac:spMkLst>
            <pc:docMk/>
            <pc:sldMk cId="1407012127" sldId="272"/>
            <ac:spMk id="47" creationId="{076B8865-2FDF-797B-9D26-43D533A8DB28}"/>
          </ac:spMkLst>
        </pc:spChg>
        <pc:spChg chg="add del mod modVis">
          <ac:chgData name="Joelle Brehm" userId="a518f54c-6985-42c0-8041-2bb16a414839" providerId="ADAL" clId="{11F4A39F-1802-4DA4-AB6C-561BDA6399D2}" dt="2023-07-05T20:46:41.589" v="23897"/>
          <ac:spMkLst>
            <pc:docMk/>
            <pc:sldMk cId="1407012127" sldId="272"/>
            <ac:spMk id="49" creationId="{4ABEF784-CF7A-BF98-BB7D-2F0DFF081EE3}"/>
          </ac:spMkLst>
        </pc:spChg>
        <pc:spChg chg="add del mod modVis">
          <ac:chgData name="Joelle Brehm" userId="a518f54c-6985-42c0-8041-2bb16a414839" providerId="ADAL" clId="{11F4A39F-1802-4DA4-AB6C-561BDA6399D2}" dt="2023-07-05T20:46:45.735" v="24050"/>
          <ac:spMkLst>
            <pc:docMk/>
            <pc:sldMk cId="1407012127" sldId="272"/>
            <ac:spMk id="51" creationId="{52B62FDE-8E8C-ACDD-C0F1-2DDC85D89F74}"/>
          </ac:spMkLst>
        </pc:spChg>
        <pc:spChg chg="add del mod modVis">
          <ac:chgData name="Joelle Brehm" userId="a518f54c-6985-42c0-8041-2bb16a414839" providerId="ADAL" clId="{11F4A39F-1802-4DA4-AB6C-561BDA6399D2}" dt="2023-07-05T20:46:47.418" v="24200"/>
          <ac:spMkLst>
            <pc:docMk/>
            <pc:sldMk cId="1407012127" sldId="272"/>
            <ac:spMk id="53" creationId="{B6CA0BFD-961A-DBC3-0FF7-E870AFF24144}"/>
          </ac:spMkLst>
        </pc:spChg>
        <pc:spChg chg="add del mod modVis">
          <ac:chgData name="Joelle Brehm" userId="a518f54c-6985-42c0-8041-2bb16a414839" providerId="ADAL" clId="{11F4A39F-1802-4DA4-AB6C-561BDA6399D2}" dt="2023-07-05T20:46:53.035" v="24443"/>
          <ac:spMkLst>
            <pc:docMk/>
            <pc:sldMk cId="1407012127" sldId="272"/>
            <ac:spMk id="56" creationId="{FDA44EA4-CC4F-D607-E6BC-91C3D1A91B99}"/>
          </ac:spMkLst>
        </pc:spChg>
        <pc:spChg chg="del mod">
          <ac:chgData name="Joelle Brehm" userId="a518f54c-6985-42c0-8041-2bb16a414839" providerId="ADAL" clId="{11F4A39F-1802-4DA4-AB6C-561BDA6399D2}" dt="2023-07-05T20:46:41.467" v="23703"/>
          <ac:spMkLst>
            <pc:docMk/>
            <pc:sldMk cId="1407012127" sldId="272"/>
            <ac:spMk id="63" creationId="{4410528A-F952-D220-E23F-87D3A27CFBF7}"/>
          </ac:spMkLst>
        </pc:spChg>
        <pc:spChg chg="mod">
          <ac:chgData name="Joelle Brehm" userId="a518f54c-6985-42c0-8041-2bb16a414839" providerId="ADAL" clId="{11F4A39F-1802-4DA4-AB6C-561BDA6399D2}" dt="2023-07-05T20:55:00.592" v="32139"/>
          <ac:spMkLst>
            <pc:docMk/>
            <pc:sldMk cId="1407012127" sldId="272"/>
            <ac:spMk id="70" creationId="{B6822296-A0C9-A6AA-362B-476083CFEED1}"/>
          </ac:spMkLst>
        </pc:spChg>
        <pc:spChg chg="mod ord">
          <ac:chgData name="Joelle Brehm" userId="a518f54c-6985-42c0-8041-2bb16a414839" providerId="ADAL" clId="{11F4A39F-1802-4DA4-AB6C-561BDA6399D2}" dt="2023-07-05T20:55:00.592" v="32172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11F4A39F-1802-4DA4-AB6C-561BDA6399D2}" dt="2023-07-05T20:55:00.592" v="32151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5:00.592" v="32153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0:55:00.592" v="32155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5:00.592" v="32157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5:00.592" v="32159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5:00.592" v="32161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5:00.592" v="32165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00.592" v="32166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00.592" v="32164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00.592" v="32167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5:00.592" v="32168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5:00.613" v="32178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0:45:07.376" v="22623"/>
          <ac:graphicFrameMkLst>
            <pc:docMk/>
            <pc:sldMk cId="1407012127" sldId="272"/>
            <ac:graphicFrameMk id="8" creationId="{AAAC8924-6B0B-0F9E-61C5-4A4E2DC7298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5:00.576" v="32113"/>
          <ac:graphicFrameMkLst>
            <pc:docMk/>
            <pc:sldMk cId="1407012127" sldId="272"/>
            <ac:graphicFrameMk id="9" creationId="{4DADA4D3-14FF-5EFB-C34C-EBCCD949913D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6:52.974" v="24364"/>
          <ac:graphicFrameMkLst>
            <pc:docMk/>
            <pc:sldMk cId="1407012127" sldId="272"/>
            <ac:graphicFrameMk id="42" creationId="{050D58FA-C24E-A0C2-84B9-177180192A6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6:39.461" v="23596"/>
          <ac:graphicFrameMkLst>
            <pc:docMk/>
            <pc:sldMk cId="1407012127" sldId="272"/>
            <ac:graphicFrameMk id="46" creationId="{5698DA6D-0C5D-7AF5-5336-E5025BAB880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6:41.542" v="23816"/>
          <ac:graphicFrameMkLst>
            <pc:docMk/>
            <pc:sldMk cId="1407012127" sldId="272"/>
            <ac:graphicFrameMk id="48" creationId="{C93558E8-D186-E05F-32DB-E90AE07046B6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6:45.714" v="23971"/>
          <ac:graphicFrameMkLst>
            <pc:docMk/>
            <pc:sldMk cId="1407012127" sldId="272"/>
            <ac:graphicFrameMk id="50" creationId="{3DEBA730-D3E3-C2B0-6FBE-814B0E7D66B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6:47.387" v="24121"/>
          <ac:graphicFrameMkLst>
            <pc:docMk/>
            <pc:sldMk cId="1407012127" sldId="272"/>
            <ac:graphicFrameMk id="52" creationId="{260C1622-C4D8-0131-94CC-33ADD5AFD2C9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5:36.056" v="23402"/>
          <ac:graphicFrameMkLst>
            <pc:docMk/>
            <pc:sldMk cId="1407012127" sldId="272"/>
            <ac:graphicFrameMk id="54" creationId="{B1F47FAA-45F2-B834-F1E4-18669B54225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5:00.592" v="32137"/>
          <ac:graphicFrameMkLst>
            <pc:docMk/>
            <pc:sldMk cId="1407012127" sldId="272"/>
            <ac:graphicFrameMk id="55" creationId="{7DA2134F-7B23-0750-B49D-DC5AF788A5BB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5:00.592" v="32163"/>
          <ac:graphicFrameMkLst>
            <pc:docMk/>
            <pc:sldMk cId="1407012127" sldId="272"/>
            <ac:graphicFrameMk id="57" creationId="{1785D607-53F9-D4F8-C8A9-0C5989847349}"/>
          </ac:graphicFrameMkLst>
        </pc:graphicFrameChg>
        <pc:picChg chg="add del mod ord">
          <ac:chgData name="Joelle Brehm" userId="a518f54c-6985-42c0-8041-2bb16a414839" providerId="ADAL" clId="{11F4A39F-1802-4DA4-AB6C-561BDA6399D2}" dt="2023-07-05T20:55:02.064" v="32179" actId="478"/>
          <ac:picMkLst>
            <pc:docMk/>
            <pc:sldMk cId="1407012127" sldId="272"/>
            <ac:picMk id="10" creationId="{9ED245C4-1AEB-D8C3-3681-4EA5D4A8ED68}"/>
          </ac:picMkLst>
        </pc:picChg>
        <pc:picChg chg="del mod ord">
          <ac:chgData name="Joelle Brehm" userId="a518f54c-6985-42c0-8041-2bb16a414839" providerId="ADAL" clId="{11F4A39F-1802-4DA4-AB6C-561BDA6399D2}" dt="2023-07-05T20:45:25.416" v="22803" actId="478"/>
          <ac:picMkLst>
            <pc:docMk/>
            <pc:sldMk cId="1407012127" sldId="272"/>
            <ac:picMk id="31" creationId="{53F33D7C-A418-9DC3-0AC0-36E535D092CB}"/>
          </ac:picMkLst>
        </pc:picChg>
        <pc:picChg chg="add mod ord">
          <ac:chgData name="Joelle Brehm" userId="a518f54c-6985-42c0-8041-2bb16a414839" providerId="ADAL" clId="{11F4A39F-1802-4DA4-AB6C-561BDA6399D2}" dt="2023-07-05T20:55:00.576" v="32105"/>
          <ac:picMkLst>
            <pc:docMk/>
            <pc:sldMk cId="1407012127" sldId="272"/>
            <ac:picMk id="58" creationId="{D43FE9CE-9DDC-D85E-2DE2-D3DCD7CEFC39}"/>
          </ac:picMkLst>
        </pc:picChg>
        <pc:picChg chg="mod ord">
          <ac:chgData name="Joelle Brehm" userId="a518f54c-6985-42c0-8041-2bb16a414839" providerId="ADAL" clId="{11F4A39F-1802-4DA4-AB6C-561BDA6399D2}" dt="2023-07-05T20:55:00.592" v="32170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5:00.576" v="32111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5:54.765" v="32427" actId="478"/>
        <pc:sldMkLst>
          <pc:docMk/>
          <pc:sldMk cId="4005475890" sldId="273"/>
        </pc:sldMkLst>
        <pc:spChg chg="mod ord">
          <ac:chgData name="Joelle Brehm" userId="a518f54c-6985-42c0-8041-2bb16a414839" providerId="ADAL" clId="{11F4A39F-1802-4DA4-AB6C-561BDA6399D2}" dt="2023-07-05T20:55:52.314" v="32420"/>
          <ac:spMkLst>
            <pc:docMk/>
            <pc:sldMk cId="4005475890" sldId="273"/>
            <ac:spMk id="2" creationId="{072E23F3-409C-46DC-8EB8-140BD200F8C6}"/>
          </ac:spMkLst>
        </pc:spChg>
        <pc:spChg chg="add del mod ord">
          <ac:chgData name="Joelle Brehm" userId="a518f54c-6985-42c0-8041-2bb16a414839" providerId="ADAL" clId="{11F4A39F-1802-4DA4-AB6C-561BDA6399D2}" dt="2023-07-05T20:47:26.872" v="24797" actId="478"/>
          <ac:spMkLst>
            <pc:docMk/>
            <pc:sldMk cId="4005475890" sldId="273"/>
            <ac:spMk id="3" creationId="{5E47F8AC-4F8B-35EF-E247-C49FF7A92028}"/>
          </ac:spMkLst>
        </pc:spChg>
        <pc:spChg chg="add del mod modVis">
          <ac:chgData name="Joelle Brehm" userId="a518f54c-6985-42c0-8041-2bb16a414839" providerId="ADAL" clId="{11F4A39F-1802-4DA4-AB6C-561BDA6399D2}" dt="2023-07-05T20:47:11.519" v="24707"/>
          <ac:spMkLst>
            <pc:docMk/>
            <pc:sldMk cId="4005475890" sldId="273"/>
            <ac:spMk id="5" creationId="{409DC975-9B7A-C888-BEF6-337B7DD4AC62}"/>
          </ac:spMkLst>
        </pc:spChg>
        <pc:spChg chg="mod ord">
          <ac:chgData name="Joelle Brehm" userId="a518f54c-6985-42c0-8041-2bb16a414839" providerId="ADAL" clId="{11F4A39F-1802-4DA4-AB6C-561BDA6399D2}" dt="2023-07-05T20:55:52.296" v="32355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5:52.296" v="32367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5:52.296" v="32360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5:52.296" v="32366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5:52.296" v="32362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5:52.296" v="32364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5:52.296" v="32365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5:52.296" v="32361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5:52.296" v="32363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5:52.296" v="32368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5:52.296" v="32369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5:52.296" v="32371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5:52.296" v="32370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5:52.296" v="32373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5:52.296" v="32374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5:52.296" v="32375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5:52.296" v="32376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5:52.296" v="32377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5:52.296" v="32378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5:52.296" v="32379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5:52.296" v="32381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5:52.296" v="32394"/>
          <ac:spMkLst>
            <pc:docMk/>
            <pc:sldMk cId="4005475890" sldId="273"/>
            <ac:spMk id="32" creationId="{73FBDD3F-B046-DCA8-2889-DF2C26DB5351}"/>
          </ac:spMkLst>
        </pc:spChg>
        <pc:spChg chg="add mod replST">
          <ac:chgData name="Joelle Brehm" userId="a518f54c-6985-42c0-8041-2bb16a414839" providerId="ADAL" clId="{11F4A39F-1802-4DA4-AB6C-561BDA6399D2}" dt="2023-07-05T20:55:52.296" v="32395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11F4A39F-1802-4DA4-AB6C-561BDA6399D2}" dt="2023-07-05T20:55:52.296" v="32385"/>
          <ac:spMkLst>
            <pc:docMk/>
            <pc:sldMk cId="4005475890" sldId="273"/>
            <ac:spMk id="34" creationId="{A2B9B97E-B334-BC21-89F0-0EE0D8109A92}"/>
          </ac:spMkLst>
        </pc:spChg>
        <pc:spChg chg="add del mod modVis">
          <ac:chgData name="Joelle Brehm" userId="a518f54c-6985-42c0-8041-2bb16a414839" providerId="ADAL" clId="{11F4A39F-1802-4DA4-AB6C-561BDA6399D2}" dt="2023-07-05T20:47:32.561" v="25379"/>
          <ac:spMkLst>
            <pc:docMk/>
            <pc:sldMk cId="4005475890" sldId="273"/>
            <ac:spMk id="35" creationId="{4E7D7511-43B0-FED9-8FB0-B9C9AB512A1A}"/>
          </ac:spMkLst>
        </pc:spChg>
        <pc:spChg chg="mod">
          <ac:chgData name="Joelle Brehm" userId="a518f54c-6985-42c0-8041-2bb16a414839" providerId="ADAL" clId="{11F4A39F-1802-4DA4-AB6C-561BDA6399D2}" dt="2023-07-05T20:55:52.296" v="32393"/>
          <ac:spMkLst>
            <pc:docMk/>
            <pc:sldMk cId="4005475890" sldId="273"/>
            <ac:spMk id="36" creationId="{2EDF94C4-61E5-066D-4CC5-2CF1F259F61A}"/>
          </ac:spMkLst>
        </pc:spChg>
        <pc:spChg chg="add del mod modVis">
          <ac:chgData name="Joelle Brehm" userId="a518f54c-6985-42c0-8041-2bb16a414839" providerId="ADAL" clId="{11F4A39F-1802-4DA4-AB6C-561BDA6399D2}" dt="2023-07-05T20:47:34.789" v="25535"/>
          <ac:spMkLst>
            <pc:docMk/>
            <pc:sldMk cId="4005475890" sldId="273"/>
            <ac:spMk id="38" creationId="{2F469A47-2002-545A-B4D9-3EE0701F2966}"/>
          </ac:spMkLst>
        </pc:spChg>
        <pc:spChg chg="add del mod modVis">
          <ac:chgData name="Joelle Brehm" userId="a518f54c-6985-42c0-8041-2bb16a414839" providerId="ADAL" clId="{11F4A39F-1802-4DA4-AB6C-561BDA6399D2}" dt="2023-07-05T20:47:36.367" v="25731"/>
          <ac:spMkLst>
            <pc:docMk/>
            <pc:sldMk cId="4005475890" sldId="273"/>
            <ac:spMk id="40" creationId="{18FE6F6A-C86B-1197-8975-87F1654DF6DC}"/>
          </ac:spMkLst>
        </pc:spChg>
        <pc:spChg chg="add del mod replST">
          <ac:chgData name="Joelle Brehm" userId="a518f54c-6985-42c0-8041-2bb16a414839" providerId="ADAL" clId="{11F4A39F-1802-4DA4-AB6C-561BDA6399D2}" dt="2023-07-05T20:48:54.647" v="26820"/>
          <ac:spMkLst>
            <pc:docMk/>
            <pc:sldMk cId="4005475890" sldId="273"/>
            <ac:spMk id="44" creationId="{81D7AE2D-C225-9778-7BC4-37BA47DE7324}"/>
          </ac:spMkLst>
        </pc:spChg>
        <pc:spChg chg="add del mod replST">
          <ac:chgData name="Joelle Brehm" userId="a518f54c-6985-42c0-8041-2bb16a414839" providerId="ADAL" clId="{11F4A39F-1802-4DA4-AB6C-561BDA6399D2}" dt="2023-07-05T20:48:54.659" v="26822"/>
          <ac:spMkLst>
            <pc:docMk/>
            <pc:sldMk cId="4005475890" sldId="273"/>
            <ac:spMk id="45" creationId="{5A85977D-C77F-F75E-4188-57EF6DFFC581}"/>
          </ac:spMkLst>
        </pc:spChg>
        <pc:spChg chg="add del mod replST">
          <ac:chgData name="Joelle Brehm" userId="a518f54c-6985-42c0-8041-2bb16a414839" providerId="ADAL" clId="{11F4A39F-1802-4DA4-AB6C-561BDA6399D2}" dt="2023-07-05T20:48:54.659" v="26824"/>
          <ac:spMkLst>
            <pc:docMk/>
            <pc:sldMk cId="4005475890" sldId="273"/>
            <ac:spMk id="46" creationId="{E8A8F3C3-6917-FE0A-9475-6A5CF79F4E8E}"/>
          </ac:spMkLst>
        </pc:spChg>
        <pc:spChg chg="add del mod replST">
          <ac:chgData name="Joelle Brehm" userId="a518f54c-6985-42c0-8041-2bb16a414839" providerId="ADAL" clId="{11F4A39F-1802-4DA4-AB6C-561BDA6399D2}" dt="2023-07-05T20:48:54.659" v="26825"/>
          <ac:spMkLst>
            <pc:docMk/>
            <pc:sldMk cId="4005475890" sldId="273"/>
            <ac:spMk id="47" creationId="{A8F1D746-CB14-5590-D7DD-10469C3695AB}"/>
          </ac:spMkLst>
        </pc:spChg>
        <pc:spChg chg="add del mod replST">
          <ac:chgData name="Joelle Brehm" userId="a518f54c-6985-42c0-8041-2bb16a414839" providerId="ADAL" clId="{11F4A39F-1802-4DA4-AB6C-561BDA6399D2}" dt="2023-07-05T20:48:54.661" v="26827"/>
          <ac:spMkLst>
            <pc:docMk/>
            <pc:sldMk cId="4005475890" sldId="273"/>
            <ac:spMk id="48" creationId="{84C1CF5B-5605-95C2-C4D4-CB0275BADE54}"/>
          </ac:spMkLst>
        </pc:spChg>
        <pc:spChg chg="add del mod replST">
          <ac:chgData name="Joelle Brehm" userId="a518f54c-6985-42c0-8041-2bb16a414839" providerId="ADAL" clId="{11F4A39F-1802-4DA4-AB6C-561BDA6399D2}" dt="2023-07-05T20:48:54.661" v="26828"/>
          <ac:spMkLst>
            <pc:docMk/>
            <pc:sldMk cId="4005475890" sldId="273"/>
            <ac:spMk id="49" creationId="{35D733F6-A7E3-FAEE-9650-BE10AF7D9066}"/>
          </ac:spMkLst>
        </pc:spChg>
        <pc:spChg chg="add del mod replST">
          <ac:chgData name="Joelle Brehm" userId="a518f54c-6985-42c0-8041-2bb16a414839" providerId="ADAL" clId="{11F4A39F-1802-4DA4-AB6C-561BDA6399D2}" dt="2023-07-05T20:48:54.661" v="26830"/>
          <ac:spMkLst>
            <pc:docMk/>
            <pc:sldMk cId="4005475890" sldId="273"/>
            <ac:spMk id="50" creationId="{589BE310-F15C-CE71-D984-244AE122B06A}"/>
          </ac:spMkLst>
        </pc:spChg>
        <pc:spChg chg="add del mod modVis">
          <ac:chgData name="Joelle Brehm" userId="a518f54c-6985-42c0-8041-2bb16a414839" providerId="ADAL" clId="{11F4A39F-1802-4DA4-AB6C-561BDA6399D2}" dt="2023-07-05T20:48:54.548" v="26817"/>
          <ac:spMkLst>
            <pc:docMk/>
            <pc:sldMk cId="4005475890" sldId="273"/>
            <ac:spMk id="51" creationId="{6EE9BB6B-E934-1C33-F49C-A21C5A86DF89}"/>
          </ac:spMkLst>
        </pc:spChg>
        <pc:spChg chg="add del mod replST">
          <ac:chgData name="Joelle Brehm" userId="a518f54c-6985-42c0-8041-2bb16a414839" providerId="ADAL" clId="{11F4A39F-1802-4DA4-AB6C-561BDA6399D2}" dt="2023-07-05T20:48:54.841" v="27000"/>
          <ac:spMkLst>
            <pc:docMk/>
            <pc:sldMk cId="4005475890" sldId="273"/>
            <ac:spMk id="52" creationId="{7CAA3B95-4C78-4122-BECA-B5FB0F3F3764}"/>
          </ac:spMkLst>
        </pc:spChg>
        <pc:spChg chg="add del mod replST">
          <ac:chgData name="Joelle Brehm" userId="a518f54c-6985-42c0-8041-2bb16a414839" providerId="ADAL" clId="{11F4A39F-1802-4DA4-AB6C-561BDA6399D2}" dt="2023-07-05T20:48:54.857" v="27005"/>
          <ac:spMkLst>
            <pc:docMk/>
            <pc:sldMk cId="4005475890" sldId="273"/>
            <ac:spMk id="53" creationId="{7CAA3B95-4C78-4122-BECA-B5FB0F3F3764}"/>
          </ac:spMkLst>
        </pc:spChg>
        <pc:spChg chg="add del mod replST">
          <ac:chgData name="Joelle Brehm" userId="a518f54c-6985-42c0-8041-2bb16a414839" providerId="ADAL" clId="{11F4A39F-1802-4DA4-AB6C-561BDA6399D2}" dt="2023-07-05T20:48:54.657" v="26821"/>
          <ac:spMkLst>
            <pc:docMk/>
            <pc:sldMk cId="4005475890" sldId="273"/>
            <ac:spMk id="54" creationId="{7CAA3B95-4C78-4122-BECA-B5FB0F3F3764}"/>
          </ac:spMkLst>
        </pc:spChg>
        <pc:spChg chg="add del mod replST">
          <ac:chgData name="Joelle Brehm" userId="a518f54c-6985-42c0-8041-2bb16a414839" providerId="ADAL" clId="{11F4A39F-1802-4DA4-AB6C-561BDA6399D2}" dt="2023-07-05T20:48:54.659" v="26823"/>
          <ac:spMkLst>
            <pc:docMk/>
            <pc:sldMk cId="4005475890" sldId="273"/>
            <ac:spMk id="55" creationId="{7CAA3B95-4C78-4122-BECA-B5FB0F3F3764}"/>
          </ac:spMkLst>
        </pc:spChg>
        <pc:spChg chg="add del mod replST">
          <ac:chgData name="Joelle Brehm" userId="a518f54c-6985-42c0-8041-2bb16a414839" providerId="ADAL" clId="{11F4A39F-1802-4DA4-AB6C-561BDA6399D2}" dt="2023-07-05T20:48:54.660" v="26826"/>
          <ac:spMkLst>
            <pc:docMk/>
            <pc:sldMk cId="4005475890" sldId="273"/>
            <ac:spMk id="56" creationId="{7CAA3B95-4C78-4122-BECA-B5FB0F3F3764}"/>
          </ac:spMkLst>
        </pc:spChg>
        <pc:spChg chg="add del mod replST">
          <ac:chgData name="Joelle Brehm" userId="a518f54c-6985-42c0-8041-2bb16a414839" providerId="ADAL" clId="{11F4A39F-1802-4DA4-AB6C-561BDA6399D2}" dt="2023-07-05T20:48:54.661" v="26829"/>
          <ac:spMkLst>
            <pc:docMk/>
            <pc:sldMk cId="4005475890" sldId="273"/>
            <ac:spMk id="57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5:52.314" v="32418"/>
          <ac:spMkLst>
            <pc:docMk/>
            <pc:sldMk cId="4005475890" sldId="273"/>
            <ac:spMk id="58" creationId="{FEC487CB-3123-46A1-8350-8669839FA870}"/>
          </ac:spMkLst>
        </pc:spChg>
        <pc:spChg chg="add del mod modVis">
          <ac:chgData name="Joelle Brehm" userId="a518f54c-6985-42c0-8041-2bb16a414839" providerId="ADAL" clId="{11F4A39F-1802-4DA4-AB6C-561BDA6399D2}" dt="2023-07-05T20:48:54.918" v="27094"/>
          <ac:spMkLst>
            <pc:docMk/>
            <pc:sldMk cId="4005475890" sldId="273"/>
            <ac:spMk id="60" creationId="{89D5ECAD-4F06-CB27-0027-083C768D60F0}"/>
          </ac:spMkLst>
        </pc:spChg>
        <pc:spChg chg="add del mod modVis">
          <ac:chgData name="Joelle Brehm" userId="a518f54c-6985-42c0-8041-2bb16a414839" providerId="ADAL" clId="{11F4A39F-1802-4DA4-AB6C-561BDA6399D2}" dt="2023-07-05T20:48:59.069" v="27300"/>
          <ac:spMkLst>
            <pc:docMk/>
            <pc:sldMk cId="4005475890" sldId="273"/>
            <ac:spMk id="62" creationId="{86B81781-800F-873E-975A-C8883188E35E}"/>
          </ac:spMkLst>
        </pc:spChg>
        <pc:spChg chg="add del mod replST">
          <ac:chgData name="Joelle Brehm" userId="a518f54c-6985-42c0-8041-2bb16a414839" providerId="ADAL" clId="{11F4A39F-1802-4DA4-AB6C-561BDA6399D2}" dt="2023-07-05T20:49:11.925" v="27556"/>
          <ac:spMkLst>
            <pc:docMk/>
            <pc:sldMk cId="4005475890" sldId="273"/>
            <ac:spMk id="64" creationId="{B374EAC9-E313-C285-9681-165A9287A5E4}"/>
          </ac:spMkLst>
        </pc:spChg>
        <pc:spChg chg="add del mod modVis">
          <ac:chgData name="Joelle Brehm" userId="a518f54c-6985-42c0-8041-2bb16a414839" providerId="ADAL" clId="{11F4A39F-1802-4DA4-AB6C-561BDA6399D2}" dt="2023-07-05T20:49:05.577" v="27553"/>
          <ac:spMkLst>
            <pc:docMk/>
            <pc:sldMk cId="4005475890" sldId="273"/>
            <ac:spMk id="65" creationId="{2143F627-3F91-10C1-FB38-0AAA70C23173}"/>
          </ac:spMkLst>
        </pc:spChg>
        <pc:spChg chg="add del mod modVis">
          <ac:chgData name="Joelle Brehm" userId="a518f54c-6985-42c0-8041-2bb16a414839" providerId="ADAL" clId="{11F4A39F-1802-4DA4-AB6C-561BDA6399D2}" dt="2023-07-05T20:49:12.034" v="27749"/>
          <ac:spMkLst>
            <pc:docMk/>
            <pc:sldMk cId="4005475890" sldId="273"/>
            <ac:spMk id="67" creationId="{B5A738B9-C2F7-742F-8566-AB4D3F362D84}"/>
          </ac:spMkLst>
        </pc:spChg>
        <pc:spChg chg="add del mod modVis">
          <ac:chgData name="Joelle Brehm" userId="a518f54c-6985-42c0-8041-2bb16a414839" providerId="ADAL" clId="{11F4A39F-1802-4DA4-AB6C-561BDA6399D2}" dt="2023-07-05T20:55:52.314" v="32424"/>
          <ac:spMkLst>
            <pc:docMk/>
            <pc:sldMk cId="4005475890" sldId="273"/>
            <ac:spMk id="71" creationId="{C11BD1A1-B4B2-A7D0-B63D-B82D38662783}"/>
          </ac:spMkLst>
        </pc:spChg>
        <pc:spChg chg="del mod">
          <ac:chgData name="Joelle Brehm" userId="a518f54c-6985-42c0-8041-2bb16a414839" providerId="ADAL" clId="{11F4A39F-1802-4DA4-AB6C-561BDA6399D2}" dt="2023-07-05T20:47:36.228" v="25538"/>
          <ac:spMkLst>
            <pc:docMk/>
            <pc:sldMk cId="4005475890" sldId="273"/>
            <ac:spMk id="7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386"/>
          <ac:spMkLst>
            <pc:docMk/>
            <pc:sldMk cId="4005475890" sldId="273"/>
            <ac:spMk id="77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5:52.296" v="32397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5:52.296" v="32399"/>
          <ac:spMkLst>
            <pc:docMk/>
            <pc:sldMk cId="4005475890" sldId="273"/>
            <ac:spMk id="79" creationId="{F1476AC4-694B-4D83-BFD8-8DCAA4BB1923}"/>
          </ac:spMkLst>
        </pc:spChg>
        <pc:spChg chg="mod">
          <ac:chgData name="Joelle Brehm" userId="a518f54c-6985-42c0-8041-2bb16a414839" providerId="ADAL" clId="{11F4A39F-1802-4DA4-AB6C-561BDA6399D2}" dt="2023-07-05T20:55:52.296" v="32388"/>
          <ac:spMkLst>
            <pc:docMk/>
            <pc:sldMk cId="4005475890" sldId="273"/>
            <ac:spMk id="8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389"/>
          <ac:spMkLst>
            <pc:docMk/>
            <pc:sldMk cId="4005475890" sldId="273"/>
            <ac:spMk id="8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390"/>
          <ac:spMkLst>
            <pc:docMk/>
            <pc:sldMk cId="4005475890" sldId="273"/>
            <ac:spMk id="8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384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387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391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392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5:52.296" v="32401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5:52.296" v="32403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5:52.296" v="32405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5:52.296" v="32407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5:52.312" v="32411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313" v="32413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296" v="32410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5:52.313" v="32414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5:52.312" v="32412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5:52.314" v="32426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0:47:11.464" v="24624"/>
          <ac:graphicFrameMkLst>
            <pc:docMk/>
            <pc:sldMk cId="4005475890" sldId="273"/>
            <ac:graphicFrameMk id="8" creationId="{F709BD7E-2710-6994-745B-61A772A2A8EC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5:52.296" v="32359"/>
          <ac:graphicFrameMkLst>
            <pc:docMk/>
            <pc:sldMk cId="4005475890" sldId="273"/>
            <ac:graphicFrameMk id="10" creationId="{67EFAAF1-BBC9-5219-25BA-DFB300C8542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7:34.741" v="25455"/>
          <ac:graphicFrameMkLst>
            <pc:docMk/>
            <pc:sldMk cId="4005475890" sldId="273"/>
            <ac:graphicFrameMk id="37" creationId="{F647B2AE-4195-A6E2-1708-E39721258D6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7:36.322" v="25652"/>
          <ac:graphicFrameMkLst>
            <pc:docMk/>
            <pc:sldMk cId="4005475890" sldId="273"/>
            <ac:graphicFrameMk id="39" creationId="{AB7AB1B8-AA6B-F5E4-165C-9CAA4786D540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7:32.519" v="25293"/>
          <ac:graphicFrameMkLst>
            <pc:docMk/>
            <pc:sldMk cId="4005475890" sldId="273"/>
            <ac:graphicFrameMk id="41" creationId="{BCB1879D-9617-A6F0-0920-09AD930BA7E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9:05.529" v="27467"/>
          <ac:graphicFrameMkLst>
            <pc:docMk/>
            <pc:sldMk cId="4005475890" sldId="273"/>
            <ac:graphicFrameMk id="42" creationId="{BD77F62A-FF66-1A0C-9677-E21DA7F7CA20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8:54.501" v="26725"/>
          <ac:graphicFrameMkLst>
            <pc:docMk/>
            <pc:sldMk cId="4005475890" sldId="273"/>
            <ac:graphicFrameMk id="43" creationId="{3EA6FA13-E5A3-C37B-73AA-6DDAC1E171B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8:54.861" v="27015"/>
          <ac:graphicFrameMkLst>
            <pc:docMk/>
            <pc:sldMk cId="4005475890" sldId="273"/>
            <ac:graphicFrameMk id="59" creationId="{7A45CEE5-32E5-5217-95D3-28D170683B6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8:59.016" v="27221"/>
          <ac:graphicFrameMkLst>
            <pc:docMk/>
            <pc:sldMk cId="4005475890" sldId="273"/>
            <ac:graphicFrameMk id="61" creationId="{38EA5FFB-F206-DAEA-5F12-C00C950A88EA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5:52.296" v="32409"/>
          <ac:graphicFrameMkLst>
            <pc:docMk/>
            <pc:sldMk cId="4005475890" sldId="273"/>
            <ac:graphicFrameMk id="63" creationId="{33A00539-6589-3ABA-D346-6BCBCF63A2D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9:12.002" v="27670"/>
          <ac:graphicFrameMkLst>
            <pc:docMk/>
            <pc:sldMk cId="4005475890" sldId="273"/>
            <ac:graphicFrameMk id="66" creationId="{7A415981-7577-3DA7-24FE-4A838AE0832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5:52.296" v="32383"/>
          <ac:graphicFrameMkLst>
            <pc:docMk/>
            <pc:sldMk cId="4005475890" sldId="273"/>
            <ac:graphicFrameMk id="68" creationId="{371B11A8-BA6A-1ADA-20C2-026441A4B11B}"/>
          </ac:graphicFrameMkLst>
        </pc:graphicFrameChg>
        <pc:picChg chg="del mod ord">
          <ac:chgData name="Joelle Brehm" userId="a518f54c-6985-42c0-8041-2bb16a414839" providerId="ADAL" clId="{11F4A39F-1802-4DA4-AB6C-561BDA6399D2}" dt="2023-07-05T20:47:25.585" v="24796" actId="478"/>
          <ac:picMkLst>
            <pc:docMk/>
            <pc:sldMk cId="4005475890" sldId="273"/>
            <ac:picMk id="9" creationId="{15643956-2907-085D-0AC8-D3CBB55291D8}"/>
          </ac:picMkLst>
        </pc:picChg>
        <pc:picChg chg="add del mod ord">
          <ac:chgData name="Joelle Brehm" userId="a518f54c-6985-42c0-8041-2bb16a414839" providerId="ADAL" clId="{11F4A39F-1802-4DA4-AB6C-561BDA6399D2}" dt="2023-07-05T20:55:54.765" v="32427" actId="478"/>
          <ac:picMkLst>
            <pc:docMk/>
            <pc:sldMk cId="4005475890" sldId="273"/>
            <ac:picMk id="31" creationId="{E145FF0C-45B4-CBD3-0FD6-37D016C9E7BD}"/>
          </ac:picMkLst>
        </pc:picChg>
        <pc:picChg chg="add del mod ord">
          <ac:chgData name="Joelle Brehm" userId="a518f54c-6985-42c0-8041-2bb16a414839" providerId="ADAL" clId="{11F4A39F-1802-4DA4-AB6C-561BDA6399D2}" dt="2023-07-05T20:55:37.697" v="32298" actId="478"/>
          <ac:picMkLst>
            <pc:docMk/>
            <pc:sldMk cId="4005475890" sldId="273"/>
            <ac:picMk id="69" creationId="{EA2BA9E2-5894-B6A4-DEA9-F91E1EC1D655}"/>
          </ac:picMkLst>
        </pc:picChg>
        <pc:picChg chg="add mod ord">
          <ac:chgData name="Joelle Brehm" userId="a518f54c-6985-42c0-8041-2bb16a414839" providerId="ADAL" clId="{11F4A39F-1802-4DA4-AB6C-561BDA6399D2}" dt="2023-07-05T20:55:52.296" v="32351"/>
          <ac:picMkLst>
            <pc:docMk/>
            <pc:sldMk cId="4005475890" sldId="273"/>
            <ac:picMk id="70" creationId="{3F7922FD-73A0-3198-39FE-4B249CAD046A}"/>
          </ac:picMkLst>
        </pc:picChg>
        <pc:picChg chg="mod ord">
          <ac:chgData name="Joelle Brehm" userId="a518f54c-6985-42c0-8041-2bb16a414839" providerId="ADAL" clId="{11F4A39F-1802-4DA4-AB6C-561BDA6399D2}" dt="2023-07-05T20:55:52.314" v="32416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5:52.296" v="32357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7:34.072" v="32508" actId="478"/>
        <pc:sldMkLst>
          <pc:docMk/>
          <pc:sldMk cId="3374649050" sldId="274"/>
        </pc:sldMkLst>
        <pc:spChg chg="mod ord">
          <ac:chgData name="Joelle Brehm" userId="a518f54c-6985-42c0-8041-2bb16a414839" providerId="ADAL" clId="{11F4A39F-1802-4DA4-AB6C-561BDA6399D2}" dt="2023-07-05T20:57:32.666" v="32503"/>
          <ac:spMkLst>
            <pc:docMk/>
            <pc:sldMk cId="3374649050" sldId="274"/>
            <ac:spMk id="2" creationId="{5B9511BD-9A18-4BDB-8C3B-3627E48A258D}"/>
          </ac:spMkLst>
        </pc:spChg>
        <pc:spChg chg="add del mod ord">
          <ac:chgData name="Joelle Brehm" userId="a518f54c-6985-42c0-8041-2bb16a414839" providerId="ADAL" clId="{11F4A39F-1802-4DA4-AB6C-561BDA6399D2}" dt="2023-07-05T20:49:46.379" v="28098" actId="478"/>
          <ac:spMkLst>
            <pc:docMk/>
            <pc:sldMk cId="3374649050" sldId="274"/>
            <ac:spMk id="3" creationId="{5C318935-D471-93D0-4A09-0382B58BE6F1}"/>
          </ac:spMkLst>
        </pc:spChg>
        <pc:spChg chg="add del mod modVis">
          <ac:chgData name="Joelle Brehm" userId="a518f54c-6985-42c0-8041-2bb16a414839" providerId="ADAL" clId="{11F4A39F-1802-4DA4-AB6C-561BDA6399D2}" dt="2023-07-05T20:49:29.757" v="28007"/>
          <ac:spMkLst>
            <pc:docMk/>
            <pc:sldMk cId="3374649050" sldId="274"/>
            <ac:spMk id="5" creationId="{C59C9EC3-2A02-8214-E89B-FDDB5A8117B5}"/>
          </ac:spMkLst>
        </pc:spChg>
        <pc:spChg chg="mod ord">
          <ac:chgData name="Joelle Brehm" userId="a518f54c-6985-42c0-8041-2bb16a414839" providerId="ADAL" clId="{11F4A39F-1802-4DA4-AB6C-561BDA6399D2}" dt="2023-07-05T20:57:32.651" v="32438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7:32.651" v="32443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7:32.651" v="32448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7:32.651" v="32449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7:32.651" v="32444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7:32.651" v="32447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7:32.651" v="32446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7:32.651" v="32445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7:32.651" v="32450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7:32.651" v="32451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7:32.651" v="32453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7:32.651" v="32452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7:32.651" v="32454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7:32.651" v="32456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7:32.651" v="32458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7:32.651" v="32457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7:32.651" v="32459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7:32.651" v="32461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7:32.651" v="32460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7:32.651" v="32462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7:32.651" v="32464"/>
          <ac:spMkLst>
            <pc:docMk/>
            <pc:sldMk cId="3374649050" sldId="274"/>
            <ac:spMk id="30" creationId="{121A2A89-FB4E-4B9A-840D-28523B0B457F}"/>
          </ac:spMkLst>
        </pc:spChg>
        <pc:spChg chg="add mod replST">
          <ac:chgData name="Joelle Brehm" userId="a518f54c-6985-42c0-8041-2bb16a414839" providerId="ADAL" clId="{11F4A39F-1802-4DA4-AB6C-561BDA6399D2}" dt="2023-07-05T20:57:32.666" v="32478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11F4A39F-1802-4DA4-AB6C-561BDA6399D2}" dt="2023-07-05T20:57:32.666" v="32476"/>
          <ac:spMkLst>
            <pc:docMk/>
            <pc:sldMk cId="3374649050" sldId="274"/>
            <ac:spMk id="33" creationId="{8A5C4479-0363-6F13-F887-8871FD03F34C}"/>
          </ac:spMkLst>
        </pc:spChg>
        <pc:spChg chg="mod">
          <ac:chgData name="Joelle Brehm" userId="a518f54c-6985-42c0-8041-2bb16a414839" providerId="ADAL" clId="{11F4A39F-1802-4DA4-AB6C-561BDA6399D2}" dt="2023-07-05T20:57:32.666" v="32477"/>
          <ac:spMkLst>
            <pc:docMk/>
            <pc:sldMk cId="3374649050" sldId="274"/>
            <ac:spMk id="35" creationId="{2802A121-31E5-DB0B-5B38-DE9CBE8BEA57}"/>
          </ac:spMkLst>
        </pc:spChg>
        <pc:spChg chg="add del mod modVis">
          <ac:chgData name="Joelle Brehm" userId="a518f54c-6985-42c0-8041-2bb16a414839" providerId="ADAL" clId="{11F4A39F-1802-4DA4-AB6C-561BDA6399D2}" dt="2023-07-05T20:49:52.684" v="28597"/>
          <ac:spMkLst>
            <pc:docMk/>
            <pc:sldMk cId="3374649050" sldId="274"/>
            <ac:spMk id="36" creationId="{C56B3D38-E2B2-38E9-99E5-1549F72EE2E3}"/>
          </ac:spMkLst>
        </pc:spChg>
        <pc:spChg chg="mod">
          <ac:chgData name="Joelle Brehm" userId="a518f54c-6985-42c0-8041-2bb16a414839" providerId="ADAL" clId="{11F4A39F-1802-4DA4-AB6C-561BDA6399D2}" dt="2023-07-05T20:57:32.651" v="32467"/>
          <ac:spMkLst>
            <pc:docMk/>
            <pc:sldMk cId="3374649050" sldId="274"/>
            <ac:spMk id="38" creationId="{1995B1DD-126C-92BA-1668-3B87C2F5B1E5}"/>
          </ac:spMkLst>
        </pc:spChg>
        <pc:spChg chg="add del mod modVis">
          <ac:chgData name="Joelle Brehm" userId="a518f54c-6985-42c0-8041-2bb16a414839" providerId="ADAL" clId="{11F4A39F-1802-4DA4-AB6C-561BDA6399D2}" dt="2023-07-05T20:49:55.163" v="28753"/>
          <ac:spMkLst>
            <pc:docMk/>
            <pc:sldMk cId="3374649050" sldId="274"/>
            <ac:spMk id="39" creationId="{FADAB9E0-BC7F-7A15-CA3A-4E2F6D785CA6}"/>
          </ac:spMkLst>
        </pc:spChg>
        <pc:spChg chg="add del mod modVis">
          <ac:chgData name="Joelle Brehm" userId="a518f54c-6985-42c0-8041-2bb16a414839" providerId="ADAL" clId="{11F4A39F-1802-4DA4-AB6C-561BDA6399D2}" dt="2023-07-05T20:49:56.426" v="28949"/>
          <ac:spMkLst>
            <pc:docMk/>
            <pc:sldMk cId="3374649050" sldId="274"/>
            <ac:spMk id="41" creationId="{C3C1CC11-79BE-3C0C-5739-85E0AB751630}"/>
          </ac:spMkLst>
        </pc:spChg>
        <pc:spChg chg="mod">
          <ac:chgData name="Joelle Brehm" userId="a518f54c-6985-42c0-8041-2bb16a414839" providerId="ADAL" clId="{11F4A39F-1802-4DA4-AB6C-561BDA6399D2}" dt="2023-07-05T20:57:32.666" v="32494"/>
          <ac:spMkLst>
            <pc:docMk/>
            <pc:sldMk cId="3374649050" sldId="274"/>
            <ac:spMk id="43" creationId="{71A50278-0560-C951-1F18-CA11BF2F6494}"/>
          </ac:spMkLst>
        </pc:spChg>
        <pc:spChg chg="add del mod modVis">
          <ac:chgData name="Joelle Brehm" userId="a518f54c-6985-42c0-8041-2bb16a414839" providerId="ADAL" clId="{11F4A39F-1802-4DA4-AB6C-561BDA6399D2}" dt="2023-07-05T20:49:59.815" v="29101"/>
          <ac:spMkLst>
            <pc:docMk/>
            <pc:sldMk cId="3374649050" sldId="274"/>
            <ac:spMk id="45" creationId="{D944FD6C-C83E-11B0-752D-C9F9D8525E36}"/>
          </ac:spMkLst>
        </pc:spChg>
        <pc:spChg chg="add del mod modVis">
          <ac:chgData name="Joelle Brehm" userId="a518f54c-6985-42c0-8041-2bb16a414839" providerId="ADAL" clId="{11F4A39F-1802-4DA4-AB6C-561BDA6399D2}" dt="2023-07-05T20:50:00.876" v="29308"/>
          <ac:spMkLst>
            <pc:docMk/>
            <pc:sldMk cId="3374649050" sldId="274"/>
            <ac:spMk id="47" creationId="{520FEB6A-6BF1-9653-1C14-AD52095BD088}"/>
          </ac:spMkLst>
        </pc:spChg>
        <pc:spChg chg="add del mod modVis">
          <ac:chgData name="Joelle Brehm" userId="a518f54c-6985-42c0-8041-2bb16a414839" providerId="ADAL" clId="{11F4A39F-1802-4DA4-AB6C-561BDA6399D2}" dt="2023-07-05T20:50:16.468" v="29577"/>
          <ac:spMkLst>
            <pc:docMk/>
            <pc:sldMk cId="3374649050" sldId="274"/>
            <ac:spMk id="49" creationId="{152CDC72-6C6F-4965-6224-DDEBEF2A7950}"/>
          </ac:spMkLst>
        </pc:spChg>
        <pc:spChg chg="add del mod modVis">
          <ac:chgData name="Joelle Brehm" userId="a518f54c-6985-42c0-8041-2bb16a414839" providerId="ADAL" clId="{11F4A39F-1802-4DA4-AB6C-561BDA6399D2}" dt="2023-07-05T20:50:22.897" v="29837"/>
          <ac:spMkLst>
            <pc:docMk/>
            <pc:sldMk cId="3374649050" sldId="274"/>
            <ac:spMk id="51" creationId="{B6498FDB-FA8E-E868-45CC-A5BD278D2D40}"/>
          </ac:spMkLst>
        </pc:spChg>
        <pc:spChg chg="mod ord">
          <ac:chgData name="Joelle Brehm" userId="a518f54c-6985-42c0-8041-2bb16a414839" providerId="ADAL" clId="{11F4A39F-1802-4DA4-AB6C-561BDA6399D2}" dt="2023-07-05T20:57:32.666" v="32501"/>
          <ac:spMkLst>
            <pc:docMk/>
            <pc:sldMk cId="3374649050" sldId="274"/>
            <ac:spMk id="58" creationId="{5BBF118A-F952-4AA1-8B74-92A00B5F6171}"/>
          </ac:spMkLst>
        </pc:spChg>
        <pc:spChg chg="del mod">
          <ac:chgData name="Joelle Brehm" userId="a518f54c-6985-42c0-8041-2bb16a414839" providerId="ADAL" clId="{11F4A39F-1802-4DA4-AB6C-561BDA6399D2}" dt="2023-07-05T20:49:56.197" v="28756"/>
          <ac:spMkLst>
            <pc:docMk/>
            <pc:sldMk cId="3374649050" sldId="274"/>
            <ac:spMk id="77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7:32.666" v="32480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7:32.666" v="32482"/>
          <ac:spMkLst>
            <pc:docMk/>
            <pc:sldMk cId="3374649050" sldId="274"/>
            <ac:spMk id="79" creationId="{F1476AC4-694B-4D83-BFD8-8DCAA4BB1923}"/>
          </ac:spMkLst>
        </pc:spChg>
        <pc:spChg chg="mod">
          <ac:chgData name="Joelle Brehm" userId="a518f54c-6985-42c0-8041-2bb16a414839" providerId="ADAL" clId="{11F4A39F-1802-4DA4-AB6C-561BDA6399D2}" dt="2023-07-05T20:57:32.651" v="32469"/>
          <ac:spMkLst>
            <pc:docMk/>
            <pc:sldMk cId="3374649050" sldId="274"/>
            <ac:spMk id="8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51" v="32470"/>
          <ac:spMkLst>
            <pc:docMk/>
            <pc:sldMk cId="3374649050" sldId="274"/>
            <ac:spMk id="8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51" v="32468"/>
          <ac:spMkLst>
            <pc:docMk/>
            <pc:sldMk cId="3374649050" sldId="274"/>
            <ac:spMk id="8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51" v="32471"/>
          <ac:spMkLst>
            <pc:docMk/>
            <pc:sldMk cId="3374649050" sldId="274"/>
            <ac:spMk id="8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51" v="32472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66" v="32474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66" v="32473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66" v="32475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7:32.666" v="32484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7:32.666" v="32486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7:32.666" v="32488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7:32.666" v="32490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7:32.666" v="32495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66" v="32496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7:32.666" v="32493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7:32.666" v="32497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7:32.682" v="32507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0:49:29.697" v="27920"/>
          <ac:graphicFrameMkLst>
            <pc:docMk/>
            <pc:sldMk cId="3374649050" sldId="274"/>
            <ac:graphicFrameMk id="8" creationId="{C7CFF8C6-CCF4-49D5-7751-5C619B799D47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7:32.651" v="32442"/>
          <ac:graphicFrameMkLst>
            <pc:docMk/>
            <pc:sldMk cId="3374649050" sldId="274"/>
            <ac:graphicFrameMk id="10" creationId="{D9537D29-3691-3987-2D5B-454E1D5E5BC7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50:00.824" v="29229"/>
          <ac:graphicFrameMkLst>
            <pc:docMk/>
            <pc:sldMk cId="3374649050" sldId="274"/>
            <ac:graphicFrameMk id="34" creationId="{02B180AC-0CC4-F3CC-E1D1-41F7C375046D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9:55.075" v="28673"/>
          <ac:graphicFrameMkLst>
            <pc:docMk/>
            <pc:sldMk cId="3374649050" sldId="274"/>
            <ac:graphicFrameMk id="37" creationId="{95649FEC-20FE-6524-0C89-D8AE4840195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9:56.348" v="28870"/>
          <ac:graphicFrameMkLst>
            <pc:docMk/>
            <pc:sldMk cId="3374649050" sldId="274"/>
            <ac:graphicFrameMk id="40" creationId="{0D42BB14-12FF-6319-7600-3FC0A2916AC7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49:59.754" v="29022"/>
          <ac:graphicFrameMkLst>
            <pc:docMk/>
            <pc:sldMk cId="3374649050" sldId="274"/>
            <ac:graphicFrameMk id="42" creationId="{06C818B2-79CF-1DAA-CF67-61E1FFA94DB5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49:52.642" v="28513"/>
          <ac:graphicFrameMkLst>
            <pc:docMk/>
            <pc:sldMk cId="3374649050" sldId="274"/>
            <ac:graphicFrameMk id="44" creationId="{E1E61A59-87CA-7559-6E79-6C366BC327F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7:32.651" v="32466"/>
          <ac:graphicFrameMkLst>
            <pc:docMk/>
            <pc:sldMk cId="3374649050" sldId="274"/>
            <ac:graphicFrameMk id="46" creationId="{6DE51127-0839-46F8-138B-3DFA60DC859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50:22.836" v="29758"/>
          <ac:graphicFrameMkLst>
            <pc:docMk/>
            <pc:sldMk cId="3374649050" sldId="274"/>
            <ac:graphicFrameMk id="48" creationId="{63C99771-FF03-4551-F3F3-7CA54D7D325E}"/>
          </ac:graphicFrameMkLst>
        </pc:graphicFrameChg>
        <pc:graphicFrameChg chg="add mod ord replST delST">
          <ac:chgData name="Joelle Brehm" userId="a518f54c-6985-42c0-8041-2bb16a414839" providerId="ADAL" clId="{11F4A39F-1802-4DA4-AB6C-561BDA6399D2}" dt="2023-07-05T20:50:16.468" v="29577"/>
          <ac:graphicFrameMkLst>
            <pc:docMk/>
            <pc:sldMk cId="3374649050" sldId="274"/>
            <ac:graphicFrameMk id="50" creationId="{4EE04DA1-053F-7AF0-C553-CAF762BE7115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7:32.666" v="32492"/>
          <ac:graphicFrameMkLst>
            <pc:docMk/>
            <pc:sldMk cId="3374649050" sldId="274"/>
            <ac:graphicFrameMk id="52" creationId="{838C5A0B-16F4-2527-F49F-29F06B3BDF25}"/>
          </ac:graphicFrameMkLst>
        </pc:graphicFrameChg>
        <pc:picChg chg="del mod ord">
          <ac:chgData name="Joelle Brehm" userId="a518f54c-6985-42c0-8041-2bb16a414839" providerId="ADAL" clId="{11F4A39F-1802-4DA4-AB6C-561BDA6399D2}" dt="2023-07-05T20:49:43.972" v="28097" actId="478"/>
          <ac:picMkLst>
            <pc:docMk/>
            <pc:sldMk cId="3374649050" sldId="274"/>
            <ac:picMk id="9" creationId="{D920F2D8-2C56-7838-F707-23E04440A7E7}"/>
          </ac:picMkLst>
        </pc:picChg>
        <pc:picChg chg="add del mod ord">
          <ac:chgData name="Joelle Brehm" userId="a518f54c-6985-42c0-8041-2bb16a414839" providerId="ADAL" clId="{11F4A39F-1802-4DA4-AB6C-561BDA6399D2}" dt="2023-07-05T20:57:34.072" v="32508" actId="478"/>
          <ac:picMkLst>
            <pc:docMk/>
            <pc:sldMk cId="3374649050" sldId="274"/>
            <ac:picMk id="31" creationId="{9A3FF5EA-B2F6-7C39-1EB7-99014EA08577}"/>
          </ac:picMkLst>
        </pc:picChg>
        <pc:picChg chg="add mod ord">
          <ac:chgData name="Joelle Brehm" userId="a518f54c-6985-42c0-8041-2bb16a414839" providerId="ADAL" clId="{11F4A39F-1802-4DA4-AB6C-561BDA6399D2}" dt="2023-07-05T20:57:32.651" v="32434"/>
          <ac:picMkLst>
            <pc:docMk/>
            <pc:sldMk cId="3374649050" sldId="274"/>
            <ac:picMk id="53" creationId="{CEE0B564-43D7-6140-D594-0D0ADB765FC8}"/>
          </ac:picMkLst>
        </pc:picChg>
        <pc:picChg chg="mod ord">
          <ac:chgData name="Joelle Brehm" userId="a518f54c-6985-42c0-8041-2bb16a414839" providerId="ADAL" clId="{11F4A39F-1802-4DA4-AB6C-561BDA6399D2}" dt="2023-07-05T20:57:32.666" v="32499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7:32.651" v="32440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0:58:35.733" v="32594" actId="478"/>
        <pc:sldMkLst>
          <pc:docMk/>
          <pc:sldMk cId="592117244" sldId="275"/>
        </pc:sldMkLst>
        <pc:spChg chg="add del mod ord">
          <ac:chgData name="Joelle Brehm" userId="a518f54c-6985-42c0-8041-2bb16a414839" providerId="ADAL" clId="{11F4A39F-1802-4DA4-AB6C-561BDA6399D2}" dt="2023-07-05T20:51:00.585" v="30193" actId="478"/>
          <ac:spMkLst>
            <pc:docMk/>
            <pc:sldMk cId="592117244" sldId="275"/>
            <ac:spMk id="2" creationId="{C09A7051-8A50-0EAC-495F-98271D7995AC}"/>
          </ac:spMkLst>
        </pc:spChg>
        <pc:spChg chg="mod ord">
          <ac:chgData name="Joelle Brehm" userId="a518f54c-6985-42c0-8041-2bb16a414839" providerId="ADAL" clId="{11F4A39F-1802-4DA4-AB6C-561BDA6399D2}" dt="2023-07-05T20:58:34.337" v="32589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11F4A39F-1802-4DA4-AB6C-561BDA6399D2}" dt="2023-07-05T20:50:42.254" v="30103"/>
          <ac:spMkLst>
            <pc:docMk/>
            <pc:sldMk cId="592117244" sldId="275"/>
            <ac:spMk id="5" creationId="{DA0E6751-7708-C3E1-090A-D113EB3FAB1B}"/>
          </ac:spMkLst>
        </pc:spChg>
        <pc:spChg chg="mod ord">
          <ac:chgData name="Joelle Brehm" userId="a518f54c-6985-42c0-8041-2bb16a414839" providerId="ADAL" clId="{11F4A39F-1802-4DA4-AB6C-561BDA6399D2}" dt="2023-07-05T20:58:34.312" v="32524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0:58:34.312" v="32534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0:58:34.312" v="32533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0:58:34.312" v="32535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0:58:34.312" v="32531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0:58:34.312" v="32532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0:58:34.312" v="32530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0:58:34.312" v="32536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0:58:34.328" v="32537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0:58:34.328" v="32538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0:58:34.312" v="32529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0:58:34.328" v="32539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0:58:34.328" v="32540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0:58:34.328" v="32542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0:58:34.330" v="32545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0:58:34.328" v="32543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0:58:34.328" v="32544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0:58:34.330" v="32547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0:58:34.330" v="32546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0:58:34.330" v="32548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0:58:34.331" v="32550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0:58:34.331" v="32563"/>
          <ac:spMkLst>
            <pc:docMk/>
            <pc:sldMk cId="592117244" sldId="275"/>
            <ac:spMk id="32" creationId="{EFD7F861-36C7-CE7A-55EC-A3296A1A6932}"/>
          </ac:spMkLst>
        </pc:spChg>
        <pc:spChg chg="add mod replST">
          <ac:chgData name="Joelle Brehm" userId="a518f54c-6985-42c0-8041-2bb16a414839" providerId="ADAL" clId="{11F4A39F-1802-4DA4-AB6C-561BDA6399D2}" dt="2023-07-05T20:58:34.331" v="32564"/>
          <ac:spMkLst>
            <pc:docMk/>
            <pc:sldMk cId="592117244" sldId="275"/>
            <ac:spMk id="33" creationId="{7E8BBD9E-2B2D-57B8-A905-831743E16231}"/>
          </ac:spMkLst>
        </pc:spChg>
        <pc:spChg chg="add del mod modVis">
          <ac:chgData name="Joelle Brehm" userId="a518f54c-6985-42c0-8041-2bb16a414839" providerId="ADAL" clId="{11F4A39F-1802-4DA4-AB6C-561BDA6399D2}" dt="2023-07-05T20:51:06.568" v="30715"/>
          <ac:spMkLst>
            <pc:docMk/>
            <pc:sldMk cId="592117244" sldId="275"/>
            <ac:spMk id="34" creationId="{FDF63EFD-DE33-CF17-8635-A0E0DA29F9D3}"/>
          </ac:spMkLst>
        </pc:spChg>
        <pc:spChg chg="add del mod modVis">
          <ac:chgData name="Joelle Brehm" userId="a518f54c-6985-42c0-8041-2bb16a414839" providerId="ADAL" clId="{11F4A39F-1802-4DA4-AB6C-561BDA6399D2}" dt="2023-07-05T20:51:09.241" v="30869"/>
          <ac:spMkLst>
            <pc:docMk/>
            <pc:sldMk cId="592117244" sldId="275"/>
            <ac:spMk id="36" creationId="{20ED9B94-274A-08A3-078B-DE61BE7D52A1}"/>
          </ac:spMkLst>
        </pc:spChg>
        <pc:spChg chg="mod">
          <ac:chgData name="Joelle Brehm" userId="a518f54c-6985-42c0-8041-2bb16a414839" providerId="ADAL" clId="{11F4A39F-1802-4DA4-AB6C-561BDA6399D2}" dt="2023-07-05T20:58:34.331" v="32562"/>
          <ac:spMkLst>
            <pc:docMk/>
            <pc:sldMk cId="592117244" sldId="275"/>
            <ac:spMk id="37" creationId="{90FA8FF8-BF43-F8ED-7D69-4D34F348E5E1}"/>
          </ac:spMkLst>
        </pc:spChg>
        <pc:spChg chg="mod">
          <ac:chgData name="Joelle Brehm" userId="a518f54c-6985-42c0-8041-2bb16a414839" providerId="ADAL" clId="{11F4A39F-1802-4DA4-AB6C-561BDA6399D2}" dt="2023-07-05T20:58:34.331" v="32561"/>
          <ac:spMkLst>
            <pc:docMk/>
            <pc:sldMk cId="592117244" sldId="275"/>
            <ac:spMk id="39" creationId="{1EFCB791-16E1-BC87-1C92-0DDD24DA7D5F}"/>
          </ac:spMkLst>
        </pc:spChg>
        <pc:spChg chg="add del mod modVis">
          <ac:chgData name="Joelle Brehm" userId="a518f54c-6985-42c0-8041-2bb16a414839" providerId="ADAL" clId="{11F4A39F-1802-4DA4-AB6C-561BDA6399D2}" dt="2023-07-05T20:51:11.275" v="31063"/>
          <ac:spMkLst>
            <pc:docMk/>
            <pc:sldMk cId="592117244" sldId="275"/>
            <ac:spMk id="40" creationId="{D3C2888C-3D63-967E-3CD9-1FD8B928C02A}"/>
          </ac:spMkLst>
        </pc:spChg>
        <pc:spChg chg="add del mod modVis">
          <ac:chgData name="Joelle Brehm" userId="a518f54c-6985-42c0-8041-2bb16a414839" providerId="ADAL" clId="{11F4A39F-1802-4DA4-AB6C-561BDA6399D2}" dt="2023-07-05T20:51:21.322" v="31320"/>
          <ac:spMkLst>
            <pc:docMk/>
            <pc:sldMk cId="592117244" sldId="275"/>
            <ac:spMk id="44" creationId="{50B57FEA-F2BB-D640-E6BB-C7D3D20365EB}"/>
          </ac:spMkLst>
        </pc:spChg>
        <pc:spChg chg="mod ord">
          <ac:chgData name="Joelle Brehm" userId="a518f54c-6985-42c0-8041-2bb16a414839" providerId="ADAL" clId="{11F4A39F-1802-4DA4-AB6C-561BDA6399D2}" dt="2023-07-05T20:58:34.337" v="32587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11F4A39F-1802-4DA4-AB6C-561BDA6399D2}" dt="2023-07-05T20:58:34.331" v="32566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0:58:34.331" v="32568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11F4A39F-1802-4DA4-AB6C-561BDA6399D2}" dt="2023-07-05T20:51:11.107" v="30872"/>
          <ac:spMkLst>
            <pc:docMk/>
            <pc:sldMk cId="592117244" sldId="275"/>
            <ac:spMk id="8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56"/>
          <ac:spMkLst>
            <pc:docMk/>
            <pc:sldMk cId="592117244" sldId="275"/>
            <ac:spMk id="8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53"/>
          <ac:spMkLst>
            <pc:docMk/>
            <pc:sldMk cId="592117244" sldId="275"/>
            <ac:spMk id="8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54"/>
          <ac:spMkLst>
            <pc:docMk/>
            <pc:sldMk cId="592117244" sldId="275"/>
            <ac:spMk id="8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57"/>
          <ac:spMkLst>
            <pc:docMk/>
            <pc:sldMk cId="592117244" sldId="275"/>
            <ac:spMk id="8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58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55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59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1" v="32560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0:58:34.331" v="32570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0:58:34.331" v="32572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0:58:34.331" v="32574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0:58:34.331" v="32576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0:58:34.337" v="32580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7" v="32581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7" v="32582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0:58:34.337" v="32583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0:58:34.337" v="32579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0:58:34.337" v="32593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8:34.312" v="32528"/>
          <ac:graphicFrameMkLst>
            <pc:docMk/>
            <pc:sldMk cId="592117244" sldId="275"/>
            <ac:graphicFrameMk id="8" creationId="{C28F1F34-6793-AD45-D215-97DC8C0C51DF}"/>
          </ac:graphicFrameMkLst>
        </pc:graphicFrameChg>
        <pc:graphicFrameChg chg="del">
          <ac:chgData name="Joelle Brehm" userId="a518f54c-6985-42c0-8041-2bb16a414839" providerId="ADAL" clId="{11F4A39F-1802-4DA4-AB6C-561BDA6399D2}" dt="2023-07-05T20:50:42.202" v="30018"/>
          <ac:graphicFrameMkLst>
            <pc:docMk/>
            <pc:sldMk cId="592117244" sldId="275"/>
            <ac:graphicFrameMk id="10" creationId="{6420A1BC-FDA9-DB66-E4B5-F076F0A4A0F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51:09.191" v="30789"/>
          <ac:graphicFrameMkLst>
            <pc:docMk/>
            <pc:sldMk cId="592117244" sldId="275"/>
            <ac:graphicFrameMk id="35" creationId="{95BE9C7C-4754-0B02-F32F-7D91616A084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0:51:11.207" v="30984"/>
          <ac:graphicFrameMkLst>
            <pc:docMk/>
            <pc:sldMk cId="592117244" sldId="275"/>
            <ac:graphicFrameMk id="38" creationId="{48F5A890-0DCF-8F20-14B6-35A0E1389710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51:06.520" v="30629"/>
          <ac:graphicFrameMkLst>
            <pc:docMk/>
            <pc:sldMk cId="592117244" sldId="275"/>
            <ac:graphicFrameMk id="41" creationId="{56D39CBB-3854-A9B8-AD69-9FC34259905D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8:34.331" v="32552"/>
          <ac:graphicFrameMkLst>
            <pc:docMk/>
            <pc:sldMk cId="592117244" sldId="275"/>
            <ac:graphicFrameMk id="42" creationId="{1A0550DE-EC6F-EC50-F7DA-45486576A915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0:51:21.216" v="31241"/>
          <ac:graphicFrameMkLst>
            <pc:docMk/>
            <pc:sldMk cId="592117244" sldId="275"/>
            <ac:graphicFrameMk id="43" creationId="{105DABE8-CF63-3DEF-4E1F-C19347D4B51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0:58:34.331" v="32578"/>
          <ac:graphicFrameMkLst>
            <pc:docMk/>
            <pc:sldMk cId="592117244" sldId="275"/>
            <ac:graphicFrameMk id="45" creationId="{96260C6B-3D73-82DE-3E5D-10851F3FA332}"/>
          </ac:graphicFrameMkLst>
        </pc:graphicFrameChg>
        <pc:picChg chg="add del mod ord">
          <ac:chgData name="Joelle Brehm" userId="a518f54c-6985-42c0-8041-2bb16a414839" providerId="ADAL" clId="{11F4A39F-1802-4DA4-AB6C-561BDA6399D2}" dt="2023-07-05T20:58:35.733" v="32594" actId="478"/>
          <ac:picMkLst>
            <pc:docMk/>
            <pc:sldMk cId="592117244" sldId="275"/>
            <ac:picMk id="9" creationId="{E4CCD479-025A-E621-E521-AB085556A543}"/>
          </ac:picMkLst>
        </pc:picChg>
        <pc:picChg chg="del mod ord">
          <ac:chgData name="Joelle Brehm" userId="a518f54c-6985-42c0-8041-2bb16a414839" providerId="ADAL" clId="{11F4A39F-1802-4DA4-AB6C-561BDA6399D2}" dt="2023-07-05T20:50:57.907" v="30192" actId="478"/>
          <ac:picMkLst>
            <pc:docMk/>
            <pc:sldMk cId="592117244" sldId="275"/>
            <ac:picMk id="31" creationId="{DB721931-A6AA-760A-5055-C359E186FA14}"/>
          </ac:picMkLst>
        </pc:picChg>
        <pc:picChg chg="add mod ord">
          <ac:chgData name="Joelle Brehm" userId="a518f54c-6985-42c0-8041-2bb16a414839" providerId="ADAL" clId="{11F4A39F-1802-4DA4-AB6C-561BDA6399D2}" dt="2023-07-05T20:58:34.312" v="32520"/>
          <ac:picMkLst>
            <pc:docMk/>
            <pc:sldMk cId="592117244" sldId="275"/>
            <ac:picMk id="46" creationId="{D1E896D7-1E40-2ECE-FA5B-839DA1870DEC}"/>
          </ac:picMkLst>
        </pc:picChg>
        <pc:picChg chg="mod ord">
          <ac:chgData name="Joelle Brehm" userId="a518f54c-6985-42c0-8041-2bb16a414839" providerId="ADAL" clId="{11F4A39F-1802-4DA4-AB6C-561BDA6399D2}" dt="2023-07-05T20:58:34.337" v="32585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0:58:34.312" v="32526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31:15.276" v="34841"/>
        <pc:sldMkLst>
          <pc:docMk/>
          <pc:sldMk cId="3358644479" sldId="276"/>
        </pc:sldMkLst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2" creationId="{2688F805-F703-4FD1-AEE0-0F8E6A5589FE}"/>
          </ac:spMkLst>
        </pc:spChg>
        <pc:spChg chg="add del mod ord">
          <ac:chgData name="Joelle Brehm" userId="a518f54c-6985-42c0-8041-2bb16a414839" providerId="ADAL" clId="{11F4A39F-1802-4DA4-AB6C-561BDA6399D2}" dt="2023-07-05T21:00:12.421" v="32681" actId="478"/>
          <ac:spMkLst>
            <pc:docMk/>
            <pc:sldMk cId="3358644479" sldId="276"/>
            <ac:spMk id="3" creationId="{96AFB3CC-F953-98E6-E14C-82F02612FEC6}"/>
          </ac:spMkLst>
        </pc:spChg>
        <pc:spChg chg="add del mod modVis">
          <ac:chgData name="Joelle Brehm" userId="a518f54c-6985-42c0-8041-2bb16a414839" providerId="ADAL" clId="{11F4A39F-1802-4DA4-AB6C-561BDA6399D2}" dt="2023-07-05T20:51:40.170" v="31569"/>
          <ac:spMkLst>
            <pc:docMk/>
            <pc:sldMk cId="3358644479" sldId="276"/>
            <ac:spMk id="5" creationId="{38BBA779-0CF4-9163-55B6-EDE0975E26A8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1:31:06.882" v="34724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11F4A39F-1802-4DA4-AB6C-561BDA6399D2}" dt="2023-07-05T21:31:06.866" v="34692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31:06.866" v="34697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31:06.866" v="34698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31:06.866" v="34695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31:06.866" v="34696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31:06.866" v="34694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31:06.866" v="34699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31:06.866" v="34691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31:06.866" v="34701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31:06.866" v="34693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31:06.866" v="34702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31:06.866" v="34700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31:06.866" v="34707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31:06.866" v="34705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31:06.866" v="34706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31:06.882" v="34710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31:06.882" v="34708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31:06.882" v="34709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31:06.882" v="34719"/>
          <ac:spMkLst>
            <pc:docMk/>
            <pc:sldMk cId="3358644479" sldId="276"/>
            <ac:spMk id="31" creationId="{65EF0830-A1F0-A253-1BB2-8CDCFF5CECBB}"/>
          </ac:spMkLst>
        </pc:spChg>
        <pc:spChg chg="mod">
          <ac:chgData name="Joelle Brehm" userId="a518f54c-6985-42c0-8041-2bb16a414839" providerId="ADAL" clId="{11F4A39F-1802-4DA4-AB6C-561BDA6399D2}" dt="2023-07-05T21:31:06.882" v="34721"/>
          <ac:spMkLst>
            <pc:docMk/>
            <pc:sldMk cId="3358644479" sldId="276"/>
            <ac:spMk id="32" creationId="{8D25BC14-41C5-8647-5CC0-BE12A57BA555}"/>
          </ac:spMkLst>
        </pc:spChg>
        <pc:spChg chg="mod">
          <ac:chgData name="Joelle Brehm" userId="a518f54c-6985-42c0-8041-2bb16a414839" providerId="ADAL" clId="{11F4A39F-1802-4DA4-AB6C-561BDA6399D2}" dt="2023-07-05T21:31:06.882" v="34720"/>
          <ac:spMkLst>
            <pc:docMk/>
            <pc:sldMk cId="3358644479" sldId="276"/>
            <ac:spMk id="33" creationId="{F9C148ED-6941-E56C-2F19-150E6514366D}"/>
          </ac:spMkLst>
        </pc:spChg>
        <pc:spChg chg="mod">
          <ac:chgData name="Joelle Brehm" userId="a518f54c-6985-42c0-8041-2bb16a414839" providerId="ADAL" clId="{11F4A39F-1802-4DA4-AB6C-561BDA6399D2}" dt="2023-07-05T21:31:06.882" v="34715"/>
          <ac:spMkLst>
            <pc:docMk/>
            <pc:sldMk cId="3358644479" sldId="276"/>
            <ac:spMk id="34" creationId="{2EC784B5-4DDF-6FD0-D462-50F110303F01}"/>
          </ac:spMkLst>
        </pc:spChg>
        <pc:spChg chg="mod">
          <ac:chgData name="Joelle Brehm" userId="a518f54c-6985-42c0-8041-2bb16a414839" providerId="ADAL" clId="{11F4A39F-1802-4DA4-AB6C-561BDA6399D2}" dt="2023-07-05T21:31:06.882" v="34718"/>
          <ac:spMkLst>
            <pc:docMk/>
            <pc:sldMk cId="3358644479" sldId="276"/>
            <ac:spMk id="35" creationId="{F6E5A8F3-72AC-F44C-CACB-ED952FD27440}"/>
          </ac:spMkLst>
        </pc:spChg>
        <pc:spChg chg="mod">
          <ac:chgData name="Joelle Brehm" userId="a518f54c-6985-42c0-8041-2bb16a414839" providerId="ADAL" clId="{11F4A39F-1802-4DA4-AB6C-561BDA6399D2}" dt="2023-07-05T21:31:06.882" v="34717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11F4A39F-1802-4DA4-AB6C-561BDA6399D2}" dt="2023-07-05T21:31:06.882" v="34722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11F4A39F-1802-4DA4-AB6C-561BDA6399D2}" dt="2023-07-05T21:31:06.882" v="34744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11F4A39F-1802-4DA4-AB6C-561BDA6399D2}" dt="2023-07-05T21:31:06.882" v="34745"/>
          <ac:spMkLst>
            <pc:docMk/>
            <pc:sldMk cId="3358644479" sldId="276"/>
            <ac:spMk id="40" creationId="{BF422452-141B-CCA7-F304-DD7C41C4B026}"/>
          </ac:spMkLst>
        </pc:spChg>
        <pc:spChg chg="mod">
          <ac:chgData name="Joelle Brehm" userId="a518f54c-6985-42c0-8041-2bb16a414839" providerId="ADAL" clId="{11F4A39F-1802-4DA4-AB6C-561BDA6399D2}" dt="2023-07-05T21:31:06.882" v="34725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11F4A39F-1802-4DA4-AB6C-561BDA6399D2}" dt="2023-07-05T21:31:06.882" v="34723"/>
          <ac:spMkLst>
            <pc:docMk/>
            <pc:sldMk cId="3358644479" sldId="276"/>
            <ac:spMk id="44" creationId="{5C64EA04-B56C-CC91-D9A7-8AB0C80D5C79}"/>
          </ac:spMkLst>
        </pc:spChg>
        <pc:spChg chg="add del mod modVis">
          <ac:chgData name="Joelle Brehm" userId="a518f54c-6985-42c0-8041-2bb16a414839" providerId="ADAL" clId="{11F4A39F-1802-4DA4-AB6C-561BDA6399D2}" dt="2023-07-05T21:00:19.616" v="32963"/>
          <ac:spMkLst>
            <pc:docMk/>
            <pc:sldMk cId="3358644479" sldId="276"/>
            <ac:spMk id="45" creationId="{A6ACAF21-2338-FD8B-2968-DEBFDEB4973E}"/>
          </ac:spMkLst>
        </pc:spChg>
        <pc:spChg chg="add del mod modVis">
          <ac:chgData name="Joelle Brehm" userId="a518f54c-6985-42c0-8041-2bb16a414839" providerId="ADAL" clId="{11F4A39F-1802-4DA4-AB6C-561BDA6399D2}" dt="2023-07-05T21:00:27.096" v="33105"/>
          <ac:spMkLst>
            <pc:docMk/>
            <pc:sldMk cId="3358644479" sldId="276"/>
            <ac:spMk id="47" creationId="{153224AF-DF8F-CEEB-ADA6-CE9B9D9B4049}"/>
          </ac:spMkLst>
        </pc:spChg>
        <pc:spChg chg="add mod replST">
          <ac:chgData name="Joelle Brehm" userId="a518f54c-6985-42c0-8041-2bb16a414839" providerId="ADAL" clId="{11F4A39F-1802-4DA4-AB6C-561BDA6399D2}" dt="2023-07-05T21:31:06.882" v="34726"/>
          <ac:spMkLst>
            <pc:docMk/>
            <pc:sldMk cId="3358644479" sldId="276"/>
            <ac:spMk id="49" creationId="{D4F90E1C-EAB9-BF7D-5820-940E92571336}"/>
          </ac:spMkLst>
        </pc:spChg>
        <pc:spChg chg="add del mod modVis">
          <ac:chgData name="Joelle Brehm" userId="a518f54c-6985-42c0-8041-2bb16a414839" providerId="ADAL" clId="{11F4A39F-1802-4DA4-AB6C-561BDA6399D2}" dt="2023-07-05T21:00:33.718" v="33675"/>
          <ac:spMkLst>
            <pc:docMk/>
            <pc:sldMk cId="3358644479" sldId="276"/>
            <ac:spMk id="50" creationId="{6983C7D9-B923-702B-A910-DAC4729870F3}"/>
          </ac:spMkLst>
        </pc:spChg>
        <pc:spChg chg="add del mod modVis">
          <ac:chgData name="Joelle Brehm" userId="a518f54c-6985-42c0-8041-2bb16a414839" providerId="ADAL" clId="{11F4A39F-1802-4DA4-AB6C-561BDA6399D2}" dt="2023-07-05T21:00:35.675" v="33874"/>
          <ac:spMkLst>
            <pc:docMk/>
            <pc:sldMk cId="3358644479" sldId="276"/>
            <ac:spMk id="53" creationId="{10995F8D-65C4-12A8-3041-455E1B13BC0C}"/>
          </ac:spMkLst>
        </pc:spChg>
        <pc:spChg chg="add del mod modVis">
          <ac:chgData name="Joelle Brehm" userId="a518f54c-6985-42c0-8041-2bb16a414839" providerId="ADAL" clId="{11F4A39F-1802-4DA4-AB6C-561BDA6399D2}" dt="2023-07-05T21:00:37.759" v="34177"/>
          <ac:spMkLst>
            <pc:docMk/>
            <pc:sldMk cId="3358644479" sldId="276"/>
            <ac:spMk id="55" creationId="{F365C25C-DFB4-0E81-18AB-2A6573FE2B77}"/>
          </ac:spMkLst>
        </pc:spChg>
        <pc:spChg chg="add del mod ord replST">
          <ac:chgData name="Joelle Brehm" userId="a518f54c-6985-42c0-8041-2bb16a414839" providerId="ADAL" clId="{11F4A39F-1802-4DA4-AB6C-561BDA6399D2}" dt="2023-07-05T21:00:43.148" v="34245"/>
          <ac:spMkLst>
            <pc:docMk/>
            <pc:sldMk cId="3358644479" sldId="276"/>
            <ac:spMk id="57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58" creationId="{0CB06D1E-8664-4C1B-9ACF-854D6C46B776}"/>
          </ac:spMkLst>
        </pc:spChg>
        <pc:spChg chg="mod">
          <ac:chgData name="Joelle Brehm" userId="a518f54c-6985-42c0-8041-2bb16a414839" providerId="ADAL" clId="{11F4A39F-1802-4DA4-AB6C-561BDA6399D2}" dt="2023-07-05T21:31:06.882" v="34741"/>
          <ac:spMkLst>
            <pc:docMk/>
            <pc:sldMk cId="3358644479" sldId="276"/>
            <ac:spMk id="59" creationId="{5164D3E0-C681-43D3-E345-132BB4AD109F}"/>
          </ac:spMkLst>
        </pc:spChg>
        <pc:spChg chg="add del mod modVis">
          <ac:chgData name="Joelle Brehm" userId="a518f54c-6985-42c0-8041-2bb16a414839" providerId="ADAL" clId="{11F4A39F-1802-4DA4-AB6C-561BDA6399D2}" dt="2023-07-05T21:00:43.179" v="34326"/>
          <ac:spMkLst>
            <pc:docMk/>
            <pc:sldMk cId="3358644479" sldId="276"/>
            <ac:spMk id="61" creationId="{7127E1C1-E725-3346-ACED-A885DAB7A9B6}"/>
          </ac:spMkLst>
        </pc:spChg>
        <pc:spChg chg="add del mod modVis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63" creationId="{7246D708-F66C-11AB-AB8E-FC9489D2FC2C}"/>
          </ac:spMkLst>
        </pc:spChg>
        <pc:spChg chg="mod">
          <ac:chgData name="Joelle Brehm" userId="a518f54c-6985-42c0-8041-2bb16a414839" providerId="ADAL" clId="{11F4A39F-1802-4DA4-AB6C-561BDA6399D2}" dt="2023-07-05T21:31:06.882" v="34716"/>
          <ac:spMkLst>
            <pc:docMk/>
            <pc:sldMk cId="3358644479" sldId="276"/>
            <ac:spMk id="64" creationId="{4A72A5C3-DE7B-F940-0B50-F847F976F72F}"/>
          </ac:spMkLst>
        </pc:spChg>
        <pc:spChg chg="del mod">
          <ac:chgData name="Joelle Brehm" userId="a518f54c-6985-42c0-8041-2bb16a414839" providerId="ADAL" clId="{11F4A39F-1802-4DA4-AB6C-561BDA6399D2}" dt="2023-07-05T21:00:37.517" v="33877"/>
          <ac:spMkLst>
            <pc:docMk/>
            <pc:sldMk cId="3358644479" sldId="276"/>
            <ac:spMk id="72" creationId="{36005294-C8DA-1E60-8A2A-D3E7C73360FF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31:15.259" v="34839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31:06.882" v="34742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1:06.882" v="34743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11F4A39F-1802-4DA4-AB6C-561BDA6399D2}" dt="2023-07-05T21:31:15.276" v="34841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1:15.259" v="34839"/>
          <ac:graphicFrameMkLst>
            <pc:docMk/>
            <pc:sldMk cId="3358644479" sldId="276"/>
            <ac:graphicFrameMk id="8" creationId="{F56A7C9C-2601-C29A-6CCA-8D104F568211}"/>
          </ac:graphicFrameMkLst>
        </pc:graphicFrameChg>
        <pc:graphicFrameChg chg="del">
          <ac:chgData name="Joelle Brehm" userId="a518f54c-6985-42c0-8041-2bb16a414839" providerId="ADAL" clId="{11F4A39F-1802-4DA4-AB6C-561BDA6399D2}" dt="2023-07-05T20:51:40.113" v="31486"/>
          <ac:graphicFrameMkLst>
            <pc:docMk/>
            <pc:sldMk cId="3358644479" sldId="276"/>
            <ac:graphicFrameMk id="36" creationId="{6C7EDE5C-1906-D38D-1C63-EA682524FE5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00:27.028" v="33026"/>
          <ac:graphicFrameMkLst>
            <pc:docMk/>
            <pc:sldMk cId="3358644479" sldId="276"/>
            <ac:graphicFrameMk id="46" creationId="{23B054B4-B5CA-FDA2-9C69-DA3C4FAFE92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1:15.259" v="34839"/>
          <ac:graphicFrameMkLst>
            <pc:docMk/>
            <pc:sldMk cId="3358644479" sldId="276"/>
            <ac:graphicFrameMk id="48" creationId="{7E6E523D-D2D6-9855-A8AC-8C4166F71267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00:35.610" v="33774"/>
          <ac:graphicFrameMkLst>
            <pc:docMk/>
            <pc:sldMk cId="3358644479" sldId="276"/>
            <ac:graphicFrameMk id="51" creationId="{F58188E8-97E8-DE6E-7788-76F71F8A26BB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00:33.677" v="33593"/>
          <ac:graphicFrameMkLst>
            <pc:docMk/>
            <pc:sldMk cId="3358644479" sldId="276"/>
            <ac:graphicFrameMk id="52" creationId="{705544FB-6EB8-C039-A284-F0ED2AEBF63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00:37.707" v="34076"/>
          <ac:graphicFrameMkLst>
            <pc:docMk/>
            <pc:sldMk cId="3358644479" sldId="276"/>
            <ac:graphicFrameMk id="54" creationId="{3D3902ED-D005-225E-F50C-7EBFE20E5688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00:19.570" v="32884"/>
          <ac:graphicFrameMkLst>
            <pc:docMk/>
            <pc:sldMk cId="3358644479" sldId="276"/>
            <ac:graphicFrameMk id="56" creationId="{6ABE3AC4-B7F9-4D87-A1D8-23C0A318D15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00:43.148" v="34247"/>
          <ac:graphicFrameMkLst>
            <pc:docMk/>
            <pc:sldMk cId="3358644479" sldId="276"/>
            <ac:graphicFrameMk id="60" creationId="{4CF08EB7-B5B2-BFAD-B309-6B49ED547673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1:15.259" v="34839"/>
          <ac:graphicFrameMkLst>
            <pc:docMk/>
            <pc:sldMk cId="3358644479" sldId="276"/>
            <ac:graphicFrameMk id="62" creationId="{BB76E8D3-B92D-C6DE-36DB-B5ED0753394A}"/>
          </ac:graphicFrameMkLst>
        </pc:graphicFrameChg>
        <pc:graphicFrameChg chg="add mod ord replST delST">
          <ac:chgData name="Joelle Brehm" userId="a518f54c-6985-42c0-8041-2bb16a414839" providerId="ADAL" clId="{11F4A39F-1802-4DA4-AB6C-561BDA6399D2}" dt="2023-07-05T21:31:15.259" v="34839"/>
          <ac:graphicFrameMkLst>
            <pc:docMk/>
            <pc:sldMk cId="3358644479" sldId="276"/>
            <ac:graphicFrameMk id="65" creationId="{DF3BC63E-775F-1E2C-CA5B-18AD1114A1D9}"/>
          </ac:graphicFrameMkLst>
        </pc:graphicFrameChg>
        <pc:picChg chg="add del mod ord">
          <ac:chgData name="Joelle Brehm" userId="a518f54c-6985-42c0-8041-2bb16a414839" providerId="ADAL" clId="{11F4A39F-1802-4DA4-AB6C-561BDA6399D2}" dt="2023-07-05T21:00:09.979" v="32680" actId="478"/>
          <ac:picMkLst>
            <pc:docMk/>
            <pc:sldMk cId="3358644479" sldId="276"/>
            <ac:picMk id="9" creationId="{DACA0F43-7757-E52C-9727-512F5691CAA2}"/>
          </ac:picMkLst>
        </pc:picChg>
        <pc:picChg chg="del mod ord">
          <ac:chgData name="Joelle Brehm" userId="a518f54c-6985-42c0-8041-2bb16a414839" providerId="ADAL" clId="{11F4A39F-1802-4DA4-AB6C-561BDA6399D2}" dt="2023-07-05T20:52:03.867" v="31656" actId="478"/>
          <ac:picMkLst>
            <pc:docMk/>
            <pc:sldMk cId="3358644479" sldId="276"/>
            <ac:picMk id="41" creationId="{A5B20F83-D271-13D8-0040-528A527DF259}"/>
          </ac:picMkLst>
        </pc:picChg>
        <pc:picChg chg="add mod ord">
          <ac:chgData name="Joelle Brehm" userId="a518f54c-6985-42c0-8041-2bb16a414839" providerId="ADAL" clId="{11F4A39F-1802-4DA4-AB6C-561BDA6399D2}" dt="2023-07-05T21:31:15.259" v="34839"/>
          <ac:picMkLst>
            <pc:docMk/>
            <pc:sldMk cId="3358644479" sldId="276"/>
            <ac:picMk id="43" creationId="{E6FB7006-9D1C-2DC1-C705-F834E18034F0}"/>
          </ac:picMkLst>
        </pc:picChg>
        <pc:picChg chg="add del">
          <ac:chgData name="Joelle Brehm" userId="a518f54c-6985-42c0-8041-2bb16a414839" providerId="ADAL" clId="{11F4A39F-1802-4DA4-AB6C-561BDA6399D2}" dt="2023-07-05T21:31:14.830" v="34759"/>
          <ac:picMkLst>
            <pc:docMk/>
            <pc:sldMk cId="3358644479" sldId="276"/>
            <ac:picMk id="66" creationId="{AAC671C2-CF19-D81A-BE7B-7B3A31E39856}"/>
          </ac:picMkLst>
        </pc:picChg>
        <pc:picChg chg="mod ord">
          <ac:chgData name="Joelle Brehm" userId="a518f54c-6985-42c0-8041-2bb16a414839" providerId="ADAL" clId="{11F4A39F-1802-4DA4-AB6C-561BDA6399D2}" dt="2023-07-05T21:31:15.259" v="34839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31:15.259" v="34839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32:02.380" v="36253"/>
        <pc:sldMkLst>
          <pc:docMk/>
          <pc:sldMk cId="1336352168" sldId="277"/>
        </pc:sldMkLst>
        <pc:spChg chg="mod ord">
          <ac:chgData name="Joelle Brehm" userId="a518f54c-6985-42c0-8041-2bb16a414839" providerId="ADAL" clId="{11F4A39F-1802-4DA4-AB6C-561BDA6399D2}" dt="2023-07-05T21:32:02.349" v="36247"/>
          <ac:spMkLst>
            <pc:docMk/>
            <pc:sldMk cId="1336352168" sldId="277"/>
            <ac:spMk id="2" creationId="{92BF2826-0C6B-4A3A-89A1-7B17EE6A8135}"/>
          </ac:spMkLst>
        </pc:spChg>
        <pc:spChg chg="add del mod ord">
          <ac:chgData name="Joelle Brehm" userId="a518f54c-6985-42c0-8041-2bb16a414839" providerId="ADAL" clId="{11F4A39F-1802-4DA4-AB6C-561BDA6399D2}" dt="2023-07-05T21:31:47.516" v="34929" actId="478"/>
          <ac:spMkLst>
            <pc:docMk/>
            <pc:sldMk cId="1336352168" sldId="277"/>
            <ac:spMk id="3" creationId="{A6DA4CC6-CCCD-CC39-56B7-BAD800851A86}"/>
          </ac:spMkLst>
        </pc:spChg>
        <pc:spChg chg="add del mod modVis">
          <ac:chgData name="Joelle Brehm" userId="a518f54c-6985-42c0-8041-2bb16a414839" providerId="ADAL" clId="{11F4A39F-1802-4DA4-AB6C-561BDA6399D2}" dt="2023-07-05T21:30:41.941" v="34601"/>
          <ac:spMkLst>
            <pc:docMk/>
            <pc:sldMk cId="1336352168" sldId="277"/>
            <ac:spMk id="5" creationId="{E1DC62BE-0208-0F53-E26C-EC1B8608D071}"/>
          </ac:spMkLst>
        </pc:spChg>
        <pc:spChg chg="mod ord">
          <ac:chgData name="Joelle Brehm" userId="a518f54c-6985-42c0-8041-2bb16a414839" providerId="ADAL" clId="{11F4A39F-1802-4DA4-AB6C-561BDA6399D2}" dt="2023-07-05T21:32:02.333" v="36182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1:32:02.333" v="36194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32:02.333" v="36191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32:02.333" v="36192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32:02.333" v="36189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32:02.333" v="36190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32:02.333" v="36188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32:02.333" v="36193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32:02.333" v="36187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32:02.333" v="36195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32:02.333" v="36196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32:02.333" v="36197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32:02.333" v="36198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32:02.333" v="36200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32:02.333" v="36201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32:02.333" v="36202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32:02.333" v="36203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32:02.333" v="36205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32:02.333" v="36204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32:02.333" v="36206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32:02.349" v="36208"/>
          <ac:spMkLst>
            <pc:docMk/>
            <pc:sldMk cId="1336352168" sldId="277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32:02.349" v="36214"/>
          <ac:spMkLst>
            <pc:docMk/>
            <pc:sldMk cId="1336352168" sldId="277"/>
            <ac:spMk id="31" creationId="{4A07E04C-1B9D-B1D4-ED08-6B67E4FD9CA7}"/>
          </ac:spMkLst>
        </pc:spChg>
        <pc:spChg chg="mod">
          <ac:chgData name="Joelle Brehm" userId="a518f54c-6985-42c0-8041-2bb16a414839" providerId="ADAL" clId="{11F4A39F-1802-4DA4-AB6C-561BDA6399D2}" dt="2023-07-05T21:32:02.349" v="36213"/>
          <ac:spMkLst>
            <pc:docMk/>
            <pc:sldMk cId="1336352168" sldId="277"/>
            <ac:spMk id="33" creationId="{CBC56295-E0C4-1963-15A7-B869935D155D}"/>
          </ac:spMkLst>
        </pc:spChg>
        <pc:spChg chg="mod">
          <ac:chgData name="Joelle Brehm" userId="a518f54c-6985-42c0-8041-2bb16a414839" providerId="ADAL" clId="{11F4A39F-1802-4DA4-AB6C-561BDA6399D2}" dt="2023-07-05T21:32:02.349" v="36212"/>
          <ac:spMkLst>
            <pc:docMk/>
            <pc:sldMk cId="1336352168" sldId="277"/>
            <ac:spMk id="34" creationId="{AC95B571-934C-3912-0ACC-4C3A108EC104}"/>
          </ac:spMkLst>
        </pc:spChg>
        <pc:spChg chg="mod">
          <ac:chgData name="Joelle Brehm" userId="a518f54c-6985-42c0-8041-2bb16a414839" providerId="ADAL" clId="{11F4A39F-1802-4DA4-AB6C-561BDA6399D2}" dt="2023-07-05T21:32:02.349" v="36215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11F4A39F-1802-4DA4-AB6C-561BDA6399D2}" dt="2023-07-05T21:32:02.349" v="36217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11F4A39F-1802-4DA4-AB6C-561BDA6399D2}" dt="2023-07-05T21:32:02.349" v="36218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11F4A39F-1802-4DA4-AB6C-561BDA6399D2}" dt="2023-07-05T21:32:02.349" v="36219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11F4A39F-1802-4DA4-AB6C-561BDA6399D2}" dt="2023-07-05T21:32:02.349" v="36220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11F4A39F-1802-4DA4-AB6C-561BDA6399D2}" dt="2023-07-05T21:32:02.349" v="36221"/>
          <ac:spMkLst>
            <pc:docMk/>
            <pc:sldMk cId="1336352168" sldId="277"/>
            <ac:spMk id="40" creationId="{22DE2434-BBBF-CBE5-DB4B-76B8CE949CF7}"/>
          </ac:spMkLst>
        </pc:spChg>
        <pc:spChg chg="add del mod modVis">
          <ac:chgData name="Joelle Brehm" userId="a518f54c-6985-42c0-8041-2bb16a414839" providerId="ADAL" clId="{11F4A39F-1802-4DA4-AB6C-561BDA6399D2}" dt="2023-07-05T21:31:53.936" v="35184"/>
          <ac:spMkLst>
            <pc:docMk/>
            <pc:sldMk cId="1336352168" sldId="277"/>
            <ac:spMk id="41" creationId="{42A07249-3CE6-2600-91F6-A1530A93EF2E}"/>
          </ac:spMkLst>
        </pc:spChg>
        <pc:spChg chg="mod">
          <ac:chgData name="Joelle Brehm" userId="a518f54c-6985-42c0-8041-2bb16a414839" providerId="ADAL" clId="{11F4A39F-1802-4DA4-AB6C-561BDA6399D2}" dt="2023-07-05T21:32:02.349" v="36216"/>
          <ac:spMkLst>
            <pc:docMk/>
            <pc:sldMk cId="1336352168" sldId="277"/>
            <ac:spMk id="43" creationId="{ECB6CDA6-E36A-D61A-929E-A4CF74A13872}"/>
          </ac:spMkLst>
        </pc:spChg>
        <pc:spChg chg="add mod replST">
          <ac:chgData name="Joelle Brehm" userId="a518f54c-6985-42c0-8041-2bb16a414839" providerId="ADAL" clId="{11F4A39F-1802-4DA4-AB6C-561BDA6399D2}" dt="2023-07-05T21:32:02.349" v="36222"/>
          <ac:spMkLst>
            <pc:docMk/>
            <pc:sldMk cId="1336352168" sldId="277"/>
            <ac:spMk id="44" creationId="{948C7430-EE17-A200-FEA6-849EEC95829A}"/>
          </ac:spMkLst>
        </pc:spChg>
        <pc:spChg chg="add del mod modVis">
          <ac:chgData name="Joelle Brehm" userId="a518f54c-6985-42c0-8041-2bb16a414839" providerId="ADAL" clId="{11F4A39F-1802-4DA4-AB6C-561BDA6399D2}" dt="2023-07-05T21:31:59.718" v="35844"/>
          <ac:spMkLst>
            <pc:docMk/>
            <pc:sldMk cId="1336352168" sldId="277"/>
            <ac:spMk id="45" creationId="{8053214A-4840-7918-692D-542C24DC6DCB}"/>
          </ac:spMkLst>
        </pc:spChg>
        <pc:spChg chg="add del mod ord replST">
          <ac:chgData name="Joelle Brehm" userId="a518f54c-6985-42c0-8041-2bb16a414839" providerId="ADAL" clId="{11F4A39F-1802-4DA4-AB6C-561BDA6399D2}" dt="2023-07-05T21:32:02.308" v="36141"/>
          <ac:spMkLst>
            <pc:docMk/>
            <pc:sldMk cId="1336352168" sldId="277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1:32:00.605" v="36052"/>
          <ac:spMkLst>
            <pc:docMk/>
            <pc:sldMk cId="1336352168" sldId="277"/>
            <ac:spMk id="48" creationId="{B8EADB81-6044-63F7-FA8A-2FA765DD0CBB}"/>
          </ac:spMkLst>
        </pc:spChg>
        <pc:spChg chg="add del mod modVis">
          <ac:chgData name="Joelle Brehm" userId="a518f54c-6985-42c0-8041-2bb16a414839" providerId="ADAL" clId="{11F4A39F-1802-4DA4-AB6C-561BDA6399D2}" dt="2023-07-05T21:32:02.349" v="36251"/>
          <ac:spMkLst>
            <pc:docMk/>
            <pc:sldMk cId="1336352168" sldId="277"/>
            <ac:spMk id="51" creationId="{65D3EA60-4C53-DBFB-6762-96C785B761CF}"/>
          </ac:spMkLst>
        </pc:spChg>
        <pc:spChg chg="mod ord">
          <ac:chgData name="Joelle Brehm" userId="a518f54c-6985-42c0-8041-2bb16a414839" providerId="ADAL" clId="{11F4A39F-1802-4DA4-AB6C-561BDA6399D2}" dt="2023-07-05T21:32:02.349" v="36245"/>
          <ac:spMkLst>
            <pc:docMk/>
            <pc:sldMk cId="1336352168" sldId="277"/>
            <ac:spMk id="58" creationId="{3378A65B-8FF4-4781-8563-6C0C79CE7E62}"/>
          </ac:spMkLst>
        </pc:spChg>
        <pc:spChg chg="del mod">
          <ac:chgData name="Joelle Brehm" userId="a518f54c-6985-42c0-8041-2bb16a414839" providerId="ADAL" clId="{11F4A39F-1802-4DA4-AB6C-561BDA6399D2}" dt="2023-07-05T21:32:02.221" v="36055"/>
          <ac:spMkLst>
            <pc:docMk/>
            <pc:sldMk cId="1336352168" sldId="277"/>
            <ac:spMk id="65" creationId="{32C431CE-DCBE-F366-2531-99D6DD078066}"/>
          </ac:spMkLst>
        </pc:spChg>
        <pc:spChg chg="mod">
          <ac:chgData name="Joelle Brehm" userId="a518f54c-6985-42c0-8041-2bb16a414839" providerId="ADAL" clId="{11F4A39F-1802-4DA4-AB6C-561BDA6399D2}" dt="2023-07-05T21:32:02.349" v="36211"/>
          <ac:spMkLst>
            <pc:docMk/>
            <pc:sldMk cId="1336352168" sldId="277"/>
            <ac:spMk id="69" creationId="{B717CD87-D6E9-303E-A9A2-A77F88A22D68}"/>
          </ac:spMkLst>
        </pc:spChg>
        <pc:spChg chg="mod ord">
          <ac:chgData name="Joelle Brehm" userId="a518f54c-6985-42c0-8041-2bb16a414839" providerId="ADAL" clId="{11F4A39F-1802-4DA4-AB6C-561BDA6399D2}" dt="2023-07-05T21:32:02.349" v="36224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32:02.349" v="36226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32:02.349" v="36228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1:32:02.349" v="36230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32:02.349" v="36232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32:02.349" v="36234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32:02.349" v="36238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2:02.349" v="36239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2:02.349" v="36237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2:02.349" v="36240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32:02.349" v="36241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1:32:02.380" v="36253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1:30:41.887" v="34518"/>
          <ac:graphicFrameMkLst>
            <pc:docMk/>
            <pc:sldMk cId="1336352168" sldId="277"/>
            <ac:graphicFrameMk id="8" creationId="{A3A5EAFD-9EA8-BF3D-4B4F-B22021ACCB0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2:02.333" v="36186"/>
          <ac:graphicFrameMkLst>
            <pc:docMk/>
            <pc:sldMk cId="1336352168" sldId="277"/>
            <ac:graphicFrameMk id="9" creationId="{5D920B63-4A46-E8B3-9DE4-B9123B42367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2:02.349" v="36236"/>
          <ac:graphicFrameMkLst>
            <pc:docMk/>
            <pc:sldMk cId="1336352168" sldId="277"/>
            <ac:graphicFrameMk id="42" creationId="{6FE63D44-7812-6CD7-6A1F-3F1714E7A746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2:00.531" v="35950"/>
          <ac:graphicFrameMkLst>
            <pc:docMk/>
            <pc:sldMk cId="1336352168" sldId="277"/>
            <ac:graphicFrameMk id="47" creationId="{1777692F-033A-D532-E0E5-6E45CD2D9493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2:02.317" v="36172"/>
          <ac:graphicFrameMkLst>
            <pc:docMk/>
            <pc:sldMk cId="1336352168" sldId="277"/>
            <ac:graphicFrameMk id="49" creationId="{A9581229-7688-5BB9-DBFC-6B41AD547417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1:59.658" v="35756"/>
          <ac:graphicFrameMkLst>
            <pc:docMk/>
            <pc:sldMk cId="1336352168" sldId="277"/>
            <ac:graphicFrameMk id="50" creationId="{FF5798F6-BA6F-49A7-7597-1378B2ECDE07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1:53.895" v="35105"/>
          <ac:graphicFrameMkLst>
            <pc:docMk/>
            <pc:sldMk cId="1336352168" sldId="277"/>
            <ac:graphicFrameMk id="52" creationId="{5AD0E3C1-B765-2B60-E218-13F15E15A274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2:02.349" v="36210"/>
          <ac:graphicFrameMkLst>
            <pc:docMk/>
            <pc:sldMk cId="1336352168" sldId="277"/>
            <ac:graphicFrameMk id="53" creationId="{C41D399E-B561-51E8-D98A-1685903C834B}"/>
          </ac:graphicFrameMkLst>
        </pc:graphicFrameChg>
        <pc:picChg chg="add mod ord">
          <ac:chgData name="Joelle Brehm" userId="a518f54c-6985-42c0-8041-2bb16a414839" providerId="ADAL" clId="{11F4A39F-1802-4DA4-AB6C-561BDA6399D2}" dt="2023-07-05T21:32:02.333" v="36180"/>
          <ac:picMkLst>
            <pc:docMk/>
            <pc:sldMk cId="1336352168" sldId="277"/>
            <ac:picMk id="10" creationId="{3CB770A8-A550-68A7-FDD1-FBCBC8E75834}"/>
          </ac:picMkLst>
        </pc:picChg>
        <pc:picChg chg="del mod ord">
          <ac:chgData name="Joelle Brehm" userId="a518f54c-6985-42c0-8041-2bb16a414839" providerId="ADAL" clId="{11F4A39F-1802-4DA4-AB6C-561BDA6399D2}" dt="2023-07-05T21:31:45.344" v="34928" actId="478"/>
          <ac:picMkLst>
            <pc:docMk/>
            <pc:sldMk cId="1336352168" sldId="277"/>
            <ac:picMk id="32" creationId="{481C85BE-B913-E0E1-FAC2-98F2A7163D9C}"/>
          </ac:picMkLst>
        </pc:picChg>
        <pc:picChg chg="mod ord">
          <ac:chgData name="Joelle Brehm" userId="a518f54c-6985-42c0-8041-2bb16a414839" providerId="ADAL" clId="{11F4A39F-1802-4DA4-AB6C-561BDA6399D2}" dt="2023-07-05T21:32:02.349" v="36243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32:02.333" v="36184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32:57.686" v="38062"/>
        <pc:sldMkLst>
          <pc:docMk/>
          <pc:sldMk cId="1379386497" sldId="278"/>
        </pc:sldMkLst>
        <pc:spChg chg="mod ord">
          <ac:chgData name="Joelle Brehm" userId="a518f54c-6985-42c0-8041-2bb16a414839" providerId="ADAL" clId="{11F4A39F-1802-4DA4-AB6C-561BDA6399D2}" dt="2023-07-05T21:32:57.670" v="38056"/>
          <ac:spMkLst>
            <pc:docMk/>
            <pc:sldMk cId="1379386497" sldId="278"/>
            <ac:spMk id="2" creationId="{F45C2660-F634-4943-BD78-279946171050}"/>
          </ac:spMkLst>
        </pc:spChg>
        <pc:spChg chg="add del mod ord">
          <ac:chgData name="Joelle Brehm" userId="a518f54c-6985-42c0-8041-2bb16a414839" providerId="ADAL" clId="{11F4A39F-1802-4DA4-AB6C-561BDA6399D2}" dt="2023-07-05T21:32:37.310" v="36605" actId="478"/>
          <ac:spMkLst>
            <pc:docMk/>
            <pc:sldMk cId="1379386497" sldId="278"/>
            <ac:spMk id="3" creationId="{AA69C408-8AB3-F4F1-6DC6-A0A09A99042C}"/>
          </ac:spMkLst>
        </pc:spChg>
        <pc:spChg chg="add del mod modVis">
          <ac:chgData name="Joelle Brehm" userId="a518f54c-6985-42c0-8041-2bb16a414839" providerId="ADAL" clId="{11F4A39F-1802-4DA4-AB6C-561BDA6399D2}" dt="2023-07-05T21:32:21.328" v="36516"/>
          <ac:spMkLst>
            <pc:docMk/>
            <pc:sldMk cId="1379386497" sldId="278"/>
            <ac:spMk id="5" creationId="{4DC218EE-5FF0-7527-33B9-5C9439A2C7A1}"/>
          </ac:spMkLst>
        </pc:spChg>
        <pc:spChg chg="mod ord">
          <ac:chgData name="Joelle Brehm" userId="a518f54c-6985-42c0-8041-2bb16a414839" providerId="ADAL" clId="{11F4A39F-1802-4DA4-AB6C-561BDA6399D2}" dt="2023-07-05T21:32:57.653" v="37991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1:32:57.653" v="37999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32:57.653" v="37997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32:57.653" v="38001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32:57.653" v="37996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32:57.653" v="38000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32:57.653" v="38002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32:57.653" v="38003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32:57.653" v="37998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32:57.653" v="38004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32:57.653" v="38005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32:57.653" v="38006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32:57.653" v="38007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32:57.653" v="38009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32:57.653" v="38010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32:57.653" v="38011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32:57.653" v="38012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32:57.653" v="38014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32:57.653" v="38013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32:57.653" v="38015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32:57.653" v="38017"/>
          <ac:spMkLst>
            <pc:docMk/>
            <pc:sldMk cId="1379386497" sldId="278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32:57.653" v="38023"/>
          <ac:spMkLst>
            <pc:docMk/>
            <pc:sldMk cId="1379386497" sldId="278"/>
            <ac:spMk id="31" creationId="{761920EE-DAF2-B98F-C8B3-EF7A215140D4}"/>
          </ac:spMkLst>
        </pc:spChg>
        <pc:spChg chg="mod">
          <ac:chgData name="Joelle Brehm" userId="a518f54c-6985-42c0-8041-2bb16a414839" providerId="ADAL" clId="{11F4A39F-1802-4DA4-AB6C-561BDA6399D2}" dt="2023-07-05T21:32:57.653" v="38029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11F4A39F-1802-4DA4-AB6C-561BDA6399D2}" dt="2023-07-05T21:32:57.653" v="38020"/>
          <ac:spMkLst>
            <pc:docMk/>
            <pc:sldMk cId="1379386497" sldId="278"/>
            <ac:spMk id="33" creationId="{EE1A50AB-3C6E-8AC0-42BD-B22810C4182F}"/>
          </ac:spMkLst>
        </pc:spChg>
        <pc:spChg chg="mod">
          <ac:chgData name="Joelle Brehm" userId="a518f54c-6985-42c0-8041-2bb16a414839" providerId="ADAL" clId="{11F4A39F-1802-4DA4-AB6C-561BDA6399D2}" dt="2023-07-05T21:32:57.653" v="38026"/>
          <ac:spMkLst>
            <pc:docMk/>
            <pc:sldMk cId="1379386497" sldId="278"/>
            <ac:spMk id="34" creationId="{0B03BBFD-783A-B231-2FA9-DA2AD304A2F4}"/>
          </ac:spMkLst>
        </pc:spChg>
        <pc:spChg chg="mod">
          <ac:chgData name="Joelle Brehm" userId="a518f54c-6985-42c0-8041-2bb16a414839" providerId="ADAL" clId="{11F4A39F-1802-4DA4-AB6C-561BDA6399D2}" dt="2023-07-05T21:32:57.653" v="38025"/>
          <ac:spMkLst>
            <pc:docMk/>
            <pc:sldMk cId="1379386497" sldId="278"/>
            <ac:spMk id="35" creationId="{F2CF5D67-71BE-8A59-E229-76C2662CAC06}"/>
          </ac:spMkLst>
        </pc:spChg>
        <pc:spChg chg="mod">
          <ac:chgData name="Joelle Brehm" userId="a518f54c-6985-42c0-8041-2bb16a414839" providerId="ADAL" clId="{11F4A39F-1802-4DA4-AB6C-561BDA6399D2}" dt="2023-07-05T21:32:57.653" v="38022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11F4A39F-1802-4DA4-AB6C-561BDA6399D2}" dt="2023-07-05T21:32:57.670" v="38049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11F4A39F-1802-4DA4-AB6C-561BDA6399D2}" dt="2023-07-05T21:32:57.670" v="38048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11F4A39F-1802-4DA4-AB6C-561BDA6399D2}" dt="2023-07-05T21:32:57.653" v="38027"/>
          <ac:spMkLst>
            <pc:docMk/>
            <pc:sldMk cId="1379386497" sldId="278"/>
            <ac:spMk id="40" creationId="{19EAC242-0641-3DCA-CBDC-E602B8F0CB05}"/>
          </ac:spMkLst>
        </pc:spChg>
        <pc:spChg chg="add del mod modVis">
          <ac:chgData name="Joelle Brehm" userId="a518f54c-6985-42c0-8041-2bb16a414839" providerId="ADAL" clId="{11F4A39F-1802-4DA4-AB6C-561BDA6399D2}" dt="2023-07-05T21:32:43.961" v="36860"/>
          <ac:spMkLst>
            <pc:docMk/>
            <pc:sldMk cId="1379386497" sldId="278"/>
            <ac:spMk id="41" creationId="{C8218457-6AA4-CA61-C000-5124097E0E87}"/>
          </ac:spMkLst>
        </pc:spChg>
        <pc:spChg chg="add mod replST">
          <ac:chgData name="Joelle Brehm" userId="a518f54c-6985-42c0-8041-2bb16a414839" providerId="ADAL" clId="{11F4A39F-1802-4DA4-AB6C-561BDA6399D2}" dt="2023-07-05T21:32:57.653" v="38021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11F4A39F-1802-4DA4-AB6C-561BDA6399D2}" dt="2023-07-05T21:32:57.653" v="38028"/>
          <ac:spMkLst>
            <pc:docMk/>
            <pc:sldMk cId="1379386497" sldId="278"/>
            <ac:spMk id="44" creationId="{63FB28D8-4BD3-7848-F08F-4920117655F2}"/>
          </ac:spMkLst>
        </pc:spChg>
        <pc:spChg chg="add del mod modVis">
          <ac:chgData name="Joelle Brehm" userId="a518f54c-6985-42c0-8041-2bb16a414839" providerId="ADAL" clId="{11F4A39F-1802-4DA4-AB6C-561BDA6399D2}" dt="2023-07-05T21:32:49.833" v="37514"/>
          <ac:spMkLst>
            <pc:docMk/>
            <pc:sldMk cId="1379386497" sldId="278"/>
            <ac:spMk id="45" creationId="{FDAE1375-41F9-C2A8-28A8-0E6A1F7699B8}"/>
          </ac:spMkLst>
        </pc:spChg>
        <pc:spChg chg="mod">
          <ac:chgData name="Joelle Brehm" userId="a518f54c-6985-42c0-8041-2bb16a414839" providerId="ADAL" clId="{11F4A39F-1802-4DA4-AB6C-561BDA6399D2}" dt="2023-07-05T21:32:57.653" v="38030"/>
          <ac:spMkLst>
            <pc:docMk/>
            <pc:sldMk cId="1379386497" sldId="278"/>
            <ac:spMk id="46" creationId="{86BD7409-404E-F355-254D-BE919727871E}"/>
          </ac:spMkLst>
        </pc:spChg>
        <pc:spChg chg="add del mod ord replST">
          <ac:chgData name="Joelle Brehm" userId="a518f54c-6985-42c0-8041-2bb16a414839" providerId="ADAL" clId="{11F4A39F-1802-4DA4-AB6C-561BDA6399D2}" dt="2023-07-05T21:32:57.620" v="37979"/>
          <ac:spMkLst>
            <pc:docMk/>
            <pc:sldMk cId="1379386497" sldId="278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1:32:50.764" v="37714"/>
          <ac:spMkLst>
            <pc:docMk/>
            <pc:sldMk cId="1379386497" sldId="278"/>
            <ac:spMk id="49" creationId="{9A7A8E6A-2C0B-E982-1D13-6CA5F886E4DF}"/>
          </ac:spMkLst>
        </pc:spChg>
        <pc:spChg chg="add del mod modVis">
          <ac:chgData name="Joelle Brehm" userId="a518f54c-6985-42c0-8041-2bb16a414839" providerId="ADAL" clId="{11F4A39F-1802-4DA4-AB6C-561BDA6399D2}" dt="2023-07-05T21:32:53.589" v="37911"/>
          <ac:spMkLst>
            <pc:docMk/>
            <pc:sldMk cId="1379386497" sldId="278"/>
            <ac:spMk id="51" creationId="{71B6EE18-1B46-8F10-EB81-5F6120036C3C}"/>
          </ac:spMkLst>
        </pc:spChg>
        <pc:spChg chg="add del mod modVis">
          <ac:chgData name="Joelle Brehm" userId="a518f54c-6985-42c0-8041-2bb16a414839" providerId="ADAL" clId="{11F4A39F-1802-4DA4-AB6C-561BDA6399D2}" dt="2023-07-05T21:32:57.670" v="38060"/>
          <ac:spMkLst>
            <pc:docMk/>
            <pc:sldMk cId="1379386497" sldId="278"/>
            <ac:spMk id="53" creationId="{2E5FBDFD-3B2B-B589-24D8-960E07F872FF}"/>
          </ac:spMkLst>
        </pc:spChg>
        <pc:spChg chg="mod ord">
          <ac:chgData name="Joelle Brehm" userId="a518f54c-6985-42c0-8041-2bb16a414839" providerId="ADAL" clId="{11F4A39F-1802-4DA4-AB6C-561BDA6399D2}" dt="2023-07-05T21:32:57.670" v="38054"/>
          <ac:spMkLst>
            <pc:docMk/>
            <pc:sldMk cId="1379386497" sldId="278"/>
            <ac:spMk id="58" creationId="{78B81F80-FD88-43AD-B1EA-9D49D321CFA2}"/>
          </ac:spMkLst>
        </pc:spChg>
        <pc:spChg chg="mod">
          <ac:chgData name="Joelle Brehm" userId="a518f54c-6985-42c0-8041-2bb16a414839" providerId="ADAL" clId="{11F4A39F-1802-4DA4-AB6C-561BDA6399D2}" dt="2023-07-05T21:32:57.653" v="38031"/>
          <ac:spMkLst>
            <pc:docMk/>
            <pc:sldMk cId="1379386497" sldId="278"/>
            <ac:spMk id="60" creationId="{2B15A064-F539-2DBC-4751-EC9AD27E414F}"/>
          </ac:spMkLst>
        </pc:spChg>
        <pc:spChg chg="del mod">
          <ac:chgData name="Joelle Brehm" userId="a518f54c-6985-42c0-8041-2bb16a414839" providerId="ADAL" clId="{11F4A39F-1802-4DA4-AB6C-561BDA6399D2}" dt="2023-07-05T21:32:53.438" v="37717"/>
          <ac:spMkLst>
            <pc:docMk/>
            <pc:sldMk cId="1379386497" sldId="278"/>
            <ac:spMk id="68" creationId="{F5EDCF76-2D64-25EA-0D65-38D74867760B}"/>
          </ac:spMkLst>
        </pc:spChg>
        <pc:spChg chg="mod">
          <ac:chgData name="Joelle Brehm" userId="a518f54c-6985-42c0-8041-2bb16a414839" providerId="ADAL" clId="{11F4A39F-1802-4DA4-AB6C-561BDA6399D2}" dt="2023-07-05T21:32:57.653" v="38024"/>
          <ac:spMkLst>
            <pc:docMk/>
            <pc:sldMk cId="1379386497" sldId="278"/>
            <ac:spMk id="71" creationId="{14F28137-9E3D-2F2F-FB1A-431750CB3ADD}"/>
          </ac:spMkLst>
        </pc:spChg>
        <pc:spChg chg="mod ord">
          <ac:chgData name="Joelle Brehm" userId="a518f54c-6985-42c0-8041-2bb16a414839" providerId="ADAL" clId="{11F4A39F-1802-4DA4-AB6C-561BDA6399D2}" dt="2023-07-05T21:32:57.653" v="38033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32:57.653" v="38035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32:57.653" v="38037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1:32:57.653" v="38039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32:57.653" v="38041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32:57.669" v="38043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32:57.669" v="38046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2:57.670" v="38047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2:57.670" v="38050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11F4A39F-1802-4DA4-AB6C-561BDA6399D2}" dt="2023-07-05T21:32:57.686" v="38062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1:32:21.270" v="36429"/>
          <ac:graphicFrameMkLst>
            <pc:docMk/>
            <pc:sldMk cId="1379386497" sldId="278"/>
            <ac:graphicFrameMk id="8" creationId="{5D146D06-B38E-C64E-4497-C3594D27A434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2:57.653" v="37995"/>
          <ac:graphicFrameMkLst>
            <pc:docMk/>
            <pc:sldMk cId="1379386497" sldId="278"/>
            <ac:graphicFrameMk id="9" creationId="{5383C09B-FE2E-F3A0-614D-C89E44F72E0C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2:57.669" v="38045"/>
          <ac:graphicFrameMkLst>
            <pc:docMk/>
            <pc:sldMk cId="1379386497" sldId="278"/>
            <ac:graphicFrameMk id="42" creationId="{3AE4BF77-85D6-7987-22C9-61E8D4F33829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2:50.699" v="37614"/>
          <ac:graphicFrameMkLst>
            <pc:docMk/>
            <pc:sldMk cId="1379386497" sldId="278"/>
            <ac:graphicFrameMk id="48" creationId="{1C1756B8-1EAC-C346-8314-5FF2FDA495E6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2:53.520" v="37830"/>
          <ac:graphicFrameMkLst>
            <pc:docMk/>
            <pc:sldMk cId="1379386497" sldId="278"/>
            <ac:graphicFrameMk id="50" creationId="{18A2037A-6FEA-E2AD-B497-C26AA06FD98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2:57.620" v="37981"/>
          <ac:graphicFrameMkLst>
            <pc:docMk/>
            <pc:sldMk cId="1379386497" sldId="278"/>
            <ac:graphicFrameMk id="52" creationId="{11214738-C40F-BEA0-1966-B8163DD86918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2:57.653" v="38019"/>
          <ac:graphicFrameMkLst>
            <pc:docMk/>
            <pc:sldMk cId="1379386497" sldId="278"/>
            <ac:graphicFrameMk id="54" creationId="{AE659676-36B3-8E08-12C8-9C5ACF8E8D35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2:49.789" v="37428"/>
          <ac:graphicFrameMkLst>
            <pc:docMk/>
            <pc:sldMk cId="1379386497" sldId="278"/>
            <ac:graphicFrameMk id="70" creationId="{1B55DDC1-0445-3896-8D42-A80816817EC6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2:43.918" v="36781"/>
          <ac:graphicFrameMkLst>
            <pc:docMk/>
            <pc:sldMk cId="1379386497" sldId="278"/>
            <ac:graphicFrameMk id="74" creationId="{E942EBEA-B052-77F0-D5BA-DAA30532E4E7}"/>
          </ac:graphicFrameMkLst>
        </pc:graphicFrameChg>
        <pc:picChg chg="add mod ord">
          <ac:chgData name="Joelle Brehm" userId="a518f54c-6985-42c0-8041-2bb16a414839" providerId="ADAL" clId="{11F4A39F-1802-4DA4-AB6C-561BDA6399D2}" dt="2023-07-05T21:32:57.653" v="37989"/>
          <ac:picMkLst>
            <pc:docMk/>
            <pc:sldMk cId="1379386497" sldId="278"/>
            <ac:picMk id="10" creationId="{FAFF1FCD-83E4-78E6-9B22-8140E1A2E0ED}"/>
          </ac:picMkLst>
        </pc:picChg>
        <pc:picChg chg="del mod ord">
          <ac:chgData name="Joelle Brehm" userId="a518f54c-6985-42c0-8041-2bb16a414839" providerId="ADAL" clId="{11F4A39F-1802-4DA4-AB6C-561BDA6399D2}" dt="2023-07-05T21:32:35.575" v="36604" actId="478"/>
          <ac:picMkLst>
            <pc:docMk/>
            <pc:sldMk cId="1379386497" sldId="278"/>
            <ac:picMk id="36" creationId="{DCE6B415-0413-05CA-EEA9-C74FF1529B34}"/>
          </ac:picMkLst>
        </pc:picChg>
        <pc:picChg chg="mod ord">
          <ac:chgData name="Joelle Brehm" userId="a518f54c-6985-42c0-8041-2bb16a414839" providerId="ADAL" clId="{11F4A39F-1802-4DA4-AB6C-561BDA6399D2}" dt="2023-07-05T21:32:57.670" v="38052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32:57.653" v="37993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35:29.415" v="41396"/>
        <pc:sldMkLst>
          <pc:docMk/>
          <pc:sldMk cId="1917659360" sldId="279"/>
        </pc:sldMkLst>
        <pc:spChg chg="add del mod ord">
          <ac:chgData name="Joelle Brehm" userId="a518f54c-6985-42c0-8041-2bb16a414839" providerId="ADAL" clId="{11F4A39F-1802-4DA4-AB6C-561BDA6399D2}" dt="2023-07-05T21:34:32.628" v="38429" actId="478"/>
          <ac:spMkLst>
            <pc:docMk/>
            <pc:sldMk cId="1917659360" sldId="279"/>
            <ac:spMk id="2" creationId="{6F361B22-3A1B-2C45-C8CD-BA0B4F6D3F1C}"/>
          </ac:spMkLst>
        </pc:spChg>
        <pc:spChg chg="mod ord">
          <ac:chgData name="Joelle Brehm" userId="a518f54c-6985-42c0-8041-2bb16a414839" providerId="ADAL" clId="{11F4A39F-1802-4DA4-AB6C-561BDA6399D2}" dt="2023-07-05T21:35:29.399" v="41390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11F4A39F-1802-4DA4-AB6C-561BDA6399D2}" dt="2023-07-05T21:34:06.065" v="38336"/>
          <ac:spMkLst>
            <pc:docMk/>
            <pc:sldMk cId="1917659360" sldId="279"/>
            <ac:spMk id="5" creationId="{67695E25-8720-1C9F-9AA0-11708C09B21D}"/>
          </ac:spMkLst>
        </pc:spChg>
        <pc:spChg chg="mod ord">
          <ac:chgData name="Joelle Brehm" userId="a518f54c-6985-42c0-8041-2bb16a414839" providerId="ADAL" clId="{11F4A39F-1802-4DA4-AB6C-561BDA6399D2}" dt="2023-07-05T21:35:29.384" v="41325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1:35:29.399" v="41362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11F4A39F-1802-4DA4-AB6C-561BDA6399D2}" dt="2023-07-05T21:35:29.384" v="41332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35:29.384" v="41334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35:29.384" v="41335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35:29.384" v="41331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35:29.384" v="41333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35:29.384" v="41337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35:29.384" v="41330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35:29.384" v="41340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35:29.384" v="41336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35:29.384" v="41339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35:29.384" v="41338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35:29.384" v="41341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35:29.384" v="41343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35:29.399" v="41346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35:29.384" v="41344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35:29.399" v="41345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35:29.399" v="41349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35:29.399" v="41347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35:29.399" v="41348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35:29.399" v="41351"/>
          <ac:spMkLst>
            <pc:docMk/>
            <pc:sldMk cId="1917659360" sldId="279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35:29.399" v="41361"/>
          <ac:spMkLst>
            <pc:docMk/>
            <pc:sldMk cId="1917659360" sldId="279"/>
            <ac:spMk id="31" creationId="{F093A4C8-6E18-05C7-7E72-289C39311345}"/>
          </ac:spMkLst>
        </pc:spChg>
        <pc:spChg chg="mod">
          <ac:chgData name="Joelle Brehm" userId="a518f54c-6985-42c0-8041-2bb16a414839" providerId="ADAL" clId="{11F4A39F-1802-4DA4-AB6C-561BDA6399D2}" dt="2023-07-05T21:35:29.399" v="41355"/>
          <ac:spMkLst>
            <pc:docMk/>
            <pc:sldMk cId="1917659360" sldId="279"/>
            <ac:spMk id="33" creationId="{EF1BE76E-3513-F867-5535-98776D038363}"/>
          </ac:spMkLst>
        </pc:spChg>
        <pc:spChg chg="mod">
          <ac:chgData name="Joelle Brehm" userId="a518f54c-6985-42c0-8041-2bb16a414839" providerId="ADAL" clId="{11F4A39F-1802-4DA4-AB6C-561BDA6399D2}" dt="2023-07-05T21:35:29.399" v="41357"/>
          <ac:spMkLst>
            <pc:docMk/>
            <pc:sldMk cId="1917659360" sldId="279"/>
            <ac:spMk id="34" creationId="{3E8DCD8F-C1DE-43F0-D54C-AEB157F6432C}"/>
          </ac:spMkLst>
        </pc:spChg>
        <pc:spChg chg="mod">
          <ac:chgData name="Joelle Brehm" userId="a518f54c-6985-42c0-8041-2bb16a414839" providerId="ADAL" clId="{11F4A39F-1802-4DA4-AB6C-561BDA6399D2}" dt="2023-07-05T21:35:29.399" v="41358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11F4A39F-1802-4DA4-AB6C-561BDA6399D2}" dt="2023-07-05T21:35:29.399" v="41356"/>
          <ac:spMkLst>
            <pc:docMk/>
            <pc:sldMk cId="1917659360" sldId="279"/>
            <ac:spMk id="36" creationId="{1DD7BBF4-6C80-7EAE-8C4B-809D66ECE570}"/>
          </ac:spMkLst>
        </pc:spChg>
        <pc:spChg chg="mod">
          <ac:chgData name="Joelle Brehm" userId="a518f54c-6985-42c0-8041-2bb16a414839" providerId="ADAL" clId="{11F4A39F-1802-4DA4-AB6C-561BDA6399D2}" dt="2023-07-05T21:35:29.399" v="41364"/>
          <ac:spMkLst>
            <pc:docMk/>
            <pc:sldMk cId="1917659360" sldId="279"/>
            <ac:spMk id="38" creationId="{F98146E0-0CDE-47DF-A82C-B29BE329AD84}"/>
          </ac:spMkLst>
        </pc:spChg>
        <pc:spChg chg="add del mod modVis">
          <ac:chgData name="Joelle Brehm" userId="a518f54c-6985-42c0-8041-2bb16a414839" providerId="ADAL" clId="{11F4A39F-1802-4DA4-AB6C-561BDA6399D2}" dt="2023-07-05T21:34:43.246" v="38670"/>
          <ac:spMkLst>
            <pc:docMk/>
            <pc:sldMk cId="1917659360" sldId="279"/>
            <ac:spMk id="39" creationId="{7EAB1155-0F2F-DCBC-0082-094FFDD9ADA9}"/>
          </ac:spMkLst>
        </pc:spChg>
        <pc:spChg chg="mod">
          <ac:chgData name="Joelle Brehm" userId="a518f54c-6985-42c0-8041-2bb16a414839" providerId="ADAL" clId="{11F4A39F-1802-4DA4-AB6C-561BDA6399D2}" dt="2023-07-05T21:35:29.399" v="41363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11F4A39F-1802-4DA4-AB6C-561BDA6399D2}" dt="2023-07-05T21:35:29.399" v="41354"/>
          <ac:spMkLst>
            <pc:docMk/>
            <pc:sldMk cId="1917659360" sldId="279"/>
            <ac:spMk id="44" creationId="{6D0C749E-E8C8-88F8-DDE8-851FCBBEB3E2}"/>
          </ac:spMkLst>
        </pc:spChg>
        <pc:spChg chg="mod">
          <ac:chgData name="Joelle Brehm" userId="a518f54c-6985-42c0-8041-2bb16a414839" providerId="ADAL" clId="{11F4A39F-1802-4DA4-AB6C-561BDA6399D2}" dt="2023-07-05T21:35:29.399" v="41359"/>
          <ac:spMkLst>
            <pc:docMk/>
            <pc:sldMk cId="1917659360" sldId="279"/>
            <ac:spMk id="46" creationId="{B9B060A3-E664-8DA1-E53F-1EF51677568B}"/>
          </ac:spMkLst>
        </pc:spChg>
        <pc:spChg chg="add mod replST">
          <ac:chgData name="Joelle Brehm" userId="a518f54c-6985-42c0-8041-2bb16a414839" providerId="ADAL" clId="{11F4A39F-1802-4DA4-AB6C-561BDA6399D2}" dt="2023-07-05T21:35:29.399" v="41365"/>
          <ac:spMkLst>
            <pc:docMk/>
            <pc:sldMk cId="1917659360" sldId="279"/>
            <ac:spMk id="47" creationId="{698A62C7-0861-3196-719C-E48F5560BE43}"/>
          </ac:spMkLst>
        </pc:spChg>
        <pc:spChg chg="add del mod modVis">
          <ac:chgData name="Joelle Brehm" userId="a518f54c-6985-42c0-8041-2bb16a414839" providerId="ADAL" clId="{11F4A39F-1802-4DA4-AB6C-561BDA6399D2}" dt="2023-07-05T21:34:57.671" v="39481"/>
          <ac:spMkLst>
            <pc:docMk/>
            <pc:sldMk cId="1917659360" sldId="279"/>
            <ac:spMk id="48" creationId="{1EEC986E-D8B6-D1E7-9F19-E50E715E2E2B}"/>
          </ac:spMkLst>
        </pc:spChg>
        <pc:spChg chg="add del mod modVis">
          <ac:chgData name="Joelle Brehm" userId="a518f54c-6985-42c0-8041-2bb16a414839" providerId="ADAL" clId="{11F4A39F-1802-4DA4-AB6C-561BDA6399D2}" dt="2023-07-05T21:34:59.273" v="39749"/>
          <ac:spMkLst>
            <pc:docMk/>
            <pc:sldMk cId="1917659360" sldId="279"/>
            <ac:spMk id="50" creationId="{0229D67C-EAE3-0EED-A8E4-32EAE9FFB1B5}"/>
          </ac:spMkLst>
        </pc:spChg>
        <pc:spChg chg="add del mod ord replST">
          <ac:chgData name="Joelle Brehm" userId="a518f54c-6985-42c0-8041-2bb16a414839" providerId="ADAL" clId="{11F4A39F-1802-4DA4-AB6C-561BDA6399D2}" dt="2023-07-05T21:35:04.319" v="40014"/>
          <ac:spMkLst>
            <pc:docMk/>
            <pc:sldMk cId="1917659360" sldId="279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1:35:01.279" v="39944"/>
          <ac:spMkLst>
            <pc:docMk/>
            <pc:sldMk cId="1917659360" sldId="279"/>
            <ac:spMk id="53" creationId="{182DA9FE-2892-18FB-8AB5-EE13895B25DD}"/>
          </ac:spMkLst>
        </pc:spChg>
        <pc:spChg chg="add del mod modVis">
          <ac:chgData name="Joelle Brehm" userId="a518f54c-6985-42c0-8041-2bb16a414839" providerId="ADAL" clId="{11F4A39F-1802-4DA4-AB6C-561BDA6399D2}" dt="2023-07-05T21:35:04.365" v="40095"/>
          <ac:spMkLst>
            <pc:docMk/>
            <pc:sldMk cId="1917659360" sldId="279"/>
            <ac:spMk id="55" creationId="{5EEE56D3-431B-98F5-0BF3-776672B66A94}"/>
          </ac:spMkLst>
        </pc:spChg>
        <pc:spChg chg="add del mod modVis">
          <ac:chgData name="Joelle Brehm" userId="a518f54c-6985-42c0-8041-2bb16a414839" providerId="ADAL" clId="{11F4A39F-1802-4DA4-AB6C-561BDA6399D2}" dt="2023-07-05T21:35:11.054" v="40356"/>
          <ac:spMkLst>
            <pc:docMk/>
            <pc:sldMk cId="1917659360" sldId="279"/>
            <ac:spMk id="57" creationId="{CB5212F0-E372-5969-E332-A0F7C9A31EB5}"/>
          </ac:spMkLst>
        </pc:spChg>
        <pc:spChg chg="mod ord">
          <ac:chgData name="Joelle Brehm" userId="a518f54c-6985-42c0-8041-2bb16a414839" providerId="ADAL" clId="{11F4A39F-1802-4DA4-AB6C-561BDA6399D2}" dt="2023-07-05T21:35:29.399" v="41388"/>
          <ac:spMkLst>
            <pc:docMk/>
            <pc:sldMk cId="1917659360" sldId="279"/>
            <ac:spMk id="58" creationId="{C2B29D16-5A5D-43B3-B972-0B57287E081A}"/>
          </ac:spMkLst>
        </pc:spChg>
        <pc:spChg chg="add del mod replST">
          <ac:chgData name="Joelle Brehm" userId="a518f54c-6985-42c0-8041-2bb16a414839" providerId="ADAL" clId="{11F4A39F-1802-4DA4-AB6C-561BDA6399D2}" dt="2023-07-05T21:35:12.576" v="40425"/>
          <ac:spMkLst>
            <pc:docMk/>
            <pc:sldMk cId="1917659360" sldId="279"/>
            <ac:spMk id="59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1:35:12.677" v="40506"/>
          <ac:spMkLst>
            <pc:docMk/>
            <pc:sldMk cId="1917659360" sldId="279"/>
            <ac:spMk id="61" creationId="{2DCF36E0-A1C8-BB1E-F9AF-A9F15978B865}"/>
          </ac:spMkLst>
        </pc:spChg>
        <pc:spChg chg="del mod">
          <ac:chgData name="Joelle Brehm" userId="a518f54c-6985-42c0-8041-2bb16a414839" providerId="ADAL" clId="{11F4A39F-1802-4DA4-AB6C-561BDA6399D2}" dt="2023-07-05T21:35:01.004" v="39752"/>
          <ac:spMkLst>
            <pc:docMk/>
            <pc:sldMk cId="1917659360" sldId="279"/>
            <ac:spMk id="64" creationId="{35C83473-CEFE-97B3-BB93-6F7EECC70D9C}"/>
          </ac:spMkLst>
        </pc:spChg>
        <pc:spChg chg="add del mod modVis">
          <ac:chgData name="Joelle Brehm" userId="a518f54c-6985-42c0-8041-2bb16a414839" providerId="ADAL" clId="{11F4A39F-1802-4DA4-AB6C-561BDA6399D2}" dt="2023-07-05T21:35:14.479" v="40654"/>
          <ac:spMkLst>
            <pc:docMk/>
            <pc:sldMk cId="1917659360" sldId="279"/>
            <ac:spMk id="65" creationId="{9E867948-ABE2-E349-7FC5-95A289696739}"/>
          </ac:spMkLst>
        </pc:spChg>
        <pc:spChg chg="add del mod modVis">
          <ac:chgData name="Joelle Brehm" userId="a518f54c-6985-42c0-8041-2bb16a414839" providerId="ADAL" clId="{11F4A39F-1802-4DA4-AB6C-561BDA6399D2}" dt="2023-07-05T21:35:18.586" v="40802"/>
          <ac:spMkLst>
            <pc:docMk/>
            <pc:sldMk cId="1917659360" sldId="279"/>
            <ac:spMk id="67" creationId="{4AF42D17-9B03-28F3-3897-1D4843DB35E0}"/>
          </ac:spMkLst>
        </pc:spChg>
        <pc:spChg chg="mod">
          <ac:chgData name="Joelle Brehm" userId="a518f54c-6985-42c0-8041-2bb16a414839" providerId="ADAL" clId="{11F4A39F-1802-4DA4-AB6C-561BDA6399D2}" dt="2023-07-05T21:35:29.399" v="41360"/>
          <ac:spMkLst>
            <pc:docMk/>
            <pc:sldMk cId="1917659360" sldId="279"/>
            <ac:spMk id="68" creationId="{172D3C4E-809D-7E4B-644C-D1FADA170FF0}"/>
          </ac:spMkLst>
        </pc:spChg>
        <pc:spChg chg="add del mod modVis">
          <ac:chgData name="Joelle Brehm" userId="a518f54c-6985-42c0-8041-2bb16a414839" providerId="ADAL" clId="{11F4A39F-1802-4DA4-AB6C-561BDA6399D2}" dt="2023-07-05T21:35:19.941" v="40950"/>
          <ac:spMkLst>
            <pc:docMk/>
            <pc:sldMk cId="1917659360" sldId="279"/>
            <ac:spMk id="70" creationId="{E3662070-11D4-A70E-50E2-9733BD2D7498}"/>
          </ac:spMkLst>
        </pc:spChg>
        <pc:spChg chg="add del mod modVis">
          <ac:chgData name="Joelle Brehm" userId="a518f54c-6985-42c0-8041-2bb16a414839" providerId="ADAL" clId="{11F4A39F-1802-4DA4-AB6C-561BDA6399D2}" dt="2023-07-05T21:35:23.371" v="41098"/>
          <ac:spMkLst>
            <pc:docMk/>
            <pc:sldMk cId="1917659360" sldId="279"/>
            <ac:spMk id="72" creationId="{00F78DDC-9548-64D4-AC32-834B5CFAFFCD}"/>
          </ac:spMkLst>
        </pc:spChg>
        <pc:spChg chg="add del mod modVis">
          <ac:chgData name="Joelle Brehm" userId="a518f54c-6985-42c0-8041-2bb16a414839" providerId="ADAL" clId="{11F4A39F-1802-4DA4-AB6C-561BDA6399D2}" dt="2023-07-05T21:35:26.986" v="41246"/>
          <ac:spMkLst>
            <pc:docMk/>
            <pc:sldMk cId="1917659360" sldId="279"/>
            <ac:spMk id="74" creationId="{9D0B5AAA-09E1-8C5E-6023-75D28DF47633}"/>
          </ac:spMkLst>
        </pc:spChg>
        <pc:spChg chg="add del mod modVis">
          <ac:chgData name="Joelle Brehm" userId="a518f54c-6985-42c0-8041-2bb16a414839" providerId="ADAL" clId="{11F4A39F-1802-4DA4-AB6C-561BDA6399D2}" dt="2023-07-05T21:35:29.399" v="41394"/>
          <ac:spMkLst>
            <pc:docMk/>
            <pc:sldMk cId="1917659360" sldId="279"/>
            <ac:spMk id="76" creationId="{BDE93CE4-BD15-717D-3D95-0D4E72338E00}"/>
          </ac:spMkLst>
        </pc:spChg>
        <pc:spChg chg="mod ord">
          <ac:chgData name="Joelle Brehm" userId="a518f54c-6985-42c0-8041-2bb16a414839" providerId="ADAL" clId="{11F4A39F-1802-4DA4-AB6C-561BDA6399D2}" dt="2023-07-05T21:35:29.399" v="41367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35:29.399" v="41369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35:29.399" v="41371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1:35:29.399" v="41373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35:29.399" v="41375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35:29.399" v="41377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35:29.399" v="41380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5:29.399" v="41383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5:29.399" v="41382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5:29.399" v="41381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35:29.399" v="41384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1:35:29.415" v="41396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1:34:05.994" v="38253"/>
          <ac:graphicFrameMkLst>
            <pc:docMk/>
            <pc:sldMk cId="1917659360" sldId="279"/>
            <ac:graphicFrameMk id="8" creationId="{51F93571-D053-FA5C-2923-F45664373647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5:29.384" v="41329"/>
          <ac:graphicFrameMkLst>
            <pc:docMk/>
            <pc:sldMk cId="1917659360" sldId="279"/>
            <ac:graphicFrameMk id="9" creationId="{157E4DE3-5A04-ED68-A4A2-B362480702D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4:46.361" v="38692"/>
          <ac:graphicFrameMkLst>
            <pc:docMk/>
            <pc:sldMk cId="1917659360" sldId="279"/>
            <ac:graphicFrameMk id="41" creationId="{B4DCF32C-0F3A-125B-F544-7A2AD89E2BA9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4:48.761" v="38791"/>
          <ac:graphicFrameMkLst>
            <pc:docMk/>
            <pc:sldMk cId="1917659360" sldId="279"/>
            <ac:graphicFrameMk id="42" creationId="{F1979CBB-0E45-A1E9-590E-9D154EFBD2C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5:29.399" v="41379"/>
          <ac:graphicFrameMkLst>
            <pc:docMk/>
            <pc:sldMk cId="1917659360" sldId="279"/>
            <ac:graphicFrameMk id="43" creationId="{076EE40C-813C-9AAF-B75E-4C1C43297828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4:43.199" v="38591"/>
          <ac:graphicFrameMkLst>
            <pc:docMk/>
            <pc:sldMk cId="1917659360" sldId="279"/>
            <ac:graphicFrameMk id="45" creationId="{3C99A4B4-3B14-424E-8F00-F0289BA5550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4:59.204" v="39645"/>
          <ac:graphicFrameMkLst>
            <pc:docMk/>
            <pc:sldMk cId="1917659360" sldId="279"/>
            <ac:graphicFrameMk id="49" creationId="{9D341B7F-88F8-3B93-A643-CBA8E3B8C19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01.186" v="39863"/>
          <ac:graphicFrameMkLst>
            <pc:docMk/>
            <pc:sldMk cId="1917659360" sldId="279"/>
            <ac:graphicFrameMk id="52" creationId="{FDE0EA91-8244-5DAC-FB56-EF1B696977E2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04.319" v="40016"/>
          <ac:graphicFrameMkLst>
            <pc:docMk/>
            <pc:sldMk cId="1917659360" sldId="279"/>
            <ac:graphicFrameMk id="54" creationId="{D28C7DF4-2AB7-B9A7-26B9-42A2EC4AAD1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10.982" v="40254"/>
          <ac:graphicFrameMkLst>
            <pc:docMk/>
            <pc:sldMk cId="1917659360" sldId="279"/>
            <ac:graphicFrameMk id="56" creationId="{5B07F93C-705D-2687-8724-22E81A508542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12.576" v="40427"/>
          <ac:graphicFrameMkLst>
            <pc:docMk/>
            <pc:sldMk cId="1917659360" sldId="279"/>
            <ac:graphicFrameMk id="60" creationId="{12D9F685-5A98-F3E9-464A-31E70E9C3715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4:57.618" v="39393"/>
          <ac:graphicFrameMkLst>
            <pc:docMk/>
            <pc:sldMk cId="1917659360" sldId="279"/>
            <ac:graphicFrameMk id="62" creationId="{B806946C-1FFC-994C-F9EE-A64D8CD4CBE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14.448" v="40575"/>
          <ac:graphicFrameMkLst>
            <pc:docMk/>
            <pc:sldMk cId="1917659360" sldId="279"/>
            <ac:graphicFrameMk id="63" creationId="{463EE739-4C7B-050E-9E87-E477DD4188F7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18.555" v="40723"/>
          <ac:graphicFrameMkLst>
            <pc:docMk/>
            <pc:sldMk cId="1917659360" sldId="279"/>
            <ac:graphicFrameMk id="66" creationId="{EFFCE0CE-CC6B-02F1-BC93-A071B68F3CA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19.894" v="40871"/>
          <ac:graphicFrameMkLst>
            <pc:docMk/>
            <pc:sldMk cId="1917659360" sldId="279"/>
            <ac:graphicFrameMk id="69" creationId="{3BA2449F-E7A3-C93C-18C5-21ED1BF9F31D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23.333" v="41019"/>
          <ac:graphicFrameMkLst>
            <pc:docMk/>
            <pc:sldMk cId="1917659360" sldId="279"/>
            <ac:graphicFrameMk id="71" creationId="{1CAB85E4-A3B5-702B-1F2F-D2DD98AE7C18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26.936" v="41167"/>
          <ac:graphicFrameMkLst>
            <pc:docMk/>
            <pc:sldMk cId="1917659360" sldId="279"/>
            <ac:graphicFrameMk id="73" creationId="{5B1EEFA9-6A52-E3A8-A944-F3E27A1D3A94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5:29.368" v="41315"/>
          <ac:graphicFrameMkLst>
            <pc:docMk/>
            <pc:sldMk cId="1917659360" sldId="279"/>
            <ac:graphicFrameMk id="75" creationId="{602655DD-03AC-BE40-AEA5-CDC0D251C30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5:29.399" v="41353"/>
          <ac:graphicFrameMkLst>
            <pc:docMk/>
            <pc:sldMk cId="1917659360" sldId="279"/>
            <ac:graphicFrameMk id="77" creationId="{2993A761-BC9E-549F-FCDE-ABDC4D17DB8C}"/>
          </ac:graphicFrameMkLst>
        </pc:graphicFrameChg>
        <pc:picChg chg="add mod ord">
          <ac:chgData name="Joelle Brehm" userId="a518f54c-6985-42c0-8041-2bb16a414839" providerId="ADAL" clId="{11F4A39F-1802-4DA4-AB6C-561BDA6399D2}" dt="2023-07-05T21:35:29.384" v="41323"/>
          <ac:picMkLst>
            <pc:docMk/>
            <pc:sldMk cId="1917659360" sldId="279"/>
            <ac:picMk id="32" creationId="{D1C6F72B-09DA-8D1D-9076-CF59EAD9C21D}"/>
          </ac:picMkLst>
        </pc:picChg>
        <pc:picChg chg="del mod ord">
          <ac:chgData name="Joelle Brehm" userId="a518f54c-6985-42c0-8041-2bb16a414839" providerId="ADAL" clId="{11F4A39F-1802-4DA4-AB6C-561BDA6399D2}" dt="2023-07-05T21:34:26.035" v="38423" actId="478"/>
          <ac:picMkLst>
            <pc:docMk/>
            <pc:sldMk cId="1917659360" sldId="279"/>
            <ac:picMk id="37" creationId="{FB3F78EE-2B74-BB96-3F17-059207D3D68F}"/>
          </ac:picMkLst>
        </pc:picChg>
        <pc:picChg chg="mod ord">
          <ac:chgData name="Joelle Brehm" userId="a518f54c-6985-42c0-8041-2bb16a414839" providerId="ADAL" clId="{11F4A39F-1802-4DA4-AB6C-561BDA6399D2}" dt="2023-07-05T21:35:29.399" v="41386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35:29.384" v="41327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38:56.388" v="44201"/>
        <pc:sldMkLst>
          <pc:docMk/>
          <pc:sldMk cId="168389892" sldId="281"/>
        </pc:sldMkLst>
        <pc:spChg chg="mod ord">
          <ac:chgData name="Joelle Brehm" userId="a518f54c-6985-42c0-8041-2bb16a414839" providerId="ADAL" clId="{11F4A39F-1802-4DA4-AB6C-561BDA6399D2}" dt="2023-07-05T21:38:56.360" v="44195"/>
          <ac:spMkLst>
            <pc:docMk/>
            <pc:sldMk cId="168389892" sldId="281"/>
            <ac:spMk id="2" creationId="{113280EF-7092-46F4-B9C0-9ADB445F51A4}"/>
          </ac:spMkLst>
        </pc:spChg>
        <pc:spChg chg="add del mod ord">
          <ac:chgData name="Joelle Brehm" userId="a518f54c-6985-42c0-8041-2bb16a414839" providerId="ADAL" clId="{11F4A39F-1802-4DA4-AB6C-561BDA6399D2}" dt="2023-07-05T21:38:11.782" v="43075" actId="478"/>
          <ac:spMkLst>
            <pc:docMk/>
            <pc:sldMk cId="168389892" sldId="281"/>
            <ac:spMk id="5" creationId="{DBF50309-7F16-6C35-7581-CC33D06D0981}"/>
          </ac:spMkLst>
        </pc:spChg>
        <pc:spChg chg="mod ord">
          <ac:chgData name="Joelle Brehm" userId="a518f54c-6985-42c0-8041-2bb16a414839" providerId="ADAL" clId="{11F4A39F-1802-4DA4-AB6C-561BDA6399D2}" dt="2023-07-05T21:38:56.334" v="44108"/>
          <ac:spMkLst>
            <pc:docMk/>
            <pc:sldMk cId="168389892" sldId="281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1F4A39F-1802-4DA4-AB6C-561BDA6399D2}" dt="2023-07-05T21:37:25.113" v="43071"/>
          <ac:spMkLst>
            <pc:docMk/>
            <pc:sldMk cId="168389892" sldId="281"/>
            <ac:spMk id="9" creationId="{A427682E-FB3B-9B97-2020-33E877452D19}"/>
          </ac:spMkLst>
        </pc:spChg>
        <pc:spChg chg="mod">
          <ac:chgData name="Joelle Brehm" userId="a518f54c-6985-42c0-8041-2bb16a414839" providerId="ADAL" clId="{11F4A39F-1802-4DA4-AB6C-561BDA6399D2}" dt="2023-07-05T21:38:56.360" v="44164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11F4A39F-1802-4DA4-AB6C-561BDA6399D2}" dt="2023-07-05T21:38:56.339" v="44121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38:56.338" v="44118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38:56.335" v="44113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38:56.337" v="44116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38:56.338" v="44117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38:56.336" v="44115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38:56.339" v="44120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38:56.340" v="44122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38:56.341" v="44123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38:56.341" v="44124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38:56.336" v="44114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38:56.338" v="44119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38:56.342" v="44126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38:56.347" v="44131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38:56.343" v="44127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38:56.344" v="44128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38:56.348" v="44133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38:56.348" v="44134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38:56.348" v="44132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38:56.348" v="44137"/>
          <ac:spMkLst>
            <pc:docMk/>
            <pc:sldMk cId="168389892" sldId="281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38:56.348" v="44151"/>
          <ac:spMkLst>
            <pc:docMk/>
            <pc:sldMk cId="168389892" sldId="281"/>
            <ac:spMk id="31" creationId="{711541B8-27AE-44A5-8FC9-D12E6804FB92}"/>
          </ac:spMkLst>
        </pc:spChg>
        <pc:spChg chg="mod">
          <ac:chgData name="Joelle Brehm" userId="a518f54c-6985-42c0-8041-2bb16a414839" providerId="ADAL" clId="{11F4A39F-1802-4DA4-AB6C-561BDA6399D2}" dt="2023-07-05T21:38:56.348" v="44150"/>
          <ac:spMkLst>
            <pc:docMk/>
            <pc:sldMk cId="168389892" sldId="281"/>
            <ac:spMk id="32" creationId="{267D9261-1F00-B849-706B-361467A439F9}"/>
          </ac:spMkLst>
        </pc:spChg>
        <pc:spChg chg="mod">
          <ac:chgData name="Joelle Brehm" userId="a518f54c-6985-42c0-8041-2bb16a414839" providerId="ADAL" clId="{11F4A39F-1802-4DA4-AB6C-561BDA6399D2}" dt="2023-07-05T21:38:56.360" v="44159"/>
          <ac:spMkLst>
            <pc:docMk/>
            <pc:sldMk cId="168389892" sldId="281"/>
            <ac:spMk id="33" creationId="{B1E9DD7B-A017-14DB-FDC5-572B2A809BD1}"/>
          </ac:spMkLst>
        </pc:spChg>
        <pc:spChg chg="mod">
          <ac:chgData name="Joelle Brehm" userId="a518f54c-6985-42c0-8041-2bb16a414839" providerId="ADAL" clId="{11F4A39F-1802-4DA4-AB6C-561BDA6399D2}" dt="2023-07-05T21:38:56.358" v="44154"/>
          <ac:spMkLst>
            <pc:docMk/>
            <pc:sldMk cId="168389892" sldId="281"/>
            <ac:spMk id="34" creationId="{A3449709-B02E-77EF-4F6F-B47BC234DA54}"/>
          </ac:spMkLst>
        </pc:spChg>
        <pc:spChg chg="mod">
          <ac:chgData name="Joelle Brehm" userId="a518f54c-6985-42c0-8041-2bb16a414839" providerId="ADAL" clId="{11F4A39F-1802-4DA4-AB6C-561BDA6399D2}" dt="2023-07-05T21:38:56.358" v="44153"/>
          <ac:spMkLst>
            <pc:docMk/>
            <pc:sldMk cId="168389892" sldId="281"/>
            <ac:spMk id="35" creationId="{0B484CBC-5CE9-D383-6E19-BF1B45083FAC}"/>
          </ac:spMkLst>
        </pc:spChg>
        <pc:spChg chg="mod">
          <ac:chgData name="Joelle Brehm" userId="a518f54c-6985-42c0-8041-2bb16a414839" providerId="ADAL" clId="{11F4A39F-1802-4DA4-AB6C-561BDA6399D2}" dt="2023-07-05T21:38:56.360" v="44157"/>
          <ac:spMkLst>
            <pc:docMk/>
            <pc:sldMk cId="168389892" sldId="281"/>
            <ac:spMk id="36" creationId="{36968B59-7E4B-5916-DE24-FBEDF12C1E49}"/>
          </ac:spMkLst>
        </pc:spChg>
        <pc:spChg chg="mod ord">
          <ac:chgData name="Joelle Brehm" userId="a518f54c-6985-42c0-8041-2bb16a414839" providerId="ADAL" clId="{11F4A39F-1802-4DA4-AB6C-561BDA6399D2}" dt="2023-07-05T21:38:56.346" v="44130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11F4A39F-1802-4DA4-AB6C-561BDA6399D2}" dt="2023-07-05T21:38:56.359" v="44155"/>
          <ac:spMkLst>
            <pc:docMk/>
            <pc:sldMk cId="168389892" sldId="281"/>
            <ac:spMk id="38" creationId="{33D6C8F4-21B6-9786-940E-4D86B2714801}"/>
          </ac:spMkLst>
        </pc:spChg>
        <pc:spChg chg="mod">
          <ac:chgData name="Joelle Brehm" userId="a518f54c-6985-42c0-8041-2bb16a414839" providerId="ADAL" clId="{11F4A39F-1802-4DA4-AB6C-561BDA6399D2}" dt="2023-07-05T21:38:56.360" v="44163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11F4A39F-1802-4DA4-AB6C-561BDA6399D2}" dt="2023-07-05T21:38:56.348" v="44152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11F4A39F-1802-4DA4-AB6C-561BDA6399D2}" dt="2023-07-05T21:38:56.360" v="44161"/>
          <ac:spMkLst>
            <pc:docMk/>
            <pc:sldMk cId="168389892" sldId="281"/>
            <ac:spMk id="41" creationId="{FDBDB5F4-8253-DAFB-C27E-59BA58987D05}"/>
          </ac:spMkLst>
        </pc:spChg>
        <pc:spChg chg="mod">
          <ac:chgData name="Joelle Brehm" userId="a518f54c-6985-42c0-8041-2bb16a414839" providerId="ADAL" clId="{11F4A39F-1802-4DA4-AB6C-561BDA6399D2}" dt="2023-07-05T21:38:56.360" v="44158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11F4A39F-1802-4DA4-AB6C-561BDA6399D2}" dt="2023-07-05T21:38:56.360" v="44162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11F4A39F-1802-4DA4-AB6C-561BDA6399D2}" dt="2023-07-05T21:38:56.348" v="44143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8:56.348" v="44146"/>
          <ac:spMkLst>
            <pc:docMk/>
            <pc:sldMk cId="168389892" sldId="281"/>
            <ac:spMk id="4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8:56.348" v="44141"/>
          <ac:spMkLst>
            <pc:docMk/>
            <pc:sldMk cId="168389892" sldId="281"/>
            <ac:spMk id="4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8:56.348" v="44144"/>
          <ac:spMkLst>
            <pc:docMk/>
            <pc:sldMk cId="168389892" sldId="281"/>
            <ac:spMk id="4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8:56.359" v="44156"/>
          <ac:spMkLst>
            <pc:docMk/>
            <pc:sldMk cId="168389892" sldId="281"/>
            <ac:spMk id="48" creationId="{D7C724F5-3AF0-C1C4-489C-1D5CE45F0FB0}"/>
          </ac:spMkLst>
        </pc:spChg>
        <pc:spChg chg="mod">
          <ac:chgData name="Joelle Brehm" userId="a518f54c-6985-42c0-8041-2bb16a414839" providerId="ADAL" clId="{11F4A39F-1802-4DA4-AB6C-561BDA6399D2}" dt="2023-07-05T21:38:56.348" v="44142"/>
          <ac:spMkLst>
            <pc:docMk/>
            <pc:sldMk cId="168389892" sldId="281"/>
            <ac:spMk id="50" creationId="{7CAA3B95-4C78-4122-BECA-B5FB0F3F3764}"/>
          </ac:spMkLst>
        </pc:spChg>
        <pc:spChg chg="add mod replST">
          <ac:chgData name="Joelle Brehm" userId="a518f54c-6985-42c0-8041-2bb16a414839" providerId="ADAL" clId="{11F4A39F-1802-4DA4-AB6C-561BDA6399D2}" dt="2023-07-05T21:38:56.360" v="44169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11F4A39F-1802-4DA4-AB6C-561BDA6399D2}" dt="2023-07-05T21:38:56.360" v="44168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11F4A39F-1802-4DA4-AB6C-561BDA6399D2}" dt="2023-07-05T21:38:56.360" v="44160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11F4A39F-1802-4DA4-AB6C-561BDA6399D2}" dt="2023-07-05T21:38:56.360" v="44166"/>
          <ac:spMkLst>
            <pc:docMk/>
            <pc:sldMk cId="168389892" sldId="281"/>
            <ac:spMk id="54" creationId="{622603CE-58AD-807F-F76A-AA9426112C20}"/>
          </ac:spMkLst>
        </pc:spChg>
        <pc:spChg chg="add del mod modVis">
          <ac:chgData name="Joelle Brehm" userId="a518f54c-6985-42c0-8041-2bb16a414839" providerId="ADAL" clId="{11F4A39F-1802-4DA4-AB6C-561BDA6399D2}" dt="2023-07-05T21:38:17.985" v="43456"/>
          <ac:spMkLst>
            <pc:docMk/>
            <pc:sldMk cId="168389892" sldId="281"/>
            <ac:spMk id="55" creationId="{67C4C37E-BAED-3393-B8C8-F0B75447D840}"/>
          </ac:spMkLst>
        </pc:spChg>
        <pc:spChg chg="mod">
          <ac:chgData name="Joelle Brehm" userId="a518f54c-6985-42c0-8041-2bb16a414839" providerId="ADAL" clId="{11F4A39F-1802-4DA4-AB6C-561BDA6399D2}" dt="2023-07-05T21:38:56.360" v="44165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11F4A39F-1802-4DA4-AB6C-561BDA6399D2}" dt="2023-07-05T21:38:56.348" v="44147"/>
          <ac:spMkLst>
            <pc:docMk/>
            <pc:sldMk cId="168389892" sldId="281"/>
            <ac:spMk id="57" creationId="{C5C40907-46F2-01D7-4DFC-21E722FD6F82}"/>
          </ac:spMkLst>
        </pc:spChg>
        <pc:spChg chg="add mod replST">
          <ac:chgData name="Joelle Brehm" userId="a518f54c-6985-42c0-8041-2bb16a414839" providerId="ADAL" clId="{11F4A39F-1802-4DA4-AB6C-561BDA6399D2}" dt="2023-07-05T21:38:56.360" v="44170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11F4A39F-1802-4DA4-AB6C-561BDA6399D2}" dt="2023-07-05T21:38:56.360" v="44167"/>
          <ac:spMkLst>
            <pc:docMk/>
            <pc:sldMk cId="168389892" sldId="281"/>
            <ac:spMk id="60" creationId="{E2CCABD6-E3A5-2DEA-E763-1A50AC421FC3}"/>
          </ac:spMkLst>
        </pc:spChg>
        <pc:spChg chg="add del mod modVis">
          <ac:chgData name="Joelle Brehm" userId="a518f54c-6985-42c0-8041-2bb16a414839" providerId="ADAL" clId="{11F4A39F-1802-4DA4-AB6C-561BDA6399D2}" dt="2023-07-05T21:38:43.035" v="43700"/>
          <ac:spMkLst>
            <pc:docMk/>
            <pc:sldMk cId="168389892" sldId="281"/>
            <ac:spMk id="61" creationId="{BB3C2D32-BDB4-D50C-C687-0A12850D6529}"/>
          </ac:spMkLst>
        </pc:spChg>
        <pc:spChg chg="add del mod modVis">
          <ac:chgData name="Joelle Brehm" userId="a518f54c-6985-42c0-8041-2bb16a414839" providerId="ADAL" clId="{11F4A39F-1802-4DA4-AB6C-561BDA6399D2}" dt="2023-07-05T21:38:45.356" v="43961"/>
          <ac:spMkLst>
            <pc:docMk/>
            <pc:sldMk cId="168389892" sldId="281"/>
            <ac:spMk id="63" creationId="{BB2166F6-DE29-7055-1C11-3688751DBF61}"/>
          </ac:spMkLst>
        </pc:spChg>
        <pc:spChg chg="add del mod modVis">
          <ac:chgData name="Joelle Brehm" userId="a518f54c-6985-42c0-8041-2bb16a414839" providerId="ADAL" clId="{11F4A39F-1802-4DA4-AB6C-561BDA6399D2}" dt="2023-07-05T21:38:56.360" v="44199"/>
          <ac:spMkLst>
            <pc:docMk/>
            <pc:sldMk cId="168389892" sldId="281"/>
            <ac:spMk id="65" creationId="{663F0ADE-18E9-55B6-6462-41C5D2D15778}"/>
          </ac:spMkLst>
        </pc:spChg>
        <pc:spChg chg="mod">
          <ac:chgData name="Joelle Brehm" userId="a518f54c-6985-42c0-8041-2bb16a414839" providerId="ADAL" clId="{11F4A39F-1802-4DA4-AB6C-561BDA6399D2}" dt="2023-07-05T21:38:56.348" v="44135"/>
          <ac:spMkLst>
            <pc:docMk/>
            <pc:sldMk cId="168389892" sldId="281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1:38:56.360" v="44172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38:56.360" v="44174"/>
          <ac:spMkLst>
            <pc:docMk/>
            <pc:sldMk cId="168389892" sldId="281"/>
            <ac:spMk id="79" creationId="{F1476AC4-694B-4D83-BFD8-8DCAA4BB1923}"/>
          </ac:spMkLst>
        </pc:spChg>
        <pc:spChg chg="del mod">
          <ac:chgData name="Joelle Brehm" userId="a518f54c-6985-42c0-8041-2bb16a414839" providerId="ADAL" clId="{11F4A39F-1802-4DA4-AB6C-561BDA6399D2}" dt="2023-07-05T21:38:45.206" v="43704"/>
          <ac:spMkLst>
            <pc:docMk/>
            <pc:sldMk cId="168389892" sldId="281"/>
            <ac:spMk id="85" creationId="{DF87CD30-2B02-58E3-EBCD-F3BF3794739E}"/>
          </ac:spMkLst>
        </pc:spChg>
        <pc:spChg chg="mod">
          <ac:chgData name="Joelle Brehm" userId="a518f54c-6985-42c0-8041-2bb16a414839" providerId="ADAL" clId="{11F4A39F-1802-4DA4-AB6C-561BDA6399D2}" dt="2023-07-05T21:38:56.348" v="44145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1:38:56.360" v="44176"/>
          <ac:spMkLst>
            <pc:docMk/>
            <pc:sldMk cId="168389892" sldId="281"/>
            <ac:spMk id="100" creationId="{8B5667AB-609C-4AEA-83B3-24E395C8F420}"/>
          </ac:spMkLst>
        </pc:spChg>
        <pc:spChg chg="mod">
          <ac:chgData name="Joelle Brehm" userId="a518f54c-6985-42c0-8041-2bb16a414839" providerId="ADAL" clId="{11F4A39F-1802-4DA4-AB6C-561BDA6399D2}" dt="2023-07-05T21:38:56.348" v="44140"/>
          <ac:spMkLst>
            <pc:docMk/>
            <pc:sldMk cId="168389892" sldId="281"/>
            <ac:spMk id="101" creationId="{7CAA3B95-4C78-4122-BECA-B5FB0F3F3764}"/>
          </ac:spMkLst>
        </pc:spChg>
        <pc:spChg chg="del mod">
          <ac:chgData name="Joelle Brehm" userId="a518f54c-6985-42c0-8041-2bb16a414839" providerId="ADAL" clId="{11F4A39F-1802-4DA4-AB6C-561BDA6399D2}" dt="2023-07-05T21:38:45.206" v="43703"/>
          <ac:spMkLst>
            <pc:docMk/>
            <pc:sldMk cId="168389892" sldId="281"/>
            <ac:spMk id="107" creationId="{2C0F3D91-8280-5B6C-3F0D-3BA8A2B7F58D}"/>
          </ac:spMkLst>
        </pc:spChg>
        <pc:spChg chg="mod ord">
          <ac:chgData name="Joelle Brehm" userId="a518f54c-6985-42c0-8041-2bb16a414839" providerId="ADAL" clId="{11F4A39F-1802-4DA4-AB6C-561BDA6399D2}" dt="2023-07-05T21:38:56.360" v="44178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38:56.360" v="44180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38:56.360" v="44182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38:56.348" v="44148"/>
          <ac:spMkLst>
            <pc:docMk/>
            <pc:sldMk cId="168389892" sldId="281"/>
            <ac:spMk id="111" creationId="{F322459F-CC51-9478-D518-8430E52F3C72}"/>
          </ac:spMkLst>
        </pc:spChg>
        <pc:spChg chg="mod">
          <ac:chgData name="Joelle Brehm" userId="a518f54c-6985-42c0-8041-2bb16a414839" providerId="ADAL" clId="{11F4A39F-1802-4DA4-AB6C-561BDA6399D2}" dt="2023-07-05T21:38:56.348" v="44149"/>
          <ac:spMkLst>
            <pc:docMk/>
            <pc:sldMk cId="168389892" sldId="281"/>
            <ac:spMk id="113" creationId="{8044FD4D-AA73-D843-176B-2B2326E5F341}"/>
          </ac:spMkLst>
        </pc:spChg>
        <pc:spChg chg="mod">
          <ac:chgData name="Joelle Brehm" userId="a518f54c-6985-42c0-8041-2bb16a414839" providerId="ADAL" clId="{11F4A39F-1802-4DA4-AB6C-561BDA6399D2}" dt="2023-07-05T21:38:56.360" v="44185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8:56.360" v="44186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8:56.360" v="44187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8:56.360" v="44188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38:56.360" v="44189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1:38:56.388" v="44201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mod ord">
          <ac:chgData name="Joelle Brehm" userId="a518f54c-6985-42c0-8041-2bb16a414839" providerId="ADAL" clId="{11F4A39F-1802-4DA4-AB6C-561BDA6399D2}" dt="2023-07-05T21:38:56.335" v="44112"/>
          <ac:graphicFrameMkLst>
            <pc:docMk/>
            <pc:sldMk cId="168389892" sldId="281"/>
            <ac:graphicFrameMk id="49" creationId="{759D36F9-39AC-F2F2-5DF0-FE1CFE18DA87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8:42.998" v="43597"/>
          <ac:graphicFrameMkLst>
            <pc:docMk/>
            <pc:sldMk cId="168389892" sldId="281"/>
            <ac:graphicFrameMk id="58" creationId="{43F51227-24DB-5B0B-FCA3-60D3825117D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8:45.302" v="43860"/>
          <ac:graphicFrameMkLst>
            <pc:docMk/>
            <pc:sldMk cId="168389892" sldId="281"/>
            <ac:graphicFrameMk id="62" creationId="{FD07635E-ED95-D95E-4469-2445B80DCB3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8:56.348" v="44139"/>
          <ac:graphicFrameMkLst>
            <pc:docMk/>
            <pc:sldMk cId="168389892" sldId="281"/>
            <ac:graphicFrameMk id="64" creationId="{430E6631-2918-7204-979B-DF552564830E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8:56.360" v="44184"/>
          <ac:graphicFrameMkLst>
            <pc:docMk/>
            <pc:sldMk cId="168389892" sldId="281"/>
            <ac:graphicFrameMk id="66" creationId="{7F4ED86A-B052-556F-075C-10108AFB4940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8:17.937" v="43354"/>
          <ac:graphicFrameMkLst>
            <pc:docMk/>
            <pc:sldMk cId="168389892" sldId="281"/>
            <ac:graphicFrameMk id="67" creationId="{1403BA26-2D73-4366-E001-2024376B77CC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8:56.293" v="44098"/>
          <ac:graphicFrameMkLst>
            <pc:docMk/>
            <pc:sldMk cId="168389892" sldId="281"/>
            <ac:graphicFrameMk id="69" creationId="{6930B102-D891-2E89-83E2-2FAB081A40EB}"/>
          </ac:graphicFrameMkLst>
        </pc:graphicFrameChg>
        <pc:picChg chg="del mod ord">
          <ac:chgData name="Joelle Brehm" userId="a518f54c-6985-42c0-8041-2bb16a414839" providerId="ADAL" clId="{11F4A39F-1802-4DA4-AB6C-561BDA6399D2}" dt="2023-07-05T21:37:26.626" v="43074" actId="478"/>
          <ac:picMkLst>
            <pc:docMk/>
            <pc:sldMk cId="168389892" sldId="281"/>
            <ac:picMk id="3" creationId="{2E5E2C9F-031C-086C-BB9A-7EDB99C31DCD}"/>
          </ac:picMkLst>
        </pc:picChg>
        <pc:picChg chg="add mod ord">
          <ac:chgData name="Joelle Brehm" userId="a518f54c-6985-42c0-8041-2bb16a414839" providerId="ADAL" clId="{11F4A39F-1802-4DA4-AB6C-561BDA6399D2}" dt="2023-07-05T21:38:56.333" v="44106"/>
          <ac:picMkLst>
            <pc:docMk/>
            <pc:sldMk cId="168389892" sldId="281"/>
            <ac:picMk id="8" creationId="{537E4840-97AF-6CAA-A87A-0723911D9AF0}"/>
          </ac:picMkLst>
        </pc:picChg>
        <pc:picChg chg="mod ord">
          <ac:chgData name="Joelle Brehm" userId="a518f54c-6985-42c0-8041-2bb16a414839" providerId="ADAL" clId="{11F4A39F-1802-4DA4-AB6C-561BDA6399D2}" dt="2023-07-05T21:38:56.360" v="44193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11F4A39F-1802-4DA4-AB6C-561BDA6399D2}" dt="2023-07-05T21:38:56.360" v="44191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38:56.334" v="44110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39:53.693" v="46082"/>
        <pc:sldMkLst>
          <pc:docMk/>
          <pc:sldMk cId="3564961532" sldId="282"/>
        </pc:sldMkLst>
        <pc:spChg chg="mod ord">
          <ac:chgData name="Joelle Brehm" userId="a518f54c-6985-42c0-8041-2bb16a414839" providerId="ADAL" clId="{11F4A39F-1802-4DA4-AB6C-561BDA6399D2}" dt="2023-07-05T21:39:53.677" v="46076"/>
          <ac:spMkLst>
            <pc:docMk/>
            <pc:sldMk cId="3564961532" sldId="282"/>
            <ac:spMk id="2" creationId="{D4513B5B-A8C4-4146-9B42-032BB78B09F2}"/>
          </ac:spMkLst>
        </pc:spChg>
        <pc:spChg chg="add del mod ord">
          <ac:chgData name="Joelle Brehm" userId="a518f54c-6985-42c0-8041-2bb16a414839" providerId="ADAL" clId="{11F4A39F-1802-4DA4-AB6C-561BDA6399D2}" dt="2023-07-05T21:39:34.298" v="44616" actId="478"/>
          <ac:spMkLst>
            <pc:docMk/>
            <pc:sldMk cId="3564961532" sldId="282"/>
            <ac:spMk id="3" creationId="{43C3ABCE-BC97-2E8A-5AEB-4A84AB280DAA}"/>
          </ac:spMkLst>
        </pc:spChg>
        <pc:spChg chg="mod ord">
          <ac:chgData name="Joelle Brehm" userId="a518f54c-6985-42c0-8041-2bb16a414839" providerId="ADAL" clId="{11F4A39F-1802-4DA4-AB6C-561BDA6399D2}" dt="2023-07-05T21:39:53.661" v="45986"/>
          <ac:spMkLst>
            <pc:docMk/>
            <pc:sldMk cId="3564961532" sldId="282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1F4A39F-1802-4DA4-AB6C-561BDA6399D2}" dt="2023-07-05T21:39:13.962" v="44500"/>
          <ac:spMkLst>
            <pc:docMk/>
            <pc:sldMk cId="3564961532" sldId="282"/>
            <ac:spMk id="8" creationId="{74AC15D0-5C7C-14B2-4ADF-2A9263D8C4D2}"/>
          </ac:spMkLst>
        </pc:spChg>
        <pc:spChg chg="mod">
          <ac:chgData name="Joelle Brehm" userId="a518f54c-6985-42c0-8041-2bb16a414839" providerId="ADAL" clId="{11F4A39F-1802-4DA4-AB6C-561BDA6399D2}" dt="2023-07-05T21:39:53.677" v="46046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11F4A39F-1802-4DA4-AB6C-561BDA6399D2}" dt="2023-07-05T21:39:53.661" v="45994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39:53.661" v="45993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39:53.661" v="45997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39:53.661" v="45991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39:53.661" v="45992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39:53.661" v="45996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39:53.661" v="45998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39:53.661" v="45995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39:53.661" v="46000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39:53.661" v="46001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39:53.661" v="45999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39:53.661" v="46002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39:53.661" v="46004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39:53.661" v="46009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39:53.661" v="46005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39:53.661" v="46008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39:53.661" v="46013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39:53.661" v="46011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39:53.661" v="46010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39:53.677" v="46015"/>
          <ac:spMkLst>
            <pc:docMk/>
            <pc:sldMk cId="3564961532" sldId="282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39:53.677" v="46036"/>
          <ac:spMkLst>
            <pc:docMk/>
            <pc:sldMk cId="3564961532" sldId="282"/>
            <ac:spMk id="31" creationId="{A6492FB9-8592-6D5F-05A0-3C55A9F0B290}"/>
          </ac:spMkLst>
        </pc:spChg>
        <pc:spChg chg="mod">
          <ac:chgData name="Joelle Brehm" userId="a518f54c-6985-42c0-8041-2bb16a414839" providerId="ADAL" clId="{11F4A39F-1802-4DA4-AB6C-561BDA6399D2}" dt="2023-07-05T21:39:53.677" v="46035"/>
          <ac:spMkLst>
            <pc:docMk/>
            <pc:sldMk cId="3564961532" sldId="282"/>
            <ac:spMk id="32" creationId="{C76CF01D-E5C9-5360-86BE-563950D79635}"/>
          </ac:spMkLst>
        </pc:spChg>
        <pc:spChg chg="mod">
          <ac:chgData name="Joelle Brehm" userId="a518f54c-6985-42c0-8041-2bb16a414839" providerId="ADAL" clId="{11F4A39F-1802-4DA4-AB6C-561BDA6399D2}" dt="2023-07-05T21:39:53.677" v="46028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11F4A39F-1802-4DA4-AB6C-561BDA6399D2}" dt="2023-07-05T21:39:53.677" v="46031"/>
          <ac:spMkLst>
            <pc:docMk/>
            <pc:sldMk cId="3564961532" sldId="282"/>
            <ac:spMk id="34" creationId="{AE868296-AA73-04E8-5729-F60A467F8321}"/>
          </ac:spMkLst>
        </pc:spChg>
        <pc:spChg chg="mod">
          <ac:chgData name="Joelle Brehm" userId="a518f54c-6985-42c0-8041-2bb16a414839" providerId="ADAL" clId="{11F4A39F-1802-4DA4-AB6C-561BDA6399D2}" dt="2023-07-05T21:39:53.677" v="46037"/>
          <ac:spMkLst>
            <pc:docMk/>
            <pc:sldMk cId="3564961532" sldId="282"/>
            <ac:spMk id="35" creationId="{08798804-7117-7252-16D9-FFE107CEB4CE}"/>
          </ac:spMkLst>
        </pc:spChg>
        <pc:spChg chg="mod">
          <ac:chgData name="Joelle Brehm" userId="a518f54c-6985-42c0-8041-2bb16a414839" providerId="ADAL" clId="{11F4A39F-1802-4DA4-AB6C-561BDA6399D2}" dt="2023-07-05T21:39:53.677" v="46039"/>
          <ac:spMkLst>
            <pc:docMk/>
            <pc:sldMk cId="3564961532" sldId="282"/>
            <ac:spMk id="36" creationId="{D6260AD9-4FAC-BBE1-577F-7BE5C67AAFB3}"/>
          </ac:spMkLst>
        </pc:spChg>
        <pc:spChg chg="mod ord">
          <ac:chgData name="Joelle Brehm" userId="a518f54c-6985-42c0-8041-2bb16a414839" providerId="ADAL" clId="{11F4A39F-1802-4DA4-AB6C-561BDA6399D2}" dt="2023-07-05T21:39:53.661" v="46007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11F4A39F-1802-4DA4-AB6C-561BDA6399D2}" dt="2023-07-05T21:39:53.677" v="46038"/>
          <ac:spMkLst>
            <pc:docMk/>
            <pc:sldMk cId="3564961532" sldId="282"/>
            <ac:spMk id="38" creationId="{1026F8B0-CCCC-40FF-9D5D-1CD95ABD906A}"/>
          </ac:spMkLst>
        </pc:spChg>
        <pc:spChg chg="mod">
          <ac:chgData name="Joelle Brehm" userId="a518f54c-6985-42c0-8041-2bb16a414839" providerId="ADAL" clId="{11F4A39F-1802-4DA4-AB6C-561BDA6399D2}" dt="2023-07-05T21:39:53.677" v="46040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11F4A39F-1802-4DA4-AB6C-561BDA6399D2}" dt="2023-07-05T21:39:53.677" v="46043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11F4A39F-1802-4DA4-AB6C-561BDA6399D2}" dt="2023-07-05T21:39:53.677" v="46042"/>
          <ac:spMkLst>
            <pc:docMk/>
            <pc:sldMk cId="3564961532" sldId="282"/>
            <ac:spMk id="42" creationId="{029DF0F0-1819-B6C9-E910-A68F2546536E}"/>
          </ac:spMkLst>
        </pc:spChg>
        <pc:spChg chg="mod">
          <ac:chgData name="Joelle Brehm" userId="a518f54c-6985-42c0-8041-2bb16a414839" providerId="ADAL" clId="{11F4A39F-1802-4DA4-AB6C-561BDA6399D2}" dt="2023-07-05T21:39:53.677" v="46041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11F4A39F-1802-4DA4-AB6C-561BDA6399D2}" dt="2023-07-05T21:39:53.677" v="46045"/>
          <ac:spMkLst>
            <pc:docMk/>
            <pc:sldMk cId="3564961532" sldId="282"/>
            <ac:spMk id="44" creationId="{1F6C7A4E-3741-C604-E97F-BC7B1D2FF004}"/>
          </ac:spMkLst>
        </pc:spChg>
        <pc:spChg chg="mod">
          <ac:chgData name="Joelle Brehm" userId="a518f54c-6985-42c0-8041-2bb16a414839" providerId="ADAL" clId="{11F4A39F-1802-4DA4-AB6C-561BDA6399D2}" dt="2023-07-05T21:39:53.677" v="46044"/>
          <ac:spMkLst>
            <pc:docMk/>
            <pc:sldMk cId="3564961532" sldId="282"/>
            <ac:spMk id="45" creationId="{13402A60-D873-7DF2-943A-0976851061CD}"/>
          </ac:spMkLst>
        </pc:spChg>
        <pc:spChg chg="mod">
          <ac:chgData name="Joelle Brehm" userId="a518f54c-6985-42c0-8041-2bb16a414839" providerId="ADAL" clId="{11F4A39F-1802-4DA4-AB6C-561BDA6399D2}" dt="2023-07-05T21:39:53.677" v="46019"/>
          <ac:spMkLst>
            <pc:docMk/>
            <pc:sldMk cId="3564961532" sldId="282"/>
            <ac:spMk id="47" creationId="{7CAA3B95-4C78-4122-BECA-B5FB0F3F3764}"/>
          </ac:spMkLst>
        </pc:spChg>
        <pc:spChg chg="add mod replST">
          <ac:chgData name="Joelle Brehm" userId="a518f54c-6985-42c0-8041-2bb16a414839" providerId="ADAL" clId="{11F4A39F-1802-4DA4-AB6C-561BDA6399D2}" dt="2023-07-05T21:39:53.677" v="46050"/>
          <ac:spMkLst>
            <pc:docMk/>
            <pc:sldMk cId="3564961532" sldId="282"/>
            <ac:spMk id="48" creationId="{09826AD1-7BA3-F5B7-5AF2-917276777A15}"/>
          </ac:spMkLst>
        </pc:spChg>
        <pc:spChg chg="add mod replST">
          <ac:chgData name="Joelle Brehm" userId="a518f54c-6985-42c0-8041-2bb16a414839" providerId="ADAL" clId="{11F4A39F-1802-4DA4-AB6C-561BDA6399D2}" dt="2023-07-05T21:39:53.677" v="46051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11F4A39F-1802-4DA4-AB6C-561BDA6399D2}" dt="2023-07-05T21:39:53.677" v="46047"/>
          <ac:spMkLst>
            <pc:docMk/>
            <pc:sldMk cId="3564961532" sldId="282"/>
            <ac:spMk id="50" creationId="{3DE8EAFC-BBA1-9B18-6EFA-0D04A3B96CC1}"/>
          </ac:spMkLst>
        </pc:spChg>
        <pc:spChg chg="add del mod modVis">
          <ac:chgData name="Joelle Brehm" userId="a518f54c-6985-42c0-8041-2bb16a414839" providerId="ADAL" clId="{11F4A39F-1802-4DA4-AB6C-561BDA6399D2}" dt="2023-07-05T21:39:39.562" v="45052"/>
          <ac:spMkLst>
            <pc:docMk/>
            <pc:sldMk cId="3564961532" sldId="282"/>
            <ac:spMk id="51" creationId="{D12A73EE-ACAA-CCBC-C127-25402D83E791}"/>
          </ac:spMkLst>
        </pc:spChg>
        <pc:spChg chg="mod">
          <ac:chgData name="Joelle Brehm" userId="a518f54c-6985-42c0-8041-2bb16a414839" providerId="ADAL" clId="{11F4A39F-1802-4DA4-AB6C-561BDA6399D2}" dt="2023-07-05T21:39:53.677" v="46034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11F4A39F-1802-4DA4-AB6C-561BDA6399D2}" dt="2023-07-05T21:39:53.677" v="46048"/>
          <ac:spMkLst>
            <pc:docMk/>
            <pc:sldMk cId="3564961532" sldId="282"/>
            <ac:spMk id="53" creationId="{38705BBC-1969-2802-06B0-A9451DCAD493}"/>
          </ac:spMkLst>
        </pc:spChg>
        <pc:spChg chg="add del mod modVis">
          <ac:chgData name="Joelle Brehm" userId="a518f54c-6985-42c0-8041-2bb16a414839" providerId="ADAL" clId="{11F4A39F-1802-4DA4-AB6C-561BDA6399D2}" dt="2023-07-05T21:39:41.335" v="45295"/>
          <ac:spMkLst>
            <pc:docMk/>
            <pc:sldMk cId="3564961532" sldId="282"/>
            <ac:spMk id="55" creationId="{CEE094A9-704D-8627-4597-16F90BD9AE87}"/>
          </ac:spMkLst>
        </pc:spChg>
        <pc:spChg chg="mod">
          <ac:chgData name="Joelle Brehm" userId="a518f54c-6985-42c0-8041-2bb16a414839" providerId="ADAL" clId="{11F4A39F-1802-4DA4-AB6C-561BDA6399D2}" dt="2023-07-05T21:39:53.677" v="46030"/>
          <ac:spMkLst>
            <pc:docMk/>
            <pc:sldMk cId="3564961532" sldId="282"/>
            <ac:spMk id="56" creationId="{524D0E2B-EC88-5451-10B4-9BAED81D2D7E}"/>
          </ac:spMkLst>
        </pc:spChg>
        <pc:spChg chg="add del mod modVis">
          <ac:chgData name="Joelle Brehm" userId="a518f54c-6985-42c0-8041-2bb16a414839" providerId="ADAL" clId="{11F4A39F-1802-4DA4-AB6C-561BDA6399D2}" dt="2023-07-05T21:39:43.007" v="45572"/>
          <ac:spMkLst>
            <pc:docMk/>
            <pc:sldMk cId="3564961532" sldId="282"/>
            <ac:spMk id="58" creationId="{17B33A7E-CED0-EB53-50C2-45C8FCBE95B2}"/>
          </ac:spMkLst>
        </pc:spChg>
        <pc:spChg chg="add del mod modVis">
          <ac:chgData name="Joelle Brehm" userId="a518f54c-6985-42c0-8041-2bb16a414839" providerId="ADAL" clId="{11F4A39F-1802-4DA4-AB6C-561BDA6399D2}" dt="2023-07-05T21:39:46.555" v="45786"/>
          <ac:spMkLst>
            <pc:docMk/>
            <pc:sldMk cId="3564961532" sldId="282"/>
            <ac:spMk id="60" creationId="{07A72EE6-AEDB-B81A-AEFF-A260A980DC7E}"/>
          </ac:spMkLst>
        </pc:spChg>
        <pc:spChg chg="mod">
          <ac:chgData name="Joelle Brehm" userId="a518f54c-6985-42c0-8041-2bb16a414839" providerId="ADAL" clId="{11F4A39F-1802-4DA4-AB6C-561BDA6399D2}" dt="2023-07-05T21:39:53.677" v="46049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11F4A39F-1802-4DA4-AB6C-561BDA6399D2}" dt="2023-07-05T21:39:53.693" v="46080"/>
          <ac:spMkLst>
            <pc:docMk/>
            <pc:sldMk cId="3564961532" sldId="282"/>
            <ac:spMk id="63" creationId="{A21C0A52-B9F9-C559-A7EE-5BC9729D033D}"/>
          </ac:spMkLst>
        </pc:spChg>
        <pc:spChg chg="mod ord">
          <ac:chgData name="Joelle Brehm" userId="a518f54c-6985-42c0-8041-2bb16a414839" providerId="ADAL" clId="{11F4A39F-1802-4DA4-AB6C-561BDA6399D2}" dt="2023-07-05T21:39:53.677" v="46029"/>
          <ac:spMkLst>
            <pc:docMk/>
            <pc:sldMk cId="3564961532" sldId="282"/>
            <ac:spMk id="66" creationId="{C4A33F4F-7FD9-EA78-EDDC-D0E322FB3032}"/>
          </ac:spMkLst>
        </pc:spChg>
        <pc:spChg chg="mod">
          <ac:chgData name="Joelle Brehm" userId="a518f54c-6985-42c0-8041-2bb16a414839" providerId="ADAL" clId="{11F4A39F-1802-4DA4-AB6C-561BDA6399D2}" dt="2023-07-05T21:39:53.661" v="46012"/>
          <ac:spMkLst>
            <pc:docMk/>
            <pc:sldMk cId="3564961532" sldId="282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1:39:53.677" v="46053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39:53.677" v="46055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39:53.677" v="46074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11F4A39F-1802-4DA4-AB6C-561BDA6399D2}" dt="2023-07-05T21:39:53.677" v="46023"/>
          <ac:spMkLst>
            <pc:docMk/>
            <pc:sldMk cId="3564961532" sldId="282"/>
            <ac:spMk id="9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27"/>
          <ac:spMkLst>
            <pc:docMk/>
            <pc:sldMk cId="3564961532" sldId="282"/>
            <ac:spMk id="99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1:39:53.677" v="46057"/>
          <ac:spMkLst>
            <pc:docMk/>
            <pc:sldMk cId="3564961532" sldId="282"/>
            <ac:spMk id="100" creationId="{8B5667AB-609C-4AEA-83B3-24E395C8F420}"/>
          </ac:spMkLst>
        </pc:spChg>
        <pc:spChg chg="del mod">
          <ac:chgData name="Joelle Brehm" userId="a518f54c-6985-42c0-8041-2bb16a414839" providerId="ADAL" clId="{11F4A39F-1802-4DA4-AB6C-561BDA6399D2}" dt="2023-07-05T21:39:42.853" v="45300"/>
          <ac:spMkLst>
            <pc:docMk/>
            <pc:sldMk cId="3564961532" sldId="282"/>
            <ac:spMk id="101" creationId="{CA49844E-B86F-8C90-638C-8AF7950485A4}"/>
          </ac:spMkLst>
        </pc:spChg>
        <pc:spChg chg="mod">
          <ac:chgData name="Joelle Brehm" userId="a518f54c-6985-42c0-8041-2bb16a414839" providerId="ADAL" clId="{11F4A39F-1802-4DA4-AB6C-561BDA6399D2}" dt="2023-07-05T21:39:53.677" v="46018"/>
          <ac:spMkLst>
            <pc:docMk/>
            <pc:sldMk cId="3564961532" sldId="282"/>
            <ac:spMk id="10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20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21:39:53.677" v="46059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39:53.677" v="46061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39:53.677" v="46063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39:53.677" v="46033"/>
          <ac:spMkLst>
            <pc:docMk/>
            <pc:sldMk cId="3564961532" sldId="282"/>
            <ac:spMk id="112" creationId="{68F1D3ED-F4B0-C696-164B-09DBF31508C0}"/>
          </ac:spMkLst>
        </pc:spChg>
        <pc:spChg chg="del mod ord">
          <ac:chgData name="Joelle Brehm" userId="a518f54c-6985-42c0-8041-2bb16a414839" providerId="ADAL" clId="{11F4A39F-1802-4DA4-AB6C-561BDA6399D2}" dt="2023-07-05T21:39:42.853" v="45299"/>
          <ac:spMkLst>
            <pc:docMk/>
            <pc:sldMk cId="3564961532" sldId="282"/>
            <ac:spMk id="113" creationId="{65C41EB1-3BE2-44DE-AA6A-7B54A13E4D17}"/>
          </ac:spMkLst>
        </pc:spChg>
        <pc:spChg chg="mod">
          <ac:chgData name="Joelle Brehm" userId="a518f54c-6985-42c0-8041-2bb16a414839" providerId="ADAL" clId="{11F4A39F-1802-4DA4-AB6C-561BDA6399D2}" dt="2023-07-05T21:39:53.677" v="46032"/>
          <ac:spMkLst>
            <pc:docMk/>
            <pc:sldMk cId="3564961532" sldId="282"/>
            <ac:spMk id="115" creationId="{55632136-075D-51AA-E04E-F07B6A30E0C3}"/>
          </ac:spMkLst>
        </pc:spChg>
        <pc:spChg chg="mod">
          <ac:chgData name="Joelle Brehm" userId="a518f54c-6985-42c0-8041-2bb16a414839" providerId="ADAL" clId="{11F4A39F-1802-4DA4-AB6C-561BDA6399D2}" dt="2023-07-05T21:39:53.677" v="46022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24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25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26"/>
          <ac:spMkLst>
            <pc:docMk/>
            <pc:sldMk cId="3564961532" sldId="282"/>
            <ac:spMk id="12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21"/>
          <ac:spMkLst>
            <pc:docMk/>
            <pc:sldMk cId="3564961532" sldId="282"/>
            <ac:spMk id="12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68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67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70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39:53.677" v="46066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39:53.677" v="46069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1:39:53.693" v="46082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9:53.661" v="45990"/>
          <ac:graphicFrameMkLst>
            <pc:docMk/>
            <pc:sldMk cId="3564961532" sldId="282"/>
            <ac:graphicFrameMk id="9" creationId="{DD79649E-8D66-3250-F7A0-132891EA36C6}"/>
          </ac:graphicFrameMkLst>
        </pc:graphicFrameChg>
        <pc:graphicFrameChg chg="del">
          <ac:chgData name="Joelle Brehm" userId="a518f54c-6985-42c0-8041-2bb16a414839" providerId="ADAL" clId="{11F4A39F-1802-4DA4-AB6C-561BDA6399D2}" dt="2023-07-05T21:39:13.830" v="44387"/>
          <ac:graphicFrameMkLst>
            <pc:docMk/>
            <pc:sldMk cId="3564961532" sldId="282"/>
            <ac:graphicFrameMk id="39" creationId="{300F6D96-01BA-A0AF-942D-40425D02AAC9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9:41.267" v="45187"/>
          <ac:graphicFrameMkLst>
            <pc:docMk/>
            <pc:sldMk cId="3564961532" sldId="282"/>
            <ac:graphicFrameMk id="54" creationId="{49BCCA23-71C6-6958-9FC2-1FA694D15DAB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9:42.968" v="45467"/>
          <ac:graphicFrameMkLst>
            <pc:docMk/>
            <pc:sldMk cId="3564961532" sldId="282"/>
            <ac:graphicFrameMk id="57" creationId="{AF6F8CED-5382-C6A2-3EE8-8D94126B392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39:46.508" v="45682"/>
          <ac:graphicFrameMkLst>
            <pc:docMk/>
            <pc:sldMk cId="3564961532" sldId="282"/>
            <ac:graphicFrameMk id="59" creationId="{57E5FD12-C442-B44B-3CF8-17666A785607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9:53.677" v="46017"/>
          <ac:graphicFrameMkLst>
            <pc:docMk/>
            <pc:sldMk cId="3564961532" sldId="282"/>
            <ac:graphicFrameMk id="61" creationId="{F4CEF775-1F1B-734F-8DBF-086CEDD5F66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39:53.677" v="46065"/>
          <ac:graphicFrameMkLst>
            <pc:docMk/>
            <pc:sldMk cId="3564961532" sldId="282"/>
            <ac:graphicFrameMk id="64" creationId="{BC6FA8D2-EC11-A843-B667-E259D73DA205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9:39.514" v="44944"/>
          <ac:graphicFrameMkLst>
            <pc:docMk/>
            <pc:sldMk cId="3564961532" sldId="282"/>
            <ac:graphicFrameMk id="70" creationId="{20FA8593-0A53-5E1D-B91D-31DAA5D737BC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39:53.642" v="45976"/>
          <ac:graphicFrameMkLst>
            <pc:docMk/>
            <pc:sldMk cId="3564961532" sldId="282"/>
            <ac:graphicFrameMk id="71" creationId="{7732A26A-CE78-AA8B-41C1-FFA8381B45E0}"/>
          </ac:graphicFrameMkLst>
        </pc:graphicFrameChg>
        <pc:picChg chg="del mod ord">
          <ac:chgData name="Joelle Brehm" userId="a518f54c-6985-42c0-8041-2bb16a414839" providerId="ADAL" clId="{11F4A39F-1802-4DA4-AB6C-561BDA6399D2}" dt="2023-07-05T21:39:32.236" v="44615" actId="478"/>
          <ac:picMkLst>
            <pc:docMk/>
            <pc:sldMk cId="3564961532" sldId="282"/>
            <ac:picMk id="5" creationId="{90375140-30ED-3559-7C8A-4604672C97E2}"/>
          </ac:picMkLst>
        </pc:picChg>
        <pc:picChg chg="add mod ord">
          <ac:chgData name="Joelle Brehm" userId="a518f54c-6985-42c0-8041-2bb16a414839" providerId="ADAL" clId="{11F4A39F-1802-4DA4-AB6C-561BDA6399D2}" dt="2023-07-05T21:39:53.661" v="45984"/>
          <ac:picMkLst>
            <pc:docMk/>
            <pc:sldMk cId="3564961532" sldId="282"/>
            <ac:picMk id="46" creationId="{97A3E199-CFC7-BAF7-109C-28589D87892B}"/>
          </ac:picMkLst>
        </pc:picChg>
        <pc:picChg chg="mod ord">
          <ac:chgData name="Joelle Brehm" userId="a518f54c-6985-42c0-8041-2bb16a414839" providerId="ADAL" clId="{11F4A39F-1802-4DA4-AB6C-561BDA6399D2}" dt="2023-07-05T21:39:53.677" v="46072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39:53.661" v="45988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40:48.959" v="47640"/>
        <pc:sldMkLst>
          <pc:docMk/>
          <pc:sldMk cId="2958919186" sldId="284"/>
        </pc:sldMkLst>
        <pc:spChg chg="mod ord">
          <ac:chgData name="Joelle Brehm" userId="a518f54c-6985-42c0-8041-2bb16a414839" providerId="ADAL" clId="{11F4A39F-1802-4DA4-AB6C-561BDA6399D2}" dt="2023-07-05T21:40:48.943" v="47634"/>
          <ac:spMkLst>
            <pc:docMk/>
            <pc:sldMk cId="2958919186" sldId="284"/>
            <ac:spMk id="2" creationId="{E0BBFF4A-7EEF-43CB-94FA-0BDC45C7239C}"/>
          </ac:spMkLst>
        </pc:spChg>
        <pc:spChg chg="add del mod ord">
          <ac:chgData name="Joelle Brehm" userId="a518f54c-6985-42c0-8041-2bb16a414839" providerId="ADAL" clId="{11F4A39F-1802-4DA4-AB6C-561BDA6399D2}" dt="2023-07-05T21:40:29.761" v="46473" actId="478"/>
          <ac:spMkLst>
            <pc:docMk/>
            <pc:sldMk cId="2958919186" sldId="284"/>
            <ac:spMk id="3" creationId="{21CAA8E6-E6F4-EA96-D1E8-03365F0CEC71}"/>
          </ac:spMkLst>
        </pc:spChg>
        <pc:spChg chg="add del mod modVis">
          <ac:chgData name="Joelle Brehm" userId="a518f54c-6985-42c0-8041-2bb16a414839" providerId="ADAL" clId="{11F4A39F-1802-4DA4-AB6C-561BDA6399D2}" dt="2023-07-05T21:40:13.184" v="46364"/>
          <ac:spMkLst>
            <pc:docMk/>
            <pc:sldMk cId="2958919186" sldId="284"/>
            <ac:spMk id="5" creationId="{062FF898-7C2F-1CEC-8C21-2B0C1242A381}"/>
          </ac:spMkLst>
        </pc:spChg>
        <pc:spChg chg="mod ord">
          <ac:chgData name="Joelle Brehm" userId="a518f54c-6985-42c0-8041-2bb16a414839" providerId="ADAL" clId="{11F4A39F-1802-4DA4-AB6C-561BDA6399D2}" dt="2023-07-05T21:40:48.900" v="47550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1:40:48.926" v="47592"/>
          <ac:spMkLst>
            <pc:docMk/>
            <pc:sldMk cId="2958919186" sldId="284"/>
            <ac:spMk id="9" creationId="{581018D9-D474-E6D8-4FB0-2F2B587E2BA8}"/>
          </ac:spMkLst>
        </pc:spChg>
        <pc:spChg chg="mod">
          <ac:chgData name="Joelle Brehm" userId="a518f54c-6985-42c0-8041-2bb16a414839" providerId="ADAL" clId="{11F4A39F-1802-4DA4-AB6C-561BDA6399D2}" dt="2023-07-05T21:40:48.900" v="47556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40:48.900" v="47560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40:48.900" v="47558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40:48.900" v="47555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40:48.900" v="47557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40:48.900" v="47561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40:48.900" v="47559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40:48.900" v="47562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40:48.900" v="47563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40:48.900" v="47564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40:48.915" v="47565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40:48.915" v="47566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40:48.915" v="47568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40:48.915" v="47569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40:48.915" v="47570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40:48.915" v="47571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40:48.920" v="47574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40:48.920" v="47575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40:48.920" v="47577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40:48.920" v="47579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40:48.926" v="47600"/>
          <ac:spMkLst>
            <pc:docMk/>
            <pc:sldMk cId="2958919186" sldId="284"/>
            <ac:spMk id="31" creationId="{125088B1-BC05-E61C-E778-A5953B0A5CC9}"/>
          </ac:spMkLst>
        </pc:spChg>
        <pc:spChg chg="mod">
          <ac:chgData name="Joelle Brehm" userId="a518f54c-6985-42c0-8041-2bb16a414839" providerId="ADAL" clId="{11F4A39F-1802-4DA4-AB6C-561BDA6399D2}" dt="2023-07-05T21:40:48.926" v="47591"/>
          <ac:spMkLst>
            <pc:docMk/>
            <pc:sldMk cId="2958919186" sldId="284"/>
            <ac:spMk id="32" creationId="{7DC518E0-B6F8-2016-02E9-5BDCE98B8BD2}"/>
          </ac:spMkLst>
        </pc:spChg>
        <pc:spChg chg="mod">
          <ac:chgData name="Joelle Brehm" userId="a518f54c-6985-42c0-8041-2bb16a414839" providerId="ADAL" clId="{11F4A39F-1802-4DA4-AB6C-561BDA6399D2}" dt="2023-07-05T21:40:48.926" v="47599"/>
          <ac:spMkLst>
            <pc:docMk/>
            <pc:sldMk cId="2958919186" sldId="284"/>
            <ac:spMk id="33" creationId="{4B94C134-301E-FFE0-B344-351A0F3A058C}"/>
          </ac:spMkLst>
        </pc:spChg>
        <pc:spChg chg="mod">
          <ac:chgData name="Joelle Brehm" userId="a518f54c-6985-42c0-8041-2bb16a414839" providerId="ADAL" clId="{11F4A39F-1802-4DA4-AB6C-561BDA6399D2}" dt="2023-07-05T21:40:48.926" v="47586"/>
          <ac:spMkLst>
            <pc:docMk/>
            <pc:sldMk cId="2958919186" sldId="284"/>
            <ac:spMk id="34" creationId="{1D083AF9-5BB6-268F-E100-556C500563FF}"/>
          </ac:spMkLst>
        </pc:spChg>
        <pc:spChg chg="mod">
          <ac:chgData name="Joelle Brehm" userId="a518f54c-6985-42c0-8041-2bb16a414839" providerId="ADAL" clId="{11F4A39F-1802-4DA4-AB6C-561BDA6399D2}" dt="2023-07-05T21:40:48.926" v="47588"/>
          <ac:spMkLst>
            <pc:docMk/>
            <pc:sldMk cId="2958919186" sldId="284"/>
            <ac:spMk id="35" creationId="{CCB6D4E8-4FEE-67A7-4C47-E83C2C523E98}"/>
          </ac:spMkLst>
        </pc:spChg>
        <pc:spChg chg="mod">
          <ac:chgData name="Joelle Brehm" userId="a518f54c-6985-42c0-8041-2bb16a414839" providerId="ADAL" clId="{11F4A39F-1802-4DA4-AB6C-561BDA6399D2}" dt="2023-07-05T21:40:48.926" v="47593"/>
          <ac:spMkLst>
            <pc:docMk/>
            <pc:sldMk cId="2958919186" sldId="284"/>
            <ac:spMk id="36" creationId="{2B31A95E-66FE-6A51-6096-E25DEE4F6185}"/>
          </ac:spMkLst>
        </pc:spChg>
        <pc:spChg chg="mod ord">
          <ac:chgData name="Joelle Brehm" userId="a518f54c-6985-42c0-8041-2bb16a414839" providerId="ADAL" clId="{11F4A39F-1802-4DA4-AB6C-561BDA6399D2}" dt="2023-07-05T21:40:48.920" v="47573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11F4A39F-1802-4DA4-AB6C-561BDA6399D2}" dt="2023-07-05T21:40:48.926" v="47596"/>
          <ac:spMkLst>
            <pc:docMk/>
            <pc:sldMk cId="2958919186" sldId="284"/>
            <ac:spMk id="38" creationId="{64FE4593-24F9-360D-B61A-345C6A72C704}"/>
          </ac:spMkLst>
        </pc:spChg>
        <pc:spChg chg="mod">
          <ac:chgData name="Joelle Brehm" userId="a518f54c-6985-42c0-8041-2bb16a414839" providerId="ADAL" clId="{11F4A39F-1802-4DA4-AB6C-561BDA6399D2}" dt="2023-07-05T21:40:48.926" v="47590"/>
          <ac:spMkLst>
            <pc:docMk/>
            <pc:sldMk cId="2958919186" sldId="284"/>
            <ac:spMk id="39" creationId="{F91A3A97-9514-6870-9E95-5ED2A350A37A}"/>
          </ac:spMkLst>
        </pc:spChg>
        <pc:spChg chg="mod">
          <ac:chgData name="Joelle Brehm" userId="a518f54c-6985-42c0-8041-2bb16a414839" providerId="ADAL" clId="{11F4A39F-1802-4DA4-AB6C-561BDA6399D2}" dt="2023-07-05T21:40:48.926" v="47603"/>
          <ac:spMkLst>
            <pc:docMk/>
            <pc:sldMk cId="2958919186" sldId="284"/>
            <ac:spMk id="40" creationId="{65B69A5C-0F9E-A4F4-3815-34C5AD49C7B7}"/>
          </ac:spMkLst>
        </pc:spChg>
        <pc:spChg chg="mod ord">
          <ac:chgData name="Joelle Brehm" userId="a518f54c-6985-42c0-8041-2bb16a414839" providerId="ADAL" clId="{11F4A39F-1802-4DA4-AB6C-561BDA6399D2}" dt="2023-07-05T21:40:48.926" v="47601"/>
          <ac:spMkLst>
            <pc:docMk/>
            <pc:sldMk cId="2958919186" sldId="284"/>
            <ac:spMk id="41" creationId="{6F6FCB65-B77A-CEE3-3C55-1C7EB0F7E454}"/>
          </ac:spMkLst>
        </pc:spChg>
        <pc:spChg chg="add mod replST">
          <ac:chgData name="Joelle Brehm" userId="a518f54c-6985-42c0-8041-2bb16a414839" providerId="ADAL" clId="{11F4A39F-1802-4DA4-AB6C-561BDA6399D2}" dt="2023-07-05T21:40:48.926" v="47602"/>
          <ac:spMkLst>
            <pc:docMk/>
            <pc:sldMk cId="2958919186" sldId="284"/>
            <ac:spMk id="42" creationId="{026EDF48-DE18-A716-70D8-5353E3BD0BF3}"/>
          </ac:spMkLst>
        </pc:spChg>
        <pc:spChg chg="mod">
          <ac:chgData name="Joelle Brehm" userId="a518f54c-6985-42c0-8041-2bb16a414839" providerId="ADAL" clId="{11F4A39F-1802-4DA4-AB6C-561BDA6399D2}" dt="2023-07-05T21:40:48.926" v="47595"/>
          <ac:spMkLst>
            <pc:docMk/>
            <pc:sldMk cId="2958919186" sldId="284"/>
            <ac:spMk id="43" creationId="{37188F03-F6CA-EE9D-F6C7-47E8CCD42E86}"/>
          </ac:spMkLst>
        </pc:spChg>
        <pc:spChg chg="mod">
          <ac:chgData name="Joelle Brehm" userId="a518f54c-6985-42c0-8041-2bb16a414839" providerId="ADAL" clId="{11F4A39F-1802-4DA4-AB6C-561BDA6399D2}" dt="2023-07-05T21:40:48.920" v="47585"/>
          <ac:spMkLst>
            <pc:docMk/>
            <pc:sldMk cId="2958919186" sldId="284"/>
            <ac:spMk id="4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0:48.926" v="47598"/>
          <ac:spMkLst>
            <pc:docMk/>
            <pc:sldMk cId="2958919186" sldId="284"/>
            <ac:spMk id="45" creationId="{BA6D2150-ACED-DB3B-247D-B1C7D75594BC}"/>
          </ac:spMkLst>
        </pc:spChg>
        <pc:spChg chg="mod">
          <ac:chgData name="Joelle Brehm" userId="a518f54c-6985-42c0-8041-2bb16a414839" providerId="ADAL" clId="{11F4A39F-1802-4DA4-AB6C-561BDA6399D2}" dt="2023-07-05T21:40:48.926" v="47597"/>
          <ac:spMkLst>
            <pc:docMk/>
            <pc:sldMk cId="2958919186" sldId="284"/>
            <ac:spMk id="46" creationId="{57979B6E-92A7-E2CD-D125-48728C290A15}"/>
          </ac:spMkLst>
        </pc:spChg>
        <pc:spChg chg="add mod replST">
          <ac:chgData name="Joelle Brehm" userId="a518f54c-6985-42c0-8041-2bb16a414839" providerId="ADAL" clId="{11F4A39F-1802-4DA4-AB6C-561BDA6399D2}" dt="2023-07-05T21:40:48.926" v="47609"/>
          <ac:spMkLst>
            <pc:docMk/>
            <pc:sldMk cId="2958919186" sldId="284"/>
            <ac:spMk id="47" creationId="{F1368363-5333-B95D-BCFC-162A180EC1E3}"/>
          </ac:spMkLst>
        </pc:spChg>
        <pc:spChg chg="mod">
          <ac:chgData name="Joelle Brehm" userId="a518f54c-6985-42c0-8041-2bb16a414839" providerId="ADAL" clId="{11F4A39F-1802-4DA4-AB6C-561BDA6399D2}" dt="2023-07-05T21:40:48.920" v="47582"/>
          <ac:spMkLst>
            <pc:docMk/>
            <pc:sldMk cId="2958919186" sldId="284"/>
            <ac:spMk id="48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0:48.920" v="47583"/>
          <ac:spMkLst>
            <pc:docMk/>
            <pc:sldMk cId="2958919186" sldId="284"/>
            <ac:spMk id="49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1:40:35.575" v="46878"/>
          <ac:spMkLst>
            <pc:docMk/>
            <pc:sldMk cId="2958919186" sldId="284"/>
            <ac:spMk id="50" creationId="{26434914-CCD9-9D9F-6197-530806B81E31}"/>
          </ac:spMkLst>
        </pc:spChg>
        <pc:spChg chg="mod">
          <ac:chgData name="Joelle Brehm" userId="a518f54c-6985-42c0-8041-2bb16a414839" providerId="ADAL" clId="{11F4A39F-1802-4DA4-AB6C-561BDA6399D2}" dt="2023-07-05T21:40:48.926" v="47605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11F4A39F-1802-4DA4-AB6C-561BDA6399D2}" dt="2023-07-05T21:40:48.926" v="47604"/>
          <ac:spMkLst>
            <pc:docMk/>
            <pc:sldMk cId="2958919186" sldId="284"/>
            <ac:spMk id="53" creationId="{7BFBA14E-9C06-1228-89A6-C1CD785143C9}"/>
          </ac:spMkLst>
        </pc:spChg>
        <pc:spChg chg="add del mod modVis">
          <ac:chgData name="Joelle Brehm" userId="a518f54c-6985-42c0-8041-2bb16a414839" providerId="ADAL" clId="{11F4A39F-1802-4DA4-AB6C-561BDA6399D2}" dt="2023-07-05T21:40:37.062" v="47102"/>
          <ac:spMkLst>
            <pc:docMk/>
            <pc:sldMk cId="2958919186" sldId="284"/>
            <ac:spMk id="56" creationId="{BFB716CE-6208-DEE1-554D-311A3604176B}"/>
          </ac:spMkLst>
        </pc:spChg>
        <pc:spChg chg="mod">
          <ac:chgData name="Joelle Brehm" userId="a518f54c-6985-42c0-8041-2bb16a414839" providerId="ADAL" clId="{11F4A39F-1802-4DA4-AB6C-561BDA6399D2}" dt="2023-07-05T21:40:48.926" v="47594"/>
          <ac:spMkLst>
            <pc:docMk/>
            <pc:sldMk cId="2958919186" sldId="284"/>
            <ac:spMk id="58" creationId="{1FE8095F-70AA-80E7-5AB4-793D17F07A13}"/>
          </ac:spMkLst>
        </pc:spChg>
        <pc:spChg chg="mod">
          <ac:chgData name="Joelle Brehm" userId="a518f54c-6985-42c0-8041-2bb16a414839" providerId="ADAL" clId="{11F4A39F-1802-4DA4-AB6C-561BDA6399D2}" dt="2023-07-05T21:40:48.926" v="47607"/>
          <ac:spMkLst>
            <pc:docMk/>
            <pc:sldMk cId="2958919186" sldId="284"/>
            <ac:spMk id="60" creationId="{8759D603-88B6-A9D6-C425-741AE5AD2811}"/>
          </ac:spMkLst>
        </pc:spChg>
        <pc:spChg chg="mod">
          <ac:chgData name="Joelle Brehm" userId="a518f54c-6985-42c0-8041-2bb16a414839" providerId="ADAL" clId="{11F4A39F-1802-4DA4-AB6C-561BDA6399D2}" dt="2023-07-05T21:40:48.926" v="47606"/>
          <ac:spMkLst>
            <pc:docMk/>
            <pc:sldMk cId="2958919186" sldId="284"/>
            <ac:spMk id="61" creationId="{C2E8F2D5-0EFE-8256-D3A3-FD39CD48ED50}"/>
          </ac:spMkLst>
        </pc:spChg>
        <pc:spChg chg="add del mod modVis">
          <ac:chgData name="Joelle Brehm" userId="a518f54c-6985-42c0-8041-2bb16a414839" providerId="ADAL" clId="{11F4A39F-1802-4DA4-AB6C-561BDA6399D2}" dt="2023-07-05T21:40:38.639" v="47362"/>
          <ac:spMkLst>
            <pc:docMk/>
            <pc:sldMk cId="2958919186" sldId="284"/>
            <ac:spMk id="62" creationId="{79B00856-F8D8-F8CD-0B2D-C6B93877B14A}"/>
          </ac:spMkLst>
        </pc:spChg>
        <pc:spChg chg="mod">
          <ac:chgData name="Joelle Brehm" userId="a518f54c-6985-42c0-8041-2bb16a414839" providerId="ADAL" clId="{11F4A39F-1802-4DA4-AB6C-561BDA6399D2}" dt="2023-07-05T21:40:48.926" v="47608"/>
          <ac:spMkLst>
            <pc:docMk/>
            <pc:sldMk cId="2958919186" sldId="284"/>
            <ac:spMk id="64" creationId="{B1366E3F-F395-5537-B661-2D2E6B4B920E}"/>
          </ac:spMkLst>
        </pc:spChg>
        <pc:spChg chg="add del mod modVis">
          <ac:chgData name="Joelle Brehm" userId="a518f54c-6985-42c0-8041-2bb16a414839" providerId="ADAL" clId="{11F4A39F-1802-4DA4-AB6C-561BDA6399D2}" dt="2023-07-05T21:40:48.943" v="47638"/>
          <ac:spMkLst>
            <pc:docMk/>
            <pc:sldMk cId="2958919186" sldId="284"/>
            <ac:spMk id="65" creationId="{5DB85E9D-5C86-D931-04C1-D150DEF3FBDB}"/>
          </ac:spMkLst>
        </pc:spChg>
        <pc:spChg chg="mod">
          <ac:chgData name="Joelle Brehm" userId="a518f54c-6985-42c0-8041-2bb16a414839" providerId="ADAL" clId="{11F4A39F-1802-4DA4-AB6C-561BDA6399D2}" dt="2023-07-05T21:40:48.920" v="47576"/>
          <ac:spMkLst>
            <pc:docMk/>
            <pc:sldMk cId="2958919186" sldId="284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1:40:48.926" v="47611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40:48.926" v="47613"/>
          <ac:spMkLst>
            <pc:docMk/>
            <pc:sldMk cId="2958919186" sldId="284"/>
            <ac:spMk id="79" creationId="{F1476AC4-694B-4D83-BFD8-8DCAA4BB1923}"/>
          </ac:spMkLst>
        </pc:spChg>
        <pc:spChg chg="del mod">
          <ac:chgData name="Joelle Brehm" userId="a518f54c-6985-42c0-8041-2bb16a414839" providerId="ADAL" clId="{11F4A39F-1802-4DA4-AB6C-561BDA6399D2}" dt="2023-07-05T21:40:38.503" v="47106"/>
          <ac:spMkLst>
            <pc:docMk/>
            <pc:sldMk cId="2958919186" sldId="284"/>
            <ac:spMk id="86" creationId="{57AED195-9646-E4FC-A746-94013BA36DA2}"/>
          </ac:spMkLst>
        </pc:spChg>
        <pc:spChg chg="del mod">
          <ac:chgData name="Joelle Brehm" userId="a518f54c-6985-42c0-8041-2bb16a414839" providerId="ADAL" clId="{11F4A39F-1802-4DA4-AB6C-561BDA6399D2}" dt="2023-07-05T21:40:38.503" v="47105"/>
          <ac:spMkLst>
            <pc:docMk/>
            <pc:sldMk cId="2958919186" sldId="284"/>
            <ac:spMk id="88" creationId="{5F98D601-14D7-936B-BE59-08CA04ED6681}"/>
          </ac:spMkLst>
        </pc:spChg>
        <pc:spChg chg="mod">
          <ac:chgData name="Joelle Brehm" userId="a518f54c-6985-42c0-8041-2bb16a414839" providerId="ADAL" clId="{11F4A39F-1802-4DA4-AB6C-561BDA6399D2}" dt="2023-07-05T21:40:48.926" v="47589"/>
          <ac:spMkLst>
            <pc:docMk/>
            <pc:sldMk cId="2958919186" sldId="284"/>
            <ac:spMk id="89" creationId="{6FE8F8C9-1796-37A4-4BF3-536F80614899}"/>
          </ac:spMkLst>
        </pc:spChg>
        <pc:spChg chg="mod ord">
          <ac:chgData name="Joelle Brehm" userId="a518f54c-6985-42c0-8041-2bb16a414839" providerId="ADAL" clId="{11F4A39F-1802-4DA4-AB6C-561BDA6399D2}" dt="2023-07-05T21:40:48.943" v="47632"/>
          <ac:spMkLst>
            <pc:docMk/>
            <pc:sldMk cId="2958919186" sldId="284"/>
            <ac:spMk id="91" creationId="{3415D765-4D00-4167-8446-C78684E6A375}"/>
          </ac:spMkLst>
        </pc:spChg>
        <pc:spChg chg="mod ord">
          <ac:chgData name="Joelle Brehm" userId="a518f54c-6985-42c0-8041-2bb16a414839" providerId="ADAL" clId="{11F4A39F-1802-4DA4-AB6C-561BDA6399D2}" dt="2023-07-05T21:40:48.926" v="47615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1:40:48.926" v="47617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40:48.926" v="47619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40:48.926" v="47621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40:48.926" v="47587"/>
          <ac:spMkLst>
            <pc:docMk/>
            <pc:sldMk cId="2958919186" sldId="284"/>
            <ac:spMk id="115" creationId="{CDC3C9AC-C6D8-BD1E-C18E-7E0760B6F0EA}"/>
          </ac:spMkLst>
        </pc:spChg>
        <pc:spChg chg="mod">
          <ac:chgData name="Joelle Brehm" userId="a518f54c-6985-42c0-8041-2bb16a414839" providerId="ADAL" clId="{11F4A39F-1802-4DA4-AB6C-561BDA6399D2}" dt="2023-07-05T21:40:48.926" v="47624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0:48.926" v="47625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0:48.926" v="47626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0:48.942" v="47627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40:48.943" v="47628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11F4A39F-1802-4DA4-AB6C-561BDA6399D2}" dt="2023-07-05T21:40:48.920" v="47584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11F4A39F-1802-4DA4-AB6C-561BDA6399D2}" dt="2023-07-05T21:40:48.959" v="47640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0:48.900" v="47554"/>
          <ac:graphicFrameMkLst>
            <pc:docMk/>
            <pc:sldMk cId="2958919186" sldId="284"/>
            <ac:graphicFrameMk id="8" creationId="{4EAB4B87-263F-F94F-F207-C9025946197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40:37.008" v="47001"/>
          <ac:graphicFrameMkLst>
            <pc:docMk/>
            <pc:sldMk cId="2958919186" sldId="284"/>
            <ac:graphicFrameMk id="51" creationId="{2063CAA0-F0A4-9255-F5D5-603DA6BEEAC6}"/>
          </ac:graphicFrameMkLst>
        </pc:graphicFrameChg>
        <pc:graphicFrameChg chg="del">
          <ac:chgData name="Joelle Brehm" userId="a518f54c-6985-42c0-8041-2bb16a414839" providerId="ADAL" clId="{11F4A39F-1802-4DA4-AB6C-561BDA6399D2}" dt="2023-07-05T21:40:13.130" v="46260"/>
          <ac:graphicFrameMkLst>
            <pc:docMk/>
            <pc:sldMk cId="2958919186" sldId="284"/>
            <ac:graphicFrameMk id="54" creationId="{4D333E7B-88A2-B350-2095-8A481BED0D34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40:48.867" v="47540"/>
          <ac:graphicFrameMkLst>
            <pc:docMk/>
            <pc:sldMk cId="2958919186" sldId="284"/>
            <ac:graphicFrameMk id="57" creationId="{FF676333-E381-2236-A32F-3B121B0E29A0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40:38.603" v="47264"/>
          <ac:graphicFrameMkLst>
            <pc:docMk/>
            <pc:sldMk cId="2958919186" sldId="284"/>
            <ac:graphicFrameMk id="59" creationId="{43AA8573-74C9-F80F-D158-7705AD203A3F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0:48.920" v="47581"/>
          <ac:graphicFrameMkLst>
            <pc:docMk/>
            <pc:sldMk cId="2958919186" sldId="284"/>
            <ac:graphicFrameMk id="63" creationId="{BFDFCBE0-3CCC-06BC-A74D-8CC58D08D713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0:48.926" v="47623"/>
          <ac:graphicFrameMkLst>
            <pc:docMk/>
            <pc:sldMk cId="2958919186" sldId="284"/>
            <ac:graphicFrameMk id="66" creationId="{EE761744-F2B8-4BF3-8BF6-F751AC99C09A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40:35.524" v="46777"/>
          <ac:graphicFrameMkLst>
            <pc:docMk/>
            <pc:sldMk cId="2958919186" sldId="284"/>
            <ac:graphicFrameMk id="68" creationId="{866321DD-32C7-5C77-F34D-8ECB85311EC6}"/>
          </ac:graphicFrameMkLst>
        </pc:graphicFrameChg>
        <pc:picChg chg="add mod ord">
          <ac:chgData name="Joelle Brehm" userId="a518f54c-6985-42c0-8041-2bb16a414839" providerId="ADAL" clId="{11F4A39F-1802-4DA4-AB6C-561BDA6399D2}" dt="2023-07-05T21:40:48.900" v="47548"/>
          <ac:picMkLst>
            <pc:docMk/>
            <pc:sldMk cId="2958919186" sldId="284"/>
            <ac:picMk id="10" creationId="{3C28DE20-2D78-946E-A840-603555FC1A9D}"/>
          </ac:picMkLst>
        </pc:picChg>
        <pc:picChg chg="del mod ord">
          <ac:chgData name="Joelle Brehm" userId="a518f54c-6985-42c0-8041-2bb16a414839" providerId="ADAL" clId="{11F4A39F-1802-4DA4-AB6C-561BDA6399D2}" dt="2023-07-05T21:40:28.274" v="46472" actId="478"/>
          <ac:picMkLst>
            <pc:docMk/>
            <pc:sldMk cId="2958919186" sldId="284"/>
            <ac:picMk id="55" creationId="{379D89DD-8BD1-31D2-DC0B-081009B93EBE}"/>
          </ac:picMkLst>
        </pc:picChg>
        <pc:picChg chg="mod ord">
          <ac:chgData name="Joelle Brehm" userId="a518f54c-6985-42c0-8041-2bb16a414839" providerId="ADAL" clId="{11F4A39F-1802-4DA4-AB6C-561BDA6399D2}" dt="2023-07-05T21:40:48.943" v="47630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40:48.900" v="47552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41:52.195" v="49171"/>
        <pc:sldMkLst>
          <pc:docMk/>
          <pc:sldMk cId="3959601197" sldId="285"/>
        </pc:sldMkLst>
        <pc:spChg chg="mod ord">
          <ac:chgData name="Joelle Brehm" userId="a518f54c-6985-42c0-8041-2bb16a414839" providerId="ADAL" clId="{11F4A39F-1802-4DA4-AB6C-561BDA6399D2}" dt="2023-07-05T21:41:52.179" v="49165"/>
          <ac:spMkLst>
            <pc:docMk/>
            <pc:sldMk cId="3959601197" sldId="285"/>
            <ac:spMk id="2" creationId="{834E3642-3BF8-4D50-9A2A-9ADF91017D8B}"/>
          </ac:spMkLst>
        </pc:spChg>
        <pc:spChg chg="add del mod ord">
          <ac:chgData name="Joelle Brehm" userId="a518f54c-6985-42c0-8041-2bb16a414839" providerId="ADAL" clId="{11F4A39F-1802-4DA4-AB6C-561BDA6399D2}" dt="2023-07-05T21:41:31.873" v="48012" actId="478"/>
          <ac:spMkLst>
            <pc:docMk/>
            <pc:sldMk cId="3959601197" sldId="285"/>
            <ac:spMk id="3" creationId="{B07B2BB2-632F-8C05-D0E2-85887F2DB937}"/>
          </ac:spMkLst>
        </pc:spChg>
        <pc:spChg chg="add del mod modVis">
          <ac:chgData name="Joelle Brehm" userId="a518f54c-6985-42c0-8041-2bb16a414839" providerId="ADAL" clId="{11F4A39F-1802-4DA4-AB6C-561BDA6399D2}" dt="2023-07-05T21:41:09.100" v="47908"/>
          <ac:spMkLst>
            <pc:docMk/>
            <pc:sldMk cId="3959601197" sldId="285"/>
            <ac:spMk id="5" creationId="{18838744-4CE8-42D6-984B-139603C73C52}"/>
          </ac:spMkLst>
        </pc:spChg>
        <pc:spChg chg="mod ord">
          <ac:chgData name="Joelle Brehm" userId="a518f54c-6985-42c0-8041-2bb16a414839" providerId="ADAL" clId="{11F4A39F-1802-4DA4-AB6C-561BDA6399D2}" dt="2023-07-05T21:41:52.164" v="49097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1:41:52.179" v="49129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11F4A39F-1802-4DA4-AB6C-561BDA6399D2}" dt="2023-07-05T21:41:52.164" v="49104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41:52.164" v="49103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41:52.164" v="49105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41:52.164" v="49106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41:52.164" v="49107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41:52.164" v="49108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41:52.164" v="49109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41:52.164" v="49110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41:52.164" v="49102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41:52.164" v="49111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41:52.164" v="49112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41:52.164" v="49113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41:52.164" v="49115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41:52.179" v="49120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41:52.164" v="49118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41:52.164" v="49119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41:52.179" v="49122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41:52.179" v="49121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41:52.179" v="49123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41:52.179" v="49126"/>
          <ac:spMkLst>
            <pc:docMk/>
            <pc:sldMk cId="3959601197" sldId="285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41:52.179" v="49133"/>
          <ac:spMkLst>
            <pc:docMk/>
            <pc:sldMk cId="3959601197" sldId="285"/>
            <ac:spMk id="31" creationId="{9D8A59E9-C471-9618-6B0F-F3E414CCD2A7}"/>
          </ac:spMkLst>
        </pc:spChg>
        <pc:spChg chg="mod">
          <ac:chgData name="Joelle Brehm" userId="a518f54c-6985-42c0-8041-2bb16a414839" providerId="ADAL" clId="{11F4A39F-1802-4DA4-AB6C-561BDA6399D2}" dt="2023-07-05T21:41:52.179" v="49138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11F4A39F-1802-4DA4-AB6C-561BDA6399D2}" dt="2023-07-05T21:41:52.179" v="49134"/>
          <ac:spMkLst>
            <pc:docMk/>
            <pc:sldMk cId="3959601197" sldId="285"/>
            <ac:spMk id="33" creationId="{C5132F62-12DF-25F1-3C35-C772E0E4C2D8}"/>
          </ac:spMkLst>
        </pc:spChg>
        <pc:spChg chg="mod">
          <ac:chgData name="Joelle Brehm" userId="a518f54c-6985-42c0-8041-2bb16a414839" providerId="ADAL" clId="{11F4A39F-1802-4DA4-AB6C-561BDA6399D2}" dt="2023-07-05T21:41:52.179" v="49136"/>
          <ac:spMkLst>
            <pc:docMk/>
            <pc:sldMk cId="3959601197" sldId="285"/>
            <ac:spMk id="34" creationId="{7296A792-C9A5-603D-0DFE-510144F74B20}"/>
          </ac:spMkLst>
        </pc:spChg>
        <pc:spChg chg="mod">
          <ac:chgData name="Joelle Brehm" userId="a518f54c-6985-42c0-8041-2bb16a414839" providerId="ADAL" clId="{11F4A39F-1802-4DA4-AB6C-561BDA6399D2}" dt="2023-07-05T21:41:52.179" v="49137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11F4A39F-1802-4DA4-AB6C-561BDA6399D2}" dt="2023-07-05T21:41:52.164" v="49117"/>
          <ac:spMkLst>
            <pc:docMk/>
            <pc:sldMk cId="3959601197" sldId="285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11F4A39F-1802-4DA4-AB6C-561BDA6399D2}" dt="2023-07-05T21:41:52.179" v="49135"/>
          <ac:spMkLst>
            <pc:docMk/>
            <pc:sldMk cId="3959601197" sldId="285"/>
            <ac:spMk id="39" creationId="{49E3BF94-A3A3-6D9E-A640-936C4D588482}"/>
          </ac:spMkLst>
        </pc:spChg>
        <pc:spChg chg="add del mod modVis">
          <ac:chgData name="Joelle Brehm" userId="a518f54c-6985-42c0-8041-2bb16a414839" providerId="ADAL" clId="{11F4A39F-1802-4DA4-AB6C-561BDA6399D2}" dt="2023-07-05T21:41:37.807" v="48604"/>
          <ac:spMkLst>
            <pc:docMk/>
            <pc:sldMk cId="3959601197" sldId="285"/>
            <ac:spMk id="40" creationId="{ED8BC428-AE66-BDBA-12E0-35C97C7736E7}"/>
          </ac:spMkLst>
        </pc:spChg>
        <pc:spChg chg="mod">
          <ac:chgData name="Joelle Brehm" userId="a518f54c-6985-42c0-8041-2bb16a414839" providerId="ADAL" clId="{11F4A39F-1802-4DA4-AB6C-561BDA6399D2}" dt="2023-07-05T21:41:52.179" v="49132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11F4A39F-1802-4DA4-AB6C-561BDA6399D2}" dt="2023-07-05T21:41:52.179" v="49139"/>
          <ac:spMkLst>
            <pc:docMk/>
            <pc:sldMk cId="3959601197" sldId="285"/>
            <ac:spMk id="43" creationId="{7A0654C5-E72A-A91E-A2D8-90D96122F7D7}"/>
          </ac:spMkLst>
        </pc:spChg>
        <pc:spChg chg="add del mod modVis">
          <ac:chgData name="Joelle Brehm" userId="a518f54c-6985-42c0-8041-2bb16a414839" providerId="ADAL" clId="{11F4A39F-1802-4DA4-AB6C-561BDA6399D2}" dt="2023-07-05T21:41:40.551" v="48764"/>
          <ac:spMkLst>
            <pc:docMk/>
            <pc:sldMk cId="3959601197" sldId="285"/>
            <ac:spMk id="44" creationId="{C0B478C9-AB75-757B-6CF1-DBD75E4E72D7}"/>
          </ac:spMkLst>
        </pc:spChg>
        <pc:spChg chg="mod">
          <ac:chgData name="Joelle Brehm" userId="a518f54c-6985-42c0-8041-2bb16a414839" providerId="ADAL" clId="{11F4A39F-1802-4DA4-AB6C-561BDA6399D2}" dt="2023-07-05T21:41:52.179" v="49130"/>
          <ac:spMkLst>
            <pc:docMk/>
            <pc:sldMk cId="3959601197" sldId="285"/>
            <ac:spMk id="45" creationId="{C0C2677E-B02A-A9FD-C32D-94A1D148E0A5}"/>
          </ac:spMkLst>
        </pc:spChg>
        <pc:spChg chg="mod">
          <ac:chgData name="Joelle Brehm" userId="a518f54c-6985-42c0-8041-2bb16a414839" providerId="ADAL" clId="{11F4A39F-1802-4DA4-AB6C-561BDA6399D2}" dt="2023-07-05T21:41:52.179" v="49140"/>
          <ac:spMkLst>
            <pc:docMk/>
            <pc:sldMk cId="3959601197" sldId="285"/>
            <ac:spMk id="47" creationId="{E68B1E78-8D9D-3E69-597C-1E05491CF1D5}"/>
          </ac:spMkLst>
        </pc:spChg>
        <pc:spChg chg="add del mod modVis">
          <ac:chgData name="Joelle Brehm" userId="a518f54c-6985-42c0-8041-2bb16a414839" providerId="ADAL" clId="{11F4A39F-1802-4DA4-AB6C-561BDA6399D2}" dt="2023-07-05T21:41:42.428" v="48964"/>
          <ac:spMkLst>
            <pc:docMk/>
            <pc:sldMk cId="3959601197" sldId="285"/>
            <ac:spMk id="49" creationId="{FB87728B-2828-679B-139A-FC2E649FA078}"/>
          </ac:spMkLst>
        </pc:spChg>
        <pc:spChg chg="add del mod modVis">
          <ac:chgData name="Joelle Brehm" userId="a518f54c-6985-42c0-8041-2bb16a414839" providerId="ADAL" clId="{11F4A39F-1802-4DA4-AB6C-561BDA6399D2}" dt="2023-07-05T21:41:52.179" v="49169"/>
          <ac:spMkLst>
            <pc:docMk/>
            <pc:sldMk cId="3959601197" sldId="285"/>
            <ac:spMk id="51" creationId="{AE757947-E820-D75A-E627-C6E9584A0007}"/>
          </ac:spMkLst>
        </pc:spChg>
        <pc:spChg chg="del mod">
          <ac:chgData name="Joelle Brehm" userId="a518f54c-6985-42c0-8041-2bb16a414839" providerId="ADAL" clId="{11F4A39F-1802-4DA4-AB6C-561BDA6399D2}" dt="2023-07-05T21:41:42.243" v="48767"/>
          <ac:spMkLst>
            <pc:docMk/>
            <pc:sldMk cId="3959601197" sldId="285"/>
            <ac:spMk id="65" creationId="{1502E1FD-2F2B-2E4B-A0D1-76C34AFFCCA4}"/>
          </ac:spMkLst>
        </pc:spChg>
        <pc:spChg chg="mod">
          <ac:chgData name="Joelle Brehm" userId="a518f54c-6985-42c0-8041-2bb16a414839" providerId="ADAL" clId="{11F4A39F-1802-4DA4-AB6C-561BDA6399D2}" dt="2023-07-05T21:41:52.179" v="49131"/>
          <ac:spMkLst>
            <pc:docMk/>
            <pc:sldMk cId="3959601197" sldId="285"/>
            <ac:spMk id="68" creationId="{DEFABF45-FA4F-8FCA-5A28-35602D22E667}"/>
          </ac:spMkLst>
        </pc:spChg>
        <pc:spChg chg="mod">
          <ac:chgData name="Joelle Brehm" userId="a518f54c-6985-42c0-8041-2bb16a414839" providerId="ADAL" clId="{11F4A39F-1802-4DA4-AB6C-561BDA6399D2}" dt="2023-07-05T21:41:52.179" v="49124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1:41:52.179" v="49142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41:52.179" v="49144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41:52.179" v="49163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11F4A39F-1802-4DA4-AB6C-561BDA6399D2}" dt="2023-07-05T21:41:52.179" v="49146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1:41:52.179" v="49148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41:52.179" v="49150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41:52.179" v="49152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41:52.179" v="49157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1:52.179" v="49156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1:52.179" v="49158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1:52.179" v="49159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41:52.179" v="49155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1:41:52.195" v="49171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1:52.164" v="49101"/>
          <ac:graphicFrameMkLst>
            <pc:docMk/>
            <pc:sldMk cId="3959601197" sldId="285"/>
            <ac:graphicFrameMk id="8" creationId="{B0DC1E5F-7034-BC65-5FDD-EBE48EAD2F40}"/>
          </ac:graphicFrameMkLst>
        </pc:graphicFrameChg>
        <pc:graphicFrameChg chg="del">
          <ac:chgData name="Joelle Brehm" userId="a518f54c-6985-42c0-8041-2bb16a414839" providerId="ADAL" clId="{11F4A39F-1802-4DA4-AB6C-561BDA6399D2}" dt="2023-07-05T21:41:09.054" v="47820"/>
          <ac:graphicFrameMkLst>
            <pc:docMk/>
            <pc:sldMk cId="3959601197" sldId="285"/>
            <ac:graphicFrameMk id="36" creationId="{025A8D86-95F1-EF1E-0DC7-1DBC5ABBB53E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41:40.482" v="48681"/>
          <ac:graphicFrameMkLst>
            <pc:docMk/>
            <pc:sldMk cId="3959601197" sldId="285"/>
            <ac:graphicFrameMk id="41" creationId="{8E362336-2FAE-F159-9C2A-B6674FCC7AE4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41:52.146" v="49087"/>
          <ac:graphicFrameMkLst>
            <pc:docMk/>
            <pc:sldMk cId="3959601197" sldId="285"/>
            <ac:graphicFrameMk id="46" creationId="{BE44EACC-84D5-B699-FF50-BBDA56728BED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41:42.362" v="48882"/>
          <ac:graphicFrameMkLst>
            <pc:docMk/>
            <pc:sldMk cId="3959601197" sldId="285"/>
            <ac:graphicFrameMk id="48" creationId="{93449487-60EB-486F-48B0-666244213175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1:52.179" v="49128"/>
          <ac:graphicFrameMkLst>
            <pc:docMk/>
            <pc:sldMk cId="3959601197" sldId="285"/>
            <ac:graphicFrameMk id="50" creationId="{1568B771-AE38-A27F-9554-B6927D2C499F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1:52.179" v="49154"/>
          <ac:graphicFrameMkLst>
            <pc:docMk/>
            <pc:sldMk cId="3959601197" sldId="285"/>
            <ac:graphicFrameMk id="52" creationId="{3636AFA9-D32C-19A4-5C21-23335161C5B2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41:37.733" v="48513"/>
          <ac:graphicFrameMkLst>
            <pc:docMk/>
            <pc:sldMk cId="3959601197" sldId="285"/>
            <ac:graphicFrameMk id="57" creationId="{FDAA8866-D6A1-F7EA-C9B4-597FE0E139F3}"/>
          </ac:graphicFrameMkLst>
        </pc:graphicFrameChg>
        <pc:picChg chg="add mod ord">
          <ac:chgData name="Joelle Brehm" userId="a518f54c-6985-42c0-8041-2bb16a414839" providerId="ADAL" clId="{11F4A39F-1802-4DA4-AB6C-561BDA6399D2}" dt="2023-07-05T21:41:52.164" v="49095"/>
          <ac:picMkLst>
            <pc:docMk/>
            <pc:sldMk cId="3959601197" sldId="285"/>
            <ac:picMk id="10" creationId="{E4AFF92D-AF45-2B8F-D158-8639082F179D}"/>
          </ac:picMkLst>
        </pc:picChg>
        <pc:picChg chg="del mod ord">
          <ac:chgData name="Joelle Brehm" userId="a518f54c-6985-42c0-8041-2bb16a414839" providerId="ADAL" clId="{11F4A39F-1802-4DA4-AB6C-561BDA6399D2}" dt="2023-07-05T21:41:27.489" v="48011" actId="478"/>
          <ac:picMkLst>
            <pc:docMk/>
            <pc:sldMk cId="3959601197" sldId="285"/>
            <ac:picMk id="38" creationId="{9170D1F7-72D5-42F8-D789-21451789E383}"/>
          </ac:picMkLst>
        </pc:picChg>
        <pc:picChg chg="mod ord">
          <ac:chgData name="Joelle Brehm" userId="a518f54c-6985-42c0-8041-2bb16a414839" providerId="ADAL" clId="{11F4A39F-1802-4DA4-AB6C-561BDA6399D2}" dt="2023-07-05T21:41:52.179" v="49161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41:52.164" v="49099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1:48:08.786" v="50842"/>
        <pc:sldMkLst>
          <pc:docMk/>
          <pc:sldMk cId="3093897313" sldId="286"/>
        </pc:sldMkLst>
        <pc:spChg chg="mod ord">
          <ac:chgData name="Joelle Brehm" userId="a518f54c-6985-42c0-8041-2bb16a414839" providerId="ADAL" clId="{11F4A39F-1802-4DA4-AB6C-561BDA6399D2}" dt="2023-07-05T21:48:08.786" v="50836"/>
          <ac:spMkLst>
            <pc:docMk/>
            <pc:sldMk cId="3093897313" sldId="286"/>
            <ac:spMk id="2" creationId="{F7E4C1AF-4B86-49C2-BCE8-3BD8367EC27A}"/>
          </ac:spMkLst>
        </pc:spChg>
        <pc:spChg chg="add del mod ord">
          <ac:chgData name="Joelle Brehm" userId="a518f54c-6985-42c0-8041-2bb16a414839" providerId="ADAL" clId="{11F4A39F-1802-4DA4-AB6C-561BDA6399D2}" dt="2023-07-05T21:47:42.981" v="49537" actId="478"/>
          <ac:spMkLst>
            <pc:docMk/>
            <pc:sldMk cId="3093897313" sldId="286"/>
            <ac:spMk id="3" creationId="{91B739C5-FF35-7631-87A0-1E1F656B5096}"/>
          </ac:spMkLst>
        </pc:spChg>
        <pc:spChg chg="add del mod modVis">
          <ac:chgData name="Joelle Brehm" userId="a518f54c-6985-42c0-8041-2bb16a414839" providerId="ADAL" clId="{11F4A39F-1802-4DA4-AB6C-561BDA6399D2}" dt="2023-07-05T21:42:28.759" v="49447"/>
          <ac:spMkLst>
            <pc:docMk/>
            <pc:sldMk cId="3093897313" sldId="286"/>
            <ac:spMk id="5" creationId="{2451DB5C-421E-A6E6-C61F-276B584BB1FF}"/>
          </ac:spMkLst>
        </pc:spChg>
        <pc:spChg chg="mod ord">
          <ac:chgData name="Joelle Brehm" userId="a518f54c-6985-42c0-8041-2bb16a414839" providerId="ADAL" clId="{11F4A39F-1802-4DA4-AB6C-561BDA6399D2}" dt="2023-07-05T21:48:08.772" v="50768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1:48:08.772" v="50807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11F4A39F-1802-4DA4-AB6C-561BDA6399D2}" dt="2023-07-05T21:48:08.772" v="50778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1:48:08.772" v="50781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1:48:08.772" v="50774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1:48:08.772" v="50776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1:48:08.772" v="50777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1:48:08.772" v="50773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1:48:08.772" v="50779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1:48:08.772" v="50775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1:48:08.772" v="50782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1:48:08.772" v="50783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1:48:08.772" v="50784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1:48:08.772" v="50780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1:48:08.772" v="50786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1:48:08.772" v="50791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1:48:08.772" v="50789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1:48:08.772" v="50790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1:48:08.772" v="50793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1:48:08.772" v="50792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1:48:08.772" v="50794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1:48:08.772" v="50797"/>
          <ac:spMkLst>
            <pc:docMk/>
            <pc:sldMk cId="3093897313" sldId="286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1:48:08.772" v="50805"/>
          <ac:spMkLst>
            <pc:docMk/>
            <pc:sldMk cId="3093897313" sldId="286"/>
            <ac:spMk id="31" creationId="{D74F390C-8EAC-8563-0D4D-5C8848394552}"/>
          </ac:spMkLst>
        </pc:spChg>
        <pc:spChg chg="mod">
          <ac:chgData name="Joelle Brehm" userId="a518f54c-6985-42c0-8041-2bb16a414839" providerId="ADAL" clId="{11F4A39F-1802-4DA4-AB6C-561BDA6399D2}" dt="2023-07-05T21:48:08.772" v="50801"/>
          <ac:spMkLst>
            <pc:docMk/>
            <pc:sldMk cId="3093897313" sldId="286"/>
            <ac:spMk id="32" creationId="{5F8F84C4-6A6C-C5DC-AE29-77E5B4E909D7}"/>
          </ac:spMkLst>
        </pc:spChg>
        <pc:spChg chg="mod">
          <ac:chgData name="Joelle Brehm" userId="a518f54c-6985-42c0-8041-2bb16a414839" providerId="ADAL" clId="{11F4A39F-1802-4DA4-AB6C-561BDA6399D2}" dt="2023-07-05T21:48:08.772" v="50800"/>
          <ac:spMkLst>
            <pc:docMk/>
            <pc:sldMk cId="3093897313" sldId="286"/>
            <ac:spMk id="33" creationId="{1334CF39-A6F8-7069-C022-3F7175A20401}"/>
          </ac:spMkLst>
        </pc:spChg>
        <pc:spChg chg="mod">
          <ac:chgData name="Joelle Brehm" userId="a518f54c-6985-42c0-8041-2bb16a414839" providerId="ADAL" clId="{11F4A39F-1802-4DA4-AB6C-561BDA6399D2}" dt="2023-07-05T21:48:08.772" v="50804"/>
          <ac:spMkLst>
            <pc:docMk/>
            <pc:sldMk cId="3093897313" sldId="286"/>
            <ac:spMk id="34" creationId="{99F86B53-3C14-F4B7-5920-953490F3E4CD}"/>
          </ac:spMkLst>
        </pc:spChg>
        <pc:spChg chg="mod">
          <ac:chgData name="Joelle Brehm" userId="a518f54c-6985-42c0-8041-2bb16a414839" providerId="ADAL" clId="{11F4A39F-1802-4DA4-AB6C-561BDA6399D2}" dt="2023-07-05T21:48:08.772" v="50806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11F4A39F-1802-4DA4-AB6C-561BDA6399D2}" dt="2023-07-05T21:48:08.772" v="50788"/>
          <ac:spMkLst>
            <pc:docMk/>
            <pc:sldMk cId="3093897313" sldId="286"/>
            <ac:spMk id="37" creationId="{6E6D97FF-E2E0-42EA-A83A-C3DF9F3514AE}"/>
          </ac:spMkLst>
        </pc:spChg>
        <pc:spChg chg="add mod replST">
          <ac:chgData name="Joelle Brehm" userId="a518f54c-6985-42c0-8041-2bb16a414839" providerId="ADAL" clId="{11F4A39F-1802-4DA4-AB6C-561BDA6399D2}" dt="2023-07-05T21:48:08.772" v="50811"/>
          <ac:spMkLst>
            <pc:docMk/>
            <pc:sldMk cId="3093897313" sldId="286"/>
            <ac:spMk id="39" creationId="{148BD74F-B08A-D055-2827-72B7638D08C5}"/>
          </ac:spMkLst>
        </pc:spChg>
        <pc:spChg chg="mod">
          <ac:chgData name="Joelle Brehm" userId="a518f54c-6985-42c0-8041-2bb16a414839" providerId="ADAL" clId="{11F4A39F-1802-4DA4-AB6C-561BDA6399D2}" dt="2023-07-05T21:48:08.772" v="50803"/>
          <ac:spMkLst>
            <pc:docMk/>
            <pc:sldMk cId="3093897313" sldId="286"/>
            <ac:spMk id="40" creationId="{C9855917-BD95-0D5A-6B07-14EBAD7B2828}"/>
          </ac:spMkLst>
        </pc:spChg>
        <pc:spChg chg="mod">
          <ac:chgData name="Joelle Brehm" userId="a518f54c-6985-42c0-8041-2bb16a414839" providerId="ADAL" clId="{11F4A39F-1802-4DA4-AB6C-561BDA6399D2}" dt="2023-07-05T21:48:08.772" v="50808"/>
          <ac:spMkLst>
            <pc:docMk/>
            <pc:sldMk cId="3093897313" sldId="286"/>
            <ac:spMk id="42" creationId="{D859979A-C7CC-20E7-C4CA-F18D382485A8}"/>
          </ac:spMkLst>
        </pc:spChg>
        <pc:spChg chg="add del mod modVis">
          <ac:chgData name="Joelle Brehm" userId="a518f54c-6985-42c0-8041-2bb16a414839" providerId="ADAL" clId="{11F4A39F-1802-4DA4-AB6C-561BDA6399D2}" dt="2023-07-05T21:47:48.757" v="50198"/>
          <ac:spMkLst>
            <pc:docMk/>
            <pc:sldMk cId="3093897313" sldId="286"/>
            <ac:spMk id="43" creationId="{3CDE2D03-D395-3D8B-3EBB-322629D662DB}"/>
          </ac:spMkLst>
        </pc:spChg>
        <pc:spChg chg="mod">
          <ac:chgData name="Joelle Brehm" userId="a518f54c-6985-42c0-8041-2bb16a414839" providerId="ADAL" clId="{11F4A39F-1802-4DA4-AB6C-561BDA6399D2}" dt="2023-07-05T21:48:08.772" v="50809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11F4A39F-1802-4DA4-AB6C-561BDA6399D2}" dt="2023-07-05T21:48:08.772" v="50810"/>
          <ac:spMkLst>
            <pc:docMk/>
            <pc:sldMk cId="3093897313" sldId="286"/>
            <ac:spMk id="45" creationId="{0F9CEF9A-7834-B39E-CB12-DD7EDCF963B1}"/>
          </ac:spMkLst>
        </pc:spChg>
        <pc:spChg chg="add del mod ord replST">
          <ac:chgData name="Joelle Brehm" userId="a518f54c-6985-42c0-8041-2bb16a414839" providerId="ADAL" clId="{11F4A39F-1802-4DA4-AB6C-561BDA6399D2}" dt="2023-07-05T21:47:55.213" v="50439"/>
          <ac:spMkLst>
            <pc:docMk/>
            <pc:sldMk cId="3093897313" sldId="286"/>
            <ac:spMk id="46" creationId="{7CAA3B95-4C78-4122-BECA-B5FB0F3F3764}"/>
          </ac:spMkLst>
        </pc:spChg>
        <pc:spChg chg="add del mod ord replST">
          <ac:chgData name="Joelle Brehm" userId="a518f54c-6985-42c0-8041-2bb16a414839" providerId="ADAL" clId="{11F4A39F-1802-4DA4-AB6C-561BDA6399D2}" dt="2023-07-05T21:47:55.230" v="50475"/>
          <ac:spMkLst>
            <pc:docMk/>
            <pc:sldMk cId="3093897313" sldId="286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1:47:52.831" v="50362"/>
          <ac:spMkLst>
            <pc:docMk/>
            <pc:sldMk cId="3093897313" sldId="286"/>
            <ac:spMk id="49" creationId="{15D7B92D-5860-666C-526B-66A98C221DB0}"/>
          </ac:spMkLst>
        </pc:spChg>
        <pc:spChg chg="add del mod modVis">
          <ac:chgData name="Joelle Brehm" userId="a518f54c-6985-42c0-8041-2bb16a414839" providerId="ADAL" clId="{11F4A39F-1802-4DA4-AB6C-561BDA6399D2}" dt="2023-07-05T21:47:55.299" v="50566"/>
          <ac:spMkLst>
            <pc:docMk/>
            <pc:sldMk cId="3093897313" sldId="286"/>
            <ac:spMk id="51" creationId="{14DF4726-2D43-1C5B-EC26-1CA24844DBE7}"/>
          </ac:spMkLst>
        </pc:spChg>
        <pc:spChg chg="add del mod modVis">
          <ac:chgData name="Joelle Brehm" userId="a518f54c-6985-42c0-8041-2bb16a414839" providerId="ADAL" clId="{11F4A39F-1802-4DA4-AB6C-561BDA6399D2}" dt="2023-07-05T21:48:08.786" v="50840"/>
          <ac:spMkLst>
            <pc:docMk/>
            <pc:sldMk cId="3093897313" sldId="286"/>
            <ac:spMk id="53" creationId="{8F85B592-CDE6-CA31-2191-409C6EC10AD2}"/>
          </ac:spMkLst>
        </pc:spChg>
        <pc:spChg chg="mod">
          <ac:chgData name="Joelle Brehm" userId="a518f54c-6985-42c0-8041-2bb16a414839" providerId="ADAL" clId="{11F4A39F-1802-4DA4-AB6C-561BDA6399D2}" dt="2023-07-05T21:48:08.772" v="50802"/>
          <ac:spMkLst>
            <pc:docMk/>
            <pc:sldMk cId="3093897313" sldId="286"/>
            <ac:spMk id="66" creationId="{D24BFD29-661B-4491-5975-FE849427D9EF}"/>
          </ac:spMkLst>
        </pc:spChg>
        <pc:spChg chg="del mod">
          <ac:chgData name="Joelle Brehm" userId="a518f54c-6985-42c0-8041-2bb16a414839" providerId="ADAL" clId="{11F4A39F-1802-4DA4-AB6C-561BDA6399D2}" dt="2023-07-05T21:47:55.118" v="50365"/>
          <ac:spMkLst>
            <pc:docMk/>
            <pc:sldMk cId="3093897313" sldId="286"/>
            <ac:spMk id="69" creationId="{E0A21F3E-CAC2-F1DA-B8CE-98C7E55D5258}"/>
          </ac:spMkLst>
        </pc:spChg>
        <pc:spChg chg="mod">
          <ac:chgData name="Joelle Brehm" userId="a518f54c-6985-42c0-8041-2bb16a414839" providerId="ADAL" clId="{11F4A39F-1802-4DA4-AB6C-561BDA6399D2}" dt="2023-07-05T21:48:08.772" v="50795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1:48:08.772" v="50813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1:48:08.772" v="50815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1:48:08.786" v="50834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11F4A39F-1802-4DA4-AB6C-561BDA6399D2}" dt="2023-07-05T21:48:08.772" v="50817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1:48:08.772" v="50819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1:48:08.772" v="50821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1:48:08.772" v="50823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1:48:08.785" v="50827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8:08.772" v="50826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8:08.786" v="50828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1:48:08.786" v="50829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1:48:08.786" v="50830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1:48:08.786" v="50842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8:08.772" v="50772"/>
          <ac:graphicFrameMkLst>
            <pc:docMk/>
            <pc:sldMk cId="3093897313" sldId="286"/>
            <ac:graphicFrameMk id="8" creationId="{4C135EF1-F64C-836E-3F21-6A30E63EF0CB}"/>
          </ac:graphicFrameMkLst>
        </pc:graphicFrameChg>
        <pc:graphicFrameChg chg="del">
          <ac:chgData name="Joelle Brehm" userId="a518f54c-6985-42c0-8041-2bb16a414839" providerId="ADAL" clId="{11F4A39F-1802-4DA4-AB6C-561BDA6399D2}" dt="2023-07-05T21:42:28.703" v="49359"/>
          <ac:graphicFrameMkLst>
            <pc:docMk/>
            <pc:sldMk cId="3093897313" sldId="286"/>
            <ac:graphicFrameMk id="35" creationId="{1FFC6687-55DC-7F17-C872-1F1E1B65044F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48:08.727" v="50758"/>
          <ac:graphicFrameMkLst>
            <pc:docMk/>
            <pc:sldMk cId="3093897313" sldId="286"/>
            <ac:graphicFrameMk id="41" creationId="{87DA5EC7-5A8C-6408-9A57-FC01ACB93BE1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47:52.783" v="50275"/>
          <ac:graphicFrameMkLst>
            <pc:docMk/>
            <pc:sldMk cId="3093897313" sldId="286"/>
            <ac:graphicFrameMk id="48" creationId="{F1339F70-D156-FBB6-1566-F490F9F68684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1:47:55.236" v="50484"/>
          <ac:graphicFrameMkLst>
            <pc:docMk/>
            <pc:sldMk cId="3093897313" sldId="286"/>
            <ac:graphicFrameMk id="50" creationId="{EF16A2EB-BA7F-A26F-914D-A30B6D49466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8:08.772" v="50799"/>
          <ac:graphicFrameMkLst>
            <pc:docMk/>
            <pc:sldMk cId="3093897313" sldId="286"/>
            <ac:graphicFrameMk id="52" creationId="{F06A9197-FA2B-2534-2D5C-34A3AEBA662B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1:47:48.702" v="50091"/>
          <ac:graphicFrameMkLst>
            <pc:docMk/>
            <pc:sldMk cId="3093897313" sldId="286"/>
            <ac:graphicFrameMk id="54" creationId="{1D2582EC-A9FF-9FCA-0494-449A72D9C17E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1:48:08.772" v="50825"/>
          <ac:graphicFrameMkLst>
            <pc:docMk/>
            <pc:sldMk cId="3093897313" sldId="286"/>
            <ac:graphicFrameMk id="55" creationId="{2FB7335E-A905-7904-48AB-2BA4AB4CD75C}"/>
          </ac:graphicFrameMkLst>
        </pc:graphicFrameChg>
        <pc:picChg chg="add mod ord">
          <ac:chgData name="Joelle Brehm" userId="a518f54c-6985-42c0-8041-2bb16a414839" providerId="ADAL" clId="{11F4A39F-1802-4DA4-AB6C-561BDA6399D2}" dt="2023-07-05T21:48:08.772" v="50766"/>
          <ac:picMkLst>
            <pc:docMk/>
            <pc:sldMk cId="3093897313" sldId="286"/>
            <ac:picMk id="9" creationId="{933A6701-45AD-093E-DCC6-6235E3FFB218}"/>
          </ac:picMkLst>
        </pc:picChg>
        <pc:picChg chg="del mod ord">
          <ac:chgData name="Joelle Brehm" userId="a518f54c-6985-42c0-8041-2bb16a414839" providerId="ADAL" clId="{11F4A39F-1802-4DA4-AB6C-561BDA6399D2}" dt="2023-07-05T21:42:49.013" v="49536" actId="478"/>
          <ac:picMkLst>
            <pc:docMk/>
            <pc:sldMk cId="3093897313" sldId="286"/>
            <ac:picMk id="38" creationId="{949DD5E3-3093-5EF4-846F-89E4A0219D69}"/>
          </ac:picMkLst>
        </pc:picChg>
        <pc:picChg chg="mod ord">
          <ac:chgData name="Joelle Brehm" userId="a518f54c-6985-42c0-8041-2bb16a414839" providerId="ADAL" clId="{11F4A39F-1802-4DA4-AB6C-561BDA6399D2}" dt="2023-07-05T21:48:08.786" v="50832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1:48:08.772" v="50770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2:03:45.318" v="52490"/>
        <pc:sldMkLst>
          <pc:docMk/>
          <pc:sldMk cId="1459118046" sldId="288"/>
        </pc:sldMkLst>
        <pc:spChg chg="mod ord">
          <ac:chgData name="Joelle Brehm" userId="a518f54c-6985-42c0-8041-2bb16a414839" providerId="ADAL" clId="{11F4A39F-1802-4DA4-AB6C-561BDA6399D2}" dt="2023-07-05T22:03:45.306" v="52454"/>
          <ac:spMkLst>
            <pc:docMk/>
            <pc:sldMk cId="1459118046" sldId="288"/>
            <ac:spMk id="2" creationId="{845E990D-F1AA-419F-97F0-12FFB2CEF6D1}"/>
          </ac:spMkLst>
        </pc:spChg>
        <pc:spChg chg="add del mod ord">
          <ac:chgData name="Joelle Brehm" userId="a518f54c-6985-42c0-8041-2bb16a414839" providerId="ADAL" clId="{11F4A39F-1802-4DA4-AB6C-561BDA6399D2}" dt="2023-07-05T22:03:31.250" v="51219" actId="478"/>
          <ac:spMkLst>
            <pc:docMk/>
            <pc:sldMk cId="1459118046" sldId="288"/>
            <ac:spMk id="3" creationId="{EB79A33F-F60A-4545-6F43-0873219A9160}"/>
          </ac:spMkLst>
        </pc:spChg>
        <pc:spChg chg="add del mod modVis">
          <ac:chgData name="Joelle Brehm" userId="a518f54c-6985-42c0-8041-2bb16a414839" providerId="ADAL" clId="{11F4A39F-1802-4DA4-AB6C-561BDA6399D2}" dt="2023-07-05T21:48:29.205" v="51112"/>
          <ac:spMkLst>
            <pc:docMk/>
            <pc:sldMk cId="1459118046" sldId="288"/>
            <ac:spMk id="5" creationId="{9BC51F73-FDC2-5E68-682A-3513BE69AB59}"/>
          </ac:spMkLst>
        </pc:spChg>
        <pc:spChg chg="mod ord">
          <ac:chgData name="Joelle Brehm" userId="a518f54c-6985-42c0-8041-2bb16a414839" providerId="ADAL" clId="{11F4A39F-1802-4DA4-AB6C-561BDA6399D2}" dt="2023-07-05T22:03:45.295" v="52416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2:03:45.298" v="52426"/>
          <ac:spMkLst>
            <pc:docMk/>
            <pc:sldMk cId="1459118046" sldId="288"/>
            <ac:spMk id="8" creationId="{76022A0B-4CC0-BD01-B601-16975F52FDC8}"/>
          </ac:spMkLst>
        </pc:spChg>
        <pc:spChg chg="mod">
          <ac:chgData name="Joelle Brehm" userId="a518f54c-6985-42c0-8041-2bb16a414839" providerId="ADAL" clId="{11F4A39F-1802-4DA4-AB6C-561BDA6399D2}" dt="2023-07-05T22:03:45.299" v="52429"/>
          <ac:spMkLst>
            <pc:docMk/>
            <pc:sldMk cId="1459118046" sldId="288"/>
            <ac:spMk id="11" creationId="{DC53A836-E5C3-0006-CBB8-57FCA1C2DBA6}"/>
          </ac:spMkLst>
        </pc:spChg>
        <pc:spChg chg="mod">
          <ac:chgData name="Joelle Brehm" userId="a518f54c-6985-42c0-8041-2bb16a414839" providerId="ADAL" clId="{11F4A39F-1802-4DA4-AB6C-561BDA6399D2}" dt="2023-07-05T22:03:45.299" v="52430"/>
          <ac:spMkLst>
            <pc:docMk/>
            <pc:sldMk cId="1459118046" sldId="288"/>
            <ac:spMk id="13" creationId="{3F6C20EF-E32A-5D01-E3DC-3079317054CC}"/>
          </ac:spMkLst>
        </pc:spChg>
        <pc:spChg chg="mod">
          <ac:chgData name="Joelle Brehm" userId="a518f54c-6985-42c0-8041-2bb16a414839" providerId="ADAL" clId="{11F4A39F-1802-4DA4-AB6C-561BDA6399D2}" dt="2023-07-05T22:03:45.298" v="52428"/>
          <ac:spMkLst>
            <pc:docMk/>
            <pc:sldMk cId="1459118046" sldId="288"/>
            <ac:spMk id="14" creationId="{25D946D5-9986-579D-41E4-6C10E6C340A5}"/>
          </ac:spMkLst>
        </pc:spChg>
        <pc:spChg chg="mod">
          <ac:chgData name="Joelle Brehm" userId="a518f54c-6985-42c0-8041-2bb16a414839" providerId="ADAL" clId="{11F4A39F-1802-4DA4-AB6C-561BDA6399D2}" dt="2023-07-05T22:03:45.300" v="52432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11F4A39F-1802-4DA4-AB6C-561BDA6399D2}" dt="2023-07-05T22:03:45.297" v="52425"/>
          <ac:spMkLst>
            <pc:docMk/>
            <pc:sldMk cId="1459118046" sldId="288"/>
            <ac:spMk id="17" creationId="{DBE0A1F6-A1CF-2057-B929-F159E2F0790D}"/>
          </ac:spMkLst>
        </pc:spChg>
        <pc:spChg chg="add del mod modVis">
          <ac:chgData name="Joelle Brehm" userId="a518f54c-6985-42c0-8041-2bb16a414839" providerId="ADAL" clId="{11F4A39F-1802-4DA4-AB6C-561BDA6399D2}" dt="2023-07-05T22:03:36.307" v="51464"/>
          <ac:spMkLst>
            <pc:docMk/>
            <pc:sldMk cId="1459118046" sldId="288"/>
            <ac:spMk id="18" creationId="{2BAA5A19-E083-20C0-2CFC-1AB7F3019EF2}"/>
          </ac:spMkLst>
        </pc:spChg>
        <pc:spChg chg="mod">
          <ac:chgData name="Joelle Brehm" userId="a518f54c-6985-42c0-8041-2bb16a414839" providerId="ADAL" clId="{11F4A39F-1802-4DA4-AB6C-561BDA6399D2}" dt="2023-07-05T22:03:45.299" v="52431"/>
          <ac:spMkLst>
            <pc:docMk/>
            <pc:sldMk cId="1459118046" sldId="288"/>
            <ac:spMk id="19" creationId="{DB3F3EB9-B7F2-D75A-D1DE-540B3423B405}"/>
          </ac:spMkLst>
        </pc:spChg>
        <pc:spChg chg="mod">
          <ac:chgData name="Joelle Brehm" userId="a518f54c-6985-42c0-8041-2bb16a414839" providerId="ADAL" clId="{11F4A39F-1802-4DA4-AB6C-561BDA6399D2}" dt="2023-07-05T22:03:45.300" v="52434"/>
          <ac:spMkLst>
            <pc:docMk/>
            <pc:sldMk cId="1459118046" sldId="288"/>
            <ac:spMk id="21" creationId="{693CD003-5CC2-D30E-1431-FA729AD817E1}"/>
          </ac:spMkLst>
        </pc:spChg>
        <pc:spChg chg="add mod replST">
          <ac:chgData name="Joelle Brehm" userId="a518f54c-6985-42c0-8041-2bb16a414839" providerId="ADAL" clId="{11F4A39F-1802-4DA4-AB6C-561BDA6399D2}" dt="2023-07-05T22:03:45.301" v="52436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11F4A39F-1802-4DA4-AB6C-561BDA6399D2}" dt="2023-07-05T22:03:45.296" v="52420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2:03:45.300" v="52433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11F4A39F-1802-4DA4-AB6C-561BDA6399D2}" dt="2023-07-05T22:03:41.797" v="52079"/>
          <ac:spMkLst>
            <pc:docMk/>
            <pc:sldMk cId="1459118046" sldId="288"/>
            <ac:spMk id="25" creationId="{E7FB98D7-7D3F-A3ED-0E49-FE7C8FE6140A}"/>
          </ac:spMkLst>
        </pc:spChg>
        <pc:spChg chg="add del mod modVis">
          <ac:chgData name="Joelle Brehm" userId="a518f54c-6985-42c0-8041-2bb16a414839" providerId="ADAL" clId="{11F4A39F-1802-4DA4-AB6C-561BDA6399D2}" dt="2023-07-05T22:03:43.208" v="52288"/>
          <ac:spMkLst>
            <pc:docMk/>
            <pc:sldMk cId="1459118046" sldId="288"/>
            <ac:spMk id="27" creationId="{5EF13C48-0E34-15F5-3002-258EA2D27972}"/>
          </ac:spMkLst>
        </pc:spChg>
        <pc:spChg chg="add del mod modVis">
          <ac:chgData name="Joelle Brehm" userId="a518f54c-6985-42c0-8041-2bb16a414839" providerId="ADAL" clId="{11F4A39F-1802-4DA4-AB6C-561BDA6399D2}" dt="2023-07-05T22:03:45.318" v="52488"/>
          <ac:spMkLst>
            <pc:docMk/>
            <pc:sldMk cId="1459118046" sldId="288"/>
            <ac:spMk id="29" creationId="{2B47C96D-BEBC-C5FB-2F6D-0CAE4A8BFEA3}"/>
          </ac:spMkLst>
        </pc:spChg>
        <pc:spChg chg="mod ord">
          <ac:chgData name="Joelle Brehm" userId="a518f54c-6985-42c0-8041-2bb16a414839" providerId="ADAL" clId="{11F4A39F-1802-4DA4-AB6C-561BDA6399D2}" dt="2023-07-05T22:03:45.296" v="52422"/>
          <ac:spMkLst>
            <pc:docMk/>
            <pc:sldMk cId="1459118046" sldId="288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2:03:45.301" v="52435"/>
          <ac:spMkLst>
            <pc:docMk/>
            <pc:sldMk cId="1459118046" sldId="288"/>
            <ac:spMk id="32" creationId="{B550E4F3-9753-AC19-5B37-AFDADA6A889D}"/>
          </ac:spMkLst>
        </pc:spChg>
        <pc:spChg chg="del mod">
          <ac:chgData name="Joelle Brehm" userId="a518f54c-6985-42c0-8041-2bb16a414839" providerId="ADAL" clId="{11F4A39F-1802-4DA4-AB6C-561BDA6399D2}" dt="2023-07-05T22:03:45.155" v="52291"/>
          <ac:spMkLst>
            <pc:docMk/>
            <pc:sldMk cId="1459118046" sldId="288"/>
            <ac:spMk id="67" creationId="{32D86967-F5B6-9936-B498-1283DDCD5BD7}"/>
          </ac:spMkLst>
        </pc:spChg>
        <pc:spChg chg="mod">
          <ac:chgData name="Joelle Brehm" userId="a518f54c-6985-42c0-8041-2bb16a414839" providerId="ADAL" clId="{11F4A39F-1802-4DA4-AB6C-561BDA6399D2}" dt="2023-07-05T22:03:45.298" v="52427"/>
          <ac:spMkLst>
            <pc:docMk/>
            <pc:sldMk cId="1459118046" sldId="288"/>
            <ac:spMk id="69" creationId="{E3515AE7-81C8-44F5-EAE8-D82D93DDACD6}"/>
          </ac:spMkLst>
        </pc:spChg>
        <pc:spChg chg="mod ord">
          <ac:chgData name="Joelle Brehm" userId="a518f54c-6985-42c0-8041-2bb16a414839" providerId="ADAL" clId="{11F4A39F-1802-4DA4-AB6C-561BDA6399D2}" dt="2023-07-05T22:03:45.302" v="52438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2:03:45.302" v="52440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11F4A39F-1802-4DA4-AB6C-561BDA6399D2}" dt="2023-07-05T22:03:45.310" v="52462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11F4A39F-1802-4DA4-AB6C-561BDA6399D2}" dt="2023-07-05T22:03:45.307" v="52458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11F4A39F-1802-4DA4-AB6C-561BDA6399D2}" dt="2023-07-05T22:03:45.305" v="52452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11F4A39F-1802-4DA4-AB6C-561BDA6399D2}" dt="2023-07-05T22:03:45.308" v="52459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11F4A39F-1802-4DA4-AB6C-561BDA6399D2}" dt="2023-07-05T22:03:45.309" v="52461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11F4A39F-1802-4DA4-AB6C-561BDA6399D2}" dt="2023-07-05T22:03:45.310" v="52464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11F4A39F-1802-4DA4-AB6C-561BDA6399D2}" dt="2023-07-05T22:03:45.303" v="52442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11F4A39F-1802-4DA4-AB6C-561BDA6399D2}" dt="2023-07-05T22:03:45.308" v="52460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11F4A39F-1802-4DA4-AB6C-561BDA6399D2}" dt="2023-07-05T22:03:45.307" v="52457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11F4A39F-1802-4DA4-AB6C-561BDA6399D2}" dt="2023-07-05T22:03:45.311" v="52465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11F4A39F-1802-4DA4-AB6C-561BDA6399D2}" dt="2023-07-05T22:03:45.310" v="52463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11F4A39F-1802-4DA4-AB6C-561BDA6399D2}" dt="2023-07-05T22:03:45.311" v="52466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11F4A39F-1802-4DA4-AB6C-561BDA6399D2}" dt="2023-07-05T22:03:45.312" v="52467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11F4A39F-1802-4DA4-AB6C-561BDA6399D2}" dt="2023-07-05T22:03:45.312" v="52468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11F4A39F-1802-4DA4-AB6C-561BDA6399D2}" dt="2023-07-05T22:03:45.303" v="52444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2:03:45.304" v="52446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2:03:45.304" v="52448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2:03:45.314" v="52472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11F4A39F-1802-4DA4-AB6C-561BDA6399D2}" dt="2023-07-05T22:03:45.314" v="52471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11F4A39F-1802-4DA4-AB6C-561BDA6399D2}" dt="2023-07-05T22:03:45.315" v="52473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11F4A39F-1802-4DA4-AB6C-561BDA6399D2}" dt="2023-07-05T22:03:45.313" v="52470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11F4A39F-1802-4DA4-AB6C-561BDA6399D2}" dt="2023-07-05T22:03:45.316" v="52475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11F4A39F-1802-4DA4-AB6C-561BDA6399D2}" dt="2023-07-05T22:03:45.317" v="52476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11F4A39F-1802-4DA4-AB6C-561BDA6399D2}" dt="2023-07-05T22:03:45.317" v="52477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11F4A39F-1802-4DA4-AB6C-561BDA6399D2}" dt="2023-07-05T22:03:45.316" v="52474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11F4A39F-1802-4DA4-AB6C-561BDA6399D2}" dt="2023-07-05T22:03:45.318" v="52484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11F4A39F-1802-4DA4-AB6C-561BDA6399D2}" dt="2023-07-05T22:03:45.318" v="52482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11F4A39F-1802-4DA4-AB6C-561BDA6399D2}" dt="2023-07-05T22:03:45.318" v="52480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11F4A39F-1802-4DA4-AB6C-561BDA6399D2}" dt="2023-07-05T22:03:45.318" v="52483"/>
          <ac:spMkLst>
            <pc:docMk/>
            <pc:sldMk cId="1459118046" sldId="288"/>
            <ac:spMk id="179" creationId="{2DB7AD78-1CB7-4520-A137-CDF9BD645C94}"/>
          </ac:spMkLst>
        </pc:spChg>
        <pc:spChg chg="mod">
          <ac:chgData name="Joelle Brehm" userId="a518f54c-6985-42c0-8041-2bb16a414839" providerId="ADAL" clId="{11F4A39F-1802-4DA4-AB6C-561BDA6399D2}" dt="2023-07-05T22:03:45.318" v="52481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11F4A39F-1802-4DA4-AB6C-561BDA6399D2}" dt="2023-07-05T22:03:45.318" v="52490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1:48:29.157" v="51024"/>
          <ac:graphicFrameMkLst>
            <pc:docMk/>
            <pc:sldMk cId="1459118046" sldId="288"/>
            <ac:graphicFrameMk id="9" creationId="{DDE1F1D2-AA37-EAA8-0BB4-876C1DD2229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2:03:45.307" v="52456"/>
          <ac:graphicFrameMkLst>
            <pc:docMk/>
            <pc:sldMk cId="1459118046" sldId="288"/>
            <ac:graphicFrameMk id="10" creationId="{89B7085A-D3F7-2717-2756-2DD234E2282D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2:03:45.317" v="52479"/>
          <ac:graphicFrameMkLst>
            <pc:docMk/>
            <pc:sldMk cId="1459118046" sldId="288"/>
            <ac:graphicFrameMk id="20" creationId="{D7190168-3072-ECAB-AF8B-5AE94940ED7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03:43.121" v="52185"/>
          <ac:graphicFrameMkLst>
            <pc:docMk/>
            <pc:sldMk cId="1459118046" sldId="288"/>
            <ac:graphicFrameMk id="26" creationId="{F7526011-ECF0-BD15-B55C-BCA8EDC4AF72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03:45.249" v="52406"/>
          <ac:graphicFrameMkLst>
            <pc:docMk/>
            <pc:sldMk cId="1459118046" sldId="288"/>
            <ac:graphicFrameMk id="28" creationId="{A01DE2E7-415C-8884-6510-ACEDA903D116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2:03:45.297" v="52424"/>
          <ac:graphicFrameMkLst>
            <pc:docMk/>
            <pc:sldMk cId="1459118046" sldId="288"/>
            <ac:graphicFrameMk id="31" creationId="{D0443434-548E-A59F-D9CC-CA6AD1DD82EC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2:03:41.734" v="51990"/>
          <ac:graphicFrameMkLst>
            <pc:docMk/>
            <pc:sldMk cId="1459118046" sldId="288"/>
            <ac:graphicFrameMk id="39" creationId="{B1F80FB5-974A-F9D2-900E-99BE409DB686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2:03:36.260" v="51382"/>
          <ac:graphicFrameMkLst>
            <pc:docMk/>
            <pc:sldMk cId="1459118046" sldId="288"/>
            <ac:graphicFrameMk id="43" creationId="{2E074BE4-F5D7-2CCF-48C1-686B5D473627}"/>
          </ac:graphicFrameMkLst>
        </pc:graphicFrameChg>
        <pc:picChg chg="add mod ord">
          <ac:chgData name="Joelle Brehm" userId="a518f54c-6985-42c0-8041-2bb16a414839" providerId="ADAL" clId="{11F4A39F-1802-4DA4-AB6C-561BDA6399D2}" dt="2023-07-05T22:03:45.294" v="52414"/>
          <ac:picMkLst>
            <pc:docMk/>
            <pc:sldMk cId="1459118046" sldId="288"/>
            <ac:picMk id="12" creationId="{F81E21AF-1C09-4316-A550-C52F9AD18B0B}"/>
          </ac:picMkLst>
        </pc:picChg>
        <pc:picChg chg="del mod ord">
          <ac:chgData name="Joelle Brehm" userId="a518f54c-6985-42c0-8041-2bb16a414839" providerId="ADAL" clId="{11F4A39F-1802-4DA4-AB6C-561BDA6399D2}" dt="2023-07-05T21:48:48.565" v="51218" actId="478"/>
          <ac:picMkLst>
            <pc:docMk/>
            <pc:sldMk cId="1459118046" sldId="288"/>
            <ac:picMk id="15" creationId="{C2F37CFA-3E18-A357-1E7F-97E402AD1E50}"/>
          </ac:picMkLst>
        </pc:picChg>
        <pc:picChg chg="mod ord">
          <ac:chgData name="Joelle Brehm" userId="a518f54c-6985-42c0-8041-2bb16a414839" providerId="ADAL" clId="{11F4A39F-1802-4DA4-AB6C-561BDA6399D2}" dt="2023-07-05T22:03:45.305" v="52450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2:03:45.295" v="52418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 ord">
        <pc:chgData name="Joelle Brehm" userId="a518f54c-6985-42c0-8041-2bb16a414839" providerId="ADAL" clId="{11F4A39F-1802-4DA4-AB6C-561BDA6399D2}" dt="2023-07-05T23:23:03.017" v="57881"/>
        <pc:sldMkLst>
          <pc:docMk/>
          <pc:sldMk cId="10849840" sldId="290"/>
        </pc:sldMkLst>
        <pc:spChg chg="add del mod ord">
          <ac:chgData name="Joelle Brehm" userId="a518f54c-6985-42c0-8041-2bb16a414839" providerId="ADAL" clId="{11F4A39F-1802-4DA4-AB6C-561BDA6399D2}" dt="2023-07-05T22:04:39.238" v="52906" actId="478"/>
          <ac:spMkLst>
            <pc:docMk/>
            <pc:sldMk cId="10849840" sldId="290"/>
            <ac:spMk id="2" creationId="{A26B70A7-93F6-391D-0B47-D9F3704E2327}"/>
          </ac:spMkLst>
        </pc:spChg>
        <pc:spChg chg="mod ord">
          <ac:chgData name="Joelle Brehm" userId="a518f54c-6985-42c0-8041-2bb16a414839" providerId="ADAL" clId="{11F4A39F-1802-4DA4-AB6C-561BDA6399D2}" dt="2023-07-05T22:05:06.198" v="54508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11F4A39F-1802-4DA4-AB6C-561BDA6399D2}" dt="2023-07-05T22:05:06.182" v="54483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11F4A39F-1802-4DA4-AB6C-561BDA6399D2}" dt="2023-07-05T22:05:06.182" v="54440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11F4A39F-1802-4DA4-AB6C-561BDA6399D2}" dt="2023-07-05T22:04:09.260" v="52756"/>
          <ac:spMkLst>
            <pc:docMk/>
            <pc:sldMk cId="10849840" sldId="290"/>
            <ac:spMk id="8" creationId="{47FE8309-0696-7899-B3AE-808E2C6AD6E9}"/>
          </ac:spMkLst>
        </pc:spChg>
        <pc:spChg chg="mod">
          <ac:chgData name="Joelle Brehm" userId="a518f54c-6985-42c0-8041-2bb16a414839" providerId="ADAL" clId="{11F4A39F-1802-4DA4-AB6C-561BDA6399D2}" dt="2023-07-05T22:05:06.182" v="54446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2:05:06.182" v="54451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2:05:06.182" v="54447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2:05:06.182" v="54448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2:05:06.182" v="54450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2:05:06.182" v="54453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2:05:06.182" v="54452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2:05:06.182" v="54449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2:05:06.182" v="54454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2:05:06.182" v="54455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2:05:06.182" v="54456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2:05:06.182" v="54445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2:05:06.182" v="54458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2:05:06.182" v="54459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2:05:06.182" v="54461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2:05:06.182" v="54460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2:05:06.182" v="54466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2:05:06.182" v="54464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2:05:06.182" v="54467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2:05:06.182" v="54469"/>
          <ac:spMkLst>
            <pc:docMk/>
            <pc:sldMk cId="10849840" sldId="290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2:05:06.182" v="54474"/>
          <ac:spMkLst>
            <pc:docMk/>
            <pc:sldMk cId="10849840" sldId="290"/>
            <ac:spMk id="31" creationId="{7AB81A3E-9DE7-CB71-14B7-5B53FD3178AE}"/>
          </ac:spMkLst>
        </pc:spChg>
        <pc:spChg chg="mod">
          <ac:chgData name="Joelle Brehm" userId="a518f54c-6985-42c0-8041-2bb16a414839" providerId="ADAL" clId="{11F4A39F-1802-4DA4-AB6C-561BDA6399D2}" dt="2023-07-05T22:05:06.182" v="54477"/>
          <ac:spMkLst>
            <pc:docMk/>
            <pc:sldMk cId="10849840" sldId="290"/>
            <ac:spMk id="32" creationId="{47DE593B-1A30-2341-AF40-57CA8B07E1EE}"/>
          </ac:spMkLst>
        </pc:spChg>
        <pc:spChg chg="add mod replST">
          <ac:chgData name="Joelle Brehm" userId="a518f54c-6985-42c0-8041-2bb16a414839" providerId="ADAL" clId="{11F4A39F-1802-4DA4-AB6C-561BDA6399D2}" dt="2023-07-05T22:05:06.182" v="54473"/>
          <ac:spMkLst>
            <pc:docMk/>
            <pc:sldMk cId="10849840" sldId="290"/>
            <ac:spMk id="33" creationId="{A55B1EF4-73C4-D584-0203-A74707EA08E2}"/>
          </ac:spMkLst>
        </pc:spChg>
        <pc:spChg chg="mod">
          <ac:chgData name="Joelle Brehm" userId="a518f54c-6985-42c0-8041-2bb16a414839" providerId="ADAL" clId="{11F4A39F-1802-4DA4-AB6C-561BDA6399D2}" dt="2023-07-05T22:05:06.182" v="54475"/>
          <ac:spMkLst>
            <pc:docMk/>
            <pc:sldMk cId="10849840" sldId="290"/>
            <ac:spMk id="34" creationId="{2324DD3B-E106-01D1-4B12-42A8E001839F}"/>
          </ac:spMkLst>
        </pc:spChg>
        <pc:spChg chg="mod">
          <ac:chgData name="Joelle Brehm" userId="a518f54c-6985-42c0-8041-2bb16a414839" providerId="ADAL" clId="{11F4A39F-1802-4DA4-AB6C-561BDA6399D2}" dt="2023-07-05T22:05:06.182" v="54478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11F4A39F-1802-4DA4-AB6C-561BDA6399D2}" dt="2023-07-05T22:05:06.182" v="54479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11F4A39F-1802-4DA4-AB6C-561BDA6399D2}" dt="2023-07-05T22:05:06.182" v="54463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11F4A39F-1802-4DA4-AB6C-561BDA6399D2}" dt="2023-07-05T22:05:06.182" v="54472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11F4A39F-1802-4DA4-AB6C-561BDA6399D2}" dt="2023-07-05T22:05:06.182" v="54480"/>
          <ac:spMkLst>
            <pc:docMk/>
            <pc:sldMk cId="10849840" sldId="290"/>
            <ac:spMk id="39" creationId="{810C784D-B902-D4A3-E0DE-5483A97F9C49}"/>
          </ac:spMkLst>
        </pc:spChg>
        <pc:spChg chg="add del mod modVis">
          <ac:chgData name="Joelle Brehm" userId="a518f54c-6985-42c0-8041-2bb16a414839" providerId="ADAL" clId="{11F4A39F-1802-4DA4-AB6C-561BDA6399D2}" dt="2023-07-05T22:04:44.803" v="53539"/>
          <ac:spMkLst>
            <pc:docMk/>
            <pc:sldMk cId="10849840" sldId="290"/>
            <ac:spMk id="40" creationId="{8D8DFE1D-60BE-0908-F9AF-1DAB723CBA2D}"/>
          </ac:spMkLst>
        </pc:spChg>
        <pc:spChg chg="add del mod ord replST">
          <ac:chgData name="Joelle Brehm" userId="a518f54c-6985-42c0-8041-2bb16a414839" providerId="ADAL" clId="{11F4A39F-1802-4DA4-AB6C-561BDA6399D2}" dt="2023-07-05T22:04:50.717" v="54021"/>
          <ac:spMkLst>
            <pc:docMk/>
            <pc:sldMk cId="10849840" sldId="290"/>
            <ac:spMk id="41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2:04:46.160" v="53747"/>
          <ac:spMkLst>
            <pc:docMk/>
            <pc:sldMk cId="10849840" sldId="290"/>
            <ac:spMk id="43" creationId="{137F9ECD-9724-5BE3-ED69-D46F0108A034}"/>
          </ac:spMkLst>
        </pc:spChg>
        <pc:spChg chg="mod">
          <ac:chgData name="Joelle Brehm" userId="a518f54c-6985-42c0-8041-2bb16a414839" providerId="ADAL" clId="{11F4A39F-1802-4DA4-AB6C-561BDA6399D2}" dt="2023-07-05T22:05:06.182" v="54481"/>
          <ac:spMkLst>
            <pc:docMk/>
            <pc:sldMk cId="10849840" sldId="290"/>
            <ac:spMk id="44" creationId="{16E8BB2B-0284-4130-9494-7152E71E09E4}"/>
          </ac:spMkLst>
        </pc:spChg>
        <pc:spChg chg="mod">
          <ac:chgData name="Joelle Brehm" userId="a518f54c-6985-42c0-8041-2bb16a414839" providerId="ADAL" clId="{11F4A39F-1802-4DA4-AB6C-561BDA6399D2}" dt="2023-07-05T22:05:06.182" v="54482"/>
          <ac:spMkLst>
            <pc:docMk/>
            <pc:sldMk cId="10849840" sldId="290"/>
            <ac:spMk id="46" creationId="{3E1C433A-5376-E641-B9A1-4367058A9B7F}"/>
          </ac:spMkLst>
        </pc:spChg>
        <pc:spChg chg="add del mod modVis">
          <ac:chgData name="Joelle Brehm" userId="a518f54c-6985-42c0-8041-2bb16a414839" providerId="ADAL" clId="{11F4A39F-1802-4DA4-AB6C-561BDA6399D2}" dt="2023-07-05T22:04:47.825" v="53950"/>
          <ac:spMkLst>
            <pc:docMk/>
            <pc:sldMk cId="10849840" sldId="290"/>
            <ac:spMk id="47" creationId="{607451DA-9710-65A0-0AE5-B8689A46C6F9}"/>
          </ac:spMkLst>
        </pc:spChg>
        <pc:spChg chg="add del mod modVis">
          <ac:chgData name="Joelle Brehm" userId="a518f54c-6985-42c0-8041-2bb16a414839" providerId="ADAL" clId="{11F4A39F-1802-4DA4-AB6C-561BDA6399D2}" dt="2023-07-05T22:04:50.759" v="54105"/>
          <ac:spMkLst>
            <pc:docMk/>
            <pc:sldMk cId="10849840" sldId="290"/>
            <ac:spMk id="49" creationId="{BEF15ADA-99D9-0B1D-8505-F3B6530B2557}"/>
          </ac:spMkLst>
        </pc:spChg>
        <pc:spChg chg="add del mod modVis">
          <ac:chgData name="Joelle Brehm" userId="a518f54c-6985-42c0-8041-2bb16a414839" providerId="ADAL" clId="{11F4A39F-1802-4DA4-AB6C-561BDA6399D2}" dt="2023-07-05T22:05:01.507" v="54366"/>
          <ac:spMkLst>
            <pc:docMk/>
            <pc:sldMk cId="10849840" sldId="290"/>
            <ac:spMk id="51" creationId="{1B908AE0-0B42-D8A2-0018-080750688B15}"/>
          </ac:spMkLst>
        </pc:spChg>
        <pc:spChg chg="add del mod modVis">
          <ac:chgData name="Joelle Brehm" userId="a518f54c-6985-42c0-8041-2bb16a414839" providerId="ADAL" clId="{11F4A39F-1802-4DA4-AB6C-561BDA6399D2}" dt="2023-07-05T22:05:06.203" v="54512"/>
          <ac:spMkLst>
            <pc:docMk/>
            <pc:sldMk cId="10849840" sldId="290"/>
            <ac:spMk id="53" creationId="{28A031CC-1ED0-DF27-FB6F-E5CED5C82E1F}"/>
          </ac:spMkLst>
        </pc:spChg>
        <pc:spChg chg="mod ord">
          <ac:chgData name="Joelle Brehm" userId="a518f54c-6985-42c0-8041-2bb16a414839" providerId="ADAL" clId="{11F4A39F-1802-4DA4-AB6C-561BDA6399D2}" dt="2023-07-05T22:05:06.198" v="54506"/>
          <ac:spMkLst>
            <pc:docMk/>
            <pc:sldMk cId="10849840" sldId="290"/>
            <ac:spMk id="60" creationId="{AB5689A7-20F6-4DF1-88AE-FB8557333BFB}"/>
          </ac:spMkLst>
        </pc:spChg>
        <pc:spChg chg="mod">
          <ac:chgData name="Joelle Brehm" userId="a518f54c-6985-42c0-8041-2bb16a414839" providerId="ADAL" clId="{11F4A39F-1802-4DA4-AB6C-561BDA6399D2}" dt="2023-07-05T22:05:06.182" v="54476"/>
          <ac:spMkLst>
            <pc:docMk/>
            <pc:sldMk cId="10849840" sldId="290"/>
            <ac:spMk id="65" creationId="{08A8FFCA-5E7A-95C9-8AC6-A7A03935606F}"/>
          </ac:spMkLst>
        </pc:spChg>
        <pc:spChg chg="del mod">
          <ac:chgData name="Joelle Brehm" userId="a518f54c-6985-42c0-8041-2bb16a414839" providerId="ADAL" clId="{11F4A39F-1802-4DA4-AB6C-561BDA6399D2}" dt="2023-07-05T22:04:47.707" v="53750"/>
          <ac:spMkLst>
            <pc:docMk/>
            <pc:sldMk cId="10849840" sldId="290"/>
            <ac:spMk id="71" creationId="{AFA698B7-287C-7ADA-5B16-273A59634E79}"/>
          </ac:spMkLst>
        </pc:spChg>
        <pc:spChg chg="mod">
          <ac:chgData name="Joelle Brehm" userId="a518f54c-6985-42c0-8041-2bb16a414839" providerId="ADAL" clId="{11F4A39F-1802-4DA4-AB6C-561BDA6399D2}" dt="2023-07-05T22:05:06.182" v="54465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2:05:06.182" v="54485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2:05:06.198" v="54487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2:05:06.198" v="54489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2:05:06.198" v="54491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2:05:06.198" v="54493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2:05:06.198" v="54495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2:05:06.198" v="54499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2:05:06.198" v="54501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2:05:06.198" v="54502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2:05:06.198" v="54498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2:05:06.198" v="54500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2:05:06.203" v="54514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2:05:06.182" v="54444"/>
          <ac:graphicFrameMkLst>
            <pc:docMk/>
            <pc:sldMk cId="10849840" sldId="290"/>
            <ac:graphicFrameMk id="9" creationId="{E874FC03-B00A-B90E-589D-54E262551C5B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04:46.106" v="53642"/>
          <ac:graphicFrameMkLst>
            <pc:docMk/>
            <pc:sldMk cId="10849840" sldId="290"/>
            <ac:graphicFrameMk id="42" creationId="{6B8147C5-6CA2-09C1-4DE3-C0C5C6DF5324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04:47.776" v="53866"/>
          <ac:graphicFrameMkLst>
            <pc:docMk/>
            <pc:sldMk cId="10849840" sldId="290"/>
            <ac:graphicFrameMk id="45" creationId="{A942108F-D689-FA5F-3A33-AD22B3414D54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04:50.721" v="54023"/>
          <ac:graphicFrameMkLst>
            <pc:docMk/>
            <pc:sldMk cId="10849840" sldId="290"/>
            <ac:graphicFrameMk id="48" creationId="{26D687FB-2B52-BF68-D203-50A7E85FE1A9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2:05:06.182" v="54471"/>
          <ac:graphicFrameMkLst>
            <pc:docMk/>
            <pc:sldMk cId="10849840" sldId="290"/>
            <ac:graphicFrameMk id="50" creationId="{456A5922-BB38-2A81-3F2E-64649E8D8A23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05:06.151" v="54430"/>
          <ac:graphicFrameMkLst>
            <pc:docMk/>
            <pc:sldMk cId="10849840" sldId="290"/>
            <ac:graphicFrameMk id="52" creationId="{04BD566F-85E9-1824-3B48-0C898BFACBFC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2:05:06.198" v="54497"/>
          <ac:graphicFrameMkLst>
            <pc:docMk/>
            <pc:sldMk cId="10849840" sldId="290"/>
            <ac:graphicFrameMk id="54" creationId="{ABA1E2FE-F92C-5F0D-A70E-1B613352FC77}"/>
          </ac:graphicFrameMkLst>
        </pc:graphicFrameChg>
        <pc:graphicFrameChg chg="del">
          <ac:chgData name="Joelle Brehm" userId="a518f54c-6985-42c0-8041-2bb16a414839" providerId="ADAL" clId="{11F4A39F-1802-4DA4-AB6C-561BDA6399D2}" dt="2023-07-05T22:04:09.212" v="52670"/>
          <ac:graphicFrameMkLst>
            <pc:docMk/>
            <pc:sldMk cId="10849840" sldId="290"/>
            <ac:graphicFrameMk id="55" creationId="{9ED65528-39A7-8187-F069-8D437EFD3B83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2:04:44.762" v="53448"/>
          <ac:graphicFrameMkLst>
            <pc:docMk/>
            <pc:sldMk cId="10849840" sldId="290"/>
            <ac:graphicFrameMk id="58" creationId="{A52CB224-BC64-35C1-F3FF-E0CCFDE9A88D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2:05:01.433" v="54284"/>
          <ac:graphicFrameMkLst>
            <pc:docMk/>
            <pc:sldMk cId="10849840" sldId="290"/>
            <ac:graphicFrameMk id="62" creationId="{D10AA92C-678B-285C-4B7C-CD5CACA0D606}"/>
          </ac:graphicFrameMkLst>
        </pc:graphicFrameChg>
        <pc:picChg chg="add mod ord">
          <ac:chgData name="Joelle Brehm" userId="a518f54c-6985-42c0-8041-2bb16a414839" providerId="ADAL" clId="{11F4A39F-1802-4DA4-AB6C-561BDA6399D2}" dt="2023-07-05T22:05:06.182" v="54438"/>
          <ac:picMkLst>
            <pc:docMk/>
            <pc:sldMk cId="10849840" sldId="290"/>
            <ac:picMk id="10" creationId="{FC6D1DAC-028D-0828-84C7-E7751A8ACD85}"/>
          </ac:picMkLst>
        </pc:picChg>
        <pc:picChg chg="del mod ord">
          <ac:chgData name="Joelle Brehm" userId="a518f54c-6985-42c0-8041-2bb16a414839" providerId="ADAL" clId="{11F4A39F-1802-4DA4-AB6C-561BDA6399D2}" dt="2023-07-05T22:04:32.032" v="52902" actId="478"/>
          <ac:picMkLst>
            <pc:docMk/>
            <pc:sldMk cId="10849840" sldId="290"/>
            <ac:picMk id="56" creationId="{B9DA40A5-458C-A552-F701-C452E6ED87E2}"/>
          </ac:picMkLst>
        </pc:picChg>
        <pc:picChg chg="mod ord">
          <ac:chgData name="Joelle Brehm" userId="a518f54c-6985-42c0-8041-2bb16a414839" providerId="ADAL" clId="{11F4A39F-1802-4DA4-AB6C-561BDA6399D2}" dt="2023-07-05T22:05:06.198" v="54504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2:05:06.182" v="54442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3:22:58.235" v="57879"/>
        <pc:sldMkLst>
          <pc:docMk/>
          <pc:sldMk cId="996393659" sldId="291"/>
        </pc:sldMkLst>
        <pc:spChg chg="mod ord">
          <ac:chgData name="Joelle Brehm" userId="a518f54c-6985-42c0-8041-2bb16a414839" providerId="ADAL" clId="{11F4A39F-1802-4DA4-AB6C-561BDA6399D2}" dt="2023-07-05T23:22:58.203" v="57873"/>
          <ac:spMkLst>
            <pc:docMk/>
            <pc:sldMk cId="996393659" sldId="291"/>
            <ac:spMk id="2" creationId="{903BD9AC-C420-4F19-B1D1-731DE7D9A596}"/>
          </ac:spMkLst>
        </pc:spChg>
        <pc:spChg chg="add del mod ord">
          <ac:chgData name="Joelle Brehm" userId="a518f54c-6985-42c0-8041-2bb16a414839" providerId="ADAL" clId="{11F4A39F-1802-4DA4-AB6C-561BDA6399D2}" dt="2023-07-05T23:22:41.282" v="56476" actId="478"/>
          <ac:spMkLst>
            <pc:docMk/>
            <pc:sldMk cId="996393659" sldId="291"/>
            <ac:spMk id="3" creationId="{CBE05E38-2BC1-5B36-41AC-06B375846A1B}"/>
          </ac:spMkLst>
        </pc:spChg>
        <pc:spChg chg="add del mod modVis">
          <ac:chgData name="Joelle Brehm" userId="a518f54c-6985-42c0-8041-2bb16a414839" providerId="ADAL" clId="{11F4A39F-1802-4DA4-AB6C-561BDA6399D2}" dt="2023-07-05T23:22:10.227" v="56368"/>
          <ac:spMkLst>
            <pc:docMk/>
            <pc:sldMk cId="996393659" sldId="291"/>
            <ac:spMk id="5" creationId="{AEE1E63D-9F68-E5C3-E29F-7B0663DF377A}"/>
          </ac:spMkLst>
        </pc:spChg>
        <pc:spChg chg="mod ord">
          <ac:chgData name="Joelle Brehm" userId="a518f54c-6985-42c0-8041-2bb16a414839" providerId="ADAL" clId="{11F4A39F-1802-4DA4-AB6C-561BDA6399D2}" dt="2023-07-05T23:22:58.165" v="57805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3:22:58.172" v="57817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3:22:58.172" v="57815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3:22:58.172" v="57816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3:22:58.172" v="57812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3:22:58.172" v="57814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3:22:58.172" v="57813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3:22:58.172" v="57818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3:22:58.172" v="57811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3:22:58.172" v="57810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3:22:58.172" v="57819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3:22:58.180" v="57820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3:22:58.180" v="57821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3:22:58.181" v="57823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3:22:58.181" v="57827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3:22:58.181" v="57826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3:22:58.181" v="57828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3:22:58.181" v="57830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3:22:58.181" v="57829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3:22:58.186" v="57831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3:22:58.186" v="57834"/>
          <ac:spMkLst>
            <pc:docMk/>
            <pc:sldMk cId="996393659" sldId="291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3:22:58.186" v="57840"/>
          <ac:spMkLst>
            <pc:docMk/>
            <pc:sldMk cId="996393659" sldId="291"/>
            <ac:spMk id="31" creationId="{18F84874-BF1C-CE57-E4F7-12A82924407E}"/>
          </ac:spMkLst>
        </pc:spChg>
        <pc:spChg chg="mod">
          <ac:chgData name="Joelle Brehm" userId="a518f54c-6985-42c0-8041-2bb16a414839" providerId="ADAL" clId="{11F4A39F-1802-4DA4-AB6C-561BDA6399D2}" dt="2023-07-05T23:22:58.186" v="57838"/>
          <ac:spMkLst>
            <pc:docMk/>
            <pc:sldMk cId="996393659" sldId="291"/>
            <ac:spMk id="33" creationId="{7F65E50F-0922-5AA2-A553-47A66BCD0434}"/>
          </ac:spMkLst>
        </pc:spChg>
        <pc:spChg chg="mod">
          <ac:chgData name="Joelle Brehm" userId="a518f54c-6985-42c0-8041-2bb16a414839" providerId="ADAL" clId="{11F4A39F-1802-4DA4-AB6C-561BDA6399D2}" dt="2023-07-05T23:22:58.186" v="57841"/>
          <ac:spMkLst>
            <pc:docMk/>
            <pc:sldMk cId="996393659" sldId="291"/>
            <ac:spMk id="34" creationId="{93CE5F4B-80AA-6CF5-D97D-0127CD5DB126}"/>
          </ac:spMkLst>
        </pc:spChg>
        <pc:spChg chg="mod">
          <ac:chgData name="Joelle Brehm" userId="a518f54c-6985-42c0-8041-2bb16a414839" providerId="ADAL" clId="{11F4A39F-1802-4DA4-AB6C-561BDA6399D2}" dt="2023-07-05T23:22:58.186" v="57844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11F4A39F-1802-4DA4-AB6C-561BDA6399D2}" dt="2023-07-05T23:22:58.186" v="57843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11F4A39F-1802-4DA4-AB6C-561BDA6399D2}" dt="2023-07-05T23:22:58.181" v="57825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11F4A39F-1802-4DA4-AB6C-561BDA6399D2}" dt="2023-07-05T23:22:58.186" v="57837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11F4A39F-1802-4DA4-AB6C-561BDA6399D2}" dt="2023-07-05T23:22:58.186" v="57845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11F4A39F-1802-4DA4-AB6C-561BDA6399D2}" dt="2023-07-05T23:22:58.186" v="57842"/>
          <ac:spMkLst>
            <pc:docMk/>
            <pc:sldMk cId="996393659" sldId="291"/>
            <ac:spMk id="40" creationId="{A8312A9A-B611-54E0-AD6D-1D2A98468FCC}"/>
          </ac:spMkLst>
        </pc:spChg>
        <pc:spChg chg="add mod replST">
          <ac:chgData name="Joelle Brehm" userId="a518f54c-6985-42c0-8041-2bb16a414839" providerId="ADAL" clId="{11F4A39F-1802-4DA4-AB6C-561BDA6399D2}" dt="2023-07-05T23:22:58.186" v="57848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11F4A39F-1802-4DA4-AB6C-561BDA6399D2}" dt="2023-07-05T23:22:58.186" v="57846"/>
          <ac:spMkLst>
            <pc:docMk/>
            <pc:sldMk cId="996393659" sldId="291"/>
            <ac:spMk id="42" creationId="{165CFD82-DBAB-71C3-50A2-9207D199C08E}"/>
          </ac:spMkLst>
        </pc:spChg>
        <pc:spChg chg="add del mod modVis">
          <ac:chgData name="Joelle Brehm" userId="a518f54c-6985-42c0-8041-2bb16a414839" providerId="ADAL" clId="{11F4A39F-1802-4DA4-AB6C-561BDA6399D2}" dt="2023-07-05T23:22:46.565" v="57221"/>
          <ac:spMkLst>
            <pc:docMk/>
            <pc:sldMk cId="996393659" sldId="291"/>
            <ac:spMk id="43" creationId="{EF60772C-E75C-7670-088A-74CC9EA48A6F}"/>
          </ac:spMkLst>
        </pc:spChg>
        <pc:spChg chg="mod">
          <ac:chgData name="Joelle Brehm" userId="a518f54c-6985-42c0-8041-2bb16a414839" providerId="ADAL" clId="{11F4A39F-1802-4DA4-AB6C-561BDA6399D2}" dt="2023-07-05T23:22:58.186" v="57847"/>
          <ac:spMkLst>
            <pc:docMk/>
            <pc:sldMk cId="996393659" sldId="291"/>
            <ac:spMk id="44" creationId="{DFD20995-23FA-9A59-8153-A2DE50612FF0}"/>
          </ac:spMkLst>
        </pc:spChg>
        <pc:spChg chg="add del mod ord replST">
          <ac:chgData name="Joelle Brehm" userId="a518f54c-6985-42c0-8041-2bb16a414839" providerId="ADAL" clId="{11F4A39F-1802-4DA4-AB6C-561BDA6399D2}" dt="2023-07-05T23:22:49.456" v="57546"/>
          <ac:spMkLst>
            <pc:docMk/>
            <pc:sldMk cId="996393659" sldId="291"/>
            <ac:spMk id="45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23:22:47.348" v="57431"/>
          <ac:spMkLst>
            <pc:docMk/>
            <pc:sldMk cId="996393659" sldId="291"/>
            <ac:spMk id="47" creationId="{ADFBA497-27D8-AA54-01A6-6ACBE18D4C38}"/>
          </ac:spMkLst>
        </pc:spChg>
        <pc:spChg chg="add del mod modVis">
          <ac:chgData name="Joelle Brehm" userId="a518f54c-6985-42c0-8041-2bb16a414839" providerId="ADAL" clId="{11F4A39F-1802-4DA4-AB6C-561BDA6399D2}" dt="2023-07-05T23:22:49.487" v="57630"/>
          <ac:spMkLst>
            <pc:docMk/>
            <pc:sldMk cId="996393659" sldId="291"/>
            <ac:spMk id="50" creationId="{D7304420-FED6-9096-AE4F-6ACE1E966E9C}"/>
          </ac:spMkLst>
        </pc:spChg>
        <pc:spChg chg="add del mod modVis">
          <ac:chgData name="Joelle Brehm" userId="a518f54c-6985-42c0-8041-2bb16a414839" providerId="ADAL" clId="{11F4A39F-1802-4DA4-AB6C-561BDA6399D2}" dt="2023-07-05T23:22:58.219" v="57877"/>
          <ac:spMkLst>
            <pc:docMk/>
            <pc:sldMk cId="996393659" sldId="291"/>
            <ac:spMk id="53" creationId="{6CAF6213-2925-41E3-5615-FD2DCE54D79C}"/>
          </ac:spMkLst>
        </pc:spChg>
        <pc:spChg chg="del mod">
          <ac:chgData name="Joelle Brehm" userId="a518f54c-6985-42c0-8041-2bb16a414839" providerId="ADAL" clId="{11F4A39F-1802-4DA4-AB6C-561BDA6399D2}" dt="2023-07-05T23:22:49.373" v="57434"/>
          <ac:spMkLst>
            <pc:docMk/>
            <pc:sldMk cId="996393659" sldId="291"/>
            <ac:spMk id="65" creationId="{E10362A7-9270-C772-78D4-2D35EE58F409}"/>
          </ac:spMkLst>
        </pc:spChg>
        <pc:spChg chg="mod">
          <ac:chgData name="Joelle Brehm" userId="a518f54c-6985-42c0-8041-2bb16a414839" providerId="ADAL" clId="{11F4A39F-1802-4DA4-AB6C-561BDA6399D2}" dt="2023-07-05T23:22:58.186" v="57839"/>
          <ac:spMkLst>
            <pc:docMk/>
            <pc:sldMk cId="996393659" sldId="291"/>
            <ac:spMk id="67" creationId="{E8964985-DC27-BEA5-4249-CD30EFCD5B61}"/>
          </ac:spMkLst>
        </pc:spChg>
        <pc:spChg chg="mod">
          <ac:chgData name="Joelle Brehm" userId="a518f54c-6985-42c0-8041-2bb16a414839" providerId="ADAL" clId="{11F4A39F-1802-4DA4-AB6C-561BDA6399D2}" dt="2023-07-05T23:22:58.186" v="57832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3:22:58.186" v="57850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3:22:58.203" v="57852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3:22:58.203" v="57871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11F4A39F-1802-4DA4-AB6C-561BDA6399D2}" dt="2023-07-05T23:22:58.203" v="57854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3:22:58.203" v="57856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3:22:58.203" v="57858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3:22:58.203" v="57860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3:22:58.203" v="57863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3:22:58.203" v="57864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3:22:58.203" v="57865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3:22:58.203" v="57866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3:22:58.203" v="57867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3:22:58.235" v="57879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3:22:10.138" v="56278"/>
          <ac:graphicFrameMkLst>
            <pc:docMk/>
            <pc:sldMk cId="996393659" sldId="291"/>
            <ac:graphicFrameMk id="8" creationId="{0475B4BF-9365-6A58-A3E9-5D5B0F0C2E52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3:22:58.172" v="57809"/>
          <ac:graphicFrameMkLst>
            <pc:docMk/>
            <pc:sldMk cId="996393659" sldId="291"/>
            <ac:graphicFrameMk id="9" creationId="{DAD606CE-2786-2377-7DF2-1290CDD94268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3:22:47.285" v="57324"/>
          <ac:graphicFrameMkLst>
            <pc:docMk/>
            <pc:sldMk cId="996393659" sldId="291"/>
            <ac:graphicFrameMk id="46" creationId="{A114A9E8-2D57-C466-B52F-B7882D65B3C6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3:22:49.456" v="57548"/>
          <ac:graphicFrameMkLst>
            <pc:docMk/>
            <pc:sldMk cId="996393659" sldId="291"/>
            <ac:graphicFrameMk id="48" creationId="{0A76E21C-BB30-68B1-D18F-4EB6B22C9963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3:22:46.513" v="57114"/>
          <ac:graphicFrameMkLst>
            <pc:docMk/>
            <pc:sldMk cId="996393659" sldId="291"/>
            <ac:graphicFrameMk id="49" creationId="{743BB8ED-751A-B231-AF9A-F0A039CE1CBE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3:22:58.082" v="57795"/>
          <ac:graphicFrameMkLst>
            <pc:docMk/>
            <pc:sldMk cId="996393659" sldId="291"/>
            <ac:graphicFrameMk id="51" creationId="{0AF13DD0-F84A-00CC-8080-98AB2B750111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3:22:58.186" v="57836"/>
          <ac:graphicFrameMkLst>
            <pc:docMk/>
            <pc:sldMk cId="996393659" sldId="291"/>
            <ac:graphicFrameMk id="52" creationId="{4E2CC400-A874-4EE9-3F1A-AF9D1B0FC9AF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3:22:58.203" v="57862"/>
          <ac:graphicFrameMkLst>
            <pc:docMk/>
            <pc:sldMk cId="996393659" sldId="291"/>
            <ac:graphicFrameMk id="54" creationId="{8302C87C-93BD-68CB-C10A-B5CC76FCEEC2}"/>
          </ac:graphicFrameMkLst>
        </pc:graphicFrameChg>
        <pc:picChg chg="add mod ord">
          <ac:chgData name="Joelle Brehm" userId="a518f54c-6985-42c0-8041-2bb16a414839" providerId="ADAL" clId="{11F4A39F-1802-4DA4-AB6C-561BDA6399D2}" dt="2023-07-05T23:22:58.165" v="57803"/>
          <ac:picMkLst>
            <pc:docMk/>
            <pc:sldMk cId="996393659" sldId="291"/>
            <ac:picMk id="10" creationId="{315B440E-736D-D300-F5A1-BB699DC63389}"/>
          </ac:picMkLst>
        </pc:picChg>
        <pc:picChg chg="del mod ord">
          <ac:chgData name="Joelle Brehm" userId="a518f54c-6985-42c0-8041-2bb16a414839" providerId="ADAL" clId="{11F4A39F-1802-4DA4-AB6C-561BDA6399D2}" dt="2023-07-05T23:22:31.220" v="56474" actId="478"/>
          <ac:picMkLst>
            <pc:docMk/>
            <pc:sldMk cId="996393659" sldId="291"/>
            <ac:picMk id="32" creationId="{0A3240FF-4E70-09D4-DD09-C23236FB79C7}"/>
          </ac:picMkLst>
        </pc:picChg>
        <pc:picChg chg="mod ord">
          <ac:chgData name="Joelle Brehm" userId="a518f54c-6985-42c0-8041-2bb16a414839" providerId="ADAL" clId="{11F4A39F-1802-4DA4-AB6C-561BDA6399D2}" dt="2023-07-05T23:22:58.203" v="57869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3:22:58.165" v="57807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23:21:34.589" v="56106"/>
        <pc:sldMkLst>
          <pc:docMk/>
          <pc:sldMk cId="3635637425" sldId="292"/>
        </pc:sldMkLst>
        <pc:spChg chg="mod ord">
          <ac:chgData name="Joelle Brehm" userId="a518f54c-6985-42c0-8041-2bb16a414839" providerId="ADAL" clId="{11F4A39F-1802-4DA4-AB6C-561BDA6399D2}" dt="2023-07-05T23:21:34.558" v="56102"/>
          <ac:spMkLst>
            <pc:docMk/>
            <pc:sldMk cId="3635637425" sldId="292"/>
            <ac:spMk id="2" creationId="{9445A78E-5217-4459-B540-57B5B2359A2E}"/>
          </ac:spMkLst>
        </pc:spChg>
        <pc:spChg chg="add del mod ord">
          <ac:chgData name="Joelle Brehm" userId="a518f54c-6985-42c0-8041-2bb16a414839" providerId="ADAL" clId="{11F4A39F-1802-4DA4-AB6C-561BDA6399D2}" dt="2023-07-05T22:16:19.188" v="54884" actId="478"/>
          <ac:spMkLst>
            <pc:docMk/>
            <pc:sldMk cId="3635637425" sldId="292"/>
            <ac:spMk id="3" creationId="{8A1E57E3-E5B1-EE9A-8A06-46CEFDDD00FF}"/>
          </ac:spMkLst>
        </pc:spChg>
        <pc:spChg chg="add del mod modVis">
          <ac:chgData name="Joelle Brehm" userId="a518f54c-6985-42c0-8041-2bb16a414839" providerId="ADAL" clId="{11F4A39F-1802-4DA4-AB6C-561BDA6399D2}" dt="2023-07-05T22:05:23.027" v="54784"/>
          <ac:spMkLst>
            <pc:docMk/>
            <pc:sldMk cId="3635637425" sldId="292"/>
            <ac:spMk id="5" creationId="{1AD7C8CA-681D-3B8B-418A-3C8F63506B72}"/>
          </ac:spMkLst>
        </pc:spChg>
        <pc:spChg chg="mod ord">
          <ac:chgData name="Joelle Brehm" userId="a518f54c-6985-42c0-8041-2bb16a414839" providerId="ADAL" clId="{11F4A39F-1802-4DA4-AB6C-561BDA6399D2}" dt="2023-07-05T23:21:34.542" v="56034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11F4A39F-1802-4DA4-AB6C-561BDA6399D2}" dt="2023-07-05T23:21:34.542" v="56040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11F4A39F-1802-4DA4-AB6C-561BDA6399D2}" dt="2023-07-05T23:21:34.542" v="56045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11F4A39F-1802-4DA4-AB6C-561BDA6399D2}" dt="2023-07-05T23:21:34.542" v="56039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11F4A39F-1802-4DA4-AB6C-561BDA6399D2}" dt="2023-07-05T23:21:34.542" v="56043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11F4A39F-1802-4DA4-AB6C-561BDA6399D2}" dt="2023-07-05T23:21:34.542" v="56044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11F4A39F-1802-4DA4-AB6C-561BDA6399D2}" dt="2023-07-05T23:21:34.542" v="56042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11F4A39F-1802-4DA4-AB6C-561BDA6399D2}" dt="2023-07-05T23:21:34.542" v="56046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11F4A39F-1802-4DA4-AB6C-561BDA6399D2}" dt="2023-07-05T23:21:34.542" v="56047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11F4A39F-1802-4DA4-AB6C-561BDA6399D2}" dt="2023-07-05T23:21:34.542" v="56048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11F4A39F-1802-4DA4-AB6C-561BDA6399D2}" dt="2023-07-05T23:21:34.542" v="56049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11F4A39F-1802-4DA4-AB6C-561BDA6399D2}" dt="2023-07-05T23:21:34.542" v="56041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11F4A39F-1802-4DA4-AB6C-561BDA6399D2}" dt="2023-07-05T23:21:34.542" v="56050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11F4A39F-1802-4DA4-AB6C-561BDA6399D2}" dt="2023-07-05T23:21:34.542" v="56052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11F4A39F-1802-4DA4-AB6C-561BDA6399D2}" dt="2023-07-05T23:21:34.542" v="56057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11F4A39F-1802-4DA4-AB6C-561BDA6399D2}" dt="2023-07-05T23:21:34.542" v="56053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11F4A39F-1802-4DA4-AB6C-561BDA6399D2}" dt="2023-07-05T23:21:34.542" v="56056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11F4A39F-1802-4DA4-AB6C-561BDA6399D2}" dt="2023-07-05T23:21:34.542" v="56059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11F4A39F-1802-4DA4-AB6C-561BDA6399D2}" dt="2023-07-05T23:21:34.542" v="56058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11F4A39F-1802-4DA4-AB6C-561BDA6399D2}" dt="2023-07-05T23:21:34.542" v="56060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11F4A39F-1802-4DA4-AB6C-561BDA6399D2}" dt="2023-07-05T23:21:34.542" v="56063"/>
          <ac:spMkLst>
            <pc:docMk/>
            <pc:sldMk cId="3635637425" sldId="292"/>
            <ac:spMk id="30" creationId="{121A2A89-FB4E-4B9A-840D-28523B0B457F}"/>
          </ac:spMkLst>
        </pc:spChg>
        <pc:spChg chg="mod">
          <ac:chgData name="Joelle Brehm" userId="a518f54c-6985-42c0-8041-2bb16a414839" providerId="ADAL" clId="{11F4A39F-1802-4DA4-AB6C-561BDA6399D2}" dt="2023-07-05T23:21:34.542" v="56071"/>
          <ac:spMkLst>
            <pc:docMk/>
            <pc:sldMk cId="3635637425" sldId="292"/>
            <ac:spMk id="31" creationId="{75814527-E466-B01B-1983-40ECB343B6BF}"/>
          </ac:spMkLst>
        </pc:spChg>
        <pc:spChg chg="mod">
          <ac:chgData name="Joelle Brehm" userId="a518f54c-6985-42c0-8041-2bb16a414839" providerId="ADAL" clId="{11F4A39F-1802-4DA4-AB6C-561BDA6399D2}" dt="2023-07-05T23:21:34.542" v="56074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11F4A39F-1802-4DA4-AB6C-561BDA6399D2}" dt="2023-07-05T23:21:34.542" v="56066"/>
          <ac:spMkLst>
            <pc:docMk/>
            <pc:sldMk cId="3635637425" sldId="292"/>
            <ac:spMk id="33" creationId="{3D97C813-EA7E-2516-68C7-9A8F0022EEB9}"/>
          </ac:spMkLst>
        </pc:spChg>
        <pc:spChg chg="mod">
          <ac:chgData name="Joelle Brehm" userId="a518f54c-6985-42c0-8041-2bb16a414839" providerId="ADAL" clId="{11F4A39F-1802-4DA4-AB6C-561BDA6399D2}" dt="2023-07-05T23:21:34.542" v="56068"/>
          <ac:spMkLst>
            <pc:docMk/>
            <pc:sldMk cId="3635637425" sldId="292"/>
            <ac:spMk id="34" creationId="{2D56DCBB-CAC0-D3CA-B5B2-D6B7B1E4A4D6}"/>
          </ac:spMkLst>
        </pc:spChg>
        <pc:spChg chg="mod">
          <ac:chgData name="Joelle Brehm" userId="a518f54c-6985-42c0-8041-2bb16a414839" providerId="ADAL" clId="{11F4A39F-1802-4DA4-AB6C-561BDA6399D2}" dt="2023-07-05T23:21:34.542" v="56069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11F4A39F-1802-4DA4-AB6C-561BDA6399D2}" dt="2023-07-05T23:21:34.542" v="56055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11F4A39F-1802-4DA4-AB6C-561BDA6399D2}" dt="2023-07-05T23:21:34.542" v="56072"/>
          <ac:spMkLst>
            <pc:docMk/>
            <pc:sldMk cId="3635637425" sldId="292"/>
            <ac:spMk id="38" creationId="{3FFCD1FD-A1E7-E0E9-3B0A-272DB96B6E85}"/>
          </ac:spMkLst>
        </pc:spChg>
        <pc:spChg chg="mod">
          <ac:chgData name="Joelle Brehm" userId="a518f54c-6985-42c0-8041-2bb16a414839" providerId="ADAL" clId="{11F4A39F-1802-4DA4-AB6C-561BDA6399D2}" dt="2023-07-05T23:21:34.542" v="56076"/>
          <ac:spMkLst>
            <pc:docMk/>
            <pc:sldMk cId="3635637425" sldId="292"/>
            <ac:spMk id="39" creationId="{5BC6A367-B4D4-6E5E-2078-D86D8BF0E50F}"/>
          </ac:spMkLst>
        </pc:spChg>
        <pc:spChg chg="add mod replST">
          <ac:chgData name="Joelle Brehm" userId="a518f54c-6985-42c0-8041-2bb16a414839" providerId="ADAL" clId="{11F4A39F-1802-4DA4-AB6C-561BDA6399D2}" dt="2023-07-05T23:21:34.542" v="56077"/>
          <ac:spMkLst>
            <pc:docMk/>
            <pc:sldMk cId="3635637425" sldId="292"/>
            <ac:spMk id="40" creationId="{320B27A3-949F-FEDA-9F13-4419FD0BBD63}"/>
          </ac:spMkLst>
        </pc:spChg>
        <pc:spChg chg="add del mod modVis">
          <ac:chgData name="Joelle Brehm" userId="a518f54c-6985-42c0-8041-2bb16a414839" providerId="ADAL" clId="{11F4A39F-1802-4DA4-AB6C-561BDA6399D2}" dt="2023-07-05T22:16:34.422" v="55406"/>
          <ac:spMkLst>
            <pc:docMk/>
            <pc:sldMk cId="3635637425" sldId="292"/>
            <ac:spMk id="41" creationId="{3250B289-C9BF-6D42-7570-7C629F3211DE}"/>
          </ac:spMkLst>
        </pc:spChg>
        <pc:spChg chg="mod">
          <ac:chgData name="Joelle Brehm" userId="a518f54c-6985-42c0-8041-2bb16a414839" providerId="ADAL" clId="{11F4A39F-1802-4DA4-AB6C-561BDA6399D2}" dt="2023-07-05T23:21:34.542" v="56073"/>
          <ac:spMkLst>
            <pc:docMk/>
            <pc:sldMk cId="3635637425" sldId="292"/>
            <ac:spMk id="42" creationId="{668AF5D9-4E8D-2E4B-2079-072182484759}"/>
          </ac:spMkLst>
        </pc:spChg>
        <pc:spChg chg="mod">
          <ac:chgData name="Joelle Brehm" userId="a518f54c-6985-42c0-8041-2bb16a414839" providerId="ADAL" clId="{11F4A39F-1802-4DA4-AB6C-561BDA6399D2}" dt="2023-07-05T23:21:34.542" v="56067"/>
          <ac:spMkLst>
            <pc:docMk/>
            <pc:sldMk cId="3635637425" sldId="292"/>
            <ac:spMk id="44" creationId="{97D91EEA-F173-6276-F6D8-9287A845E3A2}"/>
          </ac:spMkLst>
        </pc:spChg>
        <pc:spChg chg="add del mod modVis">
          <ac:chgData name="Joelle Brehm" userId="a518f54c-6985-42c0-8041-2bb16a414839" providerId="ADAL" clId="{11F4A39F-1802-4DA4-AB6C-561BDA6399D2}" dt="2023-07-05T22:16:38.916" v="55560"/>
          <ac:spMkLst>
            <pc:docMk/>
            <pc:sldMk cId="3635637425" sldId="292"/>
            <ac:spMk id="45" creationId="{DC2BB49E-5670-4780-7AA1-8A2603A22B35}"/>
          </ac:spMkLst>
        </pc:spChg>
        <pc:spChg chg="mod">
          <ac:chgData name="Joelle Brehm" userId="a518f54c-6985-42c0-8041-2bb16a414839" providerId="ADAL" clId="{11F4A39F-1802-4DA4-AB6C-561BDA6399D2}" dt="2023-07-05T23:21:34.542" v="56075"/>
          <ac:spMkLst>
            <pc:docMk/>
            <pc:sldMk cId="3635637425" sldId="292"/>
            <ac:spMk id="46" creationId="{38D3D6F2-A854-D543-7C6D-CB3894DB11AC}"/>
          </ac:spMkLst>
        </pc:spChg>
        <pc:spChg chg="add del mod modVis">
          <ac:chgData name="Joelle Brehm" userId="a518f54c-6985-42c0-8041-2bb16a414839" providerId="ADAL" clId="{11F4A39F-1802-4DA4-AB6C-561BDA6399D2}" dt="2023-07-05T22:16:47.504" v="55754"/>
          <ac:spMkLst>
            <pc:docMk/>
            <pc:sldMk cId="3635637425" sldId="292"/>
            <ac:spMk id="48" creationId="{35CF6444-EABE-6D20-0F7C-A1F80EC089F5}"/>
          </ac:spMkLst>
        </pc:spChg>
        <pc:spChg chg="add del mod modVis">
          <ac:chgData name="Joelle Brehm" userId="a518f54c-6985-42c0-8041-2bb16a414839" providerId="ADAL" clId="{11F4A39F-1802-4DA4-AB6C-561BDA6399D2}" dt="2023-07-05T22:16:57.918" v="56001"/>
          <ac:spMkLst>
            <pc:docMk/>
            <pc:sldMk cId="3635637425" sldId="292"/>
            <ac:spMk id="50" creationId="{965129AA-AA75-A73E-CD97-863B0EE0E736}"/>
          </ac:spMkLst>
        </pc:spChg>
        <pc:spChg chg="mod ord">
          <ac:chgData name="Joelle Brehm" userId="a518f54c-6985-42c0-8041-2bb16a414839" providerId="ADAL" clId="{11F4A39F-1802-4DA4-AB6C-561BDA6399D2}" dt="2023-07-05T23:21:34.558" v="56100"/>
          <ac:spMkLst>
            <pc:docMk/>
            <pc:sldMk cId="3635637425" sldId="292"/>
            <ac:spMk id="60" creationId="{8AFF754E-1785-41DB-892C-A30765DCA565}"/>
          </ac:spMkLst>
        </pc:spChg>
        <pc:spChg chg="del mod">
          <ac:chgData name="Joelle Brehm" userId="a518f54c-6985-42c0-8041-2bb16a414839" providerId="ADAL" clId="{11F4A39F-1802-4DA4-AB6C-561BDA6399D2}" dt="2023-07-05T22:16:47.356" v="55563"/>
          <ac:spMkLst>
            <pc:docMk/>
            <pc:sldMk cId="3635637425" sldId="292"/>
            <ac:spMk id="69" creationId="{8C9D4DEA-D518-B2DC-CBFE-885271E371BE}"/>
          </ac:spMkLst>
        </pc:spChg>
        <pc:spChg chg="mod">
          <ac:chgData name="Joelle Brehm" userId="a518f54c-6985-42c0-8041-2bb16a414839" providerId="ADAL" clId="{11F4A39F-1802-4DA4-AB6C-561BDA6399D2}" dt="2023-07-05T23:21:34.542" v="56070"/>
          <ac:spMkLst>
            <pc:docMk/>
            <pc:sldMk cId="3635637425" sldId="292"/>
            <ac:spMk id="70" creationId="{11E248BC-BF48-30A1-6494-256B48A0B38F}"/>
          </ac:spMkLst>
        </pc:spChg>
        <pc:spChg chg="mod">
          <ac:chgData name="Joelle Brehm" userId="a518f54c-6985-42c0-8041-2bb16a414839" providerId="ADAL" clId="{11F4A39F-1802-4DA4-AB6C-561BDA6399D2}" dt="2023-07-05T23:21:34.542" v="56061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11F4A39F-1802-4DA4-AB6C-561BDA6399D2}" dt="2023-07-05T23:21:34.542" v="56079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11F4A39F-1802-4DA4-AB6C-561BDA6399D2}" dt="2023-07-05T23:21:34.542" v="56081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11F4A39F-1802-4DA4-AB6C-561BDA6399D2}" dt="2023-07-05T23:21:34.542" v="56083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11F4A39F-1802-4DA4-AB6C-561BDA6399D2}" dt="2023-07-05T23:21:34.542" v="56085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11F4A39F-1802-4DA4-AB6C-561BDA6399D2}" dt="2023-07-05T23:21:34.542" v="56087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11F4A39F-1802-4DA4-AB6C-561BDA6399D2}" dt="2023-07-05T23:21:34.542" v="56089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11F4A39F-1802-4DA4-AB6C-561BDA6399D2}" dt="2023-07-05T23:21:34.542" v="56093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3:21:34.558" v="56095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3:21:34.542" v="56092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23:21:34.558" v="56096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11F4A39F-1802-4DA4-AB6C-561BDA6399D2}" dt="2023-07-05T23:21:34.542" v="56094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11F4A39F-1802-4DA4-AB6C-561BDA6399D2}" dt="2023-07-05T23:21:34.589" v="56106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11F4A39F-1802-4DA4-AB6C-561BDA6399D2}" dt="2023-07-05T22:05:22.972" v="54696"/>
          <ac:graphicFrameMkLst>
            <pc:docMk/>
            <pc:sldMk cId="3635637425" sldId="292"/>
            <ac:graphicFrameMk id="8" creationId="{360F0CB1-518C-EFDC-CBE3-9387EC21CF3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3:21:34.542" v="56038"/>
          <ac:graphicFrameMkLst>
            <pc:docMk/>
            <pc:sldMk cId="3635637425" sldId="292"/>
            <ac:graphicFrameMk id="9" creationId="{CDD58CF5-50BC-E22B-F8C0-BF4EC9109E9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16:38.869" v="55477"/>
          <ac:graphicFrameMkLst>
            <pc:docMk/>
            <pc:sldMk cId="3635637425" sldId="292"/>
            <ac:graphicFrameMk id="43" creationId="{0A315D62-7CB1-8E34-4267-C2D08A2857C7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2:16:47.460" v="55672"/>
          <ac:graphicFrameMkLst>
            <pc:docMk/>
            <pc:sldMk cId="3635637425" sldId="292"/>
            <ac:graphicFrameMk id="47" creationId="{84771A38-8429-A82C-DA7F-72AAB209392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3:21:34.542" v="56065"/>
          <ac:graphicFrameMkLst>
            <pc:docMk/>
            <pc:sldMk cId="3635637425" sldId="292"/>
            <ac:graphicFrameMk id="49" creationId="{0C9B0A7B-45A4-F870-C542-361F4749E20E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23:21:34.511" v="56024"/>
          <ac:graphicFrameMkLst>
            <pc:docMk/>
            <pc:sldMk cId="3635637425" sldId="292"/>
            <ac:graphicFrameMk id="51" creationId="{AB4A02C3-AF01-57DA-B99E-9E7568F786D4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23:21:34.542" v="56091"/>
          <ac:graphicFrameMkLst>
            <pc:docMk/>
            <pc:sldMk cId="3635637425" sldId="292"/>
            <ac:graphicFrameMk id="52" creationId="{2BC7633B-2BB8-BFCC-DD7D-3418A6F8E024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2:16:34.375" v="55315"/>
          <ac:graphicFrameMkLst>
            <pc:docMk/>
            <pc:sldMk cId="3635637425" sldId="292"/>
            <ac:graphicFrameMk id="59" creationId="{3798E50C-B98D-E7AD-5907-76EC11865BD1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22:16:57.870" v="55919"/>
          <ac:graphicFrameMkLst>
            <pc:docMk/>
            <pc:sldMk cId="3635637425" sldId="292"/>
            <ac:graphicFrameMk id="62" creationId="{AA65F23B-FDBD-24C9-C25A-85AA9381FAD1}"/>
          </ac:graphicFrameMkLst>
        </pc:graphicFrameChg>
        <pc:picChg chg="del mod ord">
          <ac:chgData name="Joelle Brehm" userId="a518f54c-6985-42c0-8041-2bb16a414839" providerId="ADAL" clId="{11F4A39F-1802-4DA4-AB6C-561BDA6399D2}" dt="2023-07-05T22:05:43.776" v="54883" actId="478"/>
          <ac:picMkLst>
            <pc:docMk/>
            <pc:sldMk cId="3635637425" sldId="292"/>
            <ac:picMk id="10" creationId="{FFE80A40-D8EB-B3A5-EB12-38C53AC0E12C}"/>
          </ac:picMkLst>
        </pc:picChg>
        <pc:picChg chg="add mod ord">
          <ac:chgData name="Joelle Brehm" userId="a518f54c-6985-42c0-8041-2bb16a414839" providerId="ADAL" clId="{11F4A39F-1802-4DA4-AB6C-561BDA6399D2}" dt="2023-07-05T23:21:34.542" v="56032"/>
          <ac:picMkLst>
            <pc:docMk/>
            <pc:sldMk cId="3635637425" sldId="292"/>
            <ac:picMk id="35" creationId="{94BF9BC5-2287-2A19-2C26-B7D0762083B7}"/>
          </ac:picMkLst>
        </pc:picChg>
        <pc:picChg chg="mod ord">
          <ac:chgData name="Joelle Brehm" userId="a518f54c-6985-42c0-8041-2bb16a414839" providerId="ADAL" clId="{11F4A39F-1802-4DA4-AB6C-561BDA6399D2}" dt="2023-07-05T23:21:34.558" v="56098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11F4A39F-1802-4DA4-AB6C-561BDA6399D2}" dt="2023-07-05T23:21:34.542" v="56036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11F4A39F-1802-4DA4-AB6C-561BDA6399D2}" dt="2023-07-05T16:23:10.440" v="11290" actId="478"/>
        <pc:sldMkLst>
          <pc:docMk/>
          <pc:sldMk cId="4143996880" sldId="293"/>
        </pc:sldMkLst>
        <pc:spChg chg="mod ord">
          <ac:chgData name="Joelle Brehm" userId="a518f54c-6985-42c0-8041-2bb16a414839" providerId="ADAL" clId="{11F4A39F-1802-4DA4-AB6C-561BDA6399D2}" dt="2023-07-05T16:21:20.008" v="11273"/>
          <ac:spMkLst>
            <pc:docMk/>
            <pc:sldMk cId="4143996880" sldId="293"/>
            <ac:spMk id="2" creationId="{01E014B2-1FBF-48C6-9093-6CFE20AFFCCE}"/>
          </ac:spMkLst>
        </pc:spChg>
        <pc:spChg chg="add del mod">
          <ac:chgData name="Joelle Brehm" userId="a518f54c-6985-42c0-8041-2bb16a414839" providerId="ADAL" clId="{11F4A39F-1802-4DA4-AB6C-561BDA6399D2}" dt="2023-07-05T16:20:49.803" v="10764" actId="478"/>
          <ac:spMkLst>
            <pc:docMk/>
            <pc:sldMk cId="4143996880" sldId="293"/>
            <ac:spMk id="3" creationId="{029AFC8B-2DB8-0A92-3321-BD54DAA93CC6}"/>
          </ac:spMkLst>
        </pc:spChg>
        <pc:spChg chg="mod ord">
          <ac:chgData name="Joelle Brehm" userId="a518f54c-6985-42c0-8041-2bb16a414839" providerId="ADAL" clId="{11F4A39F-1802-4DA4-AB6C-561BDA6399D2}" dt="2023-07-05T16:21:20.001" v="11248"/>
          <ac:spMkLst>
            <pc:docMk/>
            <pc:sldMk cId="4143996880" sldId="293"/>
            <ac:spMk id="5" creationId="{7B827F87-784E-46DA-B4AC-26C5F16C015D}"/>
          </ac:spMkLst>
        </pc:spChg>
        <pc:spChg chg="mod">
          <ac:chgData name="Joelle Brehm" userId="a518f54c-6985-42c0-8041-2bb16a414839" providerId="ADAL" clId="{11F4A39F-1802-4DA4-AB6C-561BDA6399D2}" dt="2023-07-05T16:21:20.005" v="11257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11F4A39F-1802-4DA4-AB6C-561BDA6399D2}" dt="2023-07-05T16:21:20.005" v="11256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11F4A39F-1802-4DA4-AB6C-561BDA6399D2}" dt="2023-07-05T16:21:20.004" v="11253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11F4A39F-1802-4DA4-AB6C-561BDA6399D2}" dt="2023-07-05T16:21:20.004" v="11255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11F4A39F-1802-4DA4-AB6C-561BDA6399D2}" dt="2023-07-05T16:21:20.004" v="11254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11F4A39F-1802-4DA4-AB6C-561BDA6399D2}" dt="2023-07-05T16:21:20.006" v="11260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11F4A39F-1802-4DA4-AB6C-561BDA6399D2}" dt="2023-07-05T16:21:20.003" v="11252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11F4A39F-1802-4DA4-AB6C-561BDA6399D2}" dt="2023-07-05T16:21:20.003" v="11251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11F4A39F-1802-4DA4-AB6C-561BDA6399D2}" dt="2023-07-05T16:21:20.005" v="11258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11F4A39F-1802-4DA4-AB6C-561BDA6399D2}" dt="2023-07-05T16:21:20.006" v="11259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11F4A39F-1802-4DA4-AB6C-561BDA6399D2}" dt="2023-07-05T16:21:20.006" v="11261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11F4A39F-1802-4DA4-AB6C-561BDA6399D2}" dt="2023-07-05T16:21:20.006" v="11262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11F4A39F-1802-4DA4-AB6C-561BDA6399D2}" dt="2023-07-05T16:21:20.007" v="11264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11F4A39F-1802-4DA4-AB6C-561BDA6399D2}" dt="2023-07-05T16:21:20.007" v="11266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11F4A39F-1802-4DA4-AB6C-561BDA6399D2}" dt="2023-07-05T16:21:20.014" v="11281"/>
          <ac:spMkLst>
            <pc:docMk/>
            <pc:sldMk cId="4143996880" sldId="293"/>
            <ac:spMk id="24" creationId="{7806E614-0D2E-5734-F874-2C5B567F765F}"/>
          </ac:spMkLst>
        </pc:spChg>
        <pc:spChg chg="mod ord">
          <ac:chgData name="Joelle Brehm" userId="a518f54c-6985-42c0-8041-2bb16a414839" providerId="ADAL" clId="{11F4A39F-1802-4DA4-AB6C-561BDA6399D2}" dt="2023-07-05T16:21:20.009" v="11275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11F4A39F-1802-4DA4-AB6C-561BDA6399D2}" dt="2023-07-05T16:21:20.007" v="11268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11F4A39F-1802-4DA4-AB6C-561BDA6399D2}" dt="2023-07-05T16:21:20.008" v="11270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11F4A39F-1802-4DA4-AB6C-561BDA6399D2}" dt="2023-07-05T16:21:20.024" v="11283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21:19.972" v="11238"/>
          <ac:graphicFrameMkLst>
            <pc:docMk/>
            <pc:sldMk cId="4143996880" sldId="293"/>
            <ac:graphicFrameMk id="23" creationId="{4576AD06-EC6E-EEB9-1577-169A428C7A9F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16:21:20.003" v="11250"/>
          <ac:graphicFrameMkLst>
            <pc:docMk/>
            <pc:sldMk cId="4143996880" sldId="293"/>
            <ac:graphicFrameMk id="25" creationId="{42B73EBE-8738-C25E-0EB7-F1F1D2123BF1}"/>
          </ac:graphicFrameMkLst>
        </pc:graphicFrameChg>
        <pc:picChg chg="del mod ord">
          <ac:chgData name="Joelle Brehm" userId="a518f54c-6985-42c0-8041-2bb16a414839" providerId="ADAL" clId="{11F4A39F-1802-4DA4-AB6C-561BDA6399D2}" dt="2023-07-05T16:20:57.722" v="10806" actId="478"/>
          <ac:picMkLst>
            <pc:docMk/>
            <pc:sldMk cId="4143996880" sldId="293"/>
            <ac:picMk id="6" creationId="{64EA9DD1-8010-F5EE-7134-85F8ADD1D689}"/>
          </ac:picMkLst>
        </pc:picChg>
        <pc:picChg chg="mod ord">
          <ac:chgData name="Joelle Brehm" userId="a518f54c-6985-42c0-8041-2bb16a414839" providerId="ADAL" clId="{11F4A39F-1802-4DA4-AB6C-561BDA6399D2}" dt="2023-07-05T16:21:20.011" v="11277"/>
          <ac:picMkLst>
            <pc:docMk/>
            <pc:sldMk cId="4143996880" sldId="293"/>
            <ac:picMk id="7" creationId="{DAE0FEA7-C441-97EF-870C-4A465CF5C03E}"/>
          </ac:picMkLst>
        </pc:picChg>
        <pc:picChg chg="add mod ord">
          <ac:chgData name="Joelle Brehm" userId="a518f54c-6985-42c0-8041-2bb16a414839" providerId="ADAL" clId="{11F4A39F-1802-4DA4-AB6C-561BDA6399D2}" dt="2023-07-05T16:21:20.001" v="11246"/>
          <ac:picMkLst>
            <pc:docMk/>
            <pc:sldMk cId="4143996880" sldId="293"/>
            <ac:picMk id="22" creationId="{808CE40F-72D5-0F18-2090-4A8108BB482D}"/>
          </ac:picMkLst>
        </pc:picChg>
        <pc:picChg chg="add del mod">
          <ac:chgData name="Joelle Brehm" userId="a518f54c-6985-42c0-8041-2bb16a414839" providerId="ADAL" clId="{11F4A39F-1802-4DA4-AB6C-561BDA6399D2}" dt="2023-07-05T16:21:38.874" v="11287" actId="478"/>
          <ac:picMkLst>
            <pc:docMk/>
            <pc:sldMk cId="4143996880" sldId="293"/>
            <ac:picMk id="26" creationId="{7B199B51-2252-87AF-7B23-DFE48992BF41}"/>
          </ac:picMkLst>
        </pc:picChg>
        <pc:picChg chg="add del mod">
          <ac:chgData name="Joelle Brehm" userId="a518f54c-6985-42c0-8041-2bb16a414839" providerId="ADAL" clId="{11F4A39F-1802-4DA4-AB6C-561BDA6399D2}" dt="2023-07-05T16:23:10.440" v="11290" actId="478"/>
          <ac:picMkLst>
            <pc:docMk/>
            <pc:sldMk cId="4143996880" sldId="293"/>
            <ac:picMk id="27" creationId="{4C87132C-E704-18F7-5535-3206ADC405DA}"/>
          </ac:picMkLst>
        </pc:picChg>
        <pc:picChg chg="mod">
          <ac:chgData name="Joelle Brehm" userId="a518f54c-6985-42c0-8041-2bb16a414839" providerId="ADAL" clId="{11F4A39F-1802-4DA4-AB6C-561BDA6399D2}" dt="2023-07-05T16:21:20.008" v="11271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11F4A39F-1802-4DA4-AB6C-561BDA6399D2}" dt="2023-07-05T16:11:36.992" v="6809"/>
        <pc:sldMkLst>
          <pc:docMk/>
          <pc:sldMk cId="77660323" sldId="295"/>
        </pc:sldMkLst>
        <pc:spChg chg="add del mod ord">
          <ac:chgData name="Joelle Brehm" userId="a518f54c-6985-42c0-8041-2bb16a414839" providerId="ADAL" clId="{11F4A39F-1802-4DA4-AB6C-561BDA6399D2}" dt="2023-07-05T16:00:47.947" v="1704" actId="478"/>
          <ac:spMkLst>
            <pc:docMk/>
            <pc:sldMk cId="77660323" sldId="295"/>
            <ac:spMk id="2" creationId="{2926F62C-2A27-CE93-5514-EB7DCCA5F43A}"/>
          </ac:spMkLst>
        </pc:spChg>
        <pc:spChg chg="mod ord">
          <ac:chgData name="Joelle Brehm" userId="a518f54c-6985-42c0-8041-2bb16a414839" providerId="ADAL" clId="{11F4A39F-1802-4DA4-AB6C-561BDA6399D2}" dt="2023-07-05T16:11:36.914" v="6707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11F4A39F-1802-4DA4-AB6C-561BDA6399D2}" dt="2023-07-05T16:11:36.921" v="6735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11F4A39F-1802-4DA4-AB6C-561BDA6399D2}" dt="2023-07-05T16:11:36.921" v="6736"/>
          <ac:spMkLst>
            <pc:docMk/>
            <pc:sldMk cId="77660323" sldId="295"/>
            <ac:spMk id="7" creationId="{AC248985-01B4-CD8C-E025-DF4D35603919}"/>
          </ac:spMkLst>
        </pc:spChg>
        <pc:spChg chg="add del mod modVis">
          <ac:chgData name="Joelle Brehm" userId="a518f54c-6985-42c0-8041-2bb16a414839" providerId="ADAL" clId="{11F4A39F-1802-4DA4-AB6C-561BDA6399D2}" dt="2023-07-05T16:00:44.038" v="1700"/>
          <ac:spMkLst>
            <pc:docMk/>
            <pc:sldMk cId="77660323" sldId="295"/>
            <ac:spMk id="11" creationId="{415A4FC1-2CA2-D3C5-D530-5A412B61F9C3}"/>
          </ac:spMkLst>
        </pc:spChg>
        <pc:spChg chg="add del mod modVis">
          <ac:chgData name="Joelle Brehm" userId="a518f54c-6985-42c0-8041-2bb16a414839" providerId="ADAL" clId="{11F4A39F-1802-4DA4-AB6C-561BDA6399D2}" dt="2023-07-05T16:01:00.936" v="2039"/>
          <ac:spMkLst>
            <pc:docMk/>
            <pc:sldMk cId="77660323" sldId="295"/>
            <ac:spMk id="12" creationId="{88D052FD-5B5F-697A-998F-BDC3B8EA56D1}"/>
          </ac:spMkLst>
        </pc:spChg>
        <pc:spChg chg="mod">
          <ac:chgData name="Joelle Brehm" userId="a518f54c-6985-42c0-8041-2bb16a414839" providerId="ADAL" clId="{11F4A39F-1802-4DA4-AB6C-561BDA6399D2}" dt="2023-07-05T16:11:36.930" v="6771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11F4A39F-1802-4DA4-AB6C-561BDA6399D2}" dt="2023-07-05T16:11:36.931" v="6772"/>
          <ac:spMkLst>
            <pc:docMk/>
            <pc:sldMk cId="77660323" sldId="295"/>
            <ac:spMk id="16" creationId="{0C8CCB69-36B4-CA42-0B21-8F9AC080BAE4}"/>
          </ac:spMkLst>
        </pc:spChg>
        <pc:spChg chg="add mod replST">
          <ac:chgData name="Joelle Brehm" userId="a518f54c-6985-42c0-8041-2bb16a414839" providerId="ADAL" clId="{11F4A39F-1802-4DA4-AB6C-561BDA6399D2}" dt="2023-07-05T16:11:36.922" v="6737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11F4A39F-1802-4DA4-AB6C-561BDA6399D2}" dt="2023-07-05T16:01:06.189" v="2339"/>
          <ac:spMkLst>
            <pc:docMk/>
            <pc:sldMk cId="77660323" sldId="295"/>
            <ac:spMk id="18" creationId="{0F14DD1B-E35B-953E-6817-845599237939}"/>
          </ac:spMkLst>
        </pc:spChg>
        <pc:spChg chg="add del mod modVis">
          <ac:chgData name="Joelle Brehm" userId="a518f54c-6985-42c0-8041-2bb16a414839" providerId="ADAL" clId="{11F4A39F-1802-4DA4-AB6C-561BDA6399D2}" dt="2023-07-05T16:01:13.847" v="2580"/>
          <ac:spMkLst>
            <pc:docMk/>
            <pc:sldMk cId="77660323" sldId="295"/>
            <ac:spMk id="20" creationId="{8087E510-F721-C686-07FF-33C6C1024489}"/>
          </ac:spMkLst>
        </pc:spChg>
        <pc:spChg chg="add del mod modVis">
          <ac:chgData name="Joelle Brehm" userId="a518f54c-6985-42c0-8041-2bb16a414839" providerId="ADAL" clId="{11F4A39F-1802-4DA4-AB6C-561BDA6399D2}" dt="2023-07-05T16:01:20.928" v="2845"/>
          <ac:spMkLst>
            <pc:docMk/>
            <pc:sldMk cId="77660323" sldId="295"/>
            <ac:spMk id="22" creationId="{EA6F9FAE-B8FF-F756-DA82-4D395C0CE55D}"/>
          </ac:spMkLst>
        </pc:spChg>
        <pc:spChg chg="mod">
          <ac:chgData name="Joelle Brehm" userId="a518f54c-6985-42c0-8041-2bb16a414839" providerId="ADAL" clId="{11F4A39F-1802-4DA4-AB6C-561BDA6399D2}" dt="2023-07-05T16:11:36.937" v="6794"/>
          <ac:spMkLst>
            <pc:docMk/>
            <pc:sldMk cId="77660323" sldId="295"/>
            <ac:spMk id="25" creationId="{6DC07032-6758-7576-40F7-7ED141F5C6D9}"/>
          </ac:spMkLst>
        </pc:spChg>
        <pc:spChg chg="add mod replST">
          <ac:chgData name="Joelle Brehm" userId="a518f54c-6985-42c0-8041-2bb16a414839" providerId="ADAL" clId="{11F4A39F-1802-4DA4-AB6C-561BDA6399D2}" dt="2023-07-05T16:11:36.931" v="6773"/>
          <ac:spMkLst>
            <pc:docMk/>
            <pc:sldMk cId="77660323" sldId="295"/>
            <ac:spMk id="26" creationId="{229D53A9-9359-D14F-5FFD-DB340E8A2769}"/>
          </ac:spMkLst>
        </pc:spChg>
        <pc:spChg chg="add del mod modVis">
          <ac:chgData name="Joelle Brehm" userId="a518f54c-6985-42c0-8041-2bb16a414839" providerId="ADAL" clId="{11F4A39F-1802-4DA4-AB6C-561BDA6399D2}" dt="2023-07-05T16:01:40.397" v="3530"/>
          <ac:spMkLst>
            <pc:docMk/>
            <pc:sldMk cId="77660323" sldId="295"/>
            <ac:spMk id="27" creationId="{7AB1A109-12AC-8921-54EE-84970AE90CA8}"/>
          </ac:spMkLst>
        </pc:spChg>
        <pc:spChg chg="add del mod modVis">
          <ac:chgData name="Joelle Brehm" userId="a518f54c-6985-42c0-8041-2bb16a414839" providerId="ADAL" clId="{11F4A39F-1802-4DA4-AB6C-561BDA6399D2}" dt="2023-07-05T16:01:45.957" v="3859"/>
          <ac:spMkLst>
            <pc:docMk/>
            <pc:sldMk cId="77660323" sldId="295"/>
            <ac:spMk id="29" creationId="{C69A5C4B-4F7A-361E-1590-4158449E872F}"/>
          </ac:spMkLst>
        </pc:spChg>
        <pc:spChg chg="add del mod ord replST">
          <ac:chgData name="Joelle Brehm" userId="a518f54c-6985-42c0-8041-2bb16a414839" providerId="ADAL" clId="{11F4A39F-1802-4DA4-AB6C-561BDA6399D2}" dt="2023-07-05T16:02:00.780" v="4575"/>
          <ac:spMkLst>
            <pc:docMk/>
            <pc:sldMk cId="77660323" sldId="295"/>
            <ac:spMk id="3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5" v="6754"/>
          <ac:spMkLst>
            <pc:docMk/>
            <pc:sldMk cId="77660323" sldId="295"/>
            <ac:spMk id="3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6" v="6755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11F4A39F-1802-4DA4-AB6C-561BDA6399D2}" dt="2023-07-05T16:01:46.819" v="4073"/>
          <ac:spMkLst>
            <pc:docMk/>
            <pc:sldMk cId="77660323" sldId="295"/>
            <ac:spMk id="34" creationId="{E1632EFD-4166-8C5E-20C1-412EA88189B1}"/>
          </ac:spMkLst>
        </pc:spChg>
        <pc:spChg chg="add del mod modVis">
          <ac:chgData name="Joelle Brehm" userId="a518f54c-6985-42c0-8041-2bb16a414839" providerId="ADAL" clId="{11F4A39F-1802-4DA4-AB6C-561BDA6399D2}" dt="2023-07-05T16:01:49.737" v="4311"/>
          <ac:spMkLst>
            <pc:docMk/>
            <pc:sldMk cId="77660323" sldId="295"/>
            <ac:spMk id="37" creationId="{7C3BF7A0-B588-5902-DAD8-CB5087154967}"/>
          </ac:spMkLst>
        </pc:spChg>
        <pc:spChg chg="add del mod modVis">
          <ac:chgData name="Joelle Brehm" userId="a518f54c-6985-42c0-8041-2bb16a414839" providerId="ADAL" clId="{11F4A39F-1802-4DA4-AB6C-561BDA6399D2}" dt="2023-07-05T16:01:57.320" v="4499"/>
          <ac:spMkLst>
            <pc:docMk/>
            <pc:sldMk cId="77660323" sldId="295"/>
            <ac:spMk id="40" creationId="{9B42F1E9-5605-2179-3AA8-FEFA0D6D4E4B}"/>
          </ac:spMkLst>
        </pc:spChg>
        <pc:spChg chg="mod">
          <ac:chgData name="Joelle Brehm" userId="a518f54c-6985-42c0-8041-2bb16a414839" providerId="ADAL" clId="{11F4A39F-1802-4DA4-AB6C-561BDA6399D2}" dt="2023-07-05T16:11:36.926" v="6756"/>
          <ac:spMkLst>
            <pc:docMk/>
            <pc:sldMk cId="77660323" sldId="295"/>
            <ac:spMk id="42" creationId="{A32B7D8C-DAE5-D336-7D31-9ECFB1F6E20C}"/>
          </ac:spMkLst>
        </pc:spChg>
        <pc:spChg chg="add del mod modVis">
          <ac:chgData name="Joelle Brehm" userId="a518f54c-6985-42c0-8041-2bb16a414839" providerId="ADAL" clId="{11F4A39F-1802-4DA4-AB6C-561BDA6399D2}" dt="2023-07-05T16:02:00.836" v="4687"/>
          <ac:spMkLst>
            <pc:docMk/>
            <pc:sldMk cId="77660323" sldId="295"/>
            <ac:spMk id="43" creationId="{FD48F1B0-45D2-14B0-F705-67E4D7D4B71E}"/>
          </ac:spMkLst>
        </pc:spChg>
        <pc:spChg chg="add mod replST">
          <ac:chgData name="Joelle Brehm" userId="a518f54c-6985-42c0-8041-2bb16a414839" providerId="ADAL" clId="{11F4A39F-1802-4DA4-AB6C-561BDA6399D2}" dt="2023-07-05T16:11:36.937" v="6795"/>
          <ac:spMkLst>
            <pc:docMk/>
            <pc:sldMk cId="77660323" sldId="295"/>
            <ac:spMk id="45" creationId="{7B959589-9B04-0960-03A9-FE10F7C63094}"/>
          </ac:spMkLst>
        </pc:spChg>
        <pc:spChg chg="add del mod modVis">
          <ac:chgData name="Joelle Brehm" userId="a518f54c-6985-42c0-8041-2bb16a414839" providerId="ADAL" clId="{11F4A39F-1802-4DA4-AB6C-561BDA6399D2}" dt="2023-07-05T16:11:10.510" v="5384"/>
          <ac:spMkLst>
            <pc:docMk/>
            <pc:sldMk cId="77660323" sldId="295"/>
            <ac:spMk id="46" creationId="{10A818BD-13A0-79F9-9F52-78CA05F7C975}"/>
          </ac:spMkLst>
        </pc:spChg>
        <pc:spChg chg="mod">
          <ac:chgData name="Joelle Brehm" userId="a518f54c-6985-42c0-8041-2bb16a414839" providerId="ADAL" clId="{11F4A39F-1802-4DA4-AB6C-561BDA6399D2}" dt="2023-07-05T16:11:36.937" v="6793"/>
          <ac:spMkLst>
            <pc:docMk/>
            <pc:sldMk cId="77660323" sldId="295"/>
            <ac:spMk id="48" creationId="{4728F697-F070-C96F-B941-0750AF77863D}"/>
          </ac:spMkLst>
        </pc:spChg>
        <pc:spChg chg="add del mod modVis">
          <ac:chgData name="Joelle Brehm" userId="a518f54c-6985-42c0-8041-2bb16a414839" providerId="ADAL" clId="{11F4A39F-1802-4DA4-AB6C-561BDA6399D2}" dt="2023-07-05T16:11:13.791" v="5603"/>
          <ac:spMkLst>
            <pc:docMk/>
            <pc:sldMk cId="77660323" sldId="295"/>
            <ac:spMk id="49" creationId="{54A6ADEC-23D8-C977-36B5-6AFAA11069F5}"/>
          </ac:spMkLst>
        </pc:spChg>
        <pc:spChg chg="add del mod modVis">
          <ac:chgData name="Joelle Brehm" userId="a518f54c-6985-42c0-8041-2bb16a414839" providerId="ADAL" clId="{11F4A39F-1802-4DA4-AB6C-561BDA6399D2}" dt="2023-07-05T16:11:14.640" v="5820"/>
          <ac:spMkLst>
            <pc:docMk/>
            <pc:sldMk cId="77660323" sldId="295"/>
            <ac:spMk id="51" creationId="{B2FB131D-AEC9-A323-2944-7EA509D20783}"/>
          </ac:spMkLst>
        </pc:spChg>
        <pc:spChg chg="add del mod modVis">
          <ac:chgData name="Joelle Brehm" userId="a518f54c-6985-42c0-8041-2bb16a414839" providerId="ADAL" clId="{11F4A39F-1802-4DA4-AB6C-561BDA6399D2}" dt="2023-07-05T16:11:17.202" v="6061"/>
          <ac:spMkLst>
            <pc:docMk/>
            <pc:sldMk cId="77660323" sldId="295"/>
            <ac:spMk id="53" creationId="{C173AF0A-A681-B61C-9C5E-8330763AAB43}"/>
          </ac:spMkLst>
        </pc:spChg>
        <pc:spChg chg="add del mod modVis">
          <ac:chgData name="Joelle Brehm" userId="a518f54c-6985-42c0-8041-2bb16a414839" providerId="ADAL" clId="{11F4A39F-1802-4DA4-AB6C-561BDA6399D2}" dt="2023-07-05T16:11:23.494" v="6252"/>
          <ac:spMkLst>
            <pc:docMk/>
            <pc:sldMk cId="77660323" sldId="295"/>
            <ac:spMk id="55" creationId="{2220CEEF-FF27-4121-31A3-07D529B93D09}"/>
          </ac:spMkLst>
        </pc:spChg>
        <pc:spChg chg="add del mod modVis">
          <ac:chgData name="Joelle Brehm" userId="a518f54c-6985-42c0-8041-2bb16a414839" providerId="ADAL" clId="{11F4A39F-1802-4DA4-AB6C-561BDA6399D2}" dt="2023-07-05T16:11:27.212" v="6437"/>
          <ac:spMkLst>
            <pc:docMk/>
            <pc:sldMk cId="77660323" sldId="295"/>
            <ac:spMk id="57" creationId="{191DF871-E82A-8937-CE70-45AF252226CD}"/>
          </ac:spMkLst>
        </pc:spChg>
        <pc:spChg chg="add del mod modVis">
          <ac:chgData name="Joelle Brehm" userId="a518f54c-6985-42c0-8041-2bb16a414839" providerId="ADAL" clId="{11F4A39F-1802-4DA4-AB6C-561BDA6399D2}" dt="2023-07-05T16:11:32.633" v="6622"/>
          <ac:spMkLst>
            <pc:docMk/>
            <pc:sldMk cId="77660323" sldId="295"/>
            <ac:spMk id="59" creationId="{4DB592FC-A654-C7CD-16D0-64ADA6197C51}"/>
          </ac:spMkLst>
        </pc:spChg>
        <pc:spChg chg="add del mod modVis">
          <ac:chgData name="Joelle Brehm" userId="a518f54c-6985-42c0-8041-2bb16a414839" providerId="ADAL" clId="{11F4A39F-1802-4DA4-AB6C-561BDA6399D2}" dt="2023-07-05T16:11:36.940" v="6807"/>
          <ac:spMkLst>
            <pc:docMk/>
            <pc:sldMk cId="77660323" sldId="295"/>
            <ac:spMk id="61" creationId="{F580C1AA-0130-234C-1098-94E2E249C104}"/>
          </ac:spMkLst>
        </pc:spChg>
        <pc:spChg chg="mod">
          <ac:chgData name="Joelle Brehm" userId="a518f54c-6985-42c0-8041-2bb16a414839" providerId="ADAL" clId="{11F4A39F-1802-4DA4-AB6C-561BDA6399D2}" dt="2023-07-05T16:11:36.934" v="6784"/>
          <ac:spMkLst>
            <pc:docMk/>
            <pc:sldMk cId="77660323" sldId="295"/>
            <ac:spMk id="78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5" v="6786"/>
          <ac:spMkLst>
            <pc:docMk/>
            <pc:sldMk cId="77660323" sldId="295"/>
            <ac:spMk id="79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5" v="6787"/>
          <ac:spMkLst>
            <pc:docMk/>
            <pc:sldMk cId="77660323" sldId="295"/>
            <ac:spMk id="8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5" v="6785"/>
          <ac:spMkLst>
            <pc:docMk/>
            <pc:sldMk cId="77660323" sldId="295"/>
            <ac:spMk id="8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5" v="6788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6" v="6790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6" v="6789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6" v="6791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6" v="6792"/>
          <ac:spMkLst>
            <pc:docMk/>
            <pc:sldMk cId="77660323" sldId="295"/>
            <ac:spMk id="87" creationId="{7CAA3B95-4C78-4122-BECA-B5FB0F3F3764}"/>
          </ac:spMkLst>
        </pc:spChg>
        <pc:spChg chg="del mod">
          <ac:chgData name="Joelle Brehm" userId="a518f54c-6985-42c0-8041-2bb16a414839" providerId="ADAL" clId="{11F4A39F-1802-4DA4-AB6C-561BDA6399D2}" dt="2023-07-05T16:01:20.666" v="2583"/>
          <ac:spMkLst>
            <pc:docMk/>
            <pc:sldMk cId="77660323" sldId="295"/>
            <ac:spMk id="9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9" v="6728"/>
          <ac:spMkLst>
            <pc:docMk/>
            <pc:sldMk cId="77660323" sldId="295"/>
            <ac:spMk id="95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16:11:36.915" v="6713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11F4A39F-1802-4DA4-AB6C-561BDA6399D2}" dt="2023-07-05T16:11:36.915" v="6715"/>
          <ac:spMkLst>
            <pc:docMk/>
            <pc:sldMk cId="77660323" sldId="295"/>
            <ac:spMk id="97" creationId="{64B2B8D7-E8A8-4757-99A4-69F1EAA48321}"/>
          </ac:spMkLst>
        </pc:spChg>
        <pc:spChg chg="mod">
          <ac:chgData name="Joelle Brehm" userId="a518f54c-6985-42c0-8041-2bb16a414839" providerId="ADAL" clId="{11F4A39F-1802-4DA4-AB6C-561BDA6399D2}" dt="2023-07-05T16:11:36.919" v="6729"/>
          <ac:spMkLst>
            <pc:docMk/>
            <pc:sldMk cId="77660323" sldId="295"/>
            <ac:spMk id="98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0" v="6730"/>
          <ac:spMkLst>
            <pc:docMk/>
            <pc:sldMk cId="77660323" sldId="295"/>
            <ac:spMk id="99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6" v="6721"/>
          <ac:spMkLst>
            <pc:docMk/>
            <pc:sldMk cId="77660323" sldId="295"/>
            <ac:spMk id="100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9" v="6727"/>
          <ac:spMkLst>
            <pc:docMk/>
            <pc:sldMk cId="77660323" sldId="295"/>
            <ac:spMk id="10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0" v="6732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16:11:36.914" v="6709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11F4A39F-1802-4DA4-AB6C-561BDA6399D2}" dt="2023-07-05T16:11:36.916" v="6720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1" v="6733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0" v="6731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8" v="6726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1" v="6734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7" v="6722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8" v="6723"/>
          <ac:spMkLst>
            <pc:docMk/>
            <pc:sldMk cId="77660323" sldId="295"/>
            <ac:spMk id="136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8" v="6724"/>
          <ac:spMkLst>
            <pc:docMk/>
            <pc:sldMk cId="77660323" sldId="295"/>
            <ac:spMk id="15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18" v="6725"/>
          <ac:spMkLst>
            <pc:docMk/>
            <pc:sldMk cId="77660323" sldId="295"/>
            <ac:spMk id="171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16:11:36.916" v="6717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11F4A39F-1802-4DA4-AB6C-561BDA6399D2}" dt="2023-07-05T16:11:36.927" v="6759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11F4A39F-1802-4DA4-AB6C-561BDA6399D2}" dt="2023-07-05T16:11:36.933" v="6780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11F4A39F-1802-4DA4-AB6C-561BDA6399D2}" dt="2023-07-05T16:11:36.933" v="6781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11F4A39F-1802-4DA4-AB6C-561BDA6399D2}" dt="2023-07-05T16:11:36.939" v="6802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11F4A39F-1802-4DA4-AB6C-561BDA6399D2}" dt="2023-07-05T16:11:36.939" v="6803"/>
          <ac:spMkLst>
            <pc:docMk/>
            <pc:sldMk cId="77660323" sldId="295"/>
            <ac:spMk id="402" creationId="{54A50511-8137-91F0-6AA8-1D657EEE3E68}"/>
          </ac:spMkLst>
        </pc:spChg>
        <pc:spChg chg="mod ord">
          <ac:chgData name="Joelle Brehm" userId="a518f54c-6985-42c0-8041-2bb16a414839" providerId="ADAL" clId="{11F4A39F-1802-4DA4-AB6C-561BDA6399D2}" dt="2023-07-05T16:11:36.924" v="6749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11F4A39F-1802-4DA4-AB6C-561BDA6399D2}" dt="2023-07-05T16:11:36.924" v="6747"/>
          <ac:spMkLst>
            <pc:docMk/>
            <pc:sldMk cId="77660323" sldId="295"/>
            <ac:spMk id="485" creationId="{0E817BE1-E587-06E4-D9FC-07EC7C45C787}"/>
          </ac:spMkLst>
        </pc:spChg>
        <pc:spChg chg="del mod">
          <ac:chgData name="Joelle Brehm" userId="a518f54c-6985-42c0-8041-2bb16a414839" providerId="ADAL" clId="{11F4A39F-1802-4DA4-AB6C-561BDA6399D2}" dt="2023-07-05T16:01:49.569" v="4076"/>
          <ac:spMkLst>
            <pc:docMk/>
            <pc:sldMk cId="77660323" sldId="295"/>
            <ac:spMk id="48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8" v="6764"/>
          <ac:spMkLst>
            <pc:docMk/>
            <pc:sldMk cId="77660323" sldId="295"/>
            <ac:spMk id="488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8" v="6763"/>
          <ac:spMkLst>
            <pc:docMk/>
            <pc:sldMk cId="77660323" sldId="295"/>
            <ac:spMk id="489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16:11:36.925" v="6751"/>
          <ac:spMkLst>
            <pc:docMk/>
            <pc:sldMk cId="77660323" sldId="295"/>
            <ac:spMk id="490" creationId="{9C81118A-E471-58E2-D54E-14C43A3A7D15}"/>
          </ac:spMkLst>
        </pc:spChg>
        <pc:spChg chg="mod">
          <ac:chgData name="Joelle Brehm" userId="a518f54c-6985-42c0-8041-2bb16a414839" providerId="ADAL" clId="{11F4A39F-1802-4DA4-AB6C-561BDA6399D2}" dt="2023-07-05T16:11:36.929" v="6766"/>
          <ac:spMkLst>
            <pc:docMk/>
            <pc:sldMk cId="77660323" sldId="295"/>
            <ac:spMk id="491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8" v="6762"/>
          <ac:spMkLst>
            <pc:docMk/>
            <pc:sldMk cId="77660323" sldId="295"/>
            <ac:spMk id="492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0" v="6768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9" v="6767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9" v="6765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26" v="6757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11F4A39F-1802-4DA4-AB6C-561BDA6399D2}" dt="2023-07-05T16:11:36.930" v="6769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11F4A39F-1802-4DA4-AB6C-561BDA6399D2}" dt="2023-07-05T16:11:36.930" v="6770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11F4A39F-1802-4DA4-AB6C-561BDA6399D2}" dt="2023-07-05T16:11:36.925" v="6753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11F4A39F-1802-4DA4-AB6C-561BDA6399D2}" dt="2023-07-05T16:11:36.933" v="6779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11F4A39F-1802-4DA4-AB6C-561BDA6399D2}" dt="2023-07-05T16:11:36.939" v="6801"/>
          <ac:spMkLst>
            <pc:docMk/>
            <pc:sldMk cId="77660323" sldId="295"/>
            <ac:spMk id="508" creationId="{1A0CE076-C63A-CB72-E6B9-5523E3C2C4DF}"/>
          </ac:spMkLst>
        </pc:spChg>
        <pc:spChg chg="del mod">
          <ac:chgData name="Joelle Brehm" userId="a518f54c-6985-42c0-8041-2bb16a414839" providerId="ADAL" clId="{11F4A39F-1802-4DA4-AB6C-561BDA6399D2}" dt="2023-07-05T16:11:17.005" v="5823"/>
          <ac:spMkLst>
            <pc:docMk/>
            <pc:sldMk cId="77660323" sldId="295"/>
            <ac:spMk id="509" creationId="{7CAA3B95-4C78-4122-BECA-B5FB0F3F3764}"/>
          </ac:spMkLst>
        </pc:spChg>
        <pc:graphicFrameChg chg="mod">
          <ac:chgData name="Joelle Brehm" userId="a518f54c-6985-42c0-8041-2bb16a414839" providerId="ADAL" clId="{11F4A39F-1802-4DA4-AB6C-561BDA6399D2}" dt="2023-07-05T16:11:36.992" v="6809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01:00.788" v="1881"/>
          <ac:graphicFrameMkLst>
            <pc:docMk/>
            <pc:sldMk cId="77660323" sldId="295"/>
            <ac:graphicFrameMk id="13" creationId="{FBFF4FC0-0824-25BD-86F9-BBA757BB173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1:05.953" v="2180"/>
          <ac:graphicFrameMkLst>
            <pc:docMk/>
            <pc:sldMk cId="77660323" sldId="295"/>
            <ac:graphicFrameMk id="14" creationId="{D5D2CFBD-C0F1-FCD4-C07A-17083C05FB0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1:13.753" v="2421"/>
          <ac:graphicFrameMkLst>
            <pc:docMk/>
            <pc:sldMk cId="77660323" sldId="295"/>
            <ac:graphicFrameMk id="19" creationId="{A06DC274-5768-08FB-CE13-EA627D0A183F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1:20.783" v="2687"/>
          <ac:graphicFrameMkLst>
            <pc:docMk/>
            <pc:sldMk cId="77660323" sldId="295"/>
            <ac:graphicFrameMk id="21" creationId="{34A236D0-C1BB-4B4A-BA35-B59AFDAA183D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16:11:36.916" v="6719"/>
          <ac:graphicFrameMkLst>
            <pc:docMk/>
            <pc:sldMk cId="77660323" sldId="295"/>
            <ac:graphicFrameMk id="23" creationId="{82377DAC-D955-542D-9A59-3C3C941FC9E7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01:40.300" v="3385"/>
          <ac:graphicFrameMkLst>
            <pc:docMk/>
            <pc:sldMk cId="77660323" sldId="295"/>
            <ac:graphicFrameMk id="24" creationId="{DDA32B8D-1B70-040C-953A-82BF9726F122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1:45.807" v="3699"/>
          <ac:graphicFrameMkLst>
            <pc:docMk/>
            <pc:sldMk cId="77660323" sldId="295"/>
            <ac:graphicFrameMk id="28" creationId="{B3A90979-682B-D7B2-3F7C-A99997111C8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1:46.716" v="3936"/>
          <ac:graphicFrameMkLst>
            <pc:docMk/>
            <pc:sldMk cId="77660323" sldId="295"/>
            <ac:graphicFrameMk id="32" creationId="{20F7B31C-862E-564F-AD03-72F6E93576B2}"/>
          </ac:graphicFrameMkLst>
        </pc:graphicFrameChg>
        <pc:graphicFrameChg chg="del mod ord">
          <ac:chgData name="Joelle Brehm" userId="a518f54c-6985-42c0-8041-2bb16a414839" providerId="ADAL" clId="{11F4A39F-1802-4DA4-AB6C-561BDA6399D2}" dt="2023-07-05T16:11:10.408" v="5239"/>
          <ac:graphicFrameMkLst>
            <pc:docMk/>
            <pc:sldMk cId="77660323" sldId="295"/>
            <ac:graphicFrameMk id="35" creationId="{406D77BE-C0F8-2C91-1704-147071A9B97E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1:49.656" v="4175"/>
          <ac:graphicFrameMkLst>
            <pc:docMk/>
            <pc:sldMk cId="77660323" sldId="295"/>
            <ac:graphicFrameMk id="36" creationId="{5FF7A94C-233A-7D75-A873-C99BCA86142C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1:57.257" v="4387"/>
          <ac:graphicFrameMkLst>
            <pc:docMk/>
            <pc:sldMk cId="77660323" sldId="295"/>
            <ac:graphicFrameMk id="39" creationId="{0AC14402-AA02-A5D1-397F-16B3D7B309D3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02:00.781" v="4577"/>
          <ac:graphicFrameMkLst>
            <pc:docMk/>
            <pc:sldMk cId="77660323" sldId="295"/>
            <ac:graphicFrameMk id="41" creationId="{916803B1-C912-0BA9-79B7-4EAEEC20F364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1:27.155" v="6327"/>
          <ac:graphicFrameMkLst>
            <pc:docMk/>
            <pc:sldMk cId="77660323" sldId="295"/>
            <ac:graphicFrameMk id="44" creationId="{37471C0C-D346-6B53-2956-FB175D410B0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1:13.720" v="5468"/>
          <ac:graphicFrameMkLst>
            <pc:docMk/>
            <pc:sldMk cId="77660323" sldId="295"/>
            <ac:graphicFrameMk id="47" creationId="{1C5EB112-9DB7-AEC3-EE5C-50F42EA667B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1:14.550" v="5685"/>
          <ac:graphicFrameMkLst>
            <pc:docMk/>
            <pc:sldMk cId="77660323" sldId="295"/>
            <ac:graphicFrameMk id="50" creationId="{BF9ECF8B-125B-F7AC-678E-0F50B604FC06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1:17.124" v="5927"/>
          <ac:graphicFrameMkLst>
            <pc:docMk/>
            <pc:sldMk cId="77660323" sldId="295"/>
            <ac:graphicFrameMk id="52" creationId="{1DE40F39-DD54-6F89-EAA2-DC13DFEFB58A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1:23.436" v="6142"/>
          <ac:graphicFrameMkLst>
            <pc:docMk/>
            <pc:sldMk cId="77660323" sldId="295"/>
            <ac:graphicFrameMk id="54" creationId="{A83FAD4F-5702-AF1C-9229-A9A4102D8DB6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16:11:36.934" v="6783"/>
          <ac:graphicFrameMkLst>
            <pc:docMk/>
            <pc:sldMk cId="77660323" sldId="295"/>
            <ac:graphicFrameMk id="56" creationId="{7CA415EB-797D-4E07-63D9-881CAC591DA5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1:32.569" v="6512"/>
          <ac:graphicFrameMkLst>
            <pc:docMk/>
            <pc:sldMk cId="77660323" sldId="295"/>
            <ac:graphicFrameMk id="58" creationId="{D453B89B-C33B-BED7-CAFA-DECA871ECFDD}"/>
          </ac:graphicFrameMkLst>
        </pc:graphicFrameChg>
        <pc:graphicFrameChg chg="add del mod ord replST">
          <ac:chgData name="Joelle Brehm" userId="a518f54c-6985-42c0-8041-2bb16a414839" providerId="ADAL" clId="{11F4A39F-1802-4DA4-AB6C-561BDA6399D2}" dt="2023-07-05T16:11:36.882" v="6697"/>
          <ac:graphicFrameMkLst>
            <pc:docMk/>
            <pc:sldMk cId="77660323" sldId="295"/>
            <ac:graphicFrameMk id="60" creationId="{489B01AB-CC3D-EAA6-84C4-6CC95F47F240}"/>
          </ac:graphicFrameMkLst>
        </pc:graphicFrameChg>
        <pc:graphicFrameChg chg="add mod ord replST">
          <ac:chgData name="Joelle Brehm" userId="a518f54c-6985-42c0-8041-2bb16a414839" providerId="ADAL" clId="{11F4A39F-1802-4DA4-AB6C-561BDA6399D2}" dt="2023-07-05T16:11:36.927" v="6761"/>
          <ac:graphicFrameMkLst>
            <pc:docMk/>
            <pc:sldMk cId="77660323" sldId="295"/>
            <ac:graphicFrameMk id="62" creationId="{BBD6E093-1F80-156A-CE37-4AD49D848826}"/>
          </ac:graphicFrameMkLst>
        </pc:graphicFrameChg>
        <pc:picChg chg="mod ord">
          <ac:chgData name="Joelle Brehm" userId="a518f54c-6985-42c0-8041-2bb16a414839" providerId="ADAL" clId="{11F4A39F-1802-4DA4-AB6C-561BDA6399D2}" dt="2023-07-05T16:11:36.915" v="6711"/>
          <ac:picMkLst>
            <pc:docMk/>
            <pc:sldMk cId="77660323" sldId="295"/>
            <ac:picMk id="3" creationId="{2D4B0DAF-6DD7-4B10-8D9C-0B8AAD6563B0}"/>
          </ac:picMkLst>
        </pc:picChg>
        <pc:picChg chg="add del">
          <ac:chgData name="Joelle Brehm" userId="a518f54c-6985-42c0-8041-2bb16a414839" providerId="ADAL" clId="{11F4A39F-1802-4DA4-AB6C-561BDA6399D2}" dt="2023-07-05T15:58:59.093" v="1515" actId="478"/>
          <ac:picMkLst>
            <pc:docMk/>
            <pc:sldMk cId="77660323" sldId="295"/>
            <ac:picMk id="8" creationId="{DB108959-2845-A079-1003-8C0BB939B67F}"/>
          </ac:picMkLst>
        </pc:picChg>
        <pc:picChg chg="add del mod">
          <ac:chgData name="Joelle Brehm" userId="a518f54c-6985-42c0-8041-2bb16a414839" providerId="ADAL" clId="{11F4A39F-1802-4DA4-AB6C-561BDA6399D2}" dt="2023-07-05T15:59:16.620" v="1518" actId="478"/>
          <ac:picMkLst>
            <pc:docMk/>
            <pc:sldMk cId="77660323" sldId="295"/>
            <ac:picMk id="9" creationId="{CA2C1CB2-B917-AB1F-DC4B-EC9D48D90C5F}"/>
          </ac:picMkLst>
        </pc:picChg>
        <pc:picChg chg="add mod ord">
          <ac:chgData name="Joelle Brehm" userId="a518f54c-6985-42c0-8041-2bb16a414839" providerId="ADAL" clId="{11F4A39F-1802-4DA4-AB6C-561BDA6399D2}" dt="2023-07-05T16:11:36.913" v="6705"/>
          <ac:picMkLst>
            <pc:docMk/>
            <pc:sldMk cId="77660323" sldId="295"/>
            <ac:picMk id="10" creationId="{DBBC873E-B9B5-9E03-399C-B1D86F95BE5D}"/>
          </ac:picMkLst>
        </pc:picChg>
        <pc:picChg chg="del mod ord">
          <ac:chgData name="Joelle Brehm" userId="a518f54c-6985-42c0-8041-2bb16a414839" providerId="ADAL" clId="{11F4A39F-1802-4DA4-AB6C-561BDA6399D2}" dt="2023-07-05T16:00:45.358" v="1703" actId="478"/>
          <ac:picMkLst>
            <pc:docMk/>
            <pc:sldMk cId="77660323" sldId="295"/>
            <ac:picMk id="38" creationId="{E2A1807B-2279-E0C3-403E-354977712D60}"/>
          </ac:picMkLst>
        </pc:picChg>
        <pc:cxnChg chg="mod ord">
          <ac:chgData name="Joelle Brehm" userId="a518f54c-6985-42c0-8041-2bb16a414839" providerId="ADAL" clId="{11F4A39F-1802-4DA4-AB6C-561BDA6399D2}" dt="2023-07-05T16:11:36.922" v="6739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11F4A39F-1802-4DA4-AB6C-561BDA6399D2}" dt="2023-07-05T16:11:36.923" v="6741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11F4A39F-1802-4DA4-AB6C-561BDA6399D2}" dt="2023-07-05T16:11:36.923" v="6743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11F4A39F-1802-4DA4-AB6C-561BDA6399D2}" dt="2023-07-05T16:11:36.931" v="6775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11F4A39F-1802-4DA4-AB6C-561BDA6399D2}" dt="2023-07-05T16:11:36.933" v="6777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11F4A39F-1802-4DA4-AB6C-561BDA6399D2}" dt="2023-07-05T16:11:36.938" v="6797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11F4A39F-1802-4DA4-AB6C-561BDA6399D2}" dt="2023-07-05T16:11:36.938" v="6799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11F4A39F-1802-4DA4-AB6C-561BDA6399D2}" dt="2023-07-05T16:11:36.923" v="6745"/>
          <ac:cxnSpMkLst>
            <pc:docMk/>
            <pc:sldMk cId="77660323" sldId="295"/>
            <ac:cxnSpMk id="499" creationId="{03F78B4F-B1A0-4DEB-C1BE-2365D8B94D05}"/>
          </ac:cxnSpMkLst>
        </pc:cxnChg>
      </pc:sldChg>
    </pc:docChg>
  </pc:docChgLst>
  <pc:docChgLst>
    <pc:chgData name="Joelle Brehm" userId="a518f54c-6985-42c0-8041-2bb16a414839" providerId="ADAL" clId="{9E52C8A6-326C-473A-BC21-4CED010AFA79}"/>
    <pc:docChg chg="undo redo custSel modSld replTag">
      <pc:chgData name="Joelle Brehm" userId="a518f54c-6985-42c0-8041-2bb16a414839" providerId="ADAL" clId="{9E52C8A6-326C-473A-BC21-4CED010AFA79}" dt="2023-09-06T18:43:52.767" v="61357"/>
      <pc:docMkLst>
        <pc:docMk/>
      </pc:docMkLst>
      <pc:sldChg chg="addSp delSp modSp mod">
        <pc:chgData name="Joelle Brehm" userId="a518f54c-6985-42c0-8041-2bb16a414839" providerId="ADAL" clId="{9E52C8A6-326C-473A-BC21-4CED010AFA79}" dt="2023-09-06T16:45:46.304" v="12373" actId="255"/>
        <pc:sldMkLst>
          <pc:docMk/>
          <pc:sldMk cId="3839614074" sldId="258"/>
        </pc:sldMkLst>
        <pc:spChg chg="add del mod">
          <ac:chgData name="Joelle Brehm" userId="a518f54c-6985-42c0-8041-2bb16a414839" providerId="ADAL" clId="{9E52C8A6-326C-473A-BC21-4CED010AFA79}" dt="2023-09-06T16:41:35.905" v="12136" actId="478"/>
          <ac:spMkLst>
            <pc:docMk/>
            <pc:sldMk cId="3839614074" sldId="258"/>
            <ac:spMk id="2" creationId="{7FDA3ABF-81F3-1BC3-DE31-460F2AD35CE9}"/>
          </ac:spMkLst>
        </pc:spChg>
        <pc:spChg chg="mod">
          <ac:chgData name="Joelle Brehm" userId="a518f54c-6985-42c0-8041-2bb16a414839" providerId="ADAL" clId="{9E52C8A6-326C-473A-BC21-4CED010AFA79}" dt="2023-09-06T16:45:46.304" v="12373" actId="255"/>
          <ac:spMkLst>
            <pc:docMk/>
            <pc:sldMk cId="3839614074" sldId="258"/>
            <ac:spMk id="11" creationId="{CC7E7235-D3EE-4235-96C4-5D12A099E3A6}"/>
          </ac:spMkLst>
        </pc:spChg>
        <pc:graphicFrameChg chg="modGraphic">
          <ac:chgData name="Joelle Brehm" userId="a518f54c-6985-42c0-8041-2bb16a414839" providerId="ADAL" clId="{9E52C8A6-326C-473A-BC21-4CED010AFA79}" dt="2023-09-06T16:41:29.786" v="12135" actId="20577"/>
          <ac:graphicFrameMkLst>
            <pc:docMk/>
            <pc:sldMk cId="3839614074" sldId="258"/>
            <ac:graphicFrameMk id="5" creationId="{E05BC271-E889-994E-096D-1E278F23A9BD}"/>
          </ac:graphicFrameMkLst>
        </pc:graphicFrameChg>
      </pc:sldChg>
      <pc:sldChg chg="addSp delSp modSp mod">
        <pc:chgData name="Joelle Brehm" userId="a518f54c-6985-42c0-8041-2bb16a414839" providerId="ADAL" clId="{9E52C8A6-326C-473A-BC21-4CED010AFA79}" dt="2023-09-06T17:59:10.940" v="13945"/>
        <pc:sldMkLst>
          <pc:docMk/>
          <pc:sldMk cId="3798164587" sldId="259"/>
        </pc:sldMkLst>
        <pc:spChg chg="mod ord">
          <ac:chgData name="Joelle Brehm" userId="a518f54c-6985-42c0-8041-2bb16a414839" providerId="ADAL" clId="{9E52C8A6-326C-473A-BC21-4CED010AFA79}" dt="2023-09-06T17:59:10.872" v="13939"/>
          <ac:spMkLst>
            <pc:docMk/>
            <pc:sldMk cId="3798164587" sldId="259"/>
            <ac:spMk id="2" creationId="{8EDF2A74-9587-4C1D-91CA-8D21248ED6E8}"/>
          </ac:spMkLst>
        </pc:spChg>
        <pc:spChg chg="add del mod ord">
          <ac:chgData name="Joelle Brehm" userId="a518f54c-6985-42c0-8041-2bb16a414839" providerId="ADAL" clId="{9E52C8A6-326C-473A-BC21-4CED010AFA79}" dt="2023-09-06T17:58:48.521" v="12810" actId="478"/>
          <ac:spMkLst>
            <pc:docMk/>
            <pc:sldMk cId="3798164587" sldId="259"/>
            <ac:spMk id="3" creationId="{00DEB817-2F85-094E-133B-40270F198C77}"/>
          </ac:spMkLst>
        </pc:spChg>
        <pc:spChg chg="mod ord">
          <ac:chgData name="Joelle Brehm" userId="a518f54c-6985-42c0-8041-2bb16a414839" providerId="ADAL" clId="{9E52C8A6-326C-473A-BC21-4CED010AFA79}" dt="2023-09-06T17:59:10.819" v="13857"/>
          <ac:spMkLst>
            <pc:docMk/>
            <pc:sldMk cId="3798164587" sldId="259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9E52C8A6-326C-473A-BC21-4CED010AFA79}" dt="2023-09-06T17:57:38.184" v="12701"/>
          <ac:spMkLst>
            <pc:docMk/>
            <pc:sldMk cId="3798164587" sldId="259"/>
            <ac:spMk id="8" creationId="{3D093AC0-2663-DC7A-A10D-5F0B8B29A552}"/>
          </ac:spMkLst>
        </pc:spChg>
        <pc:spChg chg="mod">
          <ac:chgData name="Joelle Brehm" userId="a518f54c-6985-42c0-8041-2bb16a414839" providerId="ADAL" clId="{9E52C8A6-326C-473A-BC21-4CED010AFA79}" dt="2023-09-06T17:59:10.826" v="13866"/>
          <ac:spMkLst>
            <pc:docMk/>
            <pc:sldMk cId="3798164587" sldId="259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7:59:10.823" v="13863"/>
          <ac:spMkLst>
            <pc:docMk/>
            <pc:sldMk cId="3798164587" sldId="259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7:59:10.824" v="13865"/>
          <ac:spMkLst>
            <pc:docMk/>
            <pc:sldMk cId="3798164587" sldId="259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7:59:10.824" v="13864"/>
          <ac:spMkLst>
            <pc:docMk/>
            <pc:sldMk cId="3798164587" sldId="259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7:59:10.822" v="13862"/>
          <ac:spMkLst>
            <pc:docMk/>
            <pc:sldMk cId="3798164587" sldId="259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7:59:10.830" v="13869"/>
          <ac:spMkLst>
            <pc:docMk/>
            <pc:sldMk cId="3798164587" sldId="259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7:59:10.831" v="13870"/>
          <ac:spMkLst>
            <pc:docMk/>
            <pc:sldMk cId="3798164587" sldId="259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7:59:10.828" v="13868"/>
          <ac:spMkLst>
            <pc:docMk/>
            <pc:sldMk cId="3798164587" sldId="259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7:59:10.832" v="13871"/>
          <ac:spMkLst>
            <pc:docMk/>
            <pc:sldMk cId="3798164587" sldId="259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7:59:10.833" v="13872"/>
          <ac:spMkLst>
            <pc:docMk/>
            <pc:sldMk cId="3798164587" sldId="259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7:59:10.834" v="13873"/>
          <ac:spMkLst>
            <pc:docMk/>
            <pc:sldMk cId="3798164587" sldId="259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7:59:10.827" v="13867"/>
          <ac:spMkLst>
            <pc:docMk/>
            <pc:sldMk cId="3798164587" sldId="259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7:59:10.836" v="13875"/>
          <ac:spMkLst>
            <pc:docMk/>
            <pc:sldMk cId="3798164587" sldId="259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7:59:10.837" v="13876"/>
          <ac:spMkLst>
            <pc:docMk/>
            <pc:sldMk cId="3798164587" sldId="259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7:59:10.837" v="13877"/>
          <ac:spMkLst>
            <pc:docMk/>
            <pc:sldMk cId="3798164587" sldId="259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7:59:10.838" v="13878"/>
          <ac:spMkLst>
            <pc:docMk/>
            <pc:sldMk cId="3798164587" sldId="259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7:59:10.839" v="13879"/>
          <ac:spMkLst>
            <pc:docMk/>
            <pc:sldMk cId="3798164587" sldId="259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7:59:10.839" v="13880"/>
          <ac:spMkLst>
            <pc:docMk/>
            <pc:sldMk cId="3798164587" sldId="259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7:59:10.840" v="13881"/>
          <ac:spMkLst>
            <pc:docMk/>
            <pc:sldMk cId="3798164587" sldId="259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7:59:10.841" v="13883"/>
          <ac:spMkLst>
            <pc:docMk/>
            <pc:sldMk cId="3798164587" sldId="259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7:59:10.848" v="13897"/>
          <ac:spMkLst>
            <pc:docMk/>
            <pc:sldMk cId="3798164587" sldId="259"/>
            <ac:spMk id="32" creationId="{2EFC59B1-C208-1816-2539-FFF2F0D2CED4}"/>
          </ac:spMkLst>
        </pc:spChg>
        <pc:spChg chg="del mod">
          <ac:chgData name="Joelle Brehm" userId="a518f54c-6985-42c0-8041-2bb16a414839" providerId="ADAL" clId="{9E52C8A6-326C-473A-BC21-4CED010AFA79}" dt="2023-09-06T17:59:01.626" v="13453"/>
          <ac:spMkLst>
            <pc:docMk/>
            <pc:sldMk cId="3798164587" sldId="259"/>
            <ac:spMk id="33" creationId="{275DD78E-6C37-19E2-BB7D-7EC5FAF1B229}"/>
          </ac:spMkLst>
        </pc:spChg>
        <pc:spChg chg="mod">
          <ac:chgData name="Joelle Brehm" userId="a518f54c-6985-42c0-8041-2bb16a414839" providerId="ADAL" clId="{9E52C8A6-326C-473A-BC21-4CED010AFA79}" dt="2023-09-06T17:59:10.849" v="13898"/>
          <ac:spMkLst>
            <pc:docMk/>
            <pc:sldMk cId="3798164587" sldId="259"/>
            <ac:spMk id="34" creationId="{6CEAC9A5-DF5A-A5A4-6B08-69378419D16C}"/>
          </ac:spMkLst>
        </pc:spChg>
        <pc:spChg chg="mod">
          <ac:chgData name="Joelle Brehm" userId="a518f54c-6985-42c0-8041-2bb16a414839" providerId="ADAL" clId="{9E52C8A6-326C-473A-BC21-4CED010AFA79}" dt="2023-09-06T17:59:10.857" v="13912"/>
          <ac:spMkLst>
            <pc:docMk/>
            <pc:sldMk cId="3798164587" sldId="259"/>
            <ac:spMk id="35" creationId="{1ACE69F8-F1AC-EF80-230F-4DB2F50E9D36}"/>
          </ac:spMkLst>
        </pc:spChg>
        <pc:spChg chg="mod">
          <ac:chgData name="Joelle Brehm" userId="a518f54c-6985-42c0-8041-2bb16a414839" providerId="ADAL" clId="{9E52C8A6-326C-473A-BC21-4CED010AFA79}" dt="2023-09-06T17:59:10.849" v="13899"/>
          <ac:spMkLst>
            <pc:docMk/>
            <pc:sldMk cId="3798164587" sldId="259"/>
            <ac:spMk id="36" creationId="{17FE84B0-8441-0A09-95B5-2EDD40F6EB1C}"/>
          </ac:spMkLst>
        </pc:spChg>
        <pc:spChg chg="mod">
          <ac:chgData name="Joelle Brehm" userId="a518f54c-6985-42c0-8041-2bb16a414839" providerId="ADAL" clId="{9E52C8A6-326C-473A-BC21-4CED010AFA79}" dt="2023-09-06T17:59:10.858" v="13915"/>
          <ac:spMkLst>
            <pc:docMk/>
            <pc:sldMk cId="3798164587" sldId="259"/>
            <ac:spMk id="37" creationId="{E3EAC238-37CE-FE97-F754-1E4E04FB6278}"/>
          </ac:spMkLst>
        </pc:spChg>
        <pc:spChg chg="mod">
          <ac:chgData name="Joelle Brehm" userId="a518f54c-6985-42c0-8041-2bb16a414839" providerId="ADAL" clId="{9E52C8A6-326C-473A-BC21-4CED010AFA79}" dt="2023-09-06T17:59:10.851" v="13903"/>
          <ac:spMkLst>
            <pc:docMk/>
            <pc:sldMk cId="3798164587" sldId="259"/>
            <ac:spMk id="38" creationId="{F9718545-2C79-73C0-B314-2B5D8CF60E56}"/>
          </ac:spMkLst>
        </pc:spChg>
        <pc:spChg chg="mod">
          <ac:chgData name="Joelle Brehm" userId="a518f54c-6985-42c0-8041-2bb16a414839" providerId="ADAL" clId="{9E52C8A6-326C-473A-BC21-4CED010AFA79}" dt="2023-09-06T17:59:10.858" v="13914"/>
          <ac:spMkLst>
            <pc:docMk/>
            <pc:sldMk cId="3798164587" sldId="259"/>
            <ac:spMk id="40" creationId="{C2BC67C2-24A1-1F5C-D921-6C3618C10072}"/>
          </ac:spMkLst>
        </pc:spChg>
        <pc:spChg chg="mod">
          <ac:chgData name="Joelle Brehm" userId="a518f54c-6985-42c0-8041-2bb16a414839" providerId="ADAL" clId="{9E52C8A6-326C-473A-BC21-4CED010AFA79}" dt="2023-09-06T17:59:10.857" v="13913"/>
          <ac:spMkLst>
            <pc:docMk/>
            <pc:sldMk cId="3798164587" sldId="259"/>
            <ac:spMk id="41" creationId="{AAEA4991-6EDC-4585-53B3-43FCB8287F41}"/>
          </ac:spMkLst>
        </pc:spChg>
        <pc:spChg chg="mod">
          <ac:chgData name="Joelle Brehm" userId="a518f54c-6985-42c0-8041-2bb16a414839" providerId="ADAL" clId="{9E52C8A6-326C-473A-BC21-4CED010AFA79}" dt="2023-09-06T17:59:10.851" v="13904"/>
          <ac:spMkLst>
            <pc:docMk/>
            <pc:sldMk cId="3798164587" sldId="259"/>
            <ac:spMk id="42" creationId="{17E5CF1F-B68A-803E-7A46-9E4C2586B04A}"/>
          </ac:spMkLst>
        </pc:spChg>
        <pc:spChg chg="mod">
          <ac:chgData name="Joelle Brehm" userId="a518f54c-6985-42c0-8041-2bb16a414839" providerId="ADAL" clId="{9E52C8A6-326C-473A-BC21-4CED010AFA79}" dt="2023-09-06T17:59:10.852" v="13905"/>
          <ac:spMkLst>
            <pc:docMk/>
            <pc:sldMk cId="3798164587" sldId="259"/>
            <ac:spMk id="43" creationId="{8E9AD388-305F-69EB-CD53-01F77CD8DF15}"/>
          </ac:spMkLst>
        </pc:spChg>
        <pc:spChg chg="mod">
          <ac:chgData name="Joelle Brehm" userId="a518f54c-6985-42c0-8041-2bb16a414839" providerId="ADAL" clId="{9E52C8A6-326C-473A-BC21-4CED010AFA79}" dt="2023-09-06T17:59:10.853" v="13906"/>
          <ac:spMkLst>
            <pc:docMk/>
            <pc:sldMk cId="3798164587" sldId="259"/>
            <ac:spMk id="44" creationId="{7811DB17-6E2D-499D-5AC3-3E65B529EA69}"/>
          </ac:spMkLst>
        </pc:spChg>
        <pc:spChg chg="mod">
          <ac:chgData name="Joelle Brehm" userId="a518f54c-6985-42c0-8041-2bb16a414839" providerId="ADAL" clId="{9E52C8A6-326C-473A-BC21-4CED010AFA79}" dt="2023-09-06T17:59:10.843" v="13888"/>
          <ac:spMkLst>
            <pc:docMk/>
            <pc:sldMk cId="3798164587" sldId="259"/>
            <ac:spMk id="4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43" v="13887"/>
          <ac:spMkLst>
            <pc:docMk/>
            <pc:sldMk cId="3798164587" sldId="259"/>
            <ac:spMk id="4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45" v="13892"/>
          <ac:spMkLst>
            <pc:docMk/>
            <pc:sldMk cId="3798164587" sldId="259"/>
            <ac:spMk id="47" creationId="{0420A3C3-1A1B-41EB-AFAA-911B5CDBCB49}"/>
          </ac:spMkLst>
        </pc:spChg>
        <pc:spChg chg="mod">
          <ac:chgData name="Joelle Brehm" userId="a518f54c-6985-42c0-8041-2bb16a414839" providerId="ADAL" clId="{9E52C8A6-326C-473A-BC21-4CED010AFA79}" dt="2023-09-06T17:59:10.854" v="13908"/>
          <ac:spMkLst>
            <pc:docMk/>
            <pc:sldMk cId="3798164587" sldId="259"/>
            <ac:spMk id="48" creationId="{109DD5E0-29D7-88B4-1064-D57907DC0418}"/>
          </ac:spMkLst>
        </pc:spChg>
        <pc:spChg chg="mod">
          <ac:chgData name="Joelle Brehm" userId="a518f54c-6985-42c0-8041-2bb16a414839" providerId="ADAL" clId="{9E52C8A6-326C-473A-BC21-4CED010AFA79}" dt="2023-09-06T17:59:10.855" v="13909"/>
          <ac:spMkLst>
            <pc:docMk/>
            <pc:sldMk cId="3798164587" sldId="259"/>
            <ac:spMk id="49" creationId="{4EF4B9C9-590D-7FAC-314A-6E7170817158}"/>
          </ac:spMkLst>
        </pc:spChg>
        <pc:spChg chg="mod">
          <ac:chgData name="Joelle Brehm" userId="a518f54c-6985-42c0-8041-2bb16a414839" providerId="ADAL" clId="{9E52C8A6-326C-473A-BC21-4CED010AFA79}" dt="2023-09-06T17:59:10.847" v="13896"/>
          <ac:spMkLst>
            <pc:docMk/>
            <pc:sldMk cId="3798164587" sldId="259"/>
            <ac:spMk id="50" creationId="{6E0EEE28-854C-B3D5-8CC6-BD69B0BE61B8}"/>
          </ac:spMkLst>
        </pc:spChg>
        <pc:spChg chg="add mod replST">
          <ac:chgData name="Joelle Brehm" userId="a518f54c-6985-42c0-8041-2bb16a414839" providerId="ADAL" clId="{9E52C8A6-326C-473A-BC21-4CED010AFA79}" dt="2023-09-06T17:59:10.859" v="13916"/>
          <ac:spMkLst>
            <pc:docMk/>
            <pc:sldMk cId="3798164587" sldId="259"/>
            <ac:spMk id="51" creationId="{3CCC5AEF-7BB6-2440-B43E-35D020EB1B82}"/>
          </ac:spMkLst>
        </pc:spChg>
        <pc:spChg chg="add mod replST">
          <ac:chgData name="Joelle Brehm" userId="a518f54c-6985-42c0-8041-2bb16a414839" providerId="ADAL" clId="{9E52C8A6-326C-473A-BC21-4CED010AFA79}" dt="2023-09-06T17:59:10.846" v="13893"/>
          <ac:spMkLst>
            <pc:docMk/>
            <pc:sldMk cId="3798164587" sldId="259"/>
            <ac:spMk id="52" creationId="{D8EE27B5-3F46-02AD-6192-2B83C625A7E3}"/>
          </ac:spMkLst>
        </pc:spChg>
        <pc:spChg chg="add del mod modVis">
          <ac:chgData name="Joelle Brehm" userId="a518f54c-6985-42c0-8041-2bb16a414839" providerId="ADAL" clId="{9E52C8A6-326C-473A-BC21-4CED010AFA79}" dt="2023-09-06T17:58:58.017" v="13222"/>
          <ac:spMkLst>
            <pc:docMk/>
            <pc:sldMk cId="3798164587" sldId="259"/>
            <ac:spMk id="53" creationId="{B83719FE-04F6-847C-873F-1B110D0290C8}"/>
          </ac:spMkLst>
        </pc:spChg>
        <pc:spChg chg="add del mod modVis">
          <ac:chgData name="Joelle Brehm" userId="a518f54c-6985-42c0-8041-2bb16a414839" providerId="ADAL" clId="{9E52C8A6-326C-473A-BC21-4CED010AFA79}" dt="2023-09-06T17:58:59.784" v="13450"/>
          <ac:spMkLst>
            <pc:docMk/>
            <pc:sldMk cId="3798164587" sldId="259"/>
            <ac:spMk id="55" creationId="{3759FFC8-A4F1-AC5E-506E-1E573DFCB3B8}"/>
          </ac:spMkLst>
        </pc:spChg>
        <pc:spChg chg="add del mod modVis">
          <ac:chgData name="Joelle Brehm" userId="a518f54c-6985-42c0-8041-2bb16a414839" providerId="ADAL" clId="{9E52C8A6-326C-473A-BC21-4CED010AFA79}" dt="2023-09-06T17:59:01.977" v="13709"/>
          <ac:spMkLst>
            <pc:docMk/>
            <pc:sldMk cId="3798164587" sldId="259"/>
            <ac:spMk id="57" creationId="{8EA71AD7-1E5E-0ED3-7776-72C164355145}"/>
          </ac:spMkLst>
        </pc:spChg>
        <pc:spChg chg="add del mod modVis">
          <ac:chgData name="Joelle Brehm" userId="a518f54c-6985-42c0-8041-2bb16a414839" providerId="ADAL" clId="{9E52C8A6-326C-473A-BC21-4CED010AFA79}" dt="2023-09-06T17:59:10.875" v="13943"/>
          <ac:spMkLst>
            <pc:docMk/>
            <pc:sldMk cId="3798164587" sldId="259"/>
            <ac:spMk id="59" creationId="{3CEFFA94-E56D-FE5A-5960-E9136D9F8B21}"/>
          </ac:spMkLst>
        </pc:spChg>
        <pc:spChg chg="mod">
          <ac:chgData name="Joelle Brehm" userId="a518f54c-6985-42c0-8041-2bb16a414839" providerId="ADAL" clId="{9E52C8A6-326C-473A-BC21-4CED010AFA79}" dt="2023-09-06T17:59:10.844" v="13889"/>
          <ac:spMkLst>
            <pc:docMk/>
            <pc:sldMk cId="3798164587" sldId="259"/>
            <ac:spMk id="61" creationId="{8A2F2B85-E777-410E-A4B2-06361A0E5B8F}"/>
          </ac:spMkLst>
        </pc:spChg>
        <pc:spChg chg="mod">
          <ac:chgData name="Joelle Brehm" userId="a518f54c-6985-42c0-8041-2bb16a414839" providerId="ADAL" clId="{9E52C8A6-326C-473A-BC21-4CED010AFA79}" dt="2023-09-06T17:59:10.844" v="13890"/>
          <ac:spMkLst>
            <pc:docMk/>
            <pc:sldMk cId="3798164587" sldId="259"/>
            <ac:spMk id="62" creationId="{E621A99F-79E6-44D1-808B-D950A3930E70}"/>
          </ac:spMkLst>
        </pc:spChg>
        <pc:spChg chg="mod">
          <ac:chgData name="Joelle Brehm" userId="a518f54c-6985-42c0-8041-2bb16a414839" providerId="ADAL" clId="{9E52C8A6-326C-473A-BC21-4CED010AFA79}" dt="2023-09-06T17:59:10.845" v="13891"/>
          <ac:spMkLst>
            <pc:docMk/>
            <pc:sldMk cId="3798164587" sldId="259"/>
            <ac:spMk id="64" creationId="{28987B1A-D33C-4BEB-B42D-5DE09D6199E9}"/>
          </ac:spMkLst>
        </pc:spChg>
        <pc:spChg chg="mod ord">
          <ac:chgData name="Joelle Brehm" userId="a518f54c-6985-42c0-8041-2bb16a414839" providerId="ADAL" clId="{9E52C8A6-326C-473A-BC21-4CED010AFA79}" dt="2023-09-06T17:59:10.861" v="13918"/>
          <ac:spMkLst>
            <pc:docMk/>
            <pc:sldMk cId="3798164587" sldId="259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7:59:10.862" v="13920"/>
          <ac:spMkLst>
            <pc:docMk/>
            <pc:sldMk cId="3798164587" sldId="259"/>
            <ac:spMk id="79" creationId="{F1476AC4-694B-4D83-BFD8-8DCAA4BB1923}"/>
          </ac:spMkLst>
        </pc:spChg>
        <pc:spChg chg="del mod">
          <ac:chgData name="Joelle Brehm" userId="a518f54c-6985-42c0-8041-2bb16a414839" providerId="ADAL" clId="{9E52C8A6-326C-473A-BC21-4CED010AFA79}" dt="2023-09-06T17:59:01.628" v="13454"/>
          <ac:spMkLst>
            <pc:docMk/>
            <pc:sldMk cId="3798164587" sldId="259"/>
            <ac:spMk id="8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50" v="13902"/>
          <ac:spMkLst>
            <pc:docMk/>
            <pc:sldMk cId="3798164587" sldId="259"/>
            <ac:spMk id="8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47" v="13895"/>
          <ac:spMkLst>
            <pc:docMk/>
            <pc:sldMk cId="3798164587" sldId="259"/>
            <ac:spMk id="8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47" v="13894"/>
          <ac:spMkLst>
            <pc:docMk/>
            <pc:sldMk cId="3798164587" sldId="259"/>
            <ac:spMk id="89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50" v="13901"/>
          <ac:spMkLst>
            <pc:docMk/>
            <pc:sldMk cId="3798164587" sldId="259"/>
            <ac:spMk id="9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42" v="13886"/>
          <ac:spMkLst>
            <pc:docMk/>
            <pc:sldMk cId="3798164587" sldId="259"/>
            <ac:spMk id="9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49" v="13900"/>
          <ac:spMkLst>
            <pc:docMk/>
            <pc:sldMk cId="3798164587" sldId="259"/>
            <ac:spMk id="9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53" v="13907"/>
          <ac:spMkLst>
            <pc:docMk/>
            <pc:sldMk cId="3798164587" sldId="259"/>
            <ac:spMk id="9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55" v="13910"/>
          <ac:spMkLst>
            <pc:docMk/>
            <pc:sldMk cId="3798164587" sldId="259"/>
            <ac:spMk id="95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7:59:10.863" v="13922"/>
          <ac:spMkLst>
            <pc:docMk/>
            <pc:sldMk cId="3798164587" sldId="259"/>
            <ac:spMk id="100" creationId="{8B5667AB-609C-4AEA-83B3-24E395C8F420}"/>
          </ac:spMkLst>
        </pc:spChg>
        <pc:spChg chg="mod">
          <ac:chgData name="Joelle Brehm" userId="a518f54c-6985-42c0-8041-2bb16a414839" providerId="ADAL" clId="{9E52C8A6-326C-473A-BC21-4CED010AFA79}" dt="2023-09-06T17:59:10.856" v="13911"/>
          <ac:spMkLst>
            <pc:docMk/>
            <pc:sldMk cId="3798164587" sldId="259"/>
            <ac:spMk id="107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7:59:10.864" v="13924"/>
          <ac:spMkLst>
            <pc:docMk/>
            <pc:sldMk cId="3798164587" sldId="259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7:59:10.864" v="13926"/>
          <ac:spMkLst>
            <pc:docMk/>
            <pc:sldMk cId="3798164587" sldId="259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7:59:10.865" v="13928"/>
          <ac:spMkLst>
            <pc:docMk/>
            <pc:sldMk cId="3798164587" sldId="259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7:59:10.867" v="13931"/>
          <ac:spMkLst>
            <pc:docMk/>
            <pc:sldMk cId="3798164587" sldId="259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67" v="13932"/>
          <ac:spMkLst>
            <pc:docMk/>
            <pc:sldMk cId="3798164587" sldId="259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68" v="13933"/>
          <ac:spMkLst>
            <pc:docMk/>
            <pc:sldMk cId="3798164587" sldId="259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7:59:10.869" v="13934"/>
          <ac:spMkLst>
            <pc:docMk/>
            <pc:sldMk cId="3798164587" sldId="259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7:59:10.869" v="13935"/>
          <ac:spMkLst>
            <pc:docMk/>
            <pc:sldMk cId="3798164587" sldId="25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7:59:10.940" v="13945"/>
          <ac:graphicFrameMkLst>
            <pc:docMk/>
            <pc:sldMk cId="3798164587" sldId="259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7:59:10.822" v="13861"/>
          <ac:graphicFrameMkLst>
            <pc:docMk/>
            <pc:sldMk cId="3798164587" sldId="259"/>
            <ac:graphicFrameMk id="9" creationId="{BD15BEAB-8761-5643-206C-0595051CCC13}"/>
          </ac:graphicFrameMkLst>
        </pc:graphicFrameChg>
        <pc:graphicFrameChg chg="del">
          <ac:chgData name="Joelle Brehm" userId="a518f54c-6985-42c0-8041-2bb16a414839" providerId="ADAL" clId="{9E52C8A6-326C-473A-BC21-4CED010AFA79}" dt="2023-09-06T17:57:38.045" v="12595"/>
          <ac:graphicFrameMkLst>
            <pc:docMk/>
            <pc:sldMk cId="3798164587" sldId="259"/>
            <ac:graphicFrameMk id="10" creationId="{B543C48D-2B0F-BD02-F1DB-E0ED5521788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7:58:59.665" v="13350"/>
          <ac:graphicFrameMkLst>
            <pc:docMk/>
            <pc:sldMk cId="3798164587" sldId="259"/>
            <ac:graphicFrameMk id="54" creationId="{48516B19-3C11-77D4-BA7B-58E2D94ED31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7:59:01.873" v="13611"/>
          <ac:graphicFrameMkLst>
            <pc:docMk/>
            <pc:sldMk cId="3798164587" sldId="259"/>
            <ac:graphicFrameMk id="56" creationId="{95824D87-AF8E-2169-3CB5-331766EE9BCB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7:59:10.842" v="13885"/>
          <ac:graphicFrameMkLst>
            <pc:docMk/>
            <pc:sldMk cId="3798164587" sldId="259"/>
            <ac:graphicFrameMk id="58" creationId="{0C8E7156-34E9-E53C-3916-77840224F456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7:58:57.951" v="13122"/>
          <ac:graphicFrameMkLst>
            <pc:docMk/>
            <pc:sldMk cId="3798164587" sldId="259"/>
            <ac:graphicFrameMk id="60" creationId="{B0B116FE-F6E0-8E8B-2779-EF517D72B3BF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7:59:10.866" v="13930"/>
          <ac:graphicFrameMkLst>
            <pc:docMk/>
            <pc:sldMk cId="3798164587" sldId="259"/>
            <ac:graphicFrameMk id="63" creationId="{50469942-152E-7D14-5F01-6FD80674CD6A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7:59:10.779" v="13845"/>
          <ac:graphicFrameMkLst>
            <pc:docMk/>
            <pc:sldMk cId="3798164587" sldId="259"/>
            <ac:graphicFrameMk id="72" creationId="{D20E87C9-F196-C2F2-DC63-E10AC3F4B1E7}"/>
          </ac:graphicFrameMkLst>
        </pc:graphicFrameChg>
        <pc:picChg chg="mod ord">
          <ac:chgData name="Joelle Brehm" userId="a518f54c-6985-42c0-8041-2bb16a414839" providerId="ADAL" clId="{9E52C8A6-326C-473A-BC21-4CED010AFA79}" dt="2023-09-06T17:59:10.818" v="13855"/>
          <ac:picMkLst>
            <pc:docMk/>
            <pc:sldMk cId="3798164587" sldId="259"/>
            <ac:picMk id="5" creationId="{8F4A2CF4-0CF3-47E4-B23B-AC49D50CFFA1}"/>
          </ac:picMkLst>
        </pc:picChg>
        <pc:picChg chg="del mod ord">
          <ac:chgData name="Joelle Brehm" userId="a518f54c-6985-42c0-8041-2bb16a414839" providerId="ADAL" clId="{9E52C8A6-326C-473A-BC21-4CED010AFA79}" dt="2023-09-06T17:58:36.750" v="12809" actId="478"/>
          <ac:picMkLst>
            <pc:docMk/>
            <pc:sldMk cId="3798164587" sldId="259"/>
            <ac:picMk id="31" creationId="{0FD0899F-D085-07BE-324D-3D4C0C84999C}"/>
          </ac:picMkLst>
        </pc:picChg>
        <pc:picChg chg="add mod ord">
          <ac:chgData name="Joelle Brehm" userId="a518f54c-6985-42c0-8041-2bb16a414839" providerId="ADAL" clId="{9E52C8A6-326C-473A-BC21-4CED010AFA79}" dt="2023-09-06T17:59:10.817" v="13853"/>
          <ac:picMkLst>
            <pc:docMk/>
            <pc:sldMk cId="3798164587" sldId="259"/>
            <ac:picMk id="39" creationId="{581F16CE-2F28-EC12-E0A0-CCF39F4CDFE8}"/>
          </ac:picMkLst>
        </pc:picChg>
        <pc:picChg chg="mod ord">
          <ac:chgData name="Joelle Brehm" userId="a518f54c-6985-42c0-8041-2bb16a414839" providerId="ADAL" clId="{9E52C8A6-326C-473A-BC21-4CED010AFA79}" dt="2023-09-06T17:59:10.871" v="13937"/>
          <ac:picMkLst>
            <pc:docMk/>
            <pc:sldMk cId="3798164587" sldId="25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7:59:10.821" v="13859"/>
          <ac:cxnSpMkLst>
            <pc:docMk/>
            <pc:sldMk cId="3798164587" sldId="259"/>
            <ac:cxnSpMk id="7" creationId="{81C3ADD2-FBA2-4990-9325-1C3084F656B8}"/>
          </ac:cxnSpMkLst>
        </pc:cxnChg>
      </pc:sldChg>
      <pc:sldChg chg="modSp mod">
        <pc:chgData name="Joelle Brehm" userId="a518f54c-6985-42c0-8041-2bb16a414839" providerId="ADAL" clId="{9E52C8A6-326C-473A-BC21-4CED010AFA79}" dt="2023-09-06T15:09:12.368" v="5" actId="20577"/>
        <pc:sldMkLst>
          <pc:docMk/>
          <pc:sldMk cId="4090961396" sldId="260"/>
        </pc:sldMkLst>
        <pc:spChg chg="mod">
          <ac:chgData name="Joelle Brehm" userId="a518f54c-6985-42c0-8041-2bb16a414839" providerId="ADAL" clId="{9E52C8A6-326C-473A-BC21-4CED010AFA79}" dt="2023-09-06T15:09:12.368" v="5" actId="20577"/>
          <ac:spMkLst>
            <pc:docMk/>
            <pc:sldMk cId="4090961396" sldId="260"/>
            <ac:spMk id="5" creationId="{EA75C8C5-57CB-4002-A218-4C19083F04EC}"/>
          </ac:spMkLst>
        </pc:spChg>
      </pc:sldChg>
      <pc:sldChg chg="addSp delSp modSp mod">
        <pc:chgData name="Joelle Brehm" userId="a518f54c-6985-42c0-8041-2bb16a414839" providerId="ADAL" clId="{9E52C8A6-326C-473A-BC21-4CED010AFA79}" dt="2023-09-06T16:48:14.813" v="12413" actId="478"/>
        <pc:sldMkLst>
          <pc:docMk/>
          <pc:sldMk cId="2525895214" sldId="262"/>
        </pc:sldMkLst>
        <pc:spChg chg="add del mod">
          <ac:chgData name="Joelle Brehm" userId="a518f54c-6985-42c0-8041-2bb16a414839" providerId="ADAL" clId="{9E52C8A6-326C-473A-BC21-4CED010AFA79}" dt="2023-09-06T16:48:14.813" v="12413" actId="478"/>
          <ac:spMkLst>
            <pc:docMk/>
            <pc:sldMk cId="2525895214" sldId="262"/>
            <ac:spMk id="3" creationId="{213C7FFA-22A6-32A8-7D10-E782F5930370}"/>
          </ac:spMkLst>
        </pc:spChg>
        <pc:graphicFrameChg chg="mod modGraphic">
          <ac:chgData name="Joelle Brehm" userId="a518f54c-6985-42c0-8041-2bb16a414839" providerId="ADAL" clId="{9E52C8A6-326C-473A-BC21-4CED010AFA79}" dt="2023-09-06T16:48:08.040" v="12412" actId="122"/>
          <ac:graphicFrameMkLst>
            <pc:docMk/>
            <pc:sldMk cId="2525895214" sldId="262"/>
            <ac:graphicFrameMk id="14" creationId="{E8DF6DAD-4CB2-44B6-A064-EC9778DFD251}"/>
          </ac:graphicFrameMkLst>
        </pc:graphicFrameChg>
      </pc:sldChg>
      <pc:sldChg chg="addSp delSp modSp mod">
        <pc:chgData name="Joelle Brehm" userId="a518f54c-6985-42c0-8041-2bb16a414839" providerId="ADAL" clId="{9E52C8A6-326C-473A-BC21-4CED010AFA79}" dt="2023-09-06T15:14:04.543" v="604" actId="14100"/>
        <pc:sldMkLst>
          <pc:docMk/>
          <pc:sldMk cId="3980989934" sldId="263"/>
        </pc:sldMkLst>
        <pc:spChg chg="mod ord">
          <ac:chgData name="Joelle Brehm" userId="a518f54c-6985-42c0-8041-2bb16a414839" providerId="ADAL" clId="{9E52C8A6-326C-473A-BC21-4CED010AFA79}" dt="2023-09-06T15:13:58.045" v="596"/>
          <ac:spMkLst>
            <pc:docMk/>
            <pc:sldMk cId="3980989934" sldId="263"/>
            <ac:spMk id="2" creationId="{75C72E1E-661F-4997-A353-2798333F5BE3}"/>
          </ac:spMkLst>
        </pc:spChg>
        <pc:spChg chg="add del mod">
          <ac:chgData name="Joelle Brehm" userId="a518f54c-6985-42c0-8041-2bb16a414839" providerId="ADAL" clId="{9E52C8A6-326C-473A-BC21-4CED010AFA79}" dt="2023-09-06T15:13:04.887" v="39" actId="478"/>
          <ac:spMkLst>
            <pc:docMk/>
            <pc:sldMk cId="3980989934" sldId="263"/>
            <ac:spMk id="3" creationId="{3C13992D-F8C8-B614-77AB-BDE3A3A0EC7A}"/>
          </ac:spMkLst>
        </pc:spChg>
        <pc:spChg chg="mod ord">
          <ac:chgData name="Joelle Brehm" userId="a518f54c-6985-42c0-8041-2bb16a414839" providerId="ADAL" clId="{9E52C8A6-326C-473A-BC21-4CED010AFA79}" dt="2023-09-06T15:13:58.039" v="571"/>
          <ac:spMkLst>
            <pc:docMk/>
            <pc:sldMk cId="3980989934" sldId="263"/>
            <ac:spMk id="5" creationId="{7B827F87-784E-46DA-B4AC-26C5F16C015D}"/>
          </ac:spMkLst>
        </pc:spChg>
        <pc:spChg chg="mod">
          <ac:chgData name="Joelle Brehm" userId="a518f54c-6985-42c0-8041-2bb16a414839" providerId="ADAL" clId="{9E52C8A6-326C-473A-BC21-4CED010AFA79}" dt="2023-09-06T15:13:58.041" v="579"/>
          <ac:spMkLst>
            <pc:docMk/>
            <pc:sldMk cId="3980989934" sldId="263"/>
            <ac:spMk id="8" creationId="{91C36372-DE31-4EA3-A34A-B3486B1AA500}"/>
          </ac:spMkLst>
        </pc:spChg>
        <pc:spChg chg="mod">
          <ac:chgData name="Joelle Brehm" userId="a518f54c-6985-42c0-8041-2bb16a414839" providerId="ADAL" clId="{9E52C8A6-326C-473A-BC21-4CED010AFA79}" dt="2023-09-06T15:13:58.041" v="578"/>
          <ac:spMkLst>
            <pc:docMk/>
            <pc:sldMk cId="3980989934" sldId="263"/>
            <ac:spMk id="9" creationId="{E3626333-7B89-471A-A9C4-6F324CB5B4B1}"/>
          </ac:spMkLst>
        </pc:spChg>
        <pc:spChg chg="mod">
          <ac:chgData name="Joelle Brehm" userId="a518f54c-6985-42c0-8041-2bb16a414839" providerId="ADAL" clId="{9E52C8A6-326C-473A-BC21-4CED010AFA79}" dt="2023-09-06T15:13:58.040" v="576"/>
          <ac:spMkLst>
            <pc:docMk/>
            <pc:sldMk cId="3980989934" sldId="263"/>
            <ac:spMk id="10" creationId="{536C341E-36F9-4264-B2D7-4F682FB8508D}"/>
          </ac:spMkLst>
        </pc:spChg>
        <pc:spChg chg="mod">
          <ac:chgData name="Joelle Brehm" userId="a518f54c-6985-42c0-8041-2bb16a414839" providerId="ADAL" clId="{9E52C8A6-326C-473A-BC21-4CED010AFA79}" dt="2023-09-06T15:13:58.040" v="577"/>
          <ac:spMkLst>
            <pc:docMk/>
            <pc:sldMk cId="3980989934" sldId="263"/>
            <ac:spMk id="11" creationId="{8BCA5092-341C-4B30-A4BC-FE6ECD7FB7CE}"/>
          </ac:spMkLst>
        </pc:spChg>
        <pc:spChg chg="mod">
          <ac:chgData name="Joelle Brehm" userId="a518f54c-6985-42c0-8041-2bb16a414839" providerId="ADAL" clId="{9E52C8A6-326C-473A-BC21-4CED010AFA79}" dt="2023-09-06T15:13:58.041" v="580"/>
          <ac:spMkLst>
            <pc:docMk/>
            <pc:sldMk cId="3980989934" sldId="263"/>
            <ac:spMk id="12" creationId="{1C13A223-89D1-473F-AD55-639525653BB3}"/>
          </ac:spMkLst>
        </pc:spChg>
        <pc:spChg chg="mod">
          <ac:chgData name="Joelle Brehm" userId="a518f54c-6985-42c0-8041-2bb16a414839" providerId="ADAL" clId="{9E52C8A6-326C-473A-BC21-4CED010AFA79}" dt="2023-09-06T15:13:58.042" v="584"/>
          <ac:spMkLst>
            <pc:docMk/>
            <pc:sldMk cId="3980989934" sldId="263"/>
            <ac:spMk id="13" creationId="{99969F97-EA3B-4F01-9E1C-9A45CF4B2546}"/>
          </ac:spMkLst>
        </pc:spChg>
        <pc:spChg chg="mod">
          <ac:chgData name="Joelle Brehm" userId="a518f54c-6985-42c0-8041-2bb16a414839" providerId="ADAL" clId="{9E52C8A6-326C-473A-BC21-4CED010AFA79}" dt="2023-09-06T15:13:58.041" v="581"/>
          <ac:spMkLst>
            <pc:docMk/>
            <pc:sldMk cId="3980989934" sldId="263"/>
            <ac:spMk id="14" creationId="{FF38C3DA-DE57-482B-BB0F-35E06A017D69}"/>
          </ac:spMkLst>
        </pc:spChg>
        <pc:spChg chg="mod">
          <ac:chgData name="Joelle Brehm" userId="a518f54c-6985-42c0-8041-2bb16a414839" providerId="ADAL" clId="{9E52C8A6-326C-473A-BC21-4CED010AFA79}" dt="2023-09-06T15:13:58.040" v="574"/>
          <ac:spMkLst>
            <pc:docMk/>
            <pc:sldMk cId="3980989934" sldId="263"/>
            <ac:spMk id="15" creationId="{465CFDDD-969A-4CA1-A801-863CDBA35FFC}"/>
          </ac:spMkLst>
        </pc:spChg>
        <pc:spChg chg="mod">
          <ac:chgData name="Joelle Brehm" userId="a518f54c-6985-42c0-8041-2bb16a414839" providerId="ADAL" clId="{9E52C8A6-326C-473A-BC21-4CED010AFA79}" dt="2023-09-06T15:13:58.040" v="575"/>
          <ac:spMkLst>
            <pc:docMk/>
            <pc:sldMk cId="3980989934" sldId="263"/>
            <ac:spMk id="16" creationId="{E284D4CD-EDF4-493D-A0EC-1942070AAF30}"/>
          </ac:spMkLst>
        </pc:spChg>
        <pc:spChg chg="mod">
          <ac:chgData name="Joelle Brehm" userId="a518f54c-6985-42c0-8041-2bb16a414839" providerId="ADAL" clId="{9E52C8A6-326C-473A-BC21-4CED010AFA79}" dt="2023-09-06T15:13:58.042" v="583"/>
          <ac:spMkLst>
            <pc:docMk/>
            <pc:sldMk cId="3980989934" sldId="263"/>
            <ac:spMk id="17" creationId="{238E2651-26AD-42B7-94DE-FBB956D36E21}"/>
          </ac:spMkLst>
        </pc:spChg>
        <pc:spChg chg="mod">
          <ac:chgData name="Joelle Brehm" userId="a518f54c-6985-42c0-8041-2bb16a414839" providerId="ADAL" clId="{9E52C8A6-326C-473A-BC21-4CED010AFA79}" dt="2023-09-06T15:13:58.042" v="585"/>
          <ac:spMkLst>
            <pc:docMk/>
            <pc:sldMk cId="3980989934" sldId="263"/>
            <ac:spMk id="18" creationId="{115AEADC-1253-4633-974F-DCA7C2AB53EC}"/>
          </ac:spMkLst>
        </pc:spChg>
        <pc:spChg chg="mod">
          <ac:chgData name="Joelle Brehm" userId="a518f54c-6985-42c0-8041-2bb16a414839" providerId="ADAL" clId="{9E52C8A6-326C-473A-BC21-4CED010AFA79}" dt="2023-09-06T15:13:58.041" v="582"/>
          <ac:spMkLst>
            <pc:docMk/>
            <pc:sldMk cId="3980989934" sldId="263"/>
            <ac:spMk id="19" creationId="{14F80A12-8328-4C76-B1AA-3A6F5F05569E}"/>
          </ac:spMkLst>
        </pc:spChg>
        <pc:spChg chg="mod ord">
          <ac:chgData name="Joelle Brehm" userId="a518f54c-6985-42c0-8041-2bb16a414839" providerId="ADAL" clId="{9E52C8A6-326C-473A-BC21-4CED010AFA79}" dt="2023-09-06T15:13:58.043" v="587"/>
          <ac:spMkLst>
            <pc:docMk/>
            <pc:sldMk cId="3980989934" sldId="263"/>
            <ac:spMk id="20" creationId="{652C4211-5F55-4C7B-9C2D-6A96F2218602}"/>
          </ac:spMkLst>
        </pc:spChg>
        <pc:spChg chg="mod ord">
          <ac:chgData name="Joelle Brehm" userId="a518f54c-6985-42c0-8041-2bb16a414839" providerId="ADAL" clId="{9E52C8A6-326C-473A-BC21-4CED010AFA79}" dt="2023-09-06T15:13:58.043" v="589"/>
          <ac:spMkLst>
            <pc:docMk/>
            <pc:sldMk cId="3980989934" sldId="26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9E52C8A6-326C-473A-BC21-4CED010AFA79}" dt="2023-09-06T15:13:36.612" v="558"/>
          <ac:spMkLst>
            <pc:docMk/>
            <pc:sldMk cId="3980989934" sldId="263"/>
            <ac:spMk id="22" creationId="{5421AAE4-E87D-A91F-0D93-5D4457517957}"/>
          </ac:spMkLst>
        </pc:spChg>
        <pc:spChg chg="mod ord">
          <ac:chgData name="Joelle Brehm" userId="a518f54c-6985-42c0-8041-2bb16a414839" providerId="ADAL" clId="{9E52C8A6-326C-473A-BC21-4CED010AFA79}" dt="2023-09-06T15:13:58.045" v="598"/>
          <ac:spMkLst>
            <pc:docMk/>
            <pc:sldMk cId="3980989934" sldId="263"/>
            <ac:spMk id="28" creationId="{98FE59E2-A52B-E219-D17C-D21655ECF2BA}"/>
          </ac:spMkLst>
        </pc:spChg>
        <pc:spChg chg="mod ord">
          <ac:chgData name="Joelle Brehm" userId="a518f54c-6985-42c0-8041-2bb16a414839" providerId="ADAL" clId="{9E52C8A6-326C-473A-BC21-4CED010AFA79}" dt="2023-09-06T15:13:58.044" v="591"/>
          <ac:spMkLst>
            <pc:docMk/>
            <pc:sldMk cId="3980989934" sldId="263"/>
            <ac:spMk id="38" creationId="{50DD0C29-43A9-4273-AEB4-F38CBF1A87EB}"/>
          </ac:spMkLst>
        </pc:spChg>
        <pc:spChg chg="mod ord">
          <ac:chgData name="Joelle Brehm" userId="a518f54c-6985-42c0-8041-2bb16a414839" providerId="ADAL" clId="{9E52C8A6-326C-473A-BC21-4CED010AFA79}" dt="2023-09-06T15:13:58.044" v="593"/>
          <ac:spMkLst>
            <pc:docMk/>
            <pc:sldMk cId="3980989934" sldId="26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9E52C8A6-326C-473A-BC21-4CED010AFA79}" dt="2023-09-06T15:13:58.051" v="602"/>
          <ac:graphicFrameMkLst>
            <pc:docMk/>
            <pc:sldMk cId="3980989934" sldId="263"/>
            <ac:graphicFrameMk id="4" creationId="{13A0D37E-AFD5-48BA-904D-A699E76C02E6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13:58.039" v="573"/>
          <ac:graphicFrameMkLst>
            <pc:docMk/>
            <pc:sldMk cId="3980989934" sldId="263"/>
            <ac:graphicFrameMk id="23" creationId="{6CFA81F5-517E-2ACF-24DD-CF7493E26DF0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13:36.572" v="515"/>
          <ac:graphicFrameMkLst>
            <pc:docMk/>
            <pc:sldMk cId="3980989934" sldId="263"/>
            <ac:graphicFrameMk id="24" creationId="{ED723C48-837A-757F-8C67-937BF029C86B}"/>
          </ac:graphicFrameMkLst>
        </pc:graphicFrameChg>
        <pc:picChg chg="del mod ord">
          <ac:chgData name="Joelle Brehm" userId="a518f54c-6985-42c0-8041-2bb16a414839" providerId="ADAL" clId="{9E52C8A6-326C-473A-BC21-4CED010AFA79}" dt="2023-09-06T15:13:59.453" v="603" actId="478"/>
          <ac:picMkLst>
            <pc:docMk/>
            <pc:sldMk cId="3980989934" sldId="263"/>
            <ac:picMk id="6" creationId="{2EA38509-FC10-010D-1042-B42A3912DBB5}"/>
          </ac:picMkLst>
        </pc:picChg>
        <pc:picChg chg="add mod ord">
          <ac:chgData name="Joelle Brehm" userId="a518f54c-6985-42c0-8041-2bb16a414839" providerId="ADAL" clId="{9E52C8A6-326C-473A-BC21-4CED010AFA79}" dt="2023-09-06T15:13:58.038" v="567"/>
          <ac:picMkLst>
            <pc:docMk/>
            <pc:sldMk cId="3980989934" sldId="263"/>
            <ac:picMk id="7" creationId="{5A177D1A-8364-C458-9C99-3555A2098EA4}"/>
          </ac:picMkLst>
        </pc:picChg>
        <pc:picChg chg="del mod ord">
          <ac:chgData name="Joelle Brehm" userId="a518f54c-6985-42c0-8041-2bb16a414839" providerId="ADAL" clId="{9E52C8A6-326C-473A-BC21-4CED010AFA79}" dt="2023-09-06T15:13:21.462" v="81" actId="478"/>
          <ac:picMkLst>
            <pc:docMk/>
            <pc:sldMk cId="3980989934" sldId="263"/>
            <ac:picMk id="25" creationId="{68CC10C2-830A-25EA-716C-DACB24AA08C8}"/>
          </ac:picMkLst>
        </pc:picChg>
        <pc:picChg chg="add mod ord">
          <ac:chgData name="Joelle Brehm" userId="a518f54c-6985-42c0-8041-2bb16a414839" providerId="ADAL" clId="{9E52C8A6-326C-473A-BC21-4CED010AFA79}" dt="2023-09-06T15:14:04.543" v="604" actId="14100"/>
          <ac:picMkLst>
            <pc:docMk/>
            <pc:sldMk cId="3980989934" sldId="263"/>
            <ac:picMk id="26" creationId="{0D5A7FF5-B54E-15DA-ED9D-5905FF10C7CB}"/>
          </ac:picMkLst>
        </pc:picChg>
        <pc:picChg chg="mod">
          <ac:chgData name="Joelle Brehm" userId="a518f54c-6985-42c0-8041-2bb16a414839" providerId="ADAL" clId="{9E52C8A6-326C-473A-BC21-4CED010AFA79}" dt="2023-09-06T15:13:58.044" v="594"/>
          <ac:picMkLst>
            <pc:docMk/>
            <pc:sldMk cId="3980989934" sldId="263"/>
            <ac:picMk id="3076" creationId="{58DED1F4-1793-425F-B302-8061B71ECAE6}"/>
          </ac:picMkLst>
        </pc:picChg>
      </pc:sldChg>
      <pc:sldChg chg="addSp delSp modSp mod">
        <pc:chgData name="Joelle Brehm" userId="a518f54c-6985-42c0-8041-2bb16a414839" providerId="ADAL" clId="{9E52C8A6-326C-473A-BC21-4CED010AFA79}" dt="2023-09-06T15:28:00.792" v="11843"/>
        <pc:sldMkLst>
          <pc:docMk/>
          <pc:sldMk cId="1450446987" sldId="264"/>
        </pc:sldMkLst>
        <pc:spChg chg="add del mod ord">
          <ac:chgData name="Joelle Brehm" userId="a518f54c-6985-42c0-8041-2bb16a414839" providerId="ADAL" clId="{9E52C8A6-326C-473A-BC21-4CED010AFA79}" dt="2023-09-06T15:26:58.232" v="8720" actId="478"/>
          <ac:spMkLst>
            <pc:docMk/>
            <pc:sldMk cId="1450446987" sldId="264"/>
            <ac:spMk id="2" creationId="{A974F9A0-7D7C-1CA5-B2A9-3679C09E0768}"/>
          </ac:spMkLst>
        </pc:spChg>
        <pc:spChg chg="mod ord">
          <ac:chgData name="Joelle Brehm" userId="a518f54c-6985-42c0-8041-2bb16a414839" providerId="ADAL" clId="{9E52C8A6-326C-473A-BC21-4CED010AFA79}" dt="2023-09-06T15:28:00.646" v="11706"/>
          <ac:spMkLst>
            <pc:docMk/>
            <pc:sldMk cId="1450446987" sldId="264"/>
            <ac:spMk id="5" creationId="{7B827F87-784E-46DA-B4AC-26C5F16C015D}"/>
          </ac:spMkLst>
        </pc:spChg>
        <pc:spChg chg="mod">
          <ac:chgData name="Joelle Brehm" userId="a518f54c-6985-42c0-8041-2bb16a414839" providerId="ADAL" clId="{9E52C8A6-326C-473A-BC21-4CED010AFA79}" dt="2023-09-06T15:28:00.692" v="11766"/>
          <ac:spMkLst>
            <pc:docMk/>
            <pc:sldMk cId="1450446987" sldId="264"/>
            <ac:spMk id="6" creationId="{C68F5169-412D-ED3A-1A99-F1B307B865FB}"/>
          </ac:spMkLst>
        </pc:spChg>
        <pc:spChg chg="del mod ord">
          <ac:chgData name="Joelle Brehm" userId="a518f54c-6985-42c0-8041-2bb16a414839" providerId="ADAL" clId="{9E52C8A6-326C-473A-BC21-4CED010AFA79}" dt="2023-09-06T15:25:47.602" v="6487"/>
          <ac:spMkLst>
            <pc:docMk/>
            <pc:sldMk cId="1450446987" sldId="264"/>
            <ac:spMk id="7" creationId="{E1E64566-68A0-42EC-A2FA-A382E667F65C}"/>
          </ac:spMkLst>
        </pc:spChg>
        <pc:spChg chg="mod">
          <ac:chgData name="Joelle Brehm" userId="a518f54c-6985-42c0-8041-2bb16a414839" providerId="ADAL" clId="{9E52C8A6-326C-473A-BC21-4CED010AFA79}" dt="2023-09-06T15:28:00.695" v="11769"/>
          <ac:spMkLst>
            <pc:docMk/>
            <pc:sldMk cId="1450446987" sldId="264"/>
            <ac:spMk id="10" creationId="{0B5A57DD-7EDA-25CF-0BB0-3E0418CFBDB6}"/>
          </ac:spMkLst>
        </pc:spChg>
        <pc:spChg chg="mod">
          <ac:chgData name="Joelle Brehm" userId="a518f54c-6985-42c0-8041-2bb16a414839" providerId="ADAL" clId="{9E52C8A6-326C-473A-BC21-4CED010AFA79}" dt="2023-09-06T15:28:00.701" v="11776"/>
          <ac:spMkLst>
            <pc:docMk/>
            <pc:sldMk cId="1450446987" sldId="264"/>
            <ac:spMk id="11" creationId="{A6526291-8335-68F9-3992-BACCF85E017D}"/>
          </ac:spMkLst>
        </pc:spChg>
        <pc:spChg chg="mod">
          <ac:chgData name="Joelle Brehm" userId="a518f54c-6985-42c0-8041-2bb16a414839" providerId="ADAL" clId="{9E52C8A6-326C-473A-BC21-4CED010AFA79}" dt="2023-09-06T15:28:00.693" v="11767"/>
          <ac:spMkLst>
            <pc:docMk/>
            <pc:sldMk cId="1450446987" sldId="264"/>
            <ac:spMk id="12" creationId="{862A57D3-073F-4309-74D6-FD573764A05D}"/>
          </ac:spMkLst>
        </pc:spChg>
        <pc:spChg chg="mod">
          <ac:chgData name="Joelle Brehm" userId="a518f54c-6985-42c0-8041-2bb16a414839" providerId="ADAL" clId="{9E52C8A6-326C-473A-BC21-4CED010AFA79}" dt="2023-09-06T15:28:00.692" v="11765"/>
          <ac:spMkLst>
            <pc:docMk/>
            <pc:sldMk cId="1450446987" sldId="264"/>
            <ac:spMk id="13" creationId="{ADECDCFA-1E1B-DA79-857B-6C2FA278DB11}"/>
          </ac:spMkLst>
        </pc:spChg>
        <pc:spChg chg="add del mod modVis">
          <ac:chgData name="Joelle Brehm" userId="a518f54c-6985-42c0-8041-2bb16a414839" providerId="ADAL" clId="{9E52C8A6-326C-473A-BC21-4CED010AFA79}" dt="2023-09-06T15:23:32.138" v="5548"/>
          <ac:spMkLst>
            <pc:docMk/>
            <pc:sldMk cId="1450446987" sldId="264"/>
            <ac:spMk id="14" creationId="{B0244D5E-BE25-A558-EC93-35417849A2CB}"/>
          </ac:spMkLst>
        </pc:spChg>
        <pc:spChg chg="mod">
          <ac:chgData name="Joelle Brehm" userId="a518f54c-6985-42c0-8041-2bb16a414839" providerId="ADAL" clId="{9E52C8A6-326C-473A-BC21-4CED010AFA79}" dt="2023-09-06T15:28:00.655" v="11718"/>
          <ac:spMkLst>
            <pc:docMk/>
            <pc:sldMk cId="1450446987" sldId="264"/>
            <ac:spMk id="15" creationId="{5B084CC3-E175-D9CA-87E6-954E2FBF59B5}"/>
          </ac:spMkLst>
        </pc:spChg>
        <pc:spChg chg="mod ord">
          <ac:chgData name="Joelle Brehm" userId="a518f54c-6985-42c0-8041-2bb16a414839" providerId="ADAL" clId="{9E52C8A6-326C-473A-BC21-4CED010AFA79}" dt="2023-09-06T15:28:00.726" v="11809"/>
          <ac:spMkLst>
            <pc:docMk/>
            <pc:sldMk cId="1450446987" sldId="264"/>
            <ac:spMk id="16" creationId="{0F83DE65-1B4F-815C-7155-32FC819C40A5}"/>
          </ac:spMkLst>
        </pc:spChg>
        <pc:spChg chg="mod">
          <ac:chgData name="Joelle Brehm" userId="a518f54c-6985-42c0-8041-2bb16a414839" providerId="ADAL" clId="{9E52C8A6-326C-473A-BC21-4CED010AFA79}" dt="2023-09-06T15:28:00.702" v="11777"/>
          <ac:spMkLst>
            <pc:docMk/>
            <pc:sldMk cId="1450446987" sldId="264"/>
            <ac:spMk id="17" creationId="{9F3E8293-6A80-77D9-FC6A-6EEAEB0893E2}"/>
          </ac:spMkLst>
        </pc:spChg>
        <pc:spChg chg="mod">
          <ac:chgData name="Joelle Brehm" userId="a518f54c-6985-42c0-8041-2bb16a414839" providerId="ADAL" clId="{9E52C8A6-326C-473A-BC21-4CED010AFA79}" dt="2023-09-06T15:28:00.738" v="11824"/>
          <ac:spMkLst>
            <pc:docMk/>
            <pc:sldMk cId="1450446987" sldId="264"/>
            <ac:spMk id="18" creationId="{7CE63A35-6A90-6D8B-CF40-7241933EF0EF}"/>
          </ac:spMkLst>
        </pc:spChg>
        <pc:spChg chg="mod">
          <ac:chgData name="Joelle Brehm" userId="a518f54c-6985-42c0-8041-2bb16a414839" providerId="ADAL" clId="{9E52C8A6-326C-473A-BC21-4CED010AFA79}" dt="2023-09-06T15:28:00.661" v="11726"/>
          <ac:spMkLst>
            <pc:docMk/>
            <pc:sldMk cId="1450446987" sldId="264"/>
            <ac:spMk id="19" creationId="{609141C7-071C-280D-1E22-F588C79AA2D4}"/>
          </ac:spMkLst>
        </pc:spChg>
        <pc:spChg chg="mod">
          <ac:chgData name="Joelle Brehm" userId="a518f54c-6985-42c0-8041-2bb16a414839" providerId="ADAL" clId="{9E52C8A6-326C-473A-BC21-4CED010AFA79}" dt="2023-09-06T15:28:00.702" v="11778"/>
          <ac:spMkLst>
            <pc:docMk/>
            <pc:sldMk cId="1450446987" sldId="264"/>
            <ac:spMk id="20" creationId="{3DD6882A-0F95-3E39-ABCE-F100FF504331}"/>
          </ac:spMkLst>
        </pc:spChg>
        <pc:spChg chg="mod">
          <ac:chgData name="Joelle Brehm" userId="a518f54c-6985-42c0-8041-2bb16a414839" providerId="ADAL" clId="{9E52C8A6-326C-473A-BC21-4CED010AFA79}" dt="2023-09-06T15:28:00.694" v="11768"/>
          <ac:spMkLst>
            <pc:docMk/>
            <pc:sldMk cId="1450446987" sldId="264"/>
            <ac:spMk id="21" creationId="{B8434591-FA02-533C-B758-86431E2FF6A4}"/>
          </ac:spMkLst>
        </pc:spChg>
        <pc:spChg chg="mod">
          <ac:chgData name="Joelle Brehm" userId="a518f54c-6985-42c0-8041-2bb16a414839" providerId="ADAL" clId="{9E52C8A6-326C-473A-BC21-4CED010AFA79}" dt="2023-09-06T15:28:00.743" v="11830"/>
          <ac:spMkLst>
            <pc:docMk/>
            <pc:sldMk cId="1450446987" sldId="264"/>
            <ac:spMk id="22" creationId="{B45231BA-E7B8-18D3-4011-260830A47021}"/>
          </ac:spMkLst>
        </pc:spChg>
        <pc:spChg chg="mod">
          <ac:chgData name="Joelle Brehm" userId="a518f54c-6985-42c0-8041-2bb16a414839" providerId="ADAL" clId="{9E52C8A6-326C-473A-BC21-4CED010AFA79}" dt="2023-09-06T15:28:00.673" v="11742"/>
          <ac:spMkLst>
            <pc:docMk/>
            <pc:sldMk cId="1450446987" sldId="264"/>
            <ac:spMk id="23" creationId="{1C8A8CD9-592C-1226-E7D9-8A782BAF6ADF}"/>
          </ac:spMkLst>
        </pc:spChg>
        <pc:spChg chg="mod">
          <ac:chgData name="Joelle Brehm" userId="a518f54c-6985-42c0-8041-2bb16a414839" providerId="ADAL" clId="{9E52C8A6-326C-473A-BC21-4CED010AFA79}" dt="2023-09-06T15:28:00.656" v="11719"/>
          <ac:spMkLst>
            <pc:docMk/>
            <pc:sldMk cId="1450446987" sldId="264"/>
            <ac:spMk id="24" creationId="{033E07CF-73C8-D4DB-8DB3-DC68E9322327}"/>
          </ac:spMkLst>
        </pc:spChg>
        <pc:spChg chg="mod">
          <ac:chgData name="Joelle Brehm" userId="a518f54c-6985-42c0-8041-2bb16a414839" providerId="ADAL" clId="{9E52C8A6-326C-473A-BC21-4CED010AFA79}" dt="2023-09-06T15:28:00.698" v="11772"/>
          <ac:spMkLst>
            <pc:docMk/>
            <pc:sldMk cId="1450446987" sldId="264"/>
            <ac:spMk id="25" creationId="{DDCB9CFD-6336-9FEE-8109-046E7B1EDE09}"/>
          </ac:spMkLst>
        </pc:spChg>
        <pc:spChg chg="mod">
          <ac:chgData name="Joelle Brehm" userId="a518f54c-6985-42c0-8041-2bb16a414839" providerId="ADAL" clId="{9E52C8A6-326C-473A-BC21-4CED010AFA79}" dt="2023-09-06T15:28:00.681" v="11752"/>
          <ac:spMkLst>
            <pc:docMk/>
            <pc:sldMk cId="1450446987" sldId="264"/>
            <ac:spMk id="26" creationId="{CF9D487A-C1AA-6A8A-6FDD-D507F2BA7550}"/>
          </ac:spMkLst>
        </pc:spChg>
        <pc:spChg chg="mod">
          <ac:chgData name="Joelle Brehm" userId="a518f54c-6985-42c0-8041-2bb16a414839" providerId="ADAL" clId="{9E52C8A6-326C-473A-BC21-4CED010AFA79}" dt="2023-09-06T15:28:00.696" v="11770"/>
          <ac:spMkLst>
            <pc:docMk/>
            <pc:sldMk cId="1450446987" sldId="264"/>
            <ac:spMk id="27" creationId="{7F5EB4C1-D71D-BF03-066C-3EB62DE130E1}"/>
          </ac:spMkLst>
        </pc:spChg>
        <pc:spChg chg="mod">
          <ac:chgData name="Joelle Brehm" userId="a518f54c-6985-42c0-8041-2bb16a414839" providerId="ADAL" clId="{9E52C8A6-326C-473A-BC21-4CED010AFA79}" dt="2023-09-06T15:28:00.661" v="11727"/>
          <ac:spMkLst>
            <pc:docMk/>
            <pc:sldMk cId="1450446987" sldId="264"/>
            <ac:spMk id="28" creationId="{CCA5008F-57EC-C24D-08AD-B7F154B6F4E7}"/>
          </ac:spMkLst>
        </pc:spChg>
        <pc:spChg chg="mod">
          <ac:chgData name="Joelle Brehm" userId="a518f54c-6985-42c0-8041-2bb16a414839" providerId="ADAL" clId="{9E52C8A6-326C-473A-BC21-4CED010AFA79}" dt="2023-09-06T15:28:00.652" v="11714"/>
          <ac:spMkLst>
            <pc:docMk/>
            <pc:sldMk cId="1450446987" sldId="264"/>
            <ac:spMk id="29" creationId="{4284D4C9-B0B8-C186-0617-76753F3C18BA}"/>
          </ac:spMkLst>
        </pc:spChg>
        <pc:spChg chg="mod">
          <ac:chgData name="Joelle Brehm" userId="a518f54c-6985-42c0-8041-2bb16a414839" providerId="ADAL" clId="{9E52C8A6-326C-473A-BC21-4CED010AFA79}" dt="2023-09-06T15:28:00.704" v="11780"/>
          <ac:spMkLst>
            <pc:docMk/>
            <pc:sldMk cId="1450446987" sldId="264"/>
            <ac:spMk id="30" creationId="{53B66CFC-B735-ECDE-6C79-B64794091307}"/>
          </ac:spMkLst>
        </pc:spChg>
        <pc:spChg chg="mod">
          <ac:chgData name="Joelle Brehm" userId="a518f54c-6985-42c0-8041-2bb16a414839" providerId="ADAL" clId="{9E52C8A6-326C-473A-BC21-4CED010AFA79}" dt="2023-09-06T15:28:00.699" v="11773"/>
          <ac:spMkLst>
            <pc:docMk/>
            <pc:sldMk cId="1450446987" sldId="264"/>
            <ac:spMk id="31" creationId="{CA321323-2C4C-2167-68A7-B60C766BB3D9}"/>
          </ac:spMkLst>
        </pc:spChg>
        <pc:spChg chg="mod">
          <ac:chgData name="Joelle Brehm" userId="a518f54c-6985-42c0-8041-2bb16a414839" providerId="ADAL" clId="{9E52C8A6-326C-473A-BC21-4CED010AFA79}" dt="2023-09-06T15:28:00.662" v="11728"/>
          <ac:spMkLst>
            <pc:docMk/>
            <pc:sldMk cId="1450446987" sldId="264"/>
            <ac:spMk id="32" creationId="{AA10C851-A6B4-C67A-2815-80E945AB6CF4}"/>
          </ac:spMkLst>
        </pc:spChg>
        <pc:spChg chg="add del mod modVis">
          <ac:chgData name="Joelle Brehm" userId="a518f54c-6985-42c0-8041-2bb16a414839" providerId="ADAL" clId="{9E52C8A6-326C-473A-BC21-4CED010AFA79}" dt="2023-09-06T15:25:36.017" v="6045"/>
          <ac:spMkLst>
            <pc:docMk/>
            <pc:sldMk cId="1450446987" sldId="264"/>
            <ac:spMk id="33" creationId="{6592AE10-EEE2-3A87-9C19-E4B4723E51BF}"/>
          </ac:spMkLst>
        </pc:spChg>
        <pc:spChg chg="mod">
          <ac:chgData name="Joelle Brehm" userId="a518f54c-6985-42c0-8041-2bb16a414839" providerId="ADAL" clId="{9E52C8A6-326C-473A-BC21-4CED010AFA79}" dt="2023-09-06T15:28:00.706" v="11783"/>
          <ac:spMkLst>
            <pc:docMk/>
            <pc:sldMk cId="1450446987" sldId="264"/>
            <ac:spMk id="34" creationId="{A168857A-5A92-DB79-49DB-27685EFFF737}"/>
          </ac:spMkLst>
        </pc:spChg>
        <pc:spChg chg="mod">
          <ac:chgData name="Joelle Brehm" userId="a518f54c-6985-42c0-8041-2bb16a414839" providerId="ADAL" clId="{9E52C8A6-326C-473A-BC21-4CED010AFA79}" dt="2023-09-06T15:28:00.705" v="11782"/>
          <ac:spMkLst>
            <pc:docMk/>
            <pc:sldMk cId="1450446987" sldId="264"/>
            <ac:spMk id="35" creationId="{693A4766-C773-96C2-36A2-80D63FCE1E41}"/>
          </ac:spMkLst>
        </pc:spChg>
        <pc:spChg chg="add del mod replST">
          <ac:chgData name="Joelle Brehm" userId="a518f54c-6985-42c0-8041-2bb16a414839" providerId="ADAL" clId="{9E52C8A6-326C-473A-BC21-4CED010AFA79}" dt="2023-09-06T15:25:38.161" v="6108"/>
          <ac:spMkLst>
            <pc:docMk/>
            <pc:sldMk cId="1450446987" sldId="264"/>
            <ac:spMk id="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28:00.706" v="11784"/>
          <ac:spMkLst>
            <pc:docMk/>
            <pc:sldMk cId="1450446987" sldId="264"/>
            <ac:spMk id="37" creationId="{F4881349-7857-4045-CB14-ED7B5F3DF7AB}"/>
          </ac:spMkLst>
        </pc:spChg>
        <pc:spChg chg="mod">
          <ac:chgData name="Joelle Brehm" userId="a518f54c-6985-42c0-8041-2bb16a414839" providerId="ADAL" clId="{9E52C8A6-326C-473A-BC21-4CED010AFA79}" dt="2023-09-06T15:28:00.703" v="11779"/>
          <ac:spMkLst>
            <pc:docMk/>
            <pc:sldMk cId="1450446987" sldId="264"/>
            <ac:spMk id="38" creationId="{751A32B7-4B12-7B11-21ED-EB7344119372}"/>
          </ac:spMkLst>
        </pc:spChg>
        <pc:spChg chg="mod">
          <ac:chgData name="Joelle Brehm" userId="a518f54c-6985-42c0-8041-2bb16a414839" providerId="ADAL" clId="{9E52C8A6-326C-473A-BC21-4CED010AFA79}" dt="2023-09-06T15:28:00.651" v="11713"/>
          <ac:spMkLst>
            <pc:docMk/>
            <pc:sldMk cId="1450446987" sldId="264"/>
            <ac:spMk id="39" creationId="{B76EF455-3CD8-FD0B-E8FE-3F28ACD227BA}"/>
          </ac:spMkLst>
        </pc:spChg>
        <pc:spChg chg="mod">
          <ac:chgData name="Joelle Brehm" userId="a518f54c-6985-42c0-8041-2bb16a414839" providerId="ADAL" clId="{9E52C8A6-326C-473A-BC21-4CED010AFA79}" dt="2023-09-06T15:28:00.697" v="11771"/>
          <ac:spMkLst>
            <pc:docMk/>
            <pc:sldMk cId="1450446987" sldId="264"/>
            <ac:spMk id="40" creationId="{C58BB8B9-8023-B442-7CDD-CB5E70953466}"/>
          </ac:spMkLst>
        </pc:spChg>
        <pc:spChg chg="mod">
          <ac:chgData name="Joelle Brehm" userId="a518f54c-6985-42c0-8041-2bb16a414839" providerId="ADAL" clId="{9E52C8A6-326C-473A-BC21-4CED010AFA79}" dt="2023-09-06T15:28:00.683" v="11755"/>
          <ac:spMkLst>
            <pc:docMk/>
            <pc:sldMk cId="1450446987" sldId="264"/>
            <ac:spMk id="41" creationId="{17283985-5541-D643-07F1-12A6C1BB03BE}"/>
          </ac:spMkLst>
        </pc:spChg>
        <pc:spChg chg="mod">
          <ac:chgData name="Joelle Brehm" userId="a518f54c-6985-42c0-8041-2bb16a414839" providerId="ADAL" clId="{9E52C8A6-326C-473A-BC21-4CED010AFA79}" dt="2023-09-06T15:28:00.699" v="11774"/>
          <ac:spMkLst>
            <pc:docMk/>
            <pc:sldMk cId="1450446987" sldId="264"/>
            <ac:spMk id="42" creationId="{B28F9CDB-79D1-9419-42CA-EBC66895D4A0}"/>
          </ac:spMkLst>
        </pc:spChg>
        <pc:spChg chg="mod">
          <ac:chgData name="Joelle Brehm" userId="a518f54c-6985-42c0-8041-2bb16a414839" providerId="ADAL" clId="{9E52C8A6-326C-473A-BC21-4CED010AFA79}" dt="2023-09-06T15:28:00.654" v="11717"/>
          <ac:spMkLst>
            <pc:docMk/>
            <pc:sldMk cId="1450446987" sldId="264"/>
            <ac:spMk id="43" creationId="{B0C42678-4B24-F5DF-7ACE-3084C7C56E60}"/>
          </ac:spMkLst>
        </pc:spChg>
        <pc:spChg chg="mod">
          <ac:chgData name="Joelle Brehm" userId="a518f54c-6985-42c0-8041-2bb16a414839" providerId="ADAL" clId="{9E52C8A6-326C-473A-BC21-4CED010AFA79}" dt="2023-09-06T15:28:00.663" v="11729"/>
          <ac:spMkLst>
            <pc:docMk/>
            <pc:sldMk cId="1450446987" sldId="264"/>
            <ac:spMk id="44" creationId="{92B40B33-57B7-1828-A933-4054F5904BC0}"/>
          </ac:spMkLst>
        </pc:spChg>
        <pc:spChg chg="mod">
          <ac:chgData name="Joelle Brehm" userId="a518f54c-6985-42c0-8041-2bb16a414839" providerId="ADAL" clId="{9E52C8A6-326C-473A-BC21-4CED010AFA79}" dt="2023-09-06T15:28:00.705" v="11781"/>
          <ac:spMkLst>
            <pc:docMk/>
            <pc:sldMk cId="1450446987" sldId="264"/>
            <ac:spMk id="45" creationId="{8BD270EF-C1D9-9334-E736-146815435DFD}"/>
          </ac:spMkLst>
        </pc:spChg>
        <pc:spChg chg="mod">
          <ac:chgData name="Joelle Brehm" userId="a518f54c-6985-42c0-8041-2bb16a414839" providerId="ADAL" clId="{9E52C8A6-326C-473A-BC21-4CED010AFA79}" dt="2023-09-06T15:28:00.657" v="11720"/>
          <ac:spMkLst>
            <pc:docMk/>
            <pc:sldMk cId="1450446987" sldId="264"/>
            <ac:spMk id="46" creationId="{42ABD060-FEE1-EDE0-E99B-69A399E6BFE4}"/>
          </ac:spMkLst>
        </pc:spChg>
        <pc:spChg chg="del mod">
          <ac:chgData name="Joelle Brehm" userId="a518f54c-6985-42c0-8041-2bb16a414839" providerId="ADAL" clId="{9E52C8A6-326C-473A-BC21-4CED010AFA79}" dt="2023-09-06T15:26:28.658" v="8344"/>
          <ac:spMkLst>
            <pc:docMk/>
            <pc:sldMk cId="1450446987" sldId="264"/>
            <ac:spMk id="47" creationId="{49A9F82B-F33C-21DF-6BAF-B3F3E498C4AE}"/>
          </ac:spMkLst>
        </pc:spChg>
        <pc:spChg chg="del mod">
          <ac:chgData name="Joelle Brehm" userId="a518f54c-6985-42c0-8041-2bb16a414839" providerId="ADAL" clId="{9E52C8A6-326C-473A-BC21-4CED010AFA79}" dt="2023-09-06T15:27:17.830" v="9297"/>
          <ac:spMkLst>
            <pc:docMk/>
            <pc:sldMk cId="1450446987" sldId="264"/>
            <ac:spMk id="48" creationId="{DBF6EA08-CAF4-86D2-F9E1-E4CF8AFC464F}"/>
          </ac:spMkLst>
        </pc:spChg>
        <pc:spChg chg="mod">
          <ac:chgData name="Joelle Brehm" userId="a518f54c-6985-42c0-8041-2bb16a414839" providerId="ADAL" clId="{9E52C8A6-326C-473A-BC21-4CED010AFA79}" dt="2023-09-06T15:28:00.700" v="11775"/>
          <ac:spMkLst>
            <pc:docMk/>
            <pc:sldMk cId="1450446987" sldId="264"/>
            <ac:spMk id="50" creationId="{5FE9258F-A945-F4FF-832B-478FD9BAC76D}"/>
          </ac:spMkLst>
        </pc:spChg>
        <pc:spChg chg="mod">
          <ac:chgData name="Joelle Brehm" userId="a518f54c-6985-42c0-8041-2bb16a414839" providerId="ADAL" clId="{9E52C8A6-326C-473A-BC21-4CED010AFA79}" dt="2023-09-06T15:28:00.654" v="11716"/>
          <ac:spMkLst>
            <pc:docMk/>
            <pc:sldMk cId="1450446987" sldId="264"/>
            <ac:spMk id="51" creationId="{23E32F0F-1BD0-EC28-C8ED-A44F5CA40C07}"/>
          </ac:spMkLst>
        </pc:spChg>
        <pc:spChg chg="mod">
          <ac:chgData name="Joelle Brehm" userId="a518f54c-6985-42c0-8041-2bb16a414839" providerId="ADAL" clId="{9E52C8A6-326C-473A-BC21-4CED010AFA79}" dt="2023-09-06T15:28:00.736" v="11822"/>
          <ac:spMkLst>
            <pc:docMk/>
            <pc:sldMk cId="1450446987" sldId="264"/>
            <ac:spMk id="52" creationId="{35E94CE7-373A-9E4A-3654-13C7C305FD02}"/>
          </ac:spMkLst>
        </pc:spChg>
        <pc:spChg chg="del mod">
          <ac:chgData name="Joelle Brehm" userId="a518f54c-6985-42c0-8041-2bb16a414839" providerId="ADAL" clId="{9E52C8A6-326C-473A-BC21-4CED010AFA79}" dt="2023-09-06T15:27:17.826" v="9296"/>
          <ac:spMkLst>
            <pc:docMk/>
            <pc:sldMk cId="1450446987" sldId="264"/>
            <ac:spMk id="53" creationId="{07583A85-3A1C-05BF-197B-FC4414C47FD4}"/>
          </ac:spMkLst>
        </pc:spChg>
        <pc:spChg chg="mod">
          <ac:chgData name="Joelle Brehm" userId="a518f54c-6985-42c0-8041-2bb16a414839" providerId="ADAL" clId="{9E52C8A6-326C-473A-BC21-4CED010AFA79}" dt="2023-09-06T15:28:00.666" v="11733"/>
          <ac:spMkLst>
            <pc:docMk/>
            <pc:sldMk cId="1450446987" sldId="264"/>
            <ac:spMk id="54" creationId="{F4D76317-A1CB-E953-B601-FD6C3D6E8457}"/>
          </ac:spMkLst>
        </pc:spChg>
        <pc:spChg chg="mod">
          <ac:chgData name="Joelle Brehm" userId="a518f54c-6985-42c0-8041-2bb16a414839" providerId="ADAL" clId="{9E52C8A6-326C-473A-BC21-4CED010AFA79}" dt="2023-09-06T15:28:00.659" v="11722"/>
          <ac:spMkLst>
            <pc:docMk/>
            <pc:sldMk cId="1450446987" sldId="264"/>
            <ac:spMk id="55" creationId="{21D40969-F481-7C90-2962-9DFFAB84841F}"/>
          </ac:spMkLst>
        </pc:spChg>
        <pc:spChg chg="mod">
          <ac:chgData name="Joelle Brehm" userId="a518f54c-6985-42c0-8041-2bb16a414839" providerId="ADAL" clId="{9E52C8A6-326C-473A-BC21-4CED010AFA79}" dt="2023-09-06T15:28:00.742" v="11829"/>
          <ac:spMkLst>
            <pc:docMk/>
            <pc:sldMk cId="1450446987" sldId="264"/>
            <ac:spMk id="56" creationId="{F5C216EA-EC57-4DEF-163E-159AF77AAFE6}"/>
          </ac:spMkLst>
        </pc:spChg>
        <pc:spChg chg="mod">
          <ac:chgData name="Joelle Brehm" userId="a518f54c-6985-42c0-8041-2bb16a414839" providerId="ADAL" clId="{9E52C8A6-326C-473A-BC21-4CED010AFA79}" dt="2023-09-06T15:28:00.658" v="11721"/>
          <ac:spMkLst>
            <pc:docMk/>
            <pc:sldMk cId="1450446987" sldId="264"/>
            <ac:spMk id="57" creationId="{691D1289-3B15-0AD2-5838-E87715C40325}"/>
          </ac:spMkLst>
        </pc:spChg>
        <pc:spChg chg="add del mod modVis">
          <ac:chgData name="Joelle Brehm" userId="a518f54c-6985-42c0-8041-2bb16a414839" providerId="ADAL" clId="{9E52C8A6-326C-473A-BC21-4CED010AFA79}" dt="2023-09-06T15:25:38.308" v="6261"/>
          <ac:spMkLst>
            <pc:docMk/>
            <pc:sldMk cId="1450446987" sldId="264"/>
            <ac:spMk id="58" creationId="{06A36170-7909-0F15-D897-99B0AD6C60C8}"/>
          </ac:spMkLst>
        </pc:spChg>
        <pc:spChg chg="mod">
          <ac:chgData name="Joelle Brehm" userId="a518f54c-6985-42c0-8041-2bb16a414839" providerId="ADAL" clId="{9E52C8A6-326C-473A-BC21-4CED010AFA79}" dt="2023-09-06T15:28:00.659" v="11723"/>
          <ac:spMkLst>
            <pc:docMk/>
            <pc:sldMk cId="1450446987" sldId="264"/>
            <ac:spMk id="59" creationId="{A9FC9ABE-CB0B-D725-FEDA-1AFF3FC3AE22}"/>
          </ac:spMkLst>
        </pc:spChg>
        <pc:spChg chg="mod ord">
          <ac:chgData name="Joelle Brehm" userId="a518f54c-6985-42c0-8041-2bb16a414839" providerId="ADAL" clId="{9E52C8A6-326C-473A-BC21-4CED010AFA79}" dt="2023-09-06T15:28:00.710" v="11790"/>
          <ac:spMkLst>
            <pc:docMk/>
            <pc:sldMk cId="1450446987" sldId="264"/>
            <ac:spMk id="60" creationId="{9CF60A65-2FA0-41C4-8F42-71E3769BFB68}"/>
          </ac:spMkLst>
        </pc:spChg>
        <pc:spChg chg="mod ord">
          <ac:chgData name="Joelle Brehm" userId="a518f54c-6985-42c0-8041-2bb16a414839" providerId="ADAL" clId="{9E52C8A6-326C-473A-BC21-4CED010AFA79}" dt="2023-09-06T15:28:00.712" v="11792"/>
          <ac:spMkLst>
            <pc:docMk/>
            <pc:sldMk cId="1450446987" sldId="264"/>
            <ac:spMk id="61" creationId="{CA66769F-384C-4E4C-8EC8-419111D9428D}"/>
          </ac:spMkLst>
        </pc:spChg>
        <pc:spChg chg="mod ord">
          <ac:chgData name="Joelle Brehm" userId="a518f54c-6985-42c0-8041-2bb16a414839" providerId="ADAL" clId="{9E52C8A6-326C-473A-BC21-4CED010AFA79}" dt="2023-09-06T15:28:00.714" v="11794"/>
          <ac:spMkLst>
            <pc:docMk/>
            <pc:sldMk cId="1450446987" sldId="264"/>
            <ac:spMk id="62" creationId="{19815E26-2ABF-4A16-94FE-6C4A68E6FBBD}"/>
          </ac:spMkLst>
        </pc:spChg>
        <pc:spChg chg="mod">
          <ac:chgData name="Joelle Brehm" userId="a518f54c-6985-42c0-8041-2bb16a414839" providerId="ADAL" clId="{9E52C8A6-326C-473A-BC21-4CED010AFA79}" dt="2023-09-06T15:28:00.672" v="11740"/>
          <ac:spMkLst>
            <pc:docMk/>
            <pc:sldMk cId="1450446987" sldId="264"/>
            <ac:spMk id="63" creationId="{09FCBDA2-2BA1-FD0B-C70E-29EBF0B27C7B}"/>
          </ac:spMkLst>
        </pc:spChg>
        <pc:spChg chg="mod">
          <ac:chgData name="Joelle Brehm" userId="a518f54c-6985-42c0-8041-2bb16a414839" providerId="ADAL" clId="{9E52C8A6-326C-473A-BC21-4CED010AFA79}" dt="2023-09-06T15:28:00.707" v="11785"/>
          <ac:spMkLst>
            <pc:docMk/>
            <pc:sldMk cId="1450446987" sldId="264"/>
            <ac:spMk id="64" creationId="{A32634C8-6FE7-6BB1-8251-847A1565A477}"/>
          </ac:spMkLst>
        </pc:spChg>
        <pc:spChg chg="mod">
          <ac:chgData name="Joelle Brehm" userId="a518f54c-6985-42c0-8041-2bb16a414839" providerId="ADAL" clId="{9E52C8A6-326C-473A-BC21-4CED010AFA79}" dt="2023-09-06T15:28:00.664" v="11731"/>
          <ac:spMkLst>
            <pc:docMk/>
            <pc:sldMk cId="1450446987" sldId="264"/>
            <ac:spMk id="65" creationId="{3157109A-3120-04A6-D693-60F57F766A08}"/>
          </ac:spMkLst>
        </pc:spChg>
        <pc:spChg chg="del mod">
          <ac:chgData name="Joelle Brehm" userId="a518f54c-6985-42c0-8041-2bb16a414839" providerId="ADAL" clId="{9E52C8A6-326C-473A-BC21-4CED010AFA79}" dt="2023-09-06T15:27:30.552" v="10072"/>
          <ac:spMkLst>
            <pc:docMk/>
            <pc:sldMk cId="1450446987" sldId="264"/>
            <ac:spMk id="66" creationId="{716B7597-758E-617A-BFDD-E998C7101D5B}"/>
          </ac:spMkLst>
        </pc:spChg>
        <pc:spChg chg="mod">
          <ac:chgData name="Joelle Brehm" userId="a518f54c-6985-42c0-8041-2bb16a414839" providerId="ADAL" clId="{9E52C8A6-326C-473A-BC21-4CED010AFA79}" dt="2023-09-06T15:28:00.678" v="11748"/>
          <ac:spMkLst>
            <pc:docMk/>
            <pc:sldMk cId="1450446987" sldId="264"/>
            <ac:spMk id="67" creationId="{07554C78-0589-F93D-CEAD-413925596F0D}"/>
          </ac:spMkLst>
        </pc:spChg>
        <pc:spChg chg="mod">
          <ac:chgData name="Joelle Brehm" userId="a518f54c-6985-42c0-8041-2bb16a414839" providerId="ADAL" clId="{9E52C8A6-326C-473A-BC21-4CED010AFA79}" dt="2023-09-06T15:28:00.666" v="11732"/>
          <ac:spMkLst>
            <pc:docMk/>
            <pc:sldMk cId="1450446987" sldId="264"/>
            <ac:spMk id="68" creationId="{73F4DC56-4ACE-7CF2-9887-2654DC647E84}"/>
          </ac:spMkLst>
        </pc:spChg>
        <pc:spChg chg="mod">
          <ac:chgData name="Joelle Brehm" userId="a518f54c-6985-42c0-8041-2bb16a414839" providerId="ADAL" clId="{9E52C8A6-326C-473A-BC21-4CED010AFA79}" dt="2023-09-06T15:28:00.739" v="11825"/>
          <ac:spMkLst>
            <pc:docMk/>
            <pc:sldMk cId="1450446987" sldId="264"/>
            <ac:spMk id="69" creationId="{DE2291CF-E337-7DDA-5968-40B109D88D57}"/>
          </ac:spMkLst>
        </pc:spChg>
        <pc:spChg chg="del mod">
          <ac:chgData name="Joelle Brehm" userId="a518f54c-6985-42c0-8041-2bb16a414839" providerId="ADAL" clId="{9E52C8A6-326C-473A-BC21-4CED010AFA79}" dt="2023-09-06T15:27:30.548" v="10071"/>
          <ac:spMkLst>
            <pc:docMk/>
            <pc:sldMk cId="1450446987" sldId="264"/>
            <ac:spMk id="70" creationId="{5BDC691D-C8E2-B27A-3AB8-2FC6A54A898E}"/>
          </ac:spMkLst>
        </pc:spChg>
        <pc:spChg chg="add del mod modVis">
          <ac:chgData name="Joelle Brehm" userId="a518f54c-6985-42c0-8041-2bb16a414839" providerId="ADAL" clId="{9E52C8A6-326C-473A-BC21-4CED010AFA79}" dt="2023-09-06T15:25:43.442" v="6483"/>
          <ac:spMkLst>
            <pc:docMk/>
            <pc:sldMk cId="1450446987" sldId="264"/>
            <ac:spMk id="72" creationId="{06F73618-F3B7-AC7E-AE0E-1657DBF1379C}"/>
          </ac:spMkLst>
        </pc:spChg>
        <pc:spChg chg="mod">
          <ac:chgData name="Joelle Brehm" userId="a518f54c-6985-42c0-8041-2bb16a414839" providerId="ADAL" clId="{9E52C8A6-326C-473A-BC21-4CED010AFA79}" dt="2023-09-06T15:28:00.673" v="11741"/>
          <ac:spMkLst>
            <pc:docMk/>
            <pc:sldMk cId="1450446987" sldId="264"/>
            <ac:spMk id="73" creationId="{9222FB5E-7628-BAAE-A4E4-E9F13F9B74EE}"/>
          </ac:spMkLst>
        </pc:spChg>
        <pc:spChg chg="mod">
          <ac:chgData name="Joelle Brehm" userId="a518f54c-6985-42c0-8041-2bb16a414839" providerId="ADAL" clId="{9E52C8A6-326C-473A-BC21-4CED010AFA79}" dt="2023-09-06T15:28:00.673" v="11744"/>
          <ac:spMkLst>
            <pc:docMk/>
            <pc:sldMk cId="1450446987" sldId="264"/>
            <ac:spMk id="74" creationId="{F958F86A-808B-E798-783E-1A1F613E0728}"/>
          </ac:spMkLst>
        </pc:spChg>
        <pc:spChg chg="del mod">
          <ac:chgData name="Joelle Brehm" userId="a518f54c-6985-42c0-8041-2bb16a414839" providerId="ADAL" clId="{9E52C8A6-326C-473A-BC21-4CED010AFA79}" dt="2023-09-06T15:27:47.957" v="10871"/>
          <ac:spMkLst>
            <pc:docMk/>
            <pc:sldMk cId="1450446987" sldId="264"/>
            <ac:spMk id="75" creationId="{13410235-2E0C-20D9-B17D-8C7B02B22762}"/>
          </ac:spMkLst>
        </pc:spChg>
        <pc:spChg chg="mod">
          <ac:chgData name="Joelle Brehm" userId="a518f54c-6985-42c0-8041-2bb16a414839" providerId="ADAL" clId="{9E52C8A6-326C-473A-BC21-4CED010AFA79}" dt="2023-09-06T15:28:00.667" v="11734"/>
          <ac:spMkLst>
            <pc:docMk/>
            <pc:sldMk cId="1450446987" sldId="264"/>
            <ac:spMk id="76" creationId="{8B86A84A-17AF-C0BB-9688-007EFA1F104D}"/>
          </ac:spMkLst>
        </pc:spChg>
        <pc:spChg chg="mod">
          <ac:chgData name="Joelle Brehm" userId="a518f54c-6985-42c0-8041-2bb16a414839" providerId="ADAL" clId="{9E52C8A6-326C-473A-BC21-4CED010AFA79}" dt="2023-09-06T15:28:00.723" v="11805"/>
          <ac:spMkLst>
            <pc:docMk/>
            <pc:sldMk cId="1450446987" sldId="264"/>
            <ac:spMk id="77" creationId="{60F97E40-1529-395D-816D-8834F0F881FD}"/>
          </ac:spMkLst>
        </pc:spChg>
        <pc:spChg chg="del mod">
          <ac:chgData name="Joelle Brehm" userId="a518f54c-6985-42c0-8041-2bb16a414839" providerId="ADAL" clId="{9E52C8A6-326C-473A-BC21-4CED010AFA79}" dt="2023-09-06T15:27:47.954" v="10870"/>
          <ac:spMkLst>
            <pc:docMk/>
            <pc:sldMk cId="1450446987" sldId="264"/>
            <ac:spMk id="78" creationId="{CC7AB43F-0280-E74F-A136-01BBACF44D65}"/>
          </ac:spMkLst>
        </pc:spChg>
        <pc:spChg chg="mod">
          <ac:chgData name="Joelle Brehm" userId="a518f54c-6985-42c0-8041-2bb16a414839" providerId="ADAL" clId="{9E52C8A6-326C-473A-BC21-4CED010AFA79}" dt="2023-09-06T15:28:00.682" v="11753"/>
          <ac:spMkLst>
            <pc:docMk/>
            <pc:sldMk cId="1450446987" sldId="264"/>
            <ac:spMk id="79" creationId="{7839083A-6222-21DF-942E-D412CB0A038D}"/>
          </ac:spMkLst>
        </pc:spChg>
        <pc:spChg chg="mod">
          <ac:chgData name="Joelle Brehm" userId="a518f54c-6985-42c0-8041-2bb16a414839" providerId="ADAL" clId="{9E52C8A6-326C-473A-BC21-4CED010AFA79}" dt="2023-09-06T15:28:00.744" v="11832"/>
          <ac:spMkLst>
            <pc:docMk/>
            <pc:sldMk cId="1450446987" sldId="264"/>
            <ac:spMk id="80" creationId="{322C1714-AD6A-A2C4-9548-45C6502F722D}"/>
          </ac:spMkLst>
        </pc:spChg>
        <pc:spChg chg="mod">
          <ac:chgData name="Joelle Brehm" userId="a518f54c-6985-42c0-8041-2bb16a414839" providerId="ADAL" clId="{9E52C8A6-326C-473A-BC21-4CED010AFA79}" dt="2023-09-06T15:28:00.684" v="11757"/>
          <ac:spMkLst>
            <pc:docMk/>
            <pc:sldMk cId="1450446987" sldId="264"/>
            <ac:spMk id="81" creationId="{6F4C96C8-F30F-B7F9-162B-D0B13BC90C2B}"/>
          </ac:spMkLst>
        </pc:spChg>
        <pc:spChg chg="mod">
          <ac:chgData name="Joelle Brehm" userId="a518f54c-6985-42c0-8041-2bb16a414839" providerId="ADAL" clId="{9E52C8A6-326C-473A-BC21-4CED010AFA79}" dt="2023-09-06T15:28:00.723" v="11804"/>
          <ac:spMkLst>
            <pc:docMk/>
            <pc:sldMk cId="1450446987" sldId="264"/>
            <ac:spMk id="82" creationId="{47495649-1334-BE38-2A0B-39662035FACE}"/>
          </ac:spMkLst>
        </pc:spChg>
        <pc:spChg chg="mod">
          <ac:chgData name="Joelle Brehm" userId="a518f54c-6985-42c0-8041-2bb16a414839" providerId="ADAL" clId="{9E52C8A6-326C-473A-BC21-4CED010AFA79}" dt="2023-09-06T15:28:00.734" v="11819"/>
          <ac:spMkLst>
            <pc:docMk/>
            <pc:sldMk cId="1450446987" sldId="264"/>
            <ac:spMk id="84" creationId="{C6FD14B3-2B6F-F354-0055-5C4DEDC0FDA2}"/>
          </ac:spMkLst>
        </pc:spChg>
        <pc:spChg chg="mod">
          <ac:chgData name="Joelle Brehm" userId="a518f54c-6985-42c0-8041-2bb16a414839" providerId="ADAL" clId="{9E52C8A6-326C-473A-BC21-4CED010AFA79}" dt="2023-09-06T15:28:00.660" v="11724"/>
          <ac:spMkLst>
            <pc:docMk/>
            <pc:sldMk cId="1450446987" sldId="264"/>
            <ac:spMk id="85" creationId="{87244ECD-ECFD-D89D-761C-DA74EBCF3463}"/>
          </ac:spMkLst>
        </pc:spChg>
        <pc:spChg chg="mod">
          <ac:chgData name="Joelle Brehm" userId="a518f54c-6985-42c0-8041-2bb16a414839" providerId="ADAL" clId="{9E52C8A6-326C-473A-BC21-4CED010AFA79}" dt="2023-09-06T15:28:00.678" v="11749"/>
          <ac:spMkLst>
            <pc:docMk/>
            <pc:sldMk cId="1450446987" sldId="264"/>
            <ac:spMk id="86" creationId="{8755EB97-A2D7-E12E-1034-20F2D9D1D86D}"/>
          </ac:spMkLst>
        </pc:spChg>
        <pc:spChg chg="mod">
          <ac:chgData name="Joelle Brehm" userId="a518f54c-6985-42c0-8041-2bb16a414839" providerId="ADAL" clId="{9E52C8A6-326C-473A-BC21-4CED010AFA79}" dt="2023-09-06T15:28:00.707" v="11786"/>
          <ac:spMkLst>
            <pc:docMk/>
            <pc:sldMk cId="1450446987" sldId="264"/>
            <ac:spMk id="87" creationId="{06946997-7AFB-6327-F61E-B25533F6C115}"/>
          </ac:spMkLst>
        </pc:spChg>
        <pc:spChg chg="mod">
          <ac:chgData name="Joelle Brehm" userId="a518f54c-6985-42c0-8041-2bb16a414839" providerId="ADAL" clId="{9E52C8A6-326C-473A-BC21-4CED010AFA79}" dt="2023-09-06T15:28:00.744" v="11831"/>
          <ac:spMkLst>
            <pc:docMk/>
            <pc:sldMk cId="1450446987" sldId="264"/>
            <ac:spMk id="89" creationId="{95B2D293-794F-A143-9799-33747A736BF9}"/>
          </ac:spMkLst>
        </pc:spChg>
        <pc:spChg chg="mod">
          <ac:chgData name="Joelle Brehm" userId="a518f54c-6985-42c0-8041-2bb16a414839" providerId="ADAL" clId="{9E52C8A6-326C-473A-BC21-4CED010AFA79}" dt="2023-09-06T15:28:00.684" v="11758"/>
          <ac:spMkLst>
            <pc:docMk/>
            <pc:sldMk cId="1450446987" sldId="264"/>
            <ac:spMk id="90" creationId="{5F5FA417-BFF1-F21F-47F8-135D335B8AB8}"/>
          </ac:spMkLst>
        </pc:spChg>
        <pc:spChg chg="mod">
          <ac:chgData name="Joelle Brehm" userId="a518f54c-6985-42c0-8041-2bb16a414839" providerId="ADAL" clId="{9E52C8A6-326C-473A-BC21-4CED010AFA79}" dt="2023-09-06T15:28:00.733" v="11817"/>
          <ac:spMkLst>
            <pc:docMk/>
            <pc:sldMk cId="1450446987" sldId="264"/>
            <ac:spMk id="91" creationId="{CC94F927-3930-8FBB-F700-00F80B097138}"/>
          </ac:spMkLst>
        </pc:spChg>
        <pc:spChg chg="mod">
          <ac:chgData name="Joelle Brehm" userId="a518f54c-6985-42c0-8041-2bb16a414839" providerId="ADAL" clId="{9E52C8A6-326C-473A-BC21-4CED010AFA79}" dt="2023-09-06T15:28:00.737" v="11823"/>
          <ac:spMkLst>
            <pc:docMk/>
            <pc:sldMk cId="1450446987" sldId="264"/>
            <ac:spMk id="93" creationId="{E3535E8F-2FE1-602D-1DEE-9C3D3425F046}"/>
          </ac:spMkLst>
        </pc:spChg>
        <pc:spChg chg="mod">
          <ac:chgData name="Joelle Brehm" userId="a518f54c-6985-42c0-8041-2bb16a414839" providerId="ADAL" clId="{9E52C8A6-326C-473A-BC21-4CED010AFA79}" dt="2023-09-06T15:28:00.660" v="11725"/>
          <ac:spMkLst>
            <pc:docMk/>
            <pc:sldMk cId="1450446987" sldId="264"/>
            <ac:spMk id="94" creationId="{0E9FC4C8-8568-8E89-A3E0-BD97D0B207CF}"/>
          </ac:spMkLst>
        </pc:spChg>
        <pc:spChg chg="mod">
          <ac:chgData name="Joelle Brehm" userId="a518f54c-6985-42c0-8041-2bb16a414839" providerId="ADAL" clId="{9E52C8A6-326C-473A-BC21-4CED010AFA79}" dt="2023-09-06T15:28:00.653" v="11715"/>
          <ac:spMkLst>
            <pc:docMk/>
            <pc:sldMk cId="1450446987" sldId="264"/>
            <ac:spMk id="95" creationId="{6ECADB09-7F96-4E09-271A-74E976547B47}"/>
          </ac:spMkLst>
        </pc:spChg>
        <pc:spChg chg="mod ord">
          <ac:chgData name="Joelle Brehm" userId="a518f54c-6985-42c0-8041-2bb16a414839" providerId="ADAL" clId="{9E52C8A6-326C-473A-BC21-4CED010AFA79}" dt="2023-09-06T15:28:00.715" v="11796"/>
          <ac:spMkLst>
            <pc:docMk/>
            <pc:sldMk cId="1450446987" sldId="264"/>
            <ac:spMk id="96" creationId="{13AC7CFA-23AF-445A-96F6-EA0D2FF657A3}"/>
          </ac:spMkLst>
        </pc:spChg>
        <pc:spChg chg="mod ord">
          <ac:chgData name="Joelle Brehm" userId="a518f54c-6985-42c0-8041-2bb16a414839" providerId="ADAL" clId="{9E52C8A6-326C-473A-BC21-4CED010AFA79}" dt="2023-09-06T15:28:00.717" v="11798"/>
          <ac:spMkLst>
            <pc:docMk/>
            <pc:sldMk cId="1450446987" sldId="264"/>
            <ac:spMk id="97" creationId="{64B2B8D7-E8A8-4757-99A4-69F1EAA48321}"/>
          </ac:spMkLst>
        </pc:spChg>
        <pc:spChg chg="add del mod modVis">
          <ac:chgData name="Joelle Brehm" userId="a518f54c-6985-42c0-8041-2bb16a414839" providerId="ADAL" clId="{9E52C8A6-326C-473A-BC21-4CED010AFA79}" dt="2023-09-06T15:25:56.809" v="6863"/>
          <ac:spMkLst>
            <pc:docMk/>
            <pc:sldMk cId="1450446987" sldId="264"/>
            <ac:spMk id="98" creationId="{678C7FA9-B0C7-A0CD-310A-0121494A4414}"/>
          </ac:spMkLst>
        </pc:spChg>
        <pc:spChg chg="mod">
          <ac:chgData name="Joelle Brehm" userId="a518f54c-6985-42c0-8041-2bb16a414839" providerId="ADAL" clId="{9E52C8A6-326C-473A-BC21-4CED010AFA79}" dt="2023-09-06T15:28:00.745" v="11833"/>
          <ac:spMkLst>
            <pc:docMk/>
            <pc:sldMk cId="1450446987" sldId="264"/>
            <ac:spMk id="99" creationId="{532CB703-5963-C57B-5D4D-6A2C18AD0509}"/>
          </ac:spMkLst>
        </pc:spChg>
        <pc:spChg chg="add del mod modVis">
          <ac:chgData name="Joelle Brehm" userId="a518f54c-6985-42c0-8041-2bb16a414839" providerId="ADAL" clId="{9E52C8A6-326C-473A-BC21-4CED010AFA79}" dt="2023-09-06T15:25:58.459" v="7068"/>
          <ac:spMkLst>
            <pc:docMk/>
            <pc:sldMk cId="1450446987" sldId="264"/>
            <ac:spMk id="101" creationId="{255C207F-11DD-9334-6CDE-E09C3BF1D70C}"/>
          </ac:spMkLst>
        </pc:spChg>
        <pc:spChg chg="mod">
          <ac:chgData name="Joelle Brehm" userId="a518f54c-6985-42c0-8041-2bb16a414839" providerId="ADAL" clId="{9E52C8A6-326C-473A-BC21-4CED010AFA79}" dt="2023-09-06T15:28:00.676" v="11747"/>
          <ac:spMkLst>
            <pc:docMk/>
            <pc:sldMk cId="1450446987" sldId="264"/>
            <ac:spMk id="104" creationId="{FEE84FEA-7BD5-C89A-81E3-D4196031D1EF}"/>
          </ac:spMkLst>
        </pc:spChg>
        <pc:spChg chg="mod">
          <ac:chgData name="Joelle Brehm" userId="a518f54c-6985-42c0-8041-2bb16a414839" providerId="ADAL" clId="{9E52C8A6-326C-473A-BC21-4CED010AFA79}" dt="2023-09-06T15:28:00.740" v="11826"/>
          <ac:spMkLst>
            <pc:docMk/>
            <pc:sldMk cId="1450446987" sldId="264"/>
            <ac:spMk id="105" creationId="{6F17E07D-B1C5-FB93-9E06-748C948F3B84}"/>
          </ac:spMkLst>
        </pc:spChg>
        <pc:spChg chg="mod ord">
          <ac:chgData name="Joelle Brehm" userId="a518f54c-6985-42c0-8041-2bb16a414839" providerId="ADAL" clId="{9E52C8A6-326C-473A-BC21-4CED010AFA79}" dt="2023-09-06T15:28:00.648" v="11708"/>
          <ac:spMkLst>
            <pc:docMk/>
            <pc:sldMk cId="1450446987" sldId="264"/>
            <ac:spMk id="106" creationId="{58013157-8B72-4777-A1DA-B9BACD5A28D4}"/>
          </ac:spMkLst>
        </pc:spChg>
        <pc:spChg chg="add del mod modVis">
          <ac:chgData name="Joelle Brehm" userId="a518f54c-6985-42c0-8041-2bb16a414839" providerId="ADAL" clId="{9E52C8A6-326C-473A-BC21-4CED010AFA79}" dt="2023-09-06T15:26:16.623" v="7442"/>
          <ac:spMkLst>
            <pc:docMk/>
            <pc:sldMk cId="1450446987" sldId="264"/>
            <ac:spMk id="107" creationId="{6CEFDFFD-1D26-C30F-23D8-7B9031BDF6D1}"/>
          </ac:spMkLst>
        </pc:spChg>
        <pc:spChg chg="mod">
          <ac:chgData name="Joelle Brehm" userId="a518f54c-6985-42c0-8041-2bb16a414839" providerId="ADAL" clId="{9E52C8A6-326C-473A-BC21-4CED010AFA79}" dt="2023-09-06T15:28:00.682" v="11754"/>
          <ac:spMkLst>
            <pc:docMk/>
            <pc:sldMk cId="1450446987" sldId="264"/>
            <ac:spMk id="108" creationId="{A8F09F2D-DE68-133D-D131-2E68AE9E4F86}"/>
          </ac:spMkLst>
        </pc:spChg>
        <pc:spChg chg="mod">
          <ac:chgData name="Joelle Brehm" userId="a518f54c-6985-42c0-8041-2bb16a414839" providerId="ADAL" clId="{9E52C8A6-326C-473A-BC21-4CED010AFA79}" dt="2023-09-06T15:28:00.679" v="11750"/>
          <ac:spMkLst>
            <pc:docMk/>
            <pc:sldMk cId="1450446987" sldId="264"/>
            <ac:spMk id="109" creationId="{6190254C-63EA-3137-CA9E-EDEF286647D9}"/>
          </ac:spMkLst>
        </pc:spChg>
        <pc:spChg chg="mod">
          <ac:chgData name="Joelle Brehm" userId="a518f54c-6985-42c0-8041-2bb16a414839" providerId="ADAL" clId="{9E52C8A6-326C-473A-BC21-4CED010AFA79}" dt="2023-09-06T15:28:00.664" v="11730"/>
          <ac:spMkLst>
            <pc:docMk/>
            <pc:sldMk cId="1450446987" sldId="264"/>
            <ac:spMk id="110" creationId="{3E9DFF71-BC3D-F5AB-9F34-2E7EB64B1AD3}"/>
          </ac:spMkLst>
        </pc:spChg>
        <pc:spChg chg="mod">
          <ac:chgData name="Joelle Brehm" userId="a518f54c-6985-42c0-8041-2bb16a414839" providerId="ADAL" clId="{9E52C8A6-326C-473A-BC21-4CED010AFA79}" dt="2023-09-06T15:28:00.726" v="11810"/>
          <ac:spMkLst>
            <pc:docMk/>
            <pc:sldMk cId="1450446987" sldId="264"/>
            <ac:spMk id="112" creationId="{B1E326C2-2EEE-43D5-A109-95DDFA51B73B}"/>
          </ac:spMkLst>
        </pc:spChg>
        <pc:spChg chg="mod">
          <ac:chgData name="Joelle Brehm" userId="a518f54c-6985-42c0-8041-2bb16a414839" providerId="ADAL" clId="{9E52C8A6-326C-473A-BC21-4CED010AFA79}" dt="2023-09-06T15:28:00.673" v="11743"/>
          <ac:spMkLst>
            <pc:docMk/>
            <pc:sldMk cId="1450446987" sldId="264"/>
            <ac:spMk id="113" creationId="{345D71C8-6CA8-CC84-D4E5-408E5C14405E}"/>
          </ac:spMkLst>
        </pc:spChg>
        <pc:spChg chg="del mod">
          <ac:chgData name="Joelle Brehm" userId="a518f54c-6985-42c0-8041-2bb16a414839" providerId="ADAL" clId="{9E52C8A6-326C-473A-BC21-4CED010AFA79}" dt="2023-09-06T15:25:56.710" v="6712"/>
          <ac:spMkLst>
            <pc:docMk/>
            <pc:sldMk cId="1450446987" sldId="264"/>
            <ac:spMk id="11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28:00.727" v="11811"/>
          <ac:spMkLst>
            <pc:docMk/>
            <pc:sldMk cId="1450446987" sldId="264"/>
            <ac:spMk id="115" creationId="{F83AC835-A6EF-4A7F-8442-CDE1F97238F5}"/>
          </ac:spMkLst>
        </pc:spChg>
        <pc:spChg chg="mod">
          <ac:chgData name="Joelle Brehm" userId="a518f54c-6985-42c0-8041-2bb16a414839" providerId="ADAL" clId="{9E52C8A6-326C-473A-BC21-4CED010AFA79}" dt="2023-09-06T15:28:00.746" v="11834"/>
          <ac:spMkLst>
            <pc:docMk/>
            <pc:sldMk cId="1450446987" sldId="264"/>
            <ac:spMk id="116" creationId="{E6B2D068-E691-A10D-15D8-F8578EFD4C29}"/>
          </ac:spMkLst>
        </pc:spChg>
        <pc:spChg chg="del mod">
          <ac:chgData name="Joelle Brehm" userId="a518f54c-6985-42c0-8041-2bb16a414839" providerId="ADAL" clId="{9E52C8A6-326C-473A-BC21-4CED010AFA79}" dt="2023-09-06T15:25:47.615" v="6488"/>
          <ac:spMkLst>
            <pc:docMk/>
            <pc:sldMk cId="1450446987" sldId="264"/>
            <ac:spMk id="117" creationId="{CA507393-C271-461C-833F-D27183C2BAD3}"/>
          </ac:spMkLst>
        </pc:spChg>
        <pc:spChg chg="add del mod modVis">
          <ac:chgData name="Joelle Brehm" userId="a518f54c-6985-42c0-8041-2bb16a414839" providerId="ADAL" clId="{9E52C8A6-326C-473A-BC21-4CED010AFA79}" dt="2023-09-06T15:26:17.283" v="7814"/>
          <ac:spMkLst>
            <pc:docMk/>
            <pc:sldMk cId="1450446987" sldId="264"/>
            <ac:spMk id="118" creationId="{B219F98B-B14D-E31F-3A0E-522FD7F5621F}"/>
          </ac:spMkLst>
        </pc:spChg>
        <pc:spChg chg="add mod replST">
          <ac:chgData name="Joelle Brehm" userId="a518f54c-6985-42c0-8041-2bb16a414839" providerId="ADAL" clId="{9E52C8A6-326C-473A-BC21-4CED010AFA79}" dt="2023-09-06T15:28:00.724" v="11806"/>
          <ac:spMkLst>
            <pc:docMk/>
            <pc:sldMk cId="1450446987" sldId="264"/>
            <ac:spMk id="119" creationId="{7CAA3B95-4C78-4122-BECA-B5FB0F3F3764}"/>
          </ac:spMkLst>
        </pc:spChg>
        <pc:spChg chg="add mod replST">
          <ac:chgData name="Joelle Brehm" userId="a518f54c-6985-42c0-8041-2bb16a414839" providerId="ADAL" clId="{9E52C8A6-326C-473A-BC21-4CED010AFA79}" dt="2023-09-06T15:28:00.724" v="11807"/>
          <ac:spMkLst>
            <pc:docMk/>
            <pc:sldMk cId="1450446987" sldId="264"/>
            <ac:spMk id="12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28:00.680" v="11751"/>
          <ac:spMkLst>
            <pc:docMk/>
            <pc:sldMk cId="1450446987" sldId="264"/>
            <ac:spMk id="124" creationId="{E29C0612-0AFE-B996-B33A-B76C1FA88F23}"/>
          </ac:spMkLst>
        </pc:spChg>
        <pc:spChg chg="mod">
          <ac:chgData name="Joelle Brehm" userId="a518f54c-6985-42c0-8041-2bb16a414839" providerId="ADAL" clId="{9E52C8A6-326C-473A-BC21-4CED010AFA79}" dt="2023-09-06T15:28:00.741" v="11827"/>
          <ac:spMkLst>
            <pc:docMk/>
            <pc:sldMk cId="1450446987" sldId="264"/>
            <ac:spMk id="125" creationId="{7946676C-3436-BEA2-4ED0-A4B3DECD2026}"/>
          </ac:spMkLst>
        </pc:spChg>
        <pc:spChg chg="mod">
          <ac:chgData name="Joelle Brehm" userId="a518f54c-6985-42c0-8041-2bb16a414839" providerId="ADAL" clId="{9E52C8A6-326C-473A-BC21-4CED010AFA79}" dt="2023-09-06T15:28:00.685" v="11759"/>
          <ac:spMkLst>
            <pc:docMk/>
            <pc:sldMk cId="1450446987" sldId="264"/>
            <ac:spMk id="127" creationId="{2CF9A986-1E95-AE1A-FD0F-F8AD045E4589}"/>
          </ac:spMkLst>
        </pc:spChg>
        <pc:spChg chg="add del mod modVis">
          <ac:chgData name="Joelle Brehm" userId="a518f54c-6985-42c0-8041-2bb16a414839" providerId="ADAL" clId="{9E52C8A6-326C-473A-BC21-4CED010AFA79}" dt="2023-09-06T15:26:25.789" v="8341"/>
          <ac:spMkLst>
            <pc:docMk/>
            <pc:sldMk cId="1450446987" sldId="264"/>
            <ac:spMk id="128" creationId="{BE6F39B0-EB91-EF2B-BB90-E8F2665D92E7}"/>
          </ac:spMkLst>
        </pc:spChg>
        <pc:spChg chg="mod">
          <ac:chgData name="Joelle Brehm" userId="a518f54c-6985-42c0-8041-2bb16a414839" providerId="ADAL" clId="{9E52C8A6-326C-473A-BC21-4CED010AFA79}" dt="2023-09-06T15:28:00.747" v="11835"/>
          <ac:spMkLst>
            <pc:docMk/>
            <pc:sldMk cId="1450446987" sldId="264"/>
            <ac:spMk id="132" creationId="{8E856E10-A2C3-3BD4-C02F-F3D2D343989C}"/>
          </ac:spMkLst>
        </pc:spChg>
        <pc:spChg chg="del mod">
          <ac:chgData name="Joelle Brehm" userId="a518f54c-6985-42c0-8041-2bb16a414839" providerId="ADAL" clId="{9E52C8A6-326C-473A-BC21-4CED010AFA79}" dt="2023-09-06T15:28:00.486" v="11629"/>
          <ac:spMkLst>
            <pc:docMk/>
            <pc:sldMk cId="1450446987" sldId="264"/>
            <ac:spMk id="133" creationId="{27E751A0-7D1F-8C13-F04F-59DC6E236D65}"/>
          </ac:spMkLst>
        </pc:spChg>
        <pc:spChg chg="add mod replST">
          <ac:chgData name="Joelle Brehm" userId="a518f54c-6985-42c0-8041-2bb16a414839" providerId="ADAL" clId="{9E52C8A6-326C-473A-BC21-4CED010AFA79}" dt="2023-09-06T15:28:00.708" v="11787"/>
          <ac:spMkLst>
            <pc:docMk/>
            <pc:sldMk cId="1450446987" sldId="264"/>
            <ac:spMk id="134" creationId="{4B21D98E-CBDB-7AFB-94BD-6B7A23D60EC2}"/>
          </ac:spMkLst>
        </pc:spChg>
        <pc:spChg chg="add del mod modVis">
          <ac:chgData name="Joelle Brehm" userId="a518f54c-6985-42c0-8041-2bb16a414839" providerId="ADAL" clId="{9E52C8A6-326C-473A-BC21-4CED010AFA79}" dt="2023-09-06T15:27:11.041" v="9047"/>
          <ac:spMkLst>
            <pc:docMk/>
            <pc:sldMk cId="1450446987" sldId="264"/>
            <ac:spMk id="135" creationId="{D8B41417-67F4-80A9-E7D5-FB705AD86038}"/>
          </ac:spMkLst>
        </pc:spChg>
        <pc:spChg chg="mod">
          <ac:chgData name="Joelle Brehm" userId="a518f54c-6985-42c0-8041-2bb16a414839" providerId="ADAL" clId="{9E52C8A6-326C-473A-BC21-4CED010AFA79}" dt="2023-09-06T15:28:00.720" v="11801"/>
          <ac:spMkLst>
            <pc:docMk/>
            <pc:sldMk cId="1450446987" sldId="264"/>
            <ac:spMk id="136" creationId="{B0880886-62C0-5AA0-11B4-1A12280C6771}"/>
          </ac:spMkLst>
        </pc:spChg>
        <pc:spChg chg="mod">
          <ac:chgData name="Joelle Brehm" userId="a518f54c-6985-42c0-8041-2bb16a414839" providerId="ADAL" clId="{9E52C8A6-326C-473A-BC21-4CED010AFA79}" dt="2023-09-06T15:28:00.671" v="11739"/>
          <ac:spMkLst>
            <pc:docMk/>
            <pc:sldMk cId="1450446987" sldId="264"/>
            <ac:spMk id="139" creationId="{90D6C27A-2B60-467B-C5C7-9CCE43964040}"/>
          </ac:spMkLst>
        </pc:spChg>
        <pc:spChg chg="add mod replST">
          <ac:chgData name="Joelle Brehm" userId="a518f54c-6985-42c0-8041-2bb16a414839" providerId="ADAL" clId="{9E52C8A6-326C-473A-BC21-4CED010AFA79}" dt="2023-09-06T15:28:00.709" v="11788"/>
          <ac:spMkLst>
            <pc:docMk/>
            <pc:sldMk cId="1450446987" sldId="264"/>
            <ac:spMk id="141" creationId="{E36F4C8D-EC2C-AF10-792A-6324A776E04A}"/>
          </ac:spMkLst>
        </pc:spChg>
        <pc:spChg chg="mod">
          <ac:chgData name="Joelle Brehm" userId="a518f54c-6985-42c0-8041-2bb16a414839" providerId="ADAL" clId="{9E52C8A6-326C-473A-BC21-4CED010AFA79}" dt="2023-09-06T15:28:00.735" v="11820"/>
          <ac:spMkLst>
            <pc:docMk/>
            <pc:sldMk cId="1450446987" sldId="264"/>
            <ac:spMk id="142" creationId="{4C243CA7-30C6-C41B-1F6A-8A2CF12A5651}"/>
          </ac:spMkLst>
        </pc:spChg>
        <pc:spChg chg="mod">
          <ac:chgData name="Joelle Brehm" userId="a518f54c-6985-42c0-8041-2bb16a414839" providerId="ADAL" clId="{9E52C8A6-326C-473A-BC21-4CED010AFA79}" dt="2023-09-06T15:28:00.687" v="11760"/>
          <ac:spMkLst>
            <pc:docMk/>
            <pc:sldMk cId="1450446987" sldId="264"/>
            <ac:spMk id="143" creationId="{8B4F9978-6CBD-ADA8-09AB-786FD14471F8}"/>
          </ac:spMkLst>
        </pc:spChg>
        <pc:spChg chg="add del mod modVis">
          <ac:chgData name="Joelle Brehm" userId="a518f54c-6985-42c0-8041-2bb16a414839" providerId="ADAL" clId="{9E52C8A6-326C-473A-BC21-4CED010AFA79}" dt="2023-09-06T15:27:15.753" v="9293"/>
          <ac:spMkLst>
            <pc:docMk/>
            <pc:sldMk cId="1450446987" sldId="264"/>
            <ac:spMk id="144" creationId="{C8CBF52F-04CD-6E2E-B3FC-C91C22D27F07}"/>
          </ac:spMkLst>
        </pc:spChg>
        <pc:spChg chg="add mod replST">
          <ac:chgData name="Joelle Brehm" userId="a518f54c-6985-42c0-8041-2bb16a414839" providerId="ADAL" clId="{9E52C8A6-326C-473A-BC21-4CED010AFA79}" dt="2023-09-06T15:28:00.667" v="11735"/>
          <ac:spMkLst>
            <pc:docMk/>
            <pc:sldMk cId="1450446987" sldId="264"/>
            <ac:spMk id="148" creationId="{82F554A9-08CC-6620-02ED-77323B513A8D}"/>
          </ac:spMkLst>
        </pc:spChg>
        <pc:spChg chg="add mod replST">
          <ac:chgData name="Joelle Brehm" userId="a518f54c-6985-42c0-8041-2bb16a414839" providerId="ADAL" clId="{9E52C8A6-326C-473A-BC21-4CED010AFA79}" dt="2023-09-06T15:28:00.668" v="11736"/>
          <ac:spMkLst>
            <pc:docMk/>
            <pc:sldMk cId="1450446987" sldId="264"/>
            <ac:spMk id="149" creationId="{00B6D0BA-C100-DD7D-65CA-BA24D0FAE499}"/>
          </ac:spMkLst>
        </pc:spChg>
        <pc:spChg chg="add del mod modVis">
          <ac:chgData name="Joelle Brehm" userId="a518f54c-6985-42c0-8041-2bb16a414839" providerId="ADAL" clId="{9E52C8A6-326C-473A-BC21-4CED010AFA79}" dt="2023-09-06T15:27:27.115" v="9838"/>
          <ac:spMkLst>
            <pc:docMk/>
            <pc:sldMk cId="1450446987" sldId="264"/>
            <ac:spMk id="150" creationId="{43B48D97-1354-3EDF-6592-41719B9CC9D6}"/>
          </ac:spMkLst>
        </pc:spChg>
        <pc:spChg chg="mod">
          <ac:chgData name="Joelle Brehm" userId="a518f54c-6985-42c0-8041-2bb16a414839" providerId="ADAL" clId="{9E52C8A6-326C-473A-BC21-4CED010AFA79}" dt="2023-09-06T15:28:00.733" v="11818"/>
          <ac:spMkLst>
            <pc:docMk/>
            <pc:sldMk cId="1450446987" sldId="264"/>
            <ac:spMk id="151" creationId="{7EF7CCB6-B417-DC51-1AB2-68262CB2FA75}"/>
          </ac:spMkLst>
        </pc:spChg>
        <pc:spChg chg="mod">
          <ac:chgData name="Joelle Brehm" userId="a518f54c-6985-42c0-8041-2bb16a414839" providerId="ADAL" clId="{9E52C8A6-326C-473A-BC21-4CED010AFA79}" dt="2023-09-06T15:28:00.736" v="11821"/>
          <ac:spMkLst>
            <pc:docMk/>
            <pc:sldMk cId="1450446987" sldId="264"/>
            <ac:spMk id="152" creationId="{DA6FB46B-FE82-345B-FD6E-877AEF916054}"/>
          </ac:spMkLst>
        </pc:spChg>
        <pc:spChg chg="add del mod modVis">
          <ac:chgData name="Joelle Brehm" userId="a518f54c-6985-42c0-8041-2bb16a414839" providerId="ADAL" clId="{9E52C8A6-326C-473A-BC21-4CED010AFA79}" dt="2023-09-06T15:27:28.309" v="10068"/>
          <ac:spMkLst>
            <pc:docMk/>
            <pc:sldMk cId="1450446987" sldId="264"/>
            <ac:spMk id="154" creationId="{49668FC7-7807-490E-3715-A3627208AC83}"/>
          </ac:spMkLst>
        </pc:spChg>
        <pc:spChg chg="add mod replST">
          <ac:chgData name="Joelle Brehm" userId="a518f54c-6985-42c0-8041-2bb16a414839" providerId="ADAL" clId="{9E52C8A6-326C-473A-BC21-4CED010AFA79}" dt="2023-09-06T15:28:00.687" v="11761"/>
          <ac:spMkLst>
            <pc:docMk/>
            <pc:sldMk cId="1450446987" sldId="264"/>
            <ac:spMk id="157" creationId="{59183E0F-2F9E-0EB4-0583-D09B06FA12EC}"/>
          </ac:spMkLst>
        </pc:spChg>
        <pc:spChg chg="add mod replST">
          <ac:chgData name="Joelle Brehm" userId="a518f54c-6985-42c0-8041-2bb16a414839" providerId="ADAL" clId="{9E52C8A6-326C-473A-BC21-4CED010AFA79}" dt="2023-09-06T15:28:00.688" v="11762"/>
          <ac:spMkLst>
            <pc:docMk/>
            <pc:sldMk cId="1450446987" sldId="264"/>
            <ac:spMk id="158" creationId="{5B6F19F9-65BC-D043-328A-0D4F88644681}"/>
          </ac:spMkLst>
        </pc:spChg>
        <pc:spChg chg="add del mod modVis">
          <ac:chgData name="Joelle Brehm" userId="a518f54c-6985-42c0-8041-2bb16a414839" providerId="ADAL" clId="{9E52C8A6-326C-473A-BC21-4CED010AFA79}" dt="2023-09-06T15:27:44.696" v="10637"/>
          <ac:spMkLst>
            <pc:docMk/>
            <pc:sldMk cId="1450446987" sldId="264"/>
            <ac:spMk id="159" creationId="{4D55DA7D-1512-A51B-82E7-34CE2EABC8CE}"/>
          </ac:spMkLst>
        </pc:spChg>
        <pc:spChg chg="mod">
          <ac:chgData name="Joelle Brehm" userId="a518f54c-6985-42c0-8041-2bb16a414839" providerId="ADAL" clId="{9E52C8A6-326C-473A-BC21-4CED010AFA79}" dt="2023-09-06T15:28:00.722" v="11802"/>
          <ac:spMkLst>
            <pc:docMk/>
            <pc:sldMk cId="1450446987" sldId="264"/>
            <ac:spMk id="160" creationId="{07C3E5D2-7583-63D0-37B6-7B151A712896}"/>
          </ac:spMkLst>
        </pc:spChg>
        <pc:spChg chg="mod">
          <ac:chgData name="Joelle Brehm" userId="a518f54c-6985-42c0-8041-2bb16a414839" providerId="ADAL" clId="{9E52C8A6-326C-473A-BC21-4CED010AFA79}" dt="2023-09-06T15:28:00.728" v="11812"/>
          <ac:spMkLst>
            <pc:docMk/>
            <pc:sldMk cId="1450446987" sldId="264"/>
            <ac:spMk id="162" creationId="{A162EB60-F907-7F32-BE30-A5DD5012E9B2}"/>
          </ac:spMkLst>
        </pc:spChg>
        <pc:spChg chg="add del mod modVis">
          <ac:chgData name="Joelle Brehm" userId="a518f54c-6985-42c0-8041-2bb16a414839" providerId="ADAL" clId="{9E52C8A6-326C-473A-BC21-4CED010AFA79}" dt="2023-09-06T15:27:45.843" v="10867"/>
          <ac:spMkLst>
            <pc:docMk/>
            <pc:sldMk cId="1450446987" sldId="264"/>
            <ac:spMk id="163" creationId="{9224DAE2-BF90-51F2-E5E9-FB05826EC272}"/>
          </ac:spMkLst>
        </pc:spChg>
        <pc:spChg chg="add mod replST">
          <ac:chgData name="Joelle Brehm" userId="a518f54c-6985-42c0-8041-2bb16a414839" providerId="ADAL" clId="{9E52C8A6-326C-473A-BC21-4CED010AFA79}" dt="2023-09-06T15:28:00.748" v="11836"/>
          <ac:spMkLst>
            <pc:docMk/>
            <pc:sldMk cId="1450446987" sldId="264"/>
            <ac:spMk id="166" creationId="{7AD10AD6-42C2-4283-AA98-7E6D620D7841}"/>
          </ac:spMkLst>
        </pc:spChg>
        <pc:spChg chg="add mod replST">
          <ac:chgData name="Joelle Brehm" userId="a518f54c-6985-42c0-8041-2bb16a414839" providerId="ADAL" clId="{9E52C8A6-326C-473A-BC21-4CED010AFA79}" dt="2023-09-06T15:28:00.749" v="11837"/>
          <ac:spMkLst>
            <pc:docMk/>
            <pc:sldMk cId="1450446987" sldId="264"/>
            <ac:spMk id="167" creationId="{F4E87B54-979D-3FF4-CD65-15E354C7960B}"/>
          </ac:spMkLst>
        </pc:spChg>
        <pc:spChg chg="add del mod modVis">
          <ac:chgData name="Joelle Brehm" userId="a518f54c-6985-42c0-8041-2bb16a414839" providerId="ADAL" clId="{9E52C8A6-326C-473A-BC21-4CED010AFA79}" dt="2023-09-06T15:27:57.677" v="11400"/>
          <ac:spMkLst>
            <pc:docMk/>
            <pc:sldMk cId="1450446987" sldId="264"/>
            <ac:spMk id="168" creationId="{8B915F07-01E4-8407-85A8-75D938B28485}"/>
          </ac:spMkLst>
        </pc:spChg>
        <pc:spChg chg="add del mod modVis">
          <ac:chgData name="Joelle Brehm" userId="a518f54c-6985-42c0-8041-2bb16a414839" providerId="ADAL" clId="{9E52C8A6-326C-473A-BC21-4CED010AFA79}" dt="2023-09-06T15:27:58.836" v="11626"/>
          <ac:spMkLst>
            <pc:docMk/>
            <pc:sldMk cId="1450446987" sldId="264"/>
            <ac:spMk id="170" creationId="{333FC84B-B6AF-B2F9-01CF-07BE64748F0A}"/>
          </ac:spMkLst>
        </pc:spChg>
        <pc:spChg chg="mod">
          <ac:chgData name="Joelle Brehm" userId="a518f54c-6985-42c0-8041-2bb16a414839" providerId="ADAL" clId="{9E52C8A6-326C-473A-BC21-4CED010AFA79}" dt="2023-09-06T15:28:00.742" v="11828"/>
          <ac:spMkLst>
            <pc:docMk/>
            <pc:sldMk cId="1450446987" sldId="264"/>
            <ac:spMk id="183" creationId="{AF9B10EE-106F-F48F-396B-6E0A5755F50A}"/>
          </ac:spMkLst>
        </pc:spChg>
        <pc:spChg chg="mod">
          <ac:chgData name="Joelle Brehm" userId="a518f54c-6985-42c0-8041-2bb16a414839" providerId="ADAL" clId="{9E52C8A6-326C-473A-BC21-4CED010AFA79}" dt="2023-09-06T15:28:00.722" v="11803"/>
          <ac:spMkLst>
            <pc:docMk/>
            <pc:sldMk cId="1450446987" sldId="264"/>
            <ac:spMk id="188" creationId="{3EAD5544-D356-497E-99A8-A208C0CDD275}"/>
          </ac:spMkLst>
        </pc:spChg>
        <pc:spChg chg="mod">
          <ac:chgData name="Joelle Brehm" userId="a518f54c-6985-42c0-8041-2bb16a414839" providerId="ADAL" clId="{9E52C8A6-326C-473A-BC21-4CED010AFA79}" dt="2023-09-06T15:28:00.675" v="11745"/>
          <ac:spMkLst>
            <pc:docMk/>
            <pc:sldMk cId="1450446987" sldId="264"/>
            <ac:spMk id="197" creationId="{722A3E0D-C28D-16CC-7C62-79D69B60F483}"/>
          </ac:spMkLst>
        </pc:spChg>
        <pc:spChg chg="mod">
          <ac:chgData name="Joelle Brehm" userId="a518f54c-6985-42c0-8041-2bb16a414839" providerId="ADAL" clId="{9E52C8A6-326C-473A-BC21-4CED010AFA79}" dt="2023-09-06T15:28:00.676" v="11746"/>
          <ac:spMkLst>
            <pc:docMk/>
            <pc:sldMk cId="1450446987" sldId="264"/>
            <ac:spMk id="200" creationId="{52DE169D-4200-00F1-2DE6-7AB331DC502C}"/>
          </ac:spMkLst>
        </pc:spChg>
        <pc:spChg chg="mod">
          <ac:chgData name="Joelle Brehm" userId="a518f54c-6985-42c0-8041-2bb16a414839" providerId="ADAL" clId="{9E52C8A6-326C-473A-BC21-4CED010AFA79}" dt="2023-09-06T15:28:00.683" v="11756"/>
          <ac:spMkLst>
            <pc:docMk/>
            <pc:sldMk cId="1450446987" sldId="264"/>
            <ac:spMk id="203" creationId="{826E7DC3-2A3A-F229-B420-4432543B4EC5}"/>
          </ac:spMkLst>
        </pc:spChg>
        <pc:spChg chg="mod ord">
          <ac:chgData name="Joelle Brehm" userId="a518f54c-6985-42c0-8041-2bb16a414839" providerId="ADAL" clId="{9E52C8A6-326C-473A-BC21-4CED010AFA79}" dt="2023-09-06T15:28:00.730" v="11814"/>
          <ac:spMkLst>
            <pc:docMk/>
            <pc:sldMk cId="1450446987" sldId="264"/>
            <ac:spMk id="210" creationId="{2DBE4665-8B4A-4508-AC03-BDBC6AA30475}"/>
          </ac:spMkLst>
        </pc:spChg>
        <pc:spChg chg="mod ord">
          <ac:chgData name="Joelle Brehm" userId="a518f54c-6985-42c0-8041-2bb16a414839" providerId="ADAL" clId="{9E52C8A6-326C-473A-BC21-4CED010AFA79}" dt="2023-09-06T15:28:00.750" v="11839"/>
          <ac:spMkLst>
            <pc:docMk/>
            <pc:sldMk cId="1450446987" sldId="264"/>
            <ac:spMk id="213" creationId="{9B0722AF-3DCB-CD84-F2F6-AA0AE2D38159}"/>
          </ac:spMkLst>
        </pc:spChg>
        <pc:graphicFrameChg chg="mod">
          <ac:chgData name="Joelle Brehm" userId="a518f54c-6985-42c0-8041-2bb16a414839" providerId="ADAL" clId="{9E52C8A6-326C-473A-BC21-4CED010AFA79}" dt="2023-09-06T15:28:00.792" v="11843"/>
          <ac:graphicFrameMkLst>
            <pc:docMk/>
            <pc:sldMk cId="1450446987" sldId="264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5:38.165" v="6110"/>
          <ac:graphicFrameMkLst>
            <pc:docMk/>
            <pc:sldMk cId="1450446987" sldId="264"/>
            <ac:graphicFrameMk id="49" creationId="{EBD0E14B-6D55-41FA-BA07-E1CF95BE6187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5:43.282" v="6332"/>
          <ac:graphicFrameMkLst>
            <pc:docMk/>
            <pc:sldMk cId="1450446987" sldId="264"/>
            <ac:graphicFrameMk id="71" creationId="{BADAE55A-9B92-F130-DA52-0E0A74AB897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5:47.651" v="6499"/>
          <ac:graphicFrameMkLst>
            <pc:docMk/>
            <pc:sldMk cId="1450446987" sldId="264"/>
            <ac:graphicFrameMk id="83" creationId="{9402C94D-41B0-34C7-6A06-CC7AF584684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5:56.714" v="6716"/>
          <ac:graphicFrameMkLst>
            <pc:docMk/>
            <pc:sldMk cId="1450446987" sldId="264"/>
            <ac:graphicFrameMk id="88" creationId="{B015C933-986F-C316-7A16-C978AD4B824C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27:10.912" v="8900"/>
          <ac:graphicFrameMkLst>
            <pc:docMk/>
            <pc:sldMk cId="1450446987" sldId="264"/>
            <ac:graphicFrameMk id="92" creationId="{3CB54DEA-3F0C-54FD-EB63-E8CB1F4B38A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5:58.304" v="6921"/>
          <ac:graphicFrameMkLst>
            <pc:docMk/>
            <pc:sldMk cId="1450446987" sldId="264"/>
            <ac:graphicFrameMk id="100" creationId="{E5E94648-F1FE-D373-64FD-FA1D215591A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5:59.622" v="7090"/>
          <ac:graphicFrameMkLst>
            <pc:docMk/>
            <pc:sldMk cId="1450446987" sldId="264"/>
            <ac:graphicFrameMk id="102" creationId="{BAE84B40-1C41-95AD-81F3-AE22D623C8B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6:16.536" v="7295"/>
          <ac:graphicFrameMkLst>
            <pc:docMk/>
            <pc:sldMk cId="1450446987" sldId="264"/>
            <ac:graphicFrameMk id="103" creationId="{A8B994F9-47BB-D008-BE06-2388C9A72F7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6:17.200" v="7665"/>
          <ac:graphicFrameMkLst>
            <pc:docMk/>
            <pc:sldMk cId="1450446987" sldId="264"/>
            <ac:graphicFrameMk id="111" creationId="{5D750656-95A0-7CD0-B117-52B59AC6BEC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6:19.010" v="7828"/>
          <ac:graphicFrameMkLst>
            <pc:docMk/>
            <pc:sldMk cId="1450446987" sldId="264"/>
            <ac:graphicFrameMk id="121" creationId="{43EB2A95-2592-9CC4-B5E5-096A29FD6EB9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27:26.939" v="9690"/>
          <ac:graphicFrameMkLst>
            <pc:docMk/>
            <pc:sldMk cId="1450446987" sldId="264"/>
            <ac:graphicFrameMk id="122" creationId="{67C59CE1-9DF2-8409-278E-11E4D023E5D3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6:23.787" v="7989"/>
          <ac:graphicFrameMkLst>
            <pc:docMk/>
            <pc:sldMk cId="1450446987" sldId="264"/>
            <ac:graphicFrameMk id="123" creationId="{C5EB4D35-3548-29C8-B939-684F422C455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6:25.724" v="8192"/>
          <ac:graphicFrameMkLst>
            <pc:docMk/>
            <pc:sldMk cId="1450446987" sldId="264"/>
            <ac:graphicFrameMk id="126" creationId="{707BCBF0-102F-80C6-41FD-BBA062DC336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6:28.680" v="8357"/>
          <ac:graphicFrameMkLst>
            <pc:docMk/>
            <pc:sldMk cId="1450446987" sldId="264"/>
            <ac:graphicFrameMk id="129" creationId="{C161CD25-1CC7-AD50-EF67-92A6B5F84DA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6:38.545" v="8535"/>
          <ac:graphicFrameMkLst>
            <pc:docMk/>
            <pc:sldMk cId="1450446987" sldId="264"/>
            <ac:graphicFrameMk id="130" creationId="{CABCD289-36FB-DDE7-4895-26DC3BF7A208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28:00.719" v="11800"/>
          <ac:graphicFrameMkLst>
            <pc:docMk/>
            <pc:sldMk cId="1450446987" sldId="264"/>
            <ac:graphicFrameMk id="131" creationId="{3FED8DCB-C3C5-1507-8337-588C639B2CF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7:15.539" v="9145"/>
          <ac:graphicFrameMkLst>
            <pc:docMk/>
            <pc:sldMk cId="1450446987" sldId="264"/>
            <ac:graphicFrameMk id="137" creationId="{7EE9192A-286F-D109-2552-C4F88729A826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27:57.488" v="11252"/>
          <ac:graphicFrameMkLst>
            <pc:docMk/>
            <pc:sldMk cId="1450446987" sldId="264"/>
            <ac:graphicFrameMk id="138" creationId="{A12980B3-3491-52F4-2D3D-2B563F09323C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25:35.908" v="5893"/>
          <ac:graphicFrameMkLst>
            <pc:docMk/>
            <pc:sldMk cId="1450446987" sldId="264"/>
            <ac:graphicFrameMk id="140" creationId="{740024E7-70AE-BC8C-FBE4-FA6DE3D8A5A5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7:17.967" v="9373"/>
          <ac:graphicFrameMkLst>
            <pc:docMk/>
            <pc:sldMk cId="1450446987" sldId="264"/>
            <ac:graphicFrameMk id="145" creationId="{9FF2C7D4-E30E-BAAB-1D58-F1044F510413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27:44.522" v="10489"/>
          <ac:graphicFrameMkLst>
            <pc:docMk/>
            <pc:sldMk cId="1450446987" sldId="264"/>
            <ac:graphicFrameMk id="146" creationId="{06218E5C-7E85-5C4D-EFD9-BBABAFC03779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28:00.691" v="11764"/>
          <ac:graphicFrameMkLst>
            <pc:docMk/>
            <pc:sldMk cId="1450446987" sldId="264"/>
            <ac:graphicFrameMk id="147" creationId="{F310E553-04B0-1C33-7E8B-2A28A5E858A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7:28.157" v="9920"/>
          <ac:graphicFrameMkLst>
            <pc:docMk/>
            <pc:sldMk cId="1450446987" sldId="264"/>
            <ac:graphicFrameMk id="153" creationId="{040F958B-58D1-595E-86E6-E52E71D2847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7:30.693" v="10172"/>
          <ac:graphicFrameMkLst>
            <pc:docMk/>
            <pc:sldMk cId="1450446987" sldId="264"/>
            <ac:graphicFrameMk id="155" creationId="{158CA266-499A-1929-C339-23A46871DDAE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28:00.650" v="11712"/>
          <ac:graphicFrameMkLst>
            <pc:docMk/>
            <pc:sldMk cId="1450446987" sldId="264"/>
            <ac:graphicFrameMk id="156" creationId="{2DDBB56B-6FD6-4705-4321-5C7287F94E2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7:45.687" v="10719"/>
          <ac:graphicFrameMkLst>
            <pc:docMk/>
            <pc:sldMk cId="1450446987" sldId="264"/>
            <ac:graphicFrameMk id="161" creationId="{AD009B87-E9DE-B3A9-D52C-BAA35C93B612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7:48.064" v="10947"/>
          <ac:graphicFrameMkLst>
            <pc:docMk/>
            <pc:sldMk cId="1450446987" sldId="264"/>
            <ac:graphicFrameMk id="164" creationId="{053C3DFC-08B9-3E00-D2BA-0A58A6E18ACA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28:00.670" v="11738"/>
          <ac:graphicFrameMkLst>
            <pc:docMk/>
            <pc:sldMk cId="1450446987" sldId="264"/>
            <ac:graphicFrameMk id="165" creationId="{D9788852-3E68-E834-BA4C-FF66892C299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7:58.625" v="11478"/>
          <ac:graphicFrameMkLst>
            <pc:docMk/>
            <pc:sldMk cId="1450446987" sldId="264"/>
            <ac:graphicFrameMk id="169" creationId="{D3FC8571-0E1E-1203-260C-C713407CEDF7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8:00.595" v="11696"/>
          <ac:graphicFrameMkLst>
            <pc:docMk/>
            <pc:sldMk cId="1450446987" sldId="264"/>
            <ac:graphicFrameMk id="171" creationId="{CA66531B-1BEF-EC9F-1DD6-CB0DF9948103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28:00.732" v="11816"/>
          <ac:graphicFrameMkLst>
            <pc:docMk/>
            <pc:sldMk cId="1450446987" sldId="264"/>
            <ac:graphicFrameMk id="172" creationId="{EEDAD4AD-58D4-A16A-6024-5528B08D42C6}"/>
          </ac:graphicFrameMkLst>
        </pc:graphicFrameChg>
        <pc:picChg chg="mod ord">
          <ac:chgData name="Joelle Brehm" userId="a518f54c-6985-42c0-8041-2bb16a414839" providerId="ADAL" clId="{9E52C8A6-326C-473A-BC21-4CED010AFA79}" dt="2023-09-06T15:28:00.649" v="11710"/>
          <ac:picMkLst>
            <pc:docMk/>
            <pc:sldMk cId="1450446987" sldId="264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9E52C8A6-326C-473A-BC21-4CED010AFA79}" dt="2023-09-06T15:23:33.575" v="5551" actId="478"/>
          <ac:picMkLst>
            <pc:docMk/>
            <pc:sldMk cId="1450446987" sldId="264"/>
            <ac:picMk id="8" creationId="{ADD3D693-67D6-873C-F483-85F2E6F08282}"/>
          </ac:picMkLst>
        </pc:picChg>
        <pc:picChg chg="add mod ord">
          <ac:chgData name="Joelle Brehm" userId="a518f54c-6985-42c0-8041-2bb16a414839" providerId="ADAL" clId="{9E52C8A6-326C-473A-BC21-4CED010AFA79}" dt="2023-09-06T15:28:00.645" v="11704"/>
          <ac:picMkLst>
            <pc:docMk/>
            <pc:sldMk cId="1450446987" sldId="264"/>
            <ac:picMk id="9" creationId="{7F92AC95-7481-04B4-7CA2-59F236DA7810}"/>
          </ac:picMkLst>
        </pc:picChg>
      </pc:sldChg>
      <pc:sldChg chg="addSp delSp modSp mod">
        <pc:chgData name="Joelle Brehm" userId="a518f54c-6985-42c0-8041-2bb16a414839" providerId="ADAL" clId="{9E52C8A6-326C-473A-BC21-4CED010AFA79}" dt="2023-09-06T18:01:27.059" v="17102"/>
        <pc:sldMkLst>
          <pc:docMk/>
          <pc:sldMk cId="3436037945" sldId="265"/>
        </pc:sldMkLst>
        <pc:spChg chg="mod ord">
          <ac:chgData name="Joelle Brehm" userId="a518f54c-6985-42c0-8041-2bb16a414839" providerId="ADAL" clId="{9E52C8A6-326C-473A-BC21-4CED010AFA79}" dt="2023-09-06T18:01:27.038" v="17096"/>
          <ac:spMkLst>
            <pc:docMk/>
            <pc:sldMk cId="3436037945" sldId="265"/>
            <ac:spMk id="2" creationId="{6E232D48-9913-4AD2-87D8-2BF43FF429A0}"/>
          </ac:spMkLst>
        </pc:spChg>
        <pc:spChg chg="add del mod ord">
          <ac:chgData name="Joelle Brehm" userId="a518f54c-6985-42c0-8041-2bb16a414839" providerId="ADAL" clId="{9E52C8A6-326C-473A-BC21-4CED010AFA79}" dt="2023-09-06T18:01:07.277" v="15819" actId="478"/>
          <ac:spMkLst>
            <pc:docMk/>
            <pc:sldMk cId="3436037945" sldId="265"/>
            <ac:spMk id="3" creationId="{C01B9810-F201-1039-A98F-724C680F3FD8}"/>
          </ac:spMkLst>
        </pc:spChg>
        <pc:spChg chg="add del mod modVis">
          <ac:chgData name="Joelle Brehm" userId="a518f54c-6985-42c0-8041-2bb16a414839" providerId="ADAL" clId="{9E52C8A6-326C-473A-BC21-4CED010AFA79}" dt="2023-09-06T18:00:46.458" v="15731"/>
          <ac:spMkLst>
            <pc:docMk/>
            <pc:sldMk cId="3436037945" sldId="265"/>
            <ac:spMk id="5" creationId="{3EA75886-E915-E79B-7FAA-B7D2BAE4E225}"/>
          </ac:spMkLst>
        </pc:spChg>
        <pc:spChg chg="mod ord">
          <ac:chgData name="Joelle Brehm" userId="a518f54c-6985-42c0-8041-2bb16a414839" providerId="ADAL" clId="{9E52C8A6-326C-473A-BC21-4CED010AFA79}" dt="2023-09-06T18:01:27.002" v="17031"/>
          <ac:spMkLst>
            <pc:docMk/>
            <pc:sldMk cId="3436037945" sldId="265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01:27.026" v="17069"/>
          <ac:spMkLst>
            <pc:docMk/>
            <pc:sldMk cId="3436037945" sldId="265"/>
            <ac:spMk id="9" creationId="{A184008A-CA66-0B0D-B37B-B51441A8EF62}"/>
          </ac:spMkLst>
        </pc:spChg>
        <pc:spChg chg="mod">
          <ac:chgData name="Joelle Brehm" userId="a518f54c-6985-42c0-8041-2bb16a414839" providerId="ADAL" clId="{9E52C8A6-326C-473A-BC21-4CED010AFA79}" dt="2023-09-06T18:01:27.009" v="17042"/>
          <ac:spMkLst>
            <pc:docMk/>
            <pc:sldMk cId="3436037945" sldId="265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01:27.006" v="17038"/>
          <ac:spMkLst>
            <pc:docMk/>
            <pc:sldMk cId="3436037945" sldId="265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01:27.005" v="17036"/>
          <ac:spMkLst>
            <pc:docMk/>
            <pc:sldMk cId="3436037945" sldId="265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01:27.007" v="17039"/>
          <ac:spMkLst>
            <pc:docMk/>
            <pc:sldMk cId="3436037945" sldId="265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01:27.008" v="17040"/>
          <ac:spMkLst>
            <pc:docMk/>
            <pc:sldMk cId="3436037945" sldId="265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01:27.008" v="17041"/>
          <ac:spMkLst>
            <pc:docMk/>
            <pc:sldMk cId="3436037945" sldId="265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01:27.006" v="17037"/>
          <ac:spMkLst>
            <pc:docMk/>
            <pc:sldMk cId="3436037945" sldId="265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01:27.009" v="17043"/>
          <ac:spMkLst>
            <pc:docMk/>
            <pc:sldMk cId="3436037945" sldId="265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01:27.010" v="17044"/>
          <ac:spMkLst>
            <pc:docMk/>
            <pc:sldMk cId="3436037945" sldId="265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01:27.011" v="17046"/>
          <ac:spMkLst>
            <pc:docMk/>
            <pc:sldMk cId="3436037945" sldId="265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01:27.011" v="17047"/>
          <ac:spMkLst>
            <pc:docMk/>
            <pc:sldMk cId="3436037945" sldId="265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01:27.010" v="17045"/>
          <ac:spMkLst>
            <pc:docMk/>
            <pc:sldMk cId="3436037945" sldId="265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01:27.012" v="17049"/>
          <ac:spMkLst>
            <pc:docMk/>
            <pc:sldMk cId="3436037945" sldId="265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01:27.014" v="17052"/>
          <ac:spMkLst>
            <pc:docMk/>
            <pc:sldMk cId="3436037945" sldId="265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01:27.012" v="17050"/>
          <ac:spMkLst>
            <pc:docMk/>
            <pc:sldMk cId="3436037945" sldId="265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01:27.013" v="17051"/>
          <ac:spMkLst>
            <pc:docMk/>
            <pc:sldMk cId="3436037945" sldId="265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01:27.014" v="17053"/>
          <ac:spMkLst>
            <pc:docMk/>
            <pc:sldMk cId="3436037945" sldId="265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01:27.014" v="17054"/>
          <ac:spMkLst>
            <pc:docMk/>
            <pc:sldMk cId="3436037945" sldId="265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01:27.015" v="17055"/>
          <ac:spMkLst>
            <pc:docMk/>
            <pc:sldMk cId="3436037945" sldId="265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01:27.016" v="17057"/>
          <ac:spMkLst>
            <pc:docMk/>
            <pc:sldMk cId="3436037945" sldId="265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01:21.277" v="16645"/>
          <ac:spMkLst>
            <pc:docMk/>
            <pc:sldMk cId="3436037945" sldId="265"/>
            <ac:spMk id="31" creationId="{618E9228-3A8F-6AD1-2FE9-4CA197D85F6A}"/>
          </ac:spMkLst>
        </pc:spChg>
        <pc:spChg chg="mod">
          <ac:chgData name="Joelle Brehm" userId="a518f54c-6985-42c0-8041-2bb16a414839" providerId="ADAL" clId="{9E52C8A6-326C-473A-BC21-4CED010AFA79}" dt="2023-09-06T18:01:27.022" v="17064"/>
          <ac:spMkLst>
            <pc:docMk/>
            <pc:sldMk cId="3436037945" sldId="265"/>
            <ac:spMk id="33" creationId="{228F34A2-7DB7-9D12-615E-E947B53315B2}"/>
          </ac:spMkLst>
        </pc:spChg>
        <pc:spChg chg="mod">
          <ac:chgData name="Joelle Brehm" userId="a518f54c-6985-42c0-8041-2bb16a414839" providerId="ADAL" clId="{9E52C8A6-326C-473A-BC21-4CED010AFA79}" dt="2023-09-06T18:01:27.020" v="17063"/>
          <ac:spMkLst>
            <pc:docMk/>
            <pc:sldMk cId="3436037945" sldId="265"/>
            <ac:spMk id="34" creationId="{A7A9CC08-35FC-512B-D6D9-BC2ABCCAD648}"/>
          </ac:spMkLst>
        </pc:spChg>
        <pc:spChg chg="mod">
          <ac:chgData name="Joelle Brehm" userId="a518f54c-6985-42c0-8041-2bb16a414839" providerId="ADAL" clId="{9E52C8A6-326C-473A-BC21-4CED010AFA79}" dt="2023-09-06T18:01:27.024" v="17067"/>
          <ac:spMkLst>
            <pc:docMk/>
            <pc:sldMk cId="3436037945" sldId="265"/>
            <ac:spMk id="35" creationId="{6D456BC1-F54B-5801-50A5-17FE8EA10EA6}"/>
          </ac:spMkLst>
        </pc:spChg>
        <pc:spChg chg="mod">
          <ac:chgData name="Joelle Brehm" userId="a518f54c-6985-42c0-8041-2bb16a414839" providerId="ADAL" clId="{9E52C8A6-326C-473A-BC21-4CED010AFA79}" dt="2023-09-06T18:01:27.017" v="17060"/>
          <ac:spMkLst>
            <pc:docMk/>
            <pc:sldMk cId="3436037945" sldId="265"/>
            <ac:spMk id="36" creationId="{0BBAC582-1932-357A-D778-84237C43CF05}"/>
          </ac:spMkLst>
        </pc:spChg>
        <pc:spChg chg="mod">
          <ac:chgData name="Joelle Brehm" userId="a518f54c-6985-42c0-8041-2bb16a414839" providerId="ADAL" clId="{9E52C8A6-326C-473A-BC21-4CED010AFA79}" dt="2023-09-06T18:01:27.019" v="17062"/>
          <ac:spMkLst>
            <pc:docMk/>
            <pc:sldMk cId="3436037945" sldId="265"/>
            <ac:spMk id="38" creationId="{62DC6416-88A9-62BF-9039-C25769EB1825}"/>
          </ac:spMkLst>
        </pc:spChg>
        <pc:spChg chg="mod">
          <ac:chgData name="Joelle Brehm" userId="a518f54c-6985-42c0-8041-2bb16a414839" providerId="ADAL" clId="{9E52C8A6-326C-473A-BC21-4CED010AFA79}" dt="2023-09-06T18:01:27.022" v="17065"/>
          <ac:spMkLst>
            <pc:docMk/>
            <pc:sldMk cId="3436037945" sldId="265"/>
            <ac:spMk id="39" creationId="{D3B6923F-EF2F-5CB1-1EC9-23DAFECD1AD3}"/>
          </ac:spMkLst>
        </pc:spChg>
        <pc:spChg chg="mod">
          <ac:chgData name="Joelle Brehm" userId="a518f54c-6985-42c0-8041-2bb16a414839" providerId="ADAL" clId="{9E52C8A6-326C-473A-BC21-4CED010AFA79}" dt="2023-09-06T18:01:27.023" v="17066"/>
          <ac:spMkLst>
            <pc:docMk/>
            <pc:sldMk cId="3436037945" sldId="265"/>
            <ac:spMk id="41" creationId="{16B778E2-8712-DA55-C5AD-4A641096111C}"/>
          </ac:spMkLst>
        </pc:spChg>
        <pc:spChg chg="mod">
          <ac:chgData name="Joelle Brehm" userId="a518f54c-6985-42c0-8041-2bb16a414839" providerId="ADAL" clId="{9E52C8A6-326C-473A-BC21-4CED010AFA79}" dt="2023-09-06T18:01:27.026" v="17070"/>
          <ac:spMkLst>
            <pc:docMk/>
            <pc:sldMk cId="3436037945" sldId="265"/>
            <ac:spMk id="42" creationId="{C3432236-FD50-8E13-A648-6A2FCA3BBBAE}"/>
          </ac:spMkLst>
        </pc:spChg>
        <pc:spChg chg="add mod replST">
          <ac:chgData name="Joelle Brehm" userId="a518f54c-6985-42c0-8041-2bb16a414839" providerId="ADAL" clId="{9E52C8A6-326C-473A-BC21-4CED010AFA79}" dt="2023-09-06T18:01:27.017" v="17061"/>
          <ac:spMkLst>
            <pc:docMk/>
            <pc:sldMk cId="3436037945" sldId="265"/>
            <ac:spMk id="43" creationId="{75C463B6-6FC6-0A00-1C57-A6F7C4BD145A}"/>
          </ac:spMkLst>
        </pc:spChg>
        <pc:spChg chg="mod">
          <ac:chgData name="Joelle Brehm" userId="a518f54c-6985-42c0-8041-2bb16a414839" providerId="ADAL" clId="{9E52C8A6-326C-473A-BC21-4CED010AFA79}" dt="2023-09-06T18:01:27.025" v="17068"/>
          <ac:spMkLst>
            <pc:docMk/>
            <pc:sldMk cId="3436037945" sldId="265"/>
            <ac:spMk id="44" creationId="{16F84182-CECA-3CD8-7D89-52B39ECEBFE4}"/>
          </ac:spMkLst>
        </pc:spChg>
        <pc:spChg chg="add del mod modVis">
          <ac:chgData name="Joelle Brehm" userId="a518f54c-6985-42c0-8041-2bb16a414839" providerId="ADAL" clId="{9E52C8A6-326C-473A-BC21-4CED010AFA79}" dt="2023-09-06T18:01:17.886" v="16429"/>
          <ac:spMkLst>
            <pc:docMk/>
            <pc:sldMk cId="3436037945" sldId="265"/>
            <ac:spMk id="45" creationId="{63486E30-00C9-D106-533C-EC9375011C4D}"/>
          </ac:spMkLst>
        </pc:spChg>
        <pc:spChg chg="add del mod ord replST">
          <ac:chgData name="Joelle Brehm" userId="a518f54c-6985-42c0-8041-2bb16a414839" providerId="ADAL" clId="{9E52C8A6-326C-473A-BC21-4CED010AFA79}" dt="2023-09-06T18:01:21.442" v="16734"/>
          <ac:spMkLst>
            <pc:docMk/>
            <pc:sldMk cId="3436037945" sldId="265"/>
            <ac:spMk id="4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1:27.027" v="17071"/>
          <ac:spMkLst>
            <pc:docMk/>
            <pc:sldMk cId="3436037945" sldId="265"/>
            <ac:spMk id="47" creationId="{DA382430-2E3A-48A8-BD50-8227787BBF7B}"/>
          </ac:spMkLst>
        </pc:spChg>
        <pc:spChg chg="add del mod modVis">
          <ac:chgData name="Joelle Brehm" userId="a518f54c-6985-42c0-8041-2bb16a414839" providerId="ADAL" clId="{9E52C8A6-326C-473A-BC21-4CED010AFA79}" dt="2023-09-06T18:01:19.509" v="16642"/>
          <ac:spMkLst>
            <pc:docMk/>
            <pc:sldMk cId="3436037945" sldId="265"/>
            <ac:spMk id="49" creationId="{965D5797-C3E9-A788-AF8E-7E6DDE8085AD}"/>
          </ac:spMkLst>
        </pc:spChg>
        <pc:spChg chg="add del mod modVis">
          <ac:chgData name="Joelle Brehm" userId="a518f54c-6985-42c0-8041-2bb16a414839" providerId="ADAL" clId="{9E52C8A6-326C-473A-BC21-4CED010AFA79}" dt="2023-09-06T18:01:21.547" v="16843"/>
          <ac:spMkLst>
            <pc:docMk/>
            <pc:sldMk cId="3436037945" sldId="265"/>
            <ac:spMk id="51" creationId="{8CD6DE8F-C431-22FB-3E80-AB19F4BE9B65}"/>
          </ac:spMkLst>
        </pc:spChg>
        <pc:spChg chg="add del mod modVis">
          <ac:chgData name="Joelle Brehm" userId="a518f54c-6985-42c0-8041-2bb16a414839" providerId="ADAL" clId="{9E52C8A6-326C-473A-BC21-4CED010AFA79}" dt="2023-09-06T18:01:27.041" v="17100"/>
          <ac:spMkLst>
            <pc:docMk/>
            <pc:sldMk cId="3436037945" sldId="265"/>
            <ac:spMk id="54" creationId="{3A5641BB-72BD-D62A-5991-CF7C81701541}"/>
          </ac:spMkLst>
        </pc:spChg>
        <pc:spChg chg="mod ord">
          <ac:chgData name="Joelle Brehm" userId="a518f54c-6985-42c0-8041-2bb16a414839" providerId="ADAL" clId="{9E52C8A6-326C-473A-BC21-4CED010AFA79}" dt="2023-09-06T18:01:27.028" v="17073"/>
          <ac:spMkLst>
            <pc:docMk/>
            <pc:sldMk cId="3436037945" sldId="265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01:27.028" v="17075"/>
          <ac:spMkLst>
            <pc:docMk/>
            <pc:sldMk cId="3436037945" sldId="265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01:27.029" v="17077"/>
          <ac:spMkLst>
            <pc:docMk/>
            <pc:sldMk cId="3436037945" sldId="265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01:27.030" v="17079"/>
          <ac:spMkLst>
            <pc:docMk/>
            <pc:sldMk cId="3436037945" sldId="265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01:27.030" v="17081"/>
          <ac:spMkLst>
            <pc:docMk/>
            <pc:sldMk cId="3436037945" sldId="265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01:27.031" v="17083"/>
          <ac:spMkLst>
            <pc:docMk/>
            <pc:sldMk cId="3436037945" sldId="265"/>
            <ac:spMk id="110" creationId="{76D5A471-E342-4112-9B61-678EA0C3F282}"/>
          </ac:spMkLst>
        </pc:spChg>
        <pc:spChg chg="mod ord">
          <ac:chgData name="Joelle Brehm" userId="a518f54c-6985-42c0-8041-2bb16a414839" providerId="ADAL" clId="{9E52C8A6-326C-473A-BC21-4CED010AFA79}" dt="2023-09-06T18:01:27.037" v="17094"/>
          <ac:spMkLst>
            <pc:docMk/>
            <pc:sldMk cId="3436037945" sldId="265"/>
            <ac:spMk id="117" creationId="{31654F35-D4AB-4EF0-AF83-830F72D7F9FD}"/>
          </ac:spMkLst>
        </pc:spChg>
        <pc:spChg chg="mod">
          <ac:chgData name="Joelle Brehm" userId="a518f54c-6985-42c0-8041-2bb16a414839" providerId="ADAL" clId="{9E52C8A6-326C-473A-BC21-4CED010AFA79}" dt="2023-09-06T18:01:27.033" v="17088"/>
          <ac:spMkLst>
            <pc:docMk/>
            <pc:sldMk cId="3436037945" sldId="265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1:27.033" v="17087"/>
          <ac:spMkLst>
            <pc:docMk/>
            <pc:sldMk cId="3436037945" sldId="265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1:27.034" v="17089"/>
          <ac:spMkLst>
            <pc:docMk/>
            <pc:sldMk cId="3436037945" sldId="265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1:27.035" v="17090"/>
          <ac:spMkLst>
            <pc:docMk/>
            <pc:sldMk cId="3436037945" sldId="265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01:27.032" v="17086"/>
          <ac:spMkLst>
            <pc:docMk/>
            <pc:sldMk cId="3436037945" sldId="26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01:27.059" v="17102"/>
          <ac:graphicFrameMkLst>
            <pc:docMk/>
            <pc:sldMk cId="3436037945" sldId="265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00:46.368" v="15646"/>
          <ac:graphicFrameMkLst>
            <pc:docMk/>
            <pc:sldMk cId="3436037945" sldId="265"/>
            <ac:graphicFrameMk id="8" creationId="{8D6CDAC9-27CB-C19E-E8A4-2CB119BB526B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1:27.004" v="17035"/>
          <ac:graphicFrameMkLst>
            <pc:docMk/>
            <pc:sldMk cId="3436037945" sldId="265"/>
            <ac:graphicFrameMk id="32" creationId="{C8E72C85-3687-F1E4-15A2-6E5262253D3C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1:26.955" v="17021"/>
          <ac:graphicFrameMkLst>
            <pc:docMk/>
            <pc:sldMk cId="3436037945" sldId="265"/>
            <ac:graphicFrameMk id="40" creationId="{C10597FB-FB42-C970-AC28-EE8B90B45853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1:19.356" v="16538"/>
          <ac:graphicFrameMkLst>
            <pc:docMk/>
            <pc:sldMk cId="3436037945" sldId="265"/>
            <ac:graphicFrameMk id="48" creationId="{3B470D39-B0F8-0156-E121-26FF2A4A2B07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1:21.466" v="16764"/>
          <ac:graphicFrameMkLst>
            <pc:docMk/>
            <pc:sldMk cId="3436037945" sldId="265"/>
            <ac:graphicFrameMk id="50" creationId="{71422002-CFCB-42F1-9BFF-42F019DDFF40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1:17.835" v="16339"/>
          <ac:graphicFrameMkLst>
            <pc:docMk/>
            <pc:sldMk cId="3436037945" sldId="265"/>
            <ac:graphicFrameMk id="52" creationId="{C5265FA6-ABC5-ED0F-0439-45F00A7AACC5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1:27.017" v="17059"/>
          <ac:graphicFrameMkLst>
            <pc:docMk/>
            <pc:sldMk cId="3436037945" sldId="265"/>
            <ac:graphicFrameMk id="53" creationId="{93618E51-3BB1-D60B-3BC4-4134FCB55F00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1:27.032" v="17085"/>
          <ac:graphicFrameMkLst>
            <pc:docMk/>
            <pc:sldMk cId="3436037945" sldId="265"/>
            <ac:graphicFrameMk id="55" creationId="{563DF318-1786-8D12-8002-195F0437E53E}"/>
          </ac:graphicFrameMkLst>
        </pc:graphicFrameChg>
        <pc:picChg chg="del mod ord">
          <ac:chgData name="Joelle Brehm" userId="a518f54c-6985-42c0-8041-2bb16a414839" providerId="ADAL" clId="{9E52C8A6-326C-473A-BC21-4CED010AFA79}" dt="2023-09-06T18:01:03.677" v="15818" actId="478"/>
          <ac:picMkLst>
            <pc:docMk/>
            <pc:sldMk cId="3436037945" sldId="265"/>
            <ac:picMk id="10" creationId="{E49E06A5-1227-F3DF-7CE5-ED213BDA5EB3}"/>
          </ac:picMkLst>
        </pc:picChg>
        <pc:picChg chg="add mod ord">
          <ac:chgData name="Joelle Brehm" userId="a518f54c-6985-42c0-8041-2bb16a414839" providerId="ADAL" clId="{9E52C8A6-326C-473A-BC21-4CED010AFA79}" dt="2023-09-06T18:01:27.001" v="17029"/>
          <ac:picMkLst>
            <pc:docMk/>
            <pc:sldMk cId="3436037945" sldId="265"/>
            <ac:picMk id="37" creationId="{F8AC564A-7559-3982-CB8C-B6D7F4D3DF2D}"/>
          </ac:picMkLst>
        </pc:picChg>
        <pc:picChg chg="mod ord">
          <ac:chgData name="Joelle Brehm" userId="a518f54c-6985-42c0-8041-2bb16a414839" providerId="ADAL" clId="{9E52C8A6-326C-473A-BC21-4CED010AFA79}" dt="2023-09-06T18:01:27.036" v="17092"/>
          <ac:picMkLst>
            <pc:docMk/>
            <pc:sldMk cId="3436037945" sldId="26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01:27.003" v="17033"/>
          <ac:cxnSpMkLst>
            <pc:docMk/>
            <pc:sldMk cId="3436037945" sldId="26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00:17.374" v="15468"/>
        <pc:sldMkLst>
          <pc:docMk/>
          <pc:sldMk cId="2057745716" sldId="266"/>
        </pc:sldMkLst>
        <pc:spChg chg="mod ord">
          <ac:chgData name="Joelle Brehm" userId="a518f54c-6985-42c0-8041-2bb16a414839" providerId="ADAL" clId="{9E52C8A6-326C-473A-BC21-4CED010AFA79}" dt="2023-09-06T18:00:17.354" v="15462"/>
          <ac:spMkLst>
            <pc:docMk/>
            <pc:sldMk cId="2057745716" sldId="266"/>
            <ac:spMk id="2" creationId="{F6B4C531-23B2-41FF-8356-EA9D6490FDEB}"/>
          </ac:spMkLst>
        </pc:spChg>
        <pc:spChg chg="add del mod ord">
          <ac:chgData name="Joelle Brehm" userId="a518f54c-6985-42c0-8041-2bb16a414839" providerId="ADAL" clId="{9E52C8A6-326C-473A-BC21-4CED010AFA79}" dt="2023-09-06T17:59:55.942" v="14363" actId="478"/>
          <ac:spMkLst>
            <pc:docMk/>
            <pc:sldMk cId="2057745716" sldId="266"/>
            <ac:spMk id="3" creationId="{DB17E6A7-FCC8-7503-38B2-7A889BB44E81}"/>
          </ac:spMkLst>
        </pc:spChg>
        <pc:spChg chg="add del mod modVis">
          <ac:chgData name="Joelle Brehm" userId="a518f54c-6985-42c0-8041-2bb16a414839" providerId="ADAL" clId="{9E52C8A6-326C-473A-BC21-4CED010AFA79}" dt="2023-09-06T17:59:33.981" v="14259"/>
          <ac:spMkLst>
            <pc:docMk/>
            <pc:sldMk cId="2057745716" sldId="266"/>
            <ac:spMk id="5" creationId="{A43AF184-D879-BCBD-2380-9E2DC2BBB42C}"/>
          </ac:spMkLst>
        </pc:spChg>
        <pc:spChg chg="mod ord">
          <ac:chgData name="Joelle Brehm" userId="a518f54c-6985-42c0-8041-2bb16a414839" providerId="ADAL" clId="{9E52C8A6-326C-473A-BC21-4CED010AFA79}" dt="2023-09-06T18:00:17.320" v="15380"/>
          <ac:spMkLst>
            <pc:docMk/>
            <pc:sldMk cId="2057745716" sldId="266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00:17.335" v="15417"/>
          <ac:spMkLst>
            <pc:docMk/>
            <pc:sldMk cId="2057745716" sldId="266"/>
            <ac:spMk id="10" creationId="{807170D7-85DE-7F43-70EF-7B9CF7D38946}"/>
          </ac:spMkLst>
        </pc:spChg>
        <pc:spChg chg="mod">
          <ac:chgData name="Joelle Brehm" userId="a518f54c-6985-42c0-8041-2bb16a414839" providerId="ADAL" clId="{9E52C8A6-326C-473A-BC21-4CED010AFA79}" dt="2023-09-06T18:00:17.324" v="15393"/>
          <ac:spMkLst>
            <pc:docMk/>
            <pc:sldMk cId="2057745716" sldId="266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00:17.323" v="15388"/>
          <ac:spMkLst>
            <pc:docMk/>
            <pc:sldMk cId="2057745716" sldId="266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00:17.323" v="15390"/>
          <ac:spMkLst>
            <pc:docMk/>
            <pc:sldMk cId="2057745716" sldId="266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00:17.322" v="15385"/>
          <ac:spMkLst>
            <pc:docMk/>
            <pc:sldMk cId="2057745716" sldId="266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00:17.322" v="15386"/>
          <ac:spMkLst>
            <pc:docMk/>
            <pc:sldMk cId="2057745716" sldId="266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00:17.324" v="15391"/>
          <ac:spMkLst>
            <pc:docMk/>
            <pc:sldMk cId="2057745716" sldId="266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00:17.323" v="15387"/>
          <ac:spMkLst>
            <pc:docMk/>
            <pc:sldMk cId="2057745716" sldId="266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00:17.324" v="15392"/>
          <ac:spMkLst>
            <pc:docMk/>
            <pc:sldMk cId="2057745716" sldId="266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00:17.325" v="15394"/>
          <ac:spMkLst>
            <pc:docMk/>
            <pc:sldMk cId="2057745716" sldId="266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00:17.323" v="15389"/>
          <ac:spMkLst>
            <pc:docMk/>
            <pc:sldMk cId="2057745716" sldId="266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00:17.325" v="15395"/>
          <ac:spMkLst>
            <pc:docMk/>
            <pc:sldMk cId="2057745716" sldId="266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00:17.325" v="15396"/>
          <ac:spMkLst>
            <pc:docMk/>
            <pc:sldMk cId="2057745716" sldId="266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00:17.326" v="15398"/>
          <ac:spMkLst>
            <pc:docMk/>
            <pc:sldMk cId="2057745716" sldId="266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00:17.327" v="15399"/>
          <ac:spMkLst>
            <pc:docMk/>
            <pc:sldMk cId="2057745716" sldId="266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00:17.327" v="15400"/>
          <ac:spMkLst>
            <pc:docMk/>
            <pc:sldMk cId="2057745716" sldId="266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00:17.328" v="15401"/>
          <ac:spMkLst>
            <pc:docMk/>
            <pc:sldMk cId="2057745716" sldId="266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00:17.328" v="15402"/>
          <ac:spMkLst>
            <pc:docMk/>
            <pc:sldMk cId="2057745716" sldId="266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00:17.328" v="15403"/>
          <ac:spMkLst>
            <pc:docMk/>
            <pc:sldMk cId="2057745716" sldId="266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00:17.328" v="15404"/>
          <ac:spMkLst>
            <pc:docMk/>
            <pc:sldMk cId="2057745716" sldId="266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00:17.329" v="15406"/>
          <ac:spMkLst>
            <pc:docMk/>
            <pc:sldMk cId="2057745716" sldId="266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00:07.128" v="14987"/>
          <ac:spMkLst>
            <pc:docMk/>
            <pc:sldMk cId="2057745716" sldId="266"/>
            <ac:spMk id="31" creationId="{541335D7-D042-7B18-CE6A-46B34332637A}"/>
          </ac:spMkLst>
        </pc:spChg>
        <pc:spChg chg="mod">
          <ac:chgData name="Joelle Brehm" userId="a518f54c-6985-42c0-8041-2bb16a414839" providerId="ADAL" clId="{9E52C8A6-326C-473A-BC21-4CED010AFA79}" dt="2023-09-06T18:00:17.341" v="15430"/>
          <ac:spMkLst>
            <pc:docMk/>
            <pc:sldMk cId="2057745716" sldId="266"/>
            <ac:spMk id="32" creationId="{7BFC1003-AE20-B81B-EFAF-D183C4696E4C}"/>
          </ac:spMkLst>
        </pc:spChg>
        <pc:spChg chg="mod">
          <ac:chgData name="Joelle Brehm" userId="a518f54c-6985-42c0-8041-2bb16a414839" providerId="ADAL" clId="{9E52C8A6-326C-473A-BC21-4CED010AFA79}" dt="2023-09-06T18:00:17.334" v="15416"/>
          <ac:spMkLst>
            <pc:docMk/>
            <pc:sldMk cId="2057745716" sldId="266"/>
            <ac:spMk id="33" creationId="{1F14E375-AE0C-B86C-5AA8-BDDE7B453E82}"/>
          </ac:spMkLst>
        </pc:spChg>
        <pc:spChg chg="del mod">
          <ac:chgData name="Joelle Brehm" userId="a518f54c-6985-42c0-8041-2bb16a414839" providerId="ADAL" clId="{9E52C8A6-326C-473A-BC21-4CED010AFA79}" dt="2023-09-06T18:00:07.127" v="14986"/>
          <ac:spMkLst>
            <pc:docMk/>
            <pc:sldMk cId="2057745716" sldId="266"/>
            <ac:spMk id="34" creationId="{7686A18E-A22D-EB32-E9A2-F74C94C23822}"/>
          </ac:spMkLst>
        </pc:spChg>
        <pc:spChg chg="mod">
          <ac:chgData name="Joelle Brehm" userId="a518f54c-6985-42c0-8041-2bb16a414839" providerId="ADAL" clId="{9E52C8A6-326C-473A-BC21-4CED010AFA79}" dt="2023-09-06T18:00:17.333" v="15414"/>
          <ac:spMkLst>
            <pc:docMk/>
            <pc:sldMk cId="2057745716" sldId="266"/>
            <ac:spMk id="35" creationId="{3AD29896-D042-6C80-A93D-02668CD2E53C}"/>
          </ac:spMkLst>
        </pc:spChg>
        <pc:spChg chg="mod">
          <ac:chgData name="Joelle Brehm" userId="a518f54c-6985-42c0-8041-2bb16a414839" providerId="ADAL" clId="{9E52C8A6-326C-473A-BC21-4CED010AFA79}" dt="2023-09-06T18:00:17.336" v="15419"/>
          <ac:spMkLst>
            <pc:docMk/>
            <pc:sldMk cId="2057745716" sldId="266"/>
            <ac:spMk id="36" creationId="{5C57A8EA-9071-29F4-B24C-235140A0F3D6}"/>
          </ac:spMkLst>
        </pc:spChg>
        <pc:spChg chg="mod">
          <ac:chgData name="Joelle Brehm" userId="a518f54c-6985-42c0-8041-2bb16a414839" providerId="ADAL" clId="{9E52C8A6-326C-473A-BC21-4CED010AFA79}" dt="2023-09-06T18:00:17.335" v="15418"/>
          <ac:spMkLst>
            <pc:docMk/>
            <pc:sldMk cId="2057745716" sldId="266"/>
            <ac:spMk id="37" creationId="{597526D1-0B00-BB9B-B8E0-3CF7DA66C023}"/>
          </ac:spMkLst>
        </pc:spChg>
        <pc:spChg chg="mod">
          <ac:chgData name="Joelle Brehm" userId="a518f54c-6985-42c0-8041-2bb16a414839" providerId="ADAL" clId="{9E52C8A6-326C-473A-BC21-4CED010AFA79}" dt="2023-09-06T18:00:17.337" v="15421"/>
          <ac:spMkLst>
            <pc:docMk/>
            <pc:sldMk cId="2057745716" sldId="266"/>
            <ac:spMk id="38" creationId="{B40F3373-1BE7-8355-8A2B-229B068DA343}"/>
          </ac:spMkLst>
        </pc:spChg>
        <pc:spChg chg="mod">
          <ac:chgData name="Joelle Brehm" userId="a518f54c-6985-42c0-8041-2bb16a414839" providerId="ADAL" clId="{9E52C8A6-326C-473A-BC21-4CED010AFA79}" dt="2023-09-06T18:00:17.334" v="15415"/>
          <ac:spMkLst>
            <pc:docMk/>
            <pc:sldMk cId="2057745716" sldId="266"/>
            <ac:spMk id="39" creationId="{E3392C4A-B3DA-D0B0-5258-667A2DAA3299}"/>
          </ac:spMkLst>
        </pc:spChg>
        <pc:spChg chg="mod">
          <ac:chgData name="Joelle Brehm" userId="a518f54c-6985-42c0-8041-2bb16a414839" providerId="ADAL" clId="{9E52C8A6-326C-473A-BC21-4CED010AFA79}" dt="2023-09-06T18:00:17.340" v="15427"/>
          <ac:spMkLst>
            <pc:docMk/>
            <pc:sldMk cId="2057745716" sldId="266"/>
            <ac:spMk id="40" creationId="{3C36A0E2-F6F2-5165-E7DD-B1D9CD0FFA1F}"/>
          </ac:spMkLst>
        </pc:spChg>
        <pc:spChg chg="mod">
          <ac:chgData name="Joelle Brehm" userId="a518f54c-6985-42c0-8041-2bb16a414839" providerId="ADAL" clId="{9E52C8A6-326C-473A-BC21-4CED010AFA79}" dt="2023-09-06T18:00:17.336" v="15420"/>
          <ac:spMkLst>
            <pc:docMk/>
            <pc:sldMk cId="2057745716" sldId="266"/>
            <ac:spMk id="41" creationId="{21FE8ECF-5BE2-0B49-E6FF-20CD5665845D}"/>
          </ac:spMkLst>
        </pc:spChg>
        <pc:spChg chg="mod">
          <ac:chgData name="Joelle Brehm" userId="a518f54c-6985-42c0-8041-2bb16a414839" providerId="ADAL" clId="{9E52C8A6-326C-473A-BC21-4CED010AFA79}" dt="2023-09-06T18:00:17.338" v="15423"/>
          <ac:spMkLst>
            <pc:docMk/>
            <pc:sldMk cId="2057745716" sldId="266"/>
            <ac:spMk id="42" creationId="{9FC7E48F-0F7C-98B3-4A06-E8C9D3058A75}"/>
          </ac:spMkLst>
        </pc:spChg>
        <pc:spChg chg="mod">
          <ac:chgData name="Joelle Brehm" userId="a518f54c-6985-42c0-8041-2bb16a414839" providerId="ADAL" clId="{9E52C8A6-326C-473A-BC21-4CED010AFA79}" dt="2023-09-06T18:00:17.339" v="15425"/>
          <ac:spMkLst>
            <pc:docMk/>
            <pc:sldMk cId="2057745716" sldId="266"/>
            <ac:spMk id="43" creationId="{301DE5CE-B6D6-C965-670B-00DD10AA9B6D}"/>
          </ac:spMkLst>
        </pc:spChg>
        <pc:spChg chg="mod">
          <ac:chgData name="Joelle Brehm" userId="a518f54c-6985-42c0-8041-2bb16a414839" providerId="ADAL" clId="{9E52C8A6-326C-473A-BC21-4CED010AFA79}" dt="2023-09-06T18:00:17.339" v="15426"/>
          <ac:spMkLst>
            <pc:docMk/>
            <pc:sldMk cId="2057745716" sldId="266"/>
            <ac:spMk id="44" creationId="{3B42FA95-5355-D814-0F19-1287A982B05E}"/>
          </ac:spMkLst>
        </pc:spChg>
        <pc:spChg chg="mod">
          <ac:chgData name="Joelle Brehm" userId="a518f54c-6985-42c0-8041-2bb16a414839" providerId="ADAL" clId="{9E52C8A6-326C-473A-BC21-4CED010AFA79}" dt="2023-09-06T18:00:17.337" v="15422"/>
          <ac:spMkLst>
            <pc:docMk/>
            <pc:sldMk cId="2057745716" sldId="266"/>
            <ac:spMk id="45" creationId="{C945C7C2-70DE-49F7-A575-8212577369C7}"/>
          </ac:spMkLst>
        </pc:spChg>
        <pc:spChg chg="mod">
          <ac:chgData name="Joelle Brehm" userId="a518f54c-6985-42c0-8041-2bb16a414839" providerId="ADAL" clId="{9E52C8A6-326C-473A-BC21-4CED010AFA79}" dt="2023-09-06T18:00:17.338" v="15424"/>
          <ac:spMkLst>
            <pc:docMk/>
            <pc:sldMk cId="2057745716" sldId="266"/>
            <ac:spMk id="47" creationId="{1C4FAF95-E411-B780-08E1-4E3B3EA052A3}"/>
          </ac:spMkLst>
        </pc:spChg>
        <pc:spChg chg="mod">
          <ac:chgData name="Joelle Brehm" userId="a518f54c-6985-42c0-8041-2bb16a414839" providerId="ADAL" clId="{9E52C8A6-326C-473A-BC21-4CED010AFA79}" dt="2023-09-06T18:00:17.341" v="15429"/>
          <ac:spMkLst>
            <pc:docMk/>
            <pc:sldMk cId="2057745716" sldId="266"/>
            <ac:spMk id="49" creationId="{CEED7133-C9B9-327C-BE9D-7D65501901CF}"/>
          </ac:spMkLst>
        </pc:spChg>
        <pc:spChg chg="mod">
          <ac:chgData name="Joelle Brehm" userId="a518f54c-6985-42c0-8041-2bb16a414839" providerId="ADAL" clId="{9E52C8A6-326C-473A-BC21-4CED010AFA79}" dt="2023-09-06T18:00:17.342" v="15432"/>
          <ac:spMkLst>
            <pc:docMk/>
            <pc:sldMk cId="2057745716" sldId="266"/>
            <ac:spMk id="50" creationId="{4FCAC78F-B3E8-9365-B004-1D6F847392EE}"/>
          </ac:spMkLst>
        </pc:spChg>
        <pc:spChg chg="mod">
          <ac:chgData name="Joelle Brehm" userId="a518f54c-6985-42c0-8041-2bb16a414839" providerId="ADAL" clId="{9E52C8A6-326C-473A-BC21-4CED010AFA79}" dt="2023-09-06T18:00:17.341" v="15431"/>
          <ac:spMkLst>
            <pc:docMk/>
            <pc:sldMk cId="2057745716" sldId="266"/>
            <ac:spMk id="51" creationId="{C9D2CB7B-D271-C497-DAD6-584C7ADF3223}"/>
          </ac:spMkLst>
        </pc:spChg>
        <pc:spChg chg="add mod replST">
          <ac:chgData name="Joelle Brehm" userId="a518f54c-6985-42c0-8041-2bb16a414839" providerId="ADAL" clId="{9E52C8A6-326C-473A-BC21-4CED010AFA79}" dt="2023-09-06T18:00:17.344" v="15436"/>
          <ac:spMkLst>
            <pc:docMk/>
            <pc:sldMk cId="2057745716" sldId="266"/>
            <ac:spMk id="52" creationId="{4CB89854-2E3F-BC9B-D7C6-8FA388A0FB74}"/>
          </ac:spMkLst>
        </pc:spChg>
        <pc:spChg chg="add mod replST">
          <ac:chgData name="Joelle Brehm" userId="a518f54c-6985-42c0-8041-2bb16a414839" providerId="ADAL" clId="{9E52C8A6-326C-473A-BC21-4CED010AFA79}" dt="2023-09-06T18:00:17.344" v="15437"/>
          <ac:spMkLst>
            <pc:docMk/>
            <pc:sldMk cId="2057745716" sldId="266"/>
            <ac:spMk id="53" creationId="{BDE54BE4-68BA-EA2D-F906-3AA43DFEB06B}"/>
          </ac:spMkLst>
        </pc:spChg>
        <pc:spChg chg="mod">
          <ac:chgData name="Joelle Brehm" userId="a518f54c-6985-42c0-8041-2bb16a414839" providerId="ADAL" clId="{9E52C8A6-326C-473A-BC21-4CED010AFA79}" dt="2023-09-06T18:00:17.343" v="15434"/>
          <ac:spMkLst>
            <pc:docMk/>
            <pc:sldMk cId="2057745716" sldId="266"/>
            <ac:spMk id="54" creationId="{C68FB9B8-E149-DE9C-BBED-40FE69C511C2}"/>
          </ac:spMkLst>
        </pc:spChg>
        <pc:spChg chg="mod">
          <ac:chgData name="Joelle Brehm" userId="a518f54c-6985-42c0-8041-2bb16a414839" providerId="ADAL" clId="{9E52C8A6-326C-473A-BC21-4CED010AFA79}" dt="2023-09-06T18:00:17.342" v="15433"/>
          <ac:spMkLst>
            <pc:docMk/>
            <pc:sldMk cId="2057745716" sldId="266"/>
            <ac:spMk id="55" creationId="{690E2C54-9686-C808-DDEC-227810BB047A}"/>
          </ac:spMkLst>
        </pc:spChg>
        <pc:spChg chg="mod">
          <ac:chgData name="Joelle Brehm" userId="a518f54c-6985-42c0-8041-2bb16a414839" providerId="ADAL" clId="{9E52C8A6-326C-473A-BC21-4CED010AFA79}" dt="2023-09-06T18:00:17.343" v="15435"/>
          <ac:spMkLst>
            <pc:docMk/>
            <pc:sldMk cId="2057745716" sldId="266"/>
            <ac:spMk id="56" creationId="{E9390A93-827E-BC5A-AEF8-D4BE40207997}"/>
          </ac:spMkLst>
        </pc:spChg>
        <pc:spChg chg="mod">
          <ac:chgData name="Joelle Brehm" userId="a518f54c-6985-42c0-8041-2bb16a414839" providerId="ADAL" clId="{9E52C8A6-326C-473A-BC21-4CED010AFA79}" dt="2023-09-06T18:00:17.340" v="15428"/>
          <ac:spMkLst>
            <pc:docMk/>
            <pc:sldMk cId="2057745716" sldId="266"/>
            <ac:spMk id="57" creationId="{5B53372F-C271-7F94-7100-D104F06C3037}"/>
          </ac:spMkLst>
        </pc:spChg>
        <pc:spChg chg="add del mod modVis">
          <ac:chgData name="Joelle Brehm" userId="a518f54c-6985-42c0-8041-2bb16a414839" providerId="ADAL" clId="{9E52C8A6-326C-473A-BC21-4CED010AFA79}" dt="2023-09-06T18:00:03.760" v="14763"/>
          <ac:spMkLst>
            <pc:docMk/>
            <pc:sldMk cId="2057745716" sldId="266"/>
            <ac:spMk id="58" creationId="{22D522FD-8608-1E11-B3A0-F9EE4D84BC06}"/>
          </ac:spMkLst>
        </pc:spChg>
        <pc:spChg chg="add del mod modVis">
          <ac:chgData name="Joelle Brehm" userId="a518f54c-6985-42c0-8041-2bb16a414839" providerId="ADAL" clId="{9E52C8A6-326C-473A-BC21-4CED010AFA79}" dt="2023-09-06T18:00:05.486" v="14983"/>
          <ac:spMkLst>
            <pc:docMk/>
            <pc:sldMk cId="2057745716" sldId="266"/>
            <ac:spMk id="60" creationId="{14207516-E4CF-F315-1C10-8E4C2DDC381F}"/>
          </ac:spMkLst>
        </pc:spChg>
        <pc:spChg chg="add del mod modVis">
          <ac:chgData name="Joelle Brehm" userId="a518f54c-6985-42c0-8041-2bb16a414839" providerId="ADAL" clId="{9E52C8A6-326C-473A-BC21-4CED010AFA79}" dt="2023-09-06T18:00:07.353" v="15234"/>
          <ac:spMkLst>
            <pc:docMk/>
            <pc:sldMk cId="2057745716" sldId="266"/>
            <ac:spMk id="62" creationId="{49258F66-899A-6FC1-5C43-BABFDA709858}"/>
          </ac:spMkLst>
        </pc:spChg>
        <pc:spChg chg="add del mod modVis">
          <ac:chgData name="Joelle Brehm" userId="a518f54c-6985-42c0-8041-2bb16a414839" providerId="ADAL" clId="{9E52C8A6-326C-473A-BC21-4CED010AFA79}" dt="2023-09-06T18:00:17.356" v="15466"/>
          <ac:spMkLst>
            <pc:docMk/>
            <pc:sldMk cId="2057745716" sldId="266"/>
            <ac:spMk id="64" creationId="{B1836E70-FCD6-B293-930F-149498F6AE89}"/>
          </ac:spMkLst>
        </pc:spChg>
        <pc:spChg chg="mod ord">
          <ac:chgData name="Joelle Brehm" userId="a518f54c-6985-42c0-8041-2bb16a414839" providerId="ADAL" clId="{9E52C8A6-326C-473A-BC21-4CED010AFA79}" dt="2023-09-06T18:00:17.345" v="15439"/>
          <ac:spMkLst>
            <pc:docMk/>
            <pc:sldMk cId="2057745716" sldId="266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00:17.346" v="15441"/>
          <ac:spMkLst>
            <pc:docMk/>
            <pc:sldMk cId="2057745716" sldId="266"/>
            <ac:spMk id="79" creationId="{F1476AC4-694B-4D83-BFD8-8DCAA4BB1923}"/>
          </ac:spMkLst>
        </pc:spChg>
        <pc:spChg chg="mod">
          <ac:chgData name="Joelle Brehm" userId="a518f54c-6985-42c0-8041-2bb16a414839" providerId="ADAL" clId="{9E52C8A6-326C-473A-BC21-4CED010AFA79}" dt="2023-09-06T18:00:17.331" v="15409"/>
          <ac:spMkLst>
            <pc:docMk/>
            <pc:sldMk cId="2057745716" sldId="266"/>
            <ac:spMk id="98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00:17.347" v="15443"/>
          <ac:spMkLst>
            <pc:docMk/>
            <pc:sldMk cId="2057745716" sldId="266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00:17.347" v="15445"/>
          <ac:spMkLst>
            <pc:docMk/>
            <pc:sldMk cId="2057745716" sldId="266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00:17.348" v="15447"/>
          <ac:spMkLst>
            <pc:docMk/>
            <pc:sldMk cId="2057745716" sldId="266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00:17.348" v="15449"/>
          <ac:spMkLst>
            <pc:docMk/>
            <pc:sldMk cId="2057745716" sldId="266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00:17.333" v="15413"/>
          <ac:spMkLst>
            <pc:docMk/>
            <pc:sldMk cId="2057745716" sldId="266"/>
            <ac:spMk id="12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0:17.332" v="15412"/>
          <ac:spMkLst>
            <pc:docMk/>
            <pc:sldMk cId="2057745716" sldId="266"/>
            <ac:spMk id="12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0:17.331" v="15410"/>
          <ac:spMkLst>
            <pc:docMk/>
            <pc:sldMk cId="2057745716" sldId="266"/>
            <ac:spMk id="12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0:17.332" v="15411"/>
          <ac:spMkLst>
            <pc:docMk/>
            <pc:sldMk cId="2057745716" sldId="266"/>
            <ac:spMk id="13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0:17.351" v="15455"/>
          <ac:spMkLst>
            <pc:docMk/>
            <pc:sldMk cId="2057745716" sldId="266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0:17.350" v="15453"/>
          <ac:spMkLst>
            <pc:docMk/>
            <pc:sldMk cId="2057745716" sldId="266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0:17.352" v="15456"/>
          <ac:spMkLst>
            <pc:docMk/>
            <pc:sldMk cId="2057745716" sldId="266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0:17.350" v="15452"/>
          <ac:spMkLst>
            <pc:docMk/>
            <pc:sldMk cId="2057745716" sldId="266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00:17.351" v="15454"/>
          <ac:spMkLst>
            <pc:docMk/>
            <pc:sldMk cId="2057745716" sldId="26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00:17.374" v="15468"/>
          <ac:graphicFrameMkLst>
            <pc:docMk/>
            <pc:sldMk cId="2057745716" sldId="26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0:17.321" v="15384"/>
          <ac:graphicFrameMkLst>
            <pc:docMk/>
            <pc:sldMk cId="2057745716" sldId="266"/>
            <ac:graphicFrameMk id="8" creationId="{B1F36A72-BAC8-42B6-2D25-25EA0E414221}"/>
          </ac:graphicFrameMkLst>
        </pc:graphicFrameChg>
        <pc:graphicFrameChg chg="del">
          <ac:chgData name="Joelle Brehm" userId="a518f54c-6985-42c0-8041-2bb16a414839" providerId="ADAL" clId="{9E52C8A6-326C-473A-BC21-4CED010AFA79}" dt="2023-09-06T17:59:33.854" v="14155"/>
          <ac:graphicFrameMkLst>
            <pc:docMk/>
            <pc:sldMk cId="2057745716" sldId="266"/>
            <ac:graphicFrameMk id="9" creationId="{1447B7B1-CAC4-F656-71BA-B881125AEE4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0:05.403" v="14885"/>
          <ac:graphicFrameMkLst>
            <pc:docMk/>
            <pc:sldMk cId="2057745716" sldId="266"/>
            <ac:graphicFrameMk id="59" creationId="{F4975280-E305-C524-79DD-D40CD208E0E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0:07.279" v="15138"/>
          <ac:graphicFrameMkLst>
            <pc:docMk/>
            <pc:sldMk cId="2057745716" sldId="266"/>
            <ac:graphicFrameMk id="61" creationId="{F9B0A87A-E42A-34D8-FCFA-CBA00C1EA84B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0:17.330" v="15408"/>
          <ac:graphicFrameMkLst>
            <pc:docMk/>
            <pc:sldMk cId="2057745716" sldId="266"/>
            <ac:graphicFrameMk id="63" creationId="{CF9927AA-0E21-42F5-AE51-C0724F3A2178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0:17.349" v="15451"/>
          <ac:graphicFrameMkLst>
            <pc:docMk/>
            <pc:sldMk cId="2057745716" sldId="266"/>
            <ac:graphicFrameMk id="65" creationId="{147AC728-1FD0-FB06-93E2-7804A1BD7C00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0:03.683" v="14665"/>
          <ac:graphicFrameMkLst>
            <pc:docMk/>
            <pc:sldMk cId="2057745716" sldId="266"/>
            <ac:graphicFrameMk id="73" creationId="{E3ACE37D-1B5C-D620-298F-51B0E98FE85E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0:17.288" v="15370"/>
          <ac:graphicFrameMkLst>
            <pc:docMk/>
            <pc:sldMk cId="2057745716" sldId="266"/>
            <ac:graphicFrameMk id="75" creationId="{937D5222-6DE8-4A90-05F1-A1C2D6C162F5}"/>
          </ac:graphicFrameMkLst>
        </pc:graphicFrameChg>
        <pc:picChg chg="del mod ord">
          <ac:chgData name="Joelle Brehm" userId="a518f54c-6985-42c0-8041-2bb16a414839" providerId="ADAL" clId="{9E52C8A6-326C-473A-BC21-4CED010AFA79}" dt="2023-09-06T17:59:51.969" v="14362" actId="478"/>
          <ac:picMkLst>
            <pc:docMk/>
            <pc:sldMk cId="2057745716" sldId="266"/>
            <ac:picMk id="46" creationId="{2CA2C1F5-2D76-D59C-8012-F4AF8FA12AA8}"/>
          </ac:picMkLst>
        </pc:picChg>
        <pc:picChg chg="add mod ord">
          <ac:chgData name="Joelle Brehm" userId="a518f54c-6985-42c0-8041-2bb16a414839" providerId="ADAL" clId="{9E52C8A6-326C-473A-BC21-4CED010AFA79}" dt="2023-09-06T18:00:17.319" v="15378"/>
          <ac:picMkLst>
            <pc:docMk/>
            <pc:sldMk cId="2057745716" sldId="266"/>
            <ac:picMk id="48" creationId="{3C210541-FCA5-91B6-237C-C634E3FAD6DB}"/>
          </ac:picMkLst>
        </pc:picChg>
        <pc:picChg chg="mod ord">
          <ac:chgData name="Joelle Brehm" userId="a518f54c-6985-42c0-8041-2bb16a414839" providerId="ADAL" clId="{9E52C8A6-326C-473A-BC21-4CED010AFA79}" dt="2023-09-06T18:00:17.353" v="15460"/>
          <ac:picMkLst>
            <pc:docMk/>
            <pc:sldMk cId="2057745716" sldId="266"/>
            <ac:picMk id="112" creationId="{186E1B9A-2301-4BD4-8D40-7FCC2480C637}"/>
          </ac:picMkLst>
        </pc:picChg>
        <pc:picChg chg="mod ord">
          <ac:chgData name="Joelle Brehm" userId="a518f54c-6985-42c0-8041-2bb16a414839" providerId="ADAL" clId="{9E52C8A6-326C-473A-BC21-4CED010AFA79}" dt="2023-09-06T18:00:17.352" v="15458"/>
          <ac:picMkLst>
            <pc:docMk/>
            <pc:sldMk cId="2057745716" sldId="26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00:17.321" v="15382"/>
          <ac:cxnSpMkLst>
            <pc:docMk/>
            <pc:sldMk cId="2057745716" sldId="26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04:43.108" v="18996"/>
        <pc:sldMkLst>
          <pc:docMk/>
          <pc:sldMk cId="3795966898" sldId="267"/>
        </pc:sldMkLst>
        <pc:spChg chg="mod ord">
          <ac:chgData name="Joelle Brehm" userId="a518f54c-6985-42c0-8041-2bb16a414839" providerId="ADAL" clId="{9E52C8A6-326C-473A-BC21-4CED010AFA79}" dt="2023-09-06T18:04:43.096" v="18990"/>
          <ac:spMkLst>
            <pc:docMk/>
            <pc:sldMk cId="3795966898" sldId="267"/>
            <ac:spMk id="2" creationId="{8ADF3DAD-89AE-4B6D-9F50-64987A2AE5AE}"/>
          </ac:spMkLst>
        </pc:spChg>
        <pc:spChg chg="add del mod ord">
          <ac:chgData name="Joelle Brehm" userId="a518f54c-6985-42c0-8041-2bb16a414839" providerId="ADAL" clId="{9E52C8A6-326C-473A-BC21-4CED010AFA79}" dt="2023-09-06T18:03:21.278" v="17459" actId="478"/>
          <ac:spMkLst>
            <pc:docMk/>
            <pc:sldMk cId="3795966898" sldId="267"/>
            <ac:spMk id="3" creationId="{3815D4E5-5F66-E31B-9F4A-B884183F5EEE}"/>
          </ac:spMkLst>
        </pc:spChg>
        <pc:spChg chg="add del mod modVis">
          <ac:chgData name="Joelle Brehm" userId="a518f54c-6985-42c0-8041-2bb16a414839" providerId="ADAL" clId="{9E52C8A6-326C-473A-BC21-4CED010AFA79}" dt="2023-09-06T18:02:49.744" v="17365"/>
          <ac:spMkLst>
            <pc:docMk/>
            <pc:sldMk cId="3795966898" sldId="267"/>
            <ac:spMk id="5" creationId="{A3CD0657-5594-F44C-54FB-01B6ACDB53C7}"/>
          </ac:spMkLst>
        </pc:spChg>
        <pc:spChg chg="mod ord">
          <ac:chgData name="Joelle Brehm" userId="a518f54c-6985-42c0-8041-2bb16a414839" providerId="ADAL" clId="{9E52C8A6-326C-473A-BC21-4CED010AFA79}" dt="2023-09-06T18:04:43.077" v="18925"/>
          <ac:spMkLst>
            <pc:docMk/>
            <pc:sldMk cId="3795966898" sldId="267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04:43.081" v="18937"/>
          <ac:spMkLst>
            <pc:docMk/>
            <pc:sldMk cId="3795966898" sldId="267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04:43.079" v="18931"/>
          <ac:spMkLst>
            <pc:docMk/>
            <pc:sldMk cId="3795966898" sldId="267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04:43.079" v="18933"/>
          <ac:spMkLst>
            <pc:docMk/>
            <pc:sldMk cId="3795966898" sldId="267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04:43.078" v="18930"/>
          <ac:spMkLst>
            <pc:docMk/>
            <pc:sldMk cId="3795966898" sldId="267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04:43.079" v="18932"/>
          <ac:spMkLst>
            <pc:docMk/>
            <pc:sldMk cId="3795966898" sldId="267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04:43.080" v="18934"/>
          <ac:spMkLst>
            <pc:docMk/>
            <pc:sldMk cId="3795966898" sldId="267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04:43.080" v="18935"/>
          <ac:spMkLst>
            <pc:docMk/>
            <pc:sldMk cId="3795966898" sldId="267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04:43.081" v="18936"/>
          <ac:spMkLst>
            <pc:docMk/>
            <pc:sldMk cId="3795966898" sldId="267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04:43.082" v="18938"/>
          <ac:spMkLst>
            <pc:docMk/>
            <pc:sldMk cId="3795966898" sldId="267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04:43.082" v="18939"/>
          <ac:spMkLst>
            <pc:docMk/>
            <pc:sldMk cId="3795966898" sldId="267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04:43.082" v="18940"/>
          <ac:spMkLst>
            <pc:docMk/>
            <pc:sldMk cId="3795966898" sldId="267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04:43.083" v="18941"/>
          <ac:spMkLst>
            <pc:docMk/>
            <pc:sldMk cId="3795966898" sldId="267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04:43.083" v="18943"/>
          <ac:spMkLst>
            <pc:docMk/>
            <pc:sldMk cId="3795966898" sldId="267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04:43.083" v="18944"/>
          <ac:spMkLst>
            <pc:docMk/>
            <pc:sldMk cId="3795966898" sldId="267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04:43.084" v="18945"/>
          <ac:spMkLst>
            <pc:docMk/>
            <pc:sldMk cId="3795966898" sldId="267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04:43.084" v="18946"/>
          <ac:spMkLst>
            <pc:docMk/>
            <pc:sldMk cId="3795966898" sldId="267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04:43.085" v="18948"/>
          <ac:spMkLst>
            <pc:docMk/>
            <pc:sldMk cId="3795966898" sldId="267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04:43.084" v="18947"/>
          <ac:spMkLst>
            <pc:docMk/>
            <pc:sldMk cId="3795966898" sldId="267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04:43.085" v="18949"/>
          <ac:spMkLst>
            <pc:docMk/>
            <pc:sldMk cId="3795966898" sldId="267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04:43.085" v="18951"/>
          <ac:spMkLst>
            <pc:docMk/>
            <pc:sldMk cId="3795966898" sldId="267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03:31.699" v="18370"/>
          <ac:spMkLst>
            <pc:docMk/>
            <pc:sldMk cId="3795966898" sldId="267"/>
            <ac:spMk id="31" creationId="{1FD446DE-B952-ACD9-BEA6-D4E54F5804A8}"/>
          </ac:spMkLst>
        </pc:spChg>
        <pc:spChg chg="mod">
          <ac:chgData name="Joelle Brehm" userId="a518f54c-6985-42c0-8041-2bb16a414839" providerId="ADAL" clId="{9E52C8A6-326C-473A-BC21-4CED010AFA79}" dt="2023-09-06T18:04:43.088" v="18964"/>
          <ac:spMkLst>
            <pc:docMk/>
            <pc:sldMk cId="3795966898" sldId="267"/>
            <ac:spMk id="32" creationId="{D88A5B48-AEEB-61CD-49C8-685CA2FA5FCC}"/>
          </ac:spMkLst>
        </pc:spChg>
        <pc:spChg chg="mod">
          <ac:chgData name="Joelle Brehm" userId="a518f54c-6985-42c0-8041-2bb16a414839" providerId="ADAL" clId="{9E52C8A6-326C-473A-BC21-4CED010AFA79}" dt="2023-09-06T18:04:43.086" v="18956"/>
          <ac:spMkLst>
            <pc:docMk/>
            <pc:sldMk cId="3795966898" sldId="267"/>
            <ac:spMk id="33" creationId="{0AF17994-2A88-B5A9-1960-3D49D7A5E286}"/>
          </ac:spMkLst>
        </pc:spChg>
        <pc:spChg chg="mod">
          <ac:chgData name="Joelle Brehm" userId="a518f54c-6985-42c0-8041-2bb16a414839" providerId="ADAL" clId="{9E52C8A6-326C-473A-BC21-4CED010AFA79}" dt="2023-09-06T18:04:43.086" v="18954"/>
          <ac:spMkLst>
            <pc:docMk/>
            <pc:sldMk cId="3795966898" sldId="267"/>
            <ac:spMk id="34" creationId="{82E92406-8522-7531-A2E1-CDEDD2802D06}"/>
          </ac:spMkLst>
        </pc:spChg>
        <pc:spChg chg="mod">
          <ac:chgData name="Joelle Brehm" userId="a518f54c-6985-42c0-8041-2bb16a414839" providerId="ADAL" clId="{9E52C8A6-326C-473A-BC21-4CED010AFA79}" dt="2023-09-06T18:04:43.086" v="18957"/>
          <ac:spMkLst>
            <pc:docMk/>
            <pc:sldMk cId="3795966898" sldId="267"/>
            <ac:spMk id="35" creationId="{FFDA353D-30D1-6A47-8DA2-B70C877D4347}"/>
          </ac:spMkLst>
        </pc:spChg>
        <pc:spChg chg="mod">
          <ac:chgData name="Joelle Brehm" userId="a518f54c-6985-42c0-8041-2bb16a414839" providerId="ADAL" clId="{9E52C8A6-326C-473A-BC21-4CED010AFA79}" dt="2023-09-06T18:04:43.087" v="18960"/>
          <ac:spMkLst>
            <pc:docMk/>
            <pc:sldMk cId="3795966898" sldId="267"/>
            <ac:spMk id="36" creationId="{BAFFFD22-3E5D-2D34-E227-9C27ADEC8FDF}"/>
          </ac:spMkLst>
        </pc:spChg>
        <pc:spChg chg="mod">
          <ac:chgData name="Joelle Brehm" userId="a518f54c-6985-42c0-8041-2bb16a414839" providerId="ADAL" clId="{9E52C8A6-326C-473A-BC21-4CED010AFA79}" dt="2023-09-06T18:04:43.086" v="18955"/>
          <ac:spMkLst>
            <pc:docMk/>
            <pc:sldMk cId="3795966898" sldId="267"/>
            <ac:spMk id="37" creationId="{2C18F645-6C7C-E805-959B-6BCC1E699323}"/>
          </ac:spMkLst>
        </pc:spChg>
        <pc:spChg chg="mod">
          <ac:chgData name="Joelle Brehm" userId="a518f54c-6985-42c0-8041-2bb16a414839" providerId="ADAL" clId="{9E52C8A6-326C-473A-BC21-4CED010AFA79}" dt="2023-09-06T18:04:43.087" v="18959"/>
          <ac:spMkLst>
            <pc:docMk/>
            <pc:sldMk cId="3795966898" sldId="267"/>
            <ac:spMk id="38" creationId="{7C95A005-5EF0-2DC0-E7B2-E097E65FBD41}"/>
          </ac:spMkLst>
        </pc:spChg>
        <pc:spChg chg="mod">
          <ac:chgData name="Joelle Brehm" userId="a518f54c-6985-42c0-8041-2bb16a414839" providerId="ADAL" clId="{9E52C8A6-326C-473A-BC21-4CED010AFA79}" dt="2023-09-06T18:04:43.087" v="18958"/>
          <ac:spMkLst>
            <pc:docMk/>
            <pc:sldMk cId="3795966898" sldId="267"/>
            <ac:spMk id="39" creationId="{83832067-25B3-AFCE-E78B-F25DBF661146}"/>
          </ac:spMkLst>
        </pc:spChg>
        <pc:spChg chg="mod">
          <ac:chgData name="Joelle Brehm" userId="a518f54c-6985-42c0-8041-2bb16a414839" providerId="ADAL" clId="{9E52C8A6-326C-473A-BC21-4CED010AFA79}" dt="2023-09-06T18:04:43.088" v="18962"/>
          <ac:spMkLst>
            <pc:docMk/>
            <pc:sldMk cId="3795966898" sldId="267"/>
            <ac:spMk id="40" creationId="{E572EFC5-A7FD-69F6-5C31-AAA859CEB992}"/>
          </ac:spMkLst>
        </pc:spChg>
        <pc:spChg chg="mod">
          <ac:chgData name="Joelle Brehm" userId="a518f54c-6985-42c0-8041-2bb16a414839" providerId="ADAL" clId="{9E52C8A6-326C-473A-BC21-4CED010AFA79}" dt="2023-09-06T18:04:43.088" v="18961"/>
          <ac:spMkLst>
            <pc:docMk/>
            <pc:sldMk cId="3795966898" sldId="267"/>
            <ac:spMk id="42" creationId="{00A8D05A-611B-5627-879F-426A9C84E224}"/>
          </ac:spMkLst>
        </pc:spChg>
        <pc:spChg chg="add mod replST">
          <ac:chgData name="Joelle Brehm" userId="a518f54c-6985-42c0-8041-2bb16a414839" providerId="ADAL" clId="{9E52C8A6-326C-473A-BC21-4CED010AFA79}" dt="2023-09-06T18:04:43.089" v="18965"/>
          <ac:spMkLst>
            <pc:docMk/>
            <pc:sldMk cId="3795966898" sldId="267"/>
            <ac:spMk id="43" creationId="{DF81676B-4267-08A8-38A0-1BDE25662898}"/>
          </ac:spMkLst>
        </pc:spChg>
        <pc:spChg chg="mod">
          <ac:chgData name="Joelle Brehm" userId="a518f54c-6985-42c0-8041-2bb16a414839" providerId="ADAL" clId="{9E52C8A6-326C-473A-BC21-4CED010AFA79}" dt="2023-09-06T18:04:43.088" v="18963"/>
          <ac:spMkLst>
            <pc:docMk/>
            <pc:sldMk cId="3795966898" sldId="267"/>
            <ac:spMk id="44" creationId="{40B65240-400F-5791-7F3E-FCB0C3838579}"/>
          </ac:spMkLst>
        </pc:spChg>
        <pc:spChg chg="add del mod modVis">
          <ac:chgData name="Joelle Brehm" userId="a518f54c-6985-42c0-8041-2bb16a414839" providerId="ADAL" clId="{9E52C8A6-326C-473A-BC21-4CED010AFA79}" dt="2023-09-06T18:03:29.317" v="18097"/>
          <ac:spMkLst>
            <pc:docMk/>
            <pc:sldMk cId="3795966898" sldId="267"/>
            <ac:spMk id="45" creationId="{3B34587B-C690-F64B-CB88-0578AF103340}"/>
          </ac:spMkLst>
        </pc:spChg>
        <pc:spChg chg="add del mod ord replST">
          <ac:chgData name="Joelle Brehm" userId="a518f54c-6985-42c0-8041-2bb16a414839" providerId="ADAL" clId="{9E52C8A6-326C-473A-BC21-4CED010AFA79}" dt="2023-09-06T18:03:31.870" v="18446"/>
          <ac:spMkLst>
            <pc:docMk/>
            <pc:sldMk cId="3795966898" sldId="267"/>
            <ac:spMk id="4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4:43.094" v="18983"/>
          <ac:spMkLst>
            <pc:docMk/>
            <pc:sldMk cId="3795966898" sldId="267"/>
            <ac:spMk id="48" creationId="{E576B5C5-1657-F503-0E96-3114EE7E1750}"/>
          </ac:spMkLst>
        </pc:spChg>
        <pc:spChg chg="add del mod modVis">
          <ac:chgData name="Joelle Brehm" userId="a518f54c-6985-42c0-8041-2bb16a414839" providerId="ADAL" clId="{9E52C8A6-326C-473A-BC21-4CED010AFA79}" dt="2023-09-06T18:03:30.710" v="18367"/>
          <ac:spMkLst>
            <pc:docMk/>
            <pc:sldMk cId="3795966898" sldId="267"/>
            <ac:spMk id="49" creationId="{8D95A2F9-DFC7-46FB-5B6B-A77DD66AB059}"/>
          </ac:spMkLst>
        </pc:spChg>
        <pc:spChg chg="add del mod ord replST">
          <ac:chgData name="Joelle Brehm" userId="a518f54c-6985-42c0-8041-2bb16a414839" providerId="ADAL" clId="{9E52C8A6-326C-473A-BC21-4CED010AFA79}" dt="2023-09-06T18:04:43.051" v="18913"/>
          <ac:spMkLst>
            <pc:docMk/>
            <pc:sldMk cId="3795966898" sldId="267"/>
            <ac:spMk id="50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03:32.021" v="18569"/>
          <ac:spMkLst>
            <pc:docMk/>
            <pc:sldMk cId="3795966898" sldId="267"/>
            <ac:spMk id="52" creationId="{48582035-7490-D4A2-7383-E334031F6291}"/>
          </ac:spMkLst>
        </pc:spChg>
        <pc:spChg chg="add del mod modVis">
          <ac:chgData name="Joelle Brehm" userId="a518f54c-6985-42c0-8041-2bb16a414839" providerId="ADAL" clId="{9E52C8A6-326C-473A-BC21-4CED010AFA79}" dt="2023-09-06T18:03:43.583" v="18841"/>
          <ac:spMkLst>
            <pc:docMk/>
            <pc:sldMk cId="3795966898" sldId="267"/>
            <ac:spMk id="54" creationId="{D15DF50C-30BF-EDDB-C3E0-3A6F85F705B0}"/>
          </ac:spMkLst>
        </pc:spChg>
        <pc:spChg chg="add del mod modVis">
          <ac:chgData name="Joelle Brehm" userId="a518f54c-6985-42c0-8041-2bb16a414839" providerId="ADAL" clId="{9E52C8A6-326C-473A-BC21-4CED010AFA79}" dt="2023-09-06T18:04:43.097" v="18994"/>
          <ac:spMkLst>
            <pc:docMk/>
            <pc:sldMk cId="3795966898" sldId="267"/>
            <ac:spMk id="57" creationId="{F35B8786-7AF8-03CE-C616-C0651866395C}"/>
          </ac:spMkLst>
        </pc:spChg>
        <pc:spChg chg="mod ord">
          <ac:chgData name="Joelle Brehm" userId="a518f54c-6985-42c0-8041-2bb16a414839" providerId="ADAL" clId="{9E52C8A6-326C-473A-BC21-4CED010AFA79}" dt="2023-09-06T18:04:43.089" v="18967"/>
          <ac:spMkLst>
            <pc:docMk/>
            <pc:sldMk cId="3795966898" sldId="267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04:43.091" v="18969"/>
          <ac:spMkLst>
            <pc:docMk/>
            <pc:sldMk cId="3795966898" sldId="267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04:43.091" v="18971"/>
          <ac:spMkLst>
            <pc:docMk/>
            <pc:sldMk cId="3795966898" sldId="267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04:43.095" v="18988"/>
          <ac:spMkLst>
            <pc:docMk/>
            <pc:sldMk cId="3795966898" sldId="267"/>
            <ac:spMk id="101" creationId="{C361570E-D74D-4E06-9637-1B0CF57D0B62}"/>
          </ac:spMkLst>
        </pc:spChg>
        <pc:spChg chg="mod ord">
          <ac:chgData name="Joelle Brehm" userId="a518f54c-6985-42c0-8041-2bb16a414839" providerId="ADAL" clId="{9E52C8A6-326C-473A-BC21-4CED010AFA79}" dt="2023-09-06T18:04:43.092" v="18973"/>
          <ac:spMkLst>
            <pc:docMk/>
            <pc:sldMk cId="3795966898" sldId="267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04:43.092" v="18975"/>
          <ac:spMkLst>
            <pc:docMk/>
            <pc:sldMk cId="3795966898" sldId="267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04:43.093" v="18977"/>
          <ac:spMkLst>
            <pc:docMk/>
            <pc:sldMk cId="3795966898" sldId="267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04:43.094" v="18982"/>
          <ac:spMkLst>
            <pc:docMk/>
            <pc:sldMk cId="3795966898" sldId="267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4:43.094" v="18981"/>
          <ac:spMkLst>
            <pc:docMk/>
            <pc:sldMk cId="3795966898" sldId="267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4:43.094" v="18984"/>
          <ac:spMkLst>
            <pc:docMk/>
            <pc:sldMk cId="3795966898" sldId="267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04:43.094" v="18980"/>
          <ac:spMkLst>
            <pc:docMk/>
            <pc:sldMk cId="3795966898" sldId="26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04:43.108" v="18996"/>
          <ac:graphicFrameMkLst>
            <pc:docMk/>
            <pc:sldMk cId="3795966898" sldId="26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02:49.679" v="17280"/>
          <ac:graphicFrameMkLst>
            <pc:docMk/>
            <pc:sldMk cId="3795966898" sldId="267"/>
            <ac:graphicFrameMk id="8" creationId="{9231F860-170B-43D6-133A-25E622D4D719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4:43.078" v="18929"/>
          <ac:graphicFrameMkLst>
            <pc:docMk/>
            <pc:sldMk cId="3795966898" sldId="267"/>
            <ac:graphicFrameMk id="9" creationId="{2553B2D3-FE3A-F9B9-CF27-FF773D7CF481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3:30.578" v="18263"/>
          <ac:graphicFrameMkLst>
            <pc:docMk/>
            <pc:sldMk cId="3795966898" sldId="267"/>
            <ac:graphicFrameMk id="47" creationId="{9FF957E4-31DB-BCB6-3EF4-821AF6A2E44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3:31.909" v="18488"/>
          <ac:graphicFrameMkLst>
            <pc:docMk/>
            <pc:sldMk cId="3795966898" sldId="267"/>
            <ac:graphicFrameMk id="51" creationId="{5A0C7A79-D276-2F81-B648-354A32C5C531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4:43.052" v="18915"/>
          <ac:graphicFrameMkLst>
            <pc:docMk/>
            <pc:sldMk cId="3795966898" sldId="267"/>
            <ac:graphicFrameMk id="53" creationId="{85CCD415-A2A4-F9F1-1795-9E66C18EA800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4:43.093" v="18979"/>
          <ac:graphicFrameMkLst>
            <pc:docMk/>
            <pc:sldMk cId="3795966898" sldId="267"/>
            <ac:graphicFrameMk id="55" creationId="{C5A8E46E-DCE4-136D-0561-21EE4261059E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3:29.194" v="18009"/>
          <ac:graphicFrameMkLst>
            <pc:docMk/>
            <pc:sldMk cId="3795966898" sldId="267"/>
            <ac:graphicFrameMk id="56" creationId="{B0FC0B96-639F-CFE1-7EC1-284E0DECF0D3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4:43.086" v="18953"/>
          <ac:graphicFrameMkLst>
            <pc:docMk/>
            <pc:sldMk cId="3795966898" sldId="267"/>
            <ac:graphicFrameMk id="58" creationId="{9A270030-586F-273A-1166-928486ED51E4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3:43.441" v="18760"/>
          <ac:graphicFrameMkLst>
            <pc:docMk/>
            <pc:sldMk cId="3795966898" sldId="267"/>
            <ac:graphicFrameMk id="60" creationId="{6DA72661-3AFA-C4E9-8271-D17DB30D3BCF}"/>
          </ac:graphicFrameMkLst>
        </pc:graphicFrameChg>
        <pc:picChg chg="del mod ord">
          <ac:chgData name="Joelle Brehm" userId="a518f54c-6985-42c0-8041-2bb16a414839" providerId="ADAL" clId="{9E52C8A6-326C-473A-BC21-4CED010AFA79}" dt="2023-09-06T18:03:13.222" v="17458" actId="478"/>
          <ac:picMkLst>
            <pc:docMk/>
            <pc:sldMk cId="3795966898" sldId="267"/>
            <ac:picMk id="10" creationId="{DF652FF3-E253-04C0-0904-C229139E9298}"/>
          </ac:picMkLst>
        </pc:picChg>
        <pc:picChg chg="add mod ord">
          <ac:chgData name="Joelle Brehm" userId="a518f54c-6985-42c0-8041-2bb16a414839" providerId="ADAL" clId="{9E52C8A6-326C-473A-BC21-4CED010AFA79}" dt="2023-09-06T18:04:43.077" v="18923"/>
          <ac:picMkLst>
            <pc:docMk/>
            <pc:sldMk cId="3795966898" sldId="267"/>
            <ac:picMk id="41" creationId="{70ABA03E-D8E1-7E57-10EF-E27FE5799DD1}"/>
          </ac:picMkLst>
        </pc:picChg>
        <pc:picChg chg="mod ord">
          <ac:chgData name="Joelle Brehm" userId="a518f54c-6985-42c0-8041-2bb16a414839" providerId="ADAL" clId="{9E52C8A6-326C-473A-BC21-4CED010AFA79}" dt="2023-09-06T18:04:43.095" v="18986"/>
          <ac:picMkLst>
            <pc:docMk/>
            <pc:sldMk cId="3795966898" sldId="26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04:43.078" v="18927"/>
          <ac:cxnSpMkLst>
            <pc:docMk/>
            <pc:sldMk cId="3795966898" sldId="26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07:52.967" v="20632"/>
        <pc:sldMkLst>
          <pc:docMk/>
          <pc:sldMk cId="622078465" sldId="269"/>
        </pc:sldMkLst>
        <pc:spChg chg="add del mod ord">
          <ac:chgData name="Joelle Brehm" userId="a518f54c-6985-42c0-8041-2bb16a414839" providerId="ADAL" clId="{9E52C8A6-326C-473A-BC21-4CED010AFA79}" dt="2023-09-06T18:07:28.571" v="19348" actId="478"/>
          <ac:spMkLst>
            <pc:docMk/>
            <pc:sldMk cId="622078465" sldId="269"/>
            <ac:spMk id="2" creationId="{29E9FFC1-5BF8-29D6-1FFB-B158F6C39FC0}"/>
          </ac:spMkLst>
        </pc:spChg>
        <pc:spChg chg="mod ord">
          <ac:chgData name="Joelle Brehm" userId="a518f54c-6985-42c0-8041-2bb16a414839" providerId="ADAL" clId="{9E52C8A6-326C-473A-BC21-4CED010AFA79}" dt="2023-09-06T18:07:52.947" v="20626"/>
          <ac:spMkLst>
            <pc:docMk/>
            <pc:sldMk cId="622078465" sldId="269"/>
            <ac:spMk id="3" creationId="{66BFCA7E-870A-4521-9A23-06C3E5565A60}"/>
          </ac:spMkLst>
        </pc:spChg>
        <pc:spChg chg="add del mod modVis">
          <ac:chgData name="Joelle Brehm" userId="a518f54c-6985-42c0-8041-2bb16a414839" providerId="ADAL" clId="{9E52C8A6-326C-473A-BC21-4CED010AFA79}" dt="2023-09-06T18:05:10.598" v="19259"/>
          <ac:spMkLst>
            <pc:docMk/>
            <pc:sldMk cId="622078465" sldId="269"/>
            <ac:spMk id="5" creationId="{AA39CFAF-6052-BDA0-9EAD-2052E7480A54}"/>
          </ac:spMkLst>
        </pc:spChg>
        <pc:spChg chg="mod ord">
          <ac:chgData name="Joelle Brehm" userId="a518f54c-6985-42c0-8041-2bb16a414839" providerId="ADAL" clId="{9E52C8A6-326C-473A-BC21-4CED010AFA79}" dt="2023-09-06T18:07:52.916" v="20561"/>
          <ac:spMkLst>
            <pc:docMk/>
            <pc:sldMk cId="622078465" sldId="269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07:52.934" v="20600"/>
          <ac:spMkLst>
            <pc:docMk/>
            <pc:sldMk cId="622078465" sldId="269"/>
            <ac:spMk id="10" creationId="{CFF90A3B-7535-49D8-D1C0-7CF80E96B3F2}"/>
          </ac:spMkLst>
        </pc:spChg>
        <pc:spChg chg="mod">
          <ac:chgData name="Joelle Brehm" userId="a518f54c-6985-42c0-8041-2bb16a414839" providerId="ADAL" clId="{9E52C8A6-326C-473A-BC21-4CED010AFA79}" dt="2023-09-06T18:07:52.921" v="20573"/>
          <ac:spMkLst>
            <pc:docMk/>
            <pc:sldMk cId="622078465" sldId="269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07:52.919" v="20568"/>
          <ac:spMkLst>
            <pc:docMk/>
            <pc:sldMk cId="622078465" sldId="269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07:52.920" v="20570"/>
          <ac:spMkLst>
            <pc:docMk/>
            <pc:sldMk cId="622078465" sldId="269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07:52.918" v="20566"/>
          <ac:spMkLst>
            <pc:docMk/>
            <pc:sldMk cId="622078465" sldId="269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07:52.919" v="20567"/>
          <ac:spMkLst>
            <pc:docMk/>
            <pc:sldMk cId="622078465" sldId="269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07:52.920" v="20571"/>
          <ac:spMkLst>
            <pc:docMk/>
            <pc:sldMk cId="622078465" sldId="269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07:52.921" v="20572"/>
          <ac:spMkLst>
            <pc:docMk/>
            <pc:sldMk cId="622078465" sldId="269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07:52.920" v="20569"/>
          <ac:spMkLst>
            <pc:docMk/>
            <pc:sldMk cId="622078465" sldId="269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07:52.922" v="20574"/>
          <ac:spMkLst>
            <pc:docMk/>
            <pc:sldMk cId="622078465" sldId="269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07:52.922" v="20575"/>
          <ac:spMkLst>
            <pc:docMk/>
            <pc:sldMk cId="622078465" sldId="269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07:52.923" v="20576"/>
          <ac:spMkLst>
            <pc:docMk/>
            <pc:sldMk cId="622078465" sldId="269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07:52.923" v="20577"/>
          <ac:spMkLst>
            <pc:docMk/>
            <pc:sldMk cId="622078465" sldId="269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07:52.924" v="20579"/>
          <ac:spMkLst>
            <pc:docMk/>
            <pc:sldMk cId="622078465" sldId="269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07:52.926" v="20582"/>
          <ac:spMkLst>
            <pc:docMk/>
            <pc:sldMk cId="622078465" sldId="269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07:52.925" v="20581"/>
          <ac:spMkLst>
            <pc:docMk/>
            <pc:sldMk cId="622078465" sldId="269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07:52.925" v="20580"/>
          <ac:spMkLst>
            <pc:docMk/>
            <pc:sldMk cId="622078465" sldId="269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07:52.927" v="20584"/>
          <ac:spMkLst>
            <pc:docMk/>
            <pc:sldMk cId="622078465" sldId="269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07:52.926" v="20583"/>
          <ac:spMkLst>
            <pc:docMk/>
            <pc:sldMk cId="622078465" sldId="269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07:52.927" v="20585"/>
          <ac:spMkLst>
            <pc:docMk/>
            <pc:sldMk cId="622078465" sldId="269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07:52.928" v="20587"/>
          <ac:spMkLst>
            <pc:docMk/>
            <pc:sldMk cId="622078465" sldId="269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8:07:52.932" v="20597"/>
          <ac:spMkLst>
            <pc:docMk/>
            <pc:sldMk cId="622078465" sldId="269"/>
            <ac:spMk id="32" creationId="{9A01FB5B-0E62-E87C-7816-7F3ACB49F42E}"/>
          </ac:spMkLst>
        </pc:spChg>
        <pc:spChg chg="mod">
          <ac:chgData name="Joelle Brehm" userId="a518f54c-6985-42c0-8041-2bb16a414839" providerId="ADAL" clId="{9E52C8A6-326C-473A-BC21-4CED010AFA79}" dt="2023-09-06T18:07:52.932" v="20598"/>
          <ac:spMkLst>
            <pc:docMk/>
            <pc:sldMk cId="622078465" sldId="269"/>
            <ac:spMk id="33" creationId="{9A566DA3-8FEF-C899-7B5C-813112FBA28E}"/>
          </ac:spMkLst>
        </pc:spChg>
        <pc:spChg chg="mod">
          <ac:chgData name="Joelle Brehm" userId="a518f54c-6985-42c0-8041-2bb16a414839" providerId="ADAL" clId="{9E52C8A6-326C-473A-BC21-4CED010AFA79}" dt="2023-09-06T18:07:52.932" v="20596"/>
          <ac:spMkLst>
            <pc:docMk/>
            <pc:sldMk cId="622078465" sldId="269"/>
            <ac:spMk id="34" creationId="{361A309D-582A-9EF2-AAA6-D0365E1E80AF}"/>
          </ac:spMkLst>
        </pc:spChg>
        <pc:spChg chg="mod">
          <ac:chgData name="Joelle Brehm" userId="a518f54c-6985-42c0-8041-2bb16a414839" providerId="ADAL" clId="{9E52C8A6-326C-473A-BC21-4CED010AFA79}" dt="2023-09-06T18:07:52.934" v="20601"/>
          <ac:spMkLst>
            <pc:docMk/>
            <pc:sldMk cId="622078465" sldId="269"/>
            <ac:spMk id="37" creationId="{427BEB13-0488-F942-6529-D086649DCC24}"/>
          </ac:spMkLst>
        </pc:spChg>
        <pc:spChg chg="add mod replST">
          <ac:chgData name="Joelle Brehm" userId="a518f54c-6985-42c0-8041-2bb16a414839" providerId="ADAL" clId="{9E52C8A6-326C-473A-BC21-4CED010AFA79}" dt="2023-09-06T18:07:52.934" v="20599"/>
          <ac:spMkLst>
            <pc:docMk/>
            <pc:sldMk cId="622078465" sldId="269"/>
            <ac:spMk id="38" creationId="{81A34C8B-3AB7-1E3C-EABE-00492913B3D2}"/>
          </ac:spMkLst>
        </pc:spChg>
        <pc:spChg chg="add del mod modVis">
          <ac:chgData name="Joelle Brehm" userId="a518f54c-6985-42c0-8041-2bb16a414839" providerId="ADAL" clId="{9E52C8A6-326C-473A-BC21-4CED010AFA79}" dt="2023-09-06T18:07:34.831" v="19773"/>
          <ac:spMkLst>
            <pc:docMk/>
            <pc:sldMk cId="622078465" sldId="269"/>
            <ac:spMk id="39" creationId="{AE142A8C-6BE2-FAE0-A500-A52C6AEF18E7}"/>
          </ac:spMkLst>
        </pc:spChg>
        <pc:spChg chg="add del mod modVis">
          <ac:chgData name="Joelle Brehm" userId="a518f54c-6985-42c0-8041-2bb16a414839" providerId="ADAL" clId="{9E52C8A6-326C-473A-BC21-4CED010AFA79}" dt="2023-09-06T18:07:38.296" v="20045"/>
          <ac:spMkLst>
            <pc:docMk/>
            <pc:sldMk cId="622078465" sldId="269"/>
            <ac:spMk id="41" creationId="{61104082-0B28-5C67-3DA9-7BEE3A7A046B}"/>
          </ac:spMkLst>
        </pc:spChg>
        <pc:spChg chg="add del mod ord replST">
          <ac:chgData name="Joelle Brehm" userId="a518f54c-6985-42c0-8041-2bb16a414839" providerId="ADAL" clId="{9E52C8A6-326C-473A-BC21-4CED010AFA79}" dt="2023-09-06T18:07:47.116" v="20320"/>
          <ac:spMkLst>
            <pc:docMk/>
            <pc:sldMk cId="622078465" sldId="269"/>
            <ac:spMk id="42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07:39.581" v="20246"/>
          <ac:spMkLst>
            <pc:docMk/>
            <pc:sldMk cId="622078465" sldId="269"/>
            <ac:spMk id="44" creationId="{79EE97A1-B17B-106E-DC61-DC7C6ED3AC00}"/>
          </ac:spMkLst>
        </pc:spChg>
        <pc:spChg chg="add del mod modVis">
          <ac:chgData name="Joelle Brehm" userId="a518f54c-6985-42c0-8041-2bb16a414839" providerId="ADAL" clId="{9E52C8A6-326C-473A-BC21-4CED010AFA79}" dt="2023-09-06T18:07:47.172" v="20401"/>
          <ac:spMkLst>
            <pc:docMk/>
            <pc:sldMk cId="622078465" sldId="269"/>
            <ac:spMk id="46" creationId="{AB349464-54F2-F6A6-0E00-A86D61CB9CE8}"/>
          </ac:spMkLst>
        </pc:spChg>
        <pc:spChg chg="add del mod modVis">
          <ac:chgData name="Joelle Brehm" userId="a518f54c-6985-42c0-8041-2bb16a414839" providerId="ADAL" clId="{9E52C8A6-326C-473A-BC21-4CED010AFA79}" dt="2023-09-06T18:07:52.950" v="20630"/>
          <ac:spMkLst>
            <pc:docMk/>
            <pc:sldMk cId="622078465" sldId="269"/>
            <ac:spMk id="48" creationId="{E4A8F9A3-C14F-50C5-64E3-21988C0942AC}"/>
          </ac:spMkLst>
        </pc:spChg>
        <pc:spChg chg="mod ord">
          <ac:chgData name="Joelle Brehm" userId="a518f54c-6985-42c0-8041-2bb16a414839" providerId="ADAL" clId="{9E52C8A6-326C-473A-BC21-4CED010AFA79}" dt="2023-09-06T18:07:52.946" v="20624"/>
          <ac:spMkLst>
            <pc:docMk/>
            <pc:sldMk cId="622078465" sldId="269"/>
            <ac:spMk id="58" creationId="{DE30E202-4F7F-4F3B-9EFE-7D4BC4CEE791}"/>
          </ac:spMkLst>
        </pc:spChg>
        <pc:spChg chg="mod ord">
          <ac:chgData name="Joelle Brehm" userId="a518f54c-6985-42c0-8041-2bb16a414839" providerId="ADAL" clId="{9E52C8A6-326C-473A-BC21-4CED010AFA79}" dt="2023-09-06T18:07:52.935" v="20603"/>
          <ac:spMkLst>
            <pc:docMk/>
            <pc:sldMk cId="622078465" sldId="269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07:52.936" v="20605"/>
          <ac:spMkLst>
            <pc:docMk/>
            <pc:sldMk cId="622078465" sldId="269"/>
            <ac:spMk id="79" creationId="{F1476AC4-694B-4D83-BFD8-8DCAA4BB1923}"/>
          </ac:spMkLst>
        </pc:spChg>
        <pc:spChg chg="del mod">
          <ac:chgData name="Joelle Brehm" userId="a518f54c-6985-42c0-8041-2bb16a414839" providerId="ADAL" clId="{9E52C8A6-326C-473A-BC21-4CED010AFA79}" dt="2023-09-06T18:07:39.375" v="20048"/>
          <ac:spMkLst>
            <pc:docMk/>
            <pc:sldMk cId="622078465" sldId="269"/>
            <ac:spMk id="8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29" v="20590"/>
          <ac:spMkLst>
            <pc:docMk/>
            <pc:sldMk cId="622078465" sldId="269"/>
            <ac:spMk id="8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30" v="20591"/>
          <ac:spMkLst>
            <pc:docMk/>
            <pc:sldMk cId="622078465" sldId="269"/>
            <ac:spMk id="8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31" v="20593"/>
          <ac:spMkLst>
            <pc:docMk/>
            <pc:sldMk cId="622078465" sldId="269"/>
            <ac:spMk id="8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31" v="20594"/>
          <ac:spMkLst>
            <pc:docMk/>
            <pc:sldMk cId="622078465" sldId="269"/>
            <ac:spMk id="8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30" v="20592"/>
          <ac:spMkLst>
            <pc:docMk/>
            <pc:sldMk cId="622078465" sldId="269"/>
            <ac:spMk id="8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31" v="20595"/>
          <ac:spMkLst>
            <pc:docMk/>
            <pc:sldMk cId="622078465" sldId="269"/>
            <ac:spMk id="88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07:52.937" v="20607"/>
          <ac:spMkLst>
            <pc:docMk/>
            <pc:sldMk cId="622078465" sldId="269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07:52.938" v="20609"/>
          <ac:spMkLst>
            <pc:docMk/>
            <pc:sldMk cId="622078465" sldId="269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07:52.939" v="20611"/>
          <ac:spMkLst>
            <pc:docMk/>
            <pc:sldMk cId="622078465" sldId="269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07:52.940" v="20613"/>
          <ac:spMkLst>
            <pc:docMk/>
            <pc:sldMk cId="622078465" sldId="269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07:52.943" v="20618"/>
          <ac:spMkLst>
            <pc:docMk/>
            <pc:sldMk cId="622078465" sldId="269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42" v="20617"/>
          <ac:spMkLst>
            <pc:docMk/>
            <pc:sldMk cId="622078465" sldId="269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42" v="20616"/>
          <ac:spMkLst>
            <pc:docMk/>
            <pc:sldMk cId="622078465" sldId="269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07:52.943" v="20619"/>
          <ac:spMkLst>
            <pc:docMk/>
            <pc:sldMk cId="622078465" sldId="269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07:52.944" v="20620"/>
          <ac:spMkLst>
            <pc:docMk/>
            <pc:sldMk cId="622078465" sldId="26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07:52.967" v="20632"/>
          <ac:graphicFrameMkLst>
            <pc:docMk/>
            <pc:sldMk cId="622078465" sldId="26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05:10.445" v="19174"/>
          <ac:graphicFrameMkLst>
            <pc:docMk/>
            <pc:sldMk cId="622078465" sldId="269"/>
            <ac:graphicFrameMk id="8" creationId="{648AF692-6ACB-4AE7-A4A2-A5FE0B032DC9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7:52.917" v="20565"/>
          <ac:graphicFrameMkLst>
            <pc:docMk/>
            <pc:sldMk cId="622078465" sldId="269"/>
            <ac:graphicFrameMk id="9" creationId="{538C82C3-02EB-21CB-9E49-16F736B5C0C2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7:52.874" v="20551"/>
          <ac:graphicFrameMkLst>
            <pc:docMk/>
            <pc:sldMk cId="622078465" sldId="269"/>
            <ac:graphicFrameMk id="36" creationId="{5CCD51D7-E9FC-6A4C-CDB5-1B793D43501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7:38.190" v="19941"/>
          <ac:graphicFrameMkLst>
            <pc:docMk/>
            <pc:sldMk cId="622078465" sldId="269"/>
            <ac:graphicFrameMk id="40" creationId="{48726067-6862-F459-7AE1-C4B1C513496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7:39.514" v="20165"/>
          <ac:graphicFrameMkLst>
            <pc:docMk/>
            <pc:sldMk cId="622078465" sldId="269"/>
            <ac:graphicFrameMk id="43" creationId="{C2CFF464-B1A9-EC8A-8ED7-9576C405C11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7:47.118" v="20322"/>
          <ac:graphicFrameMkLst>
            <pc:docMk/>
            <pc:sldMk cId="622078465" sldId="269"/>
            <ac:graphicFrameMk id="45" creationId="{FD2C905F-731B-9F7A-D5DB-54D35C7E1639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7:52.929" v="20589"/>
          <ac:graphicFrameMkLst>
            <pc:docMk/>
            <pc:sldMk cId="622078465" sldId="269"/>
            <ac:graphicFrameMk id="47" creationId="{70166349-6800-06A0-F1BC-9556E443D97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07:52.941" v="20615"/>
          <ac:graphicFrameMkLst>
            <pc:docMk/>
            <pc:sldMk cId="622078465" sldId="269"/>
            <ac:graphicFrameMk id="49" creationId="{7C7F5B47-D865-A58F-B962-D03565E34CD7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7:34.710" v="19685"/>
          <ac:graphicFrameMkLst>
            <pc:docMk/>
            <pc:sldMk cId="622078465" sldId="269"/>
            <ac:graphicFrameMk id="52" creationId="{F2DE7321-F7C2-A3AA-8EAD-C66E5AAE0F0A}"/>
          </ac:graphicFrameMkLst>
        </pc:graphicFrameChg>
        <pc:picChg chg="del mod ord">
          <ac:chgData name="Joelle Brehm" userId="a518f54c-6985-42c0-8041-2bb16a414839" providerId="ADAL" clId="{9E52C8A6-326C-473A-BC21-4CED010AFA79}" dt="2023-09-06T18:07:23.736" v="19347" actId="478"/>
          <ac:picMkLst>
            <pc:docMk/>
            <pc:sldMk cId="622078465" sldId="269"/>
            <ac:picMk id="31" creationId="{7C67CD3D-030C-DB21-FC07-AF8527D12D3C}"/>
          </ac:picMkLst>
        </pc:picChg>
        <pc:picChg chg="add mod ord">
          <ac:chgData name="Joelle Brehm" userId="a518f54c-6985-42c0-8041-2bb16a414839" providerId="ADAL" clId="{9E52C8A6-326C-473A-BC21-4CED010AFA79}" dt="2023-09-06T18:07:52.915" v="20559"/>
          <ac:picMkLst>
            <pc:docMk/>
            <pc:sldMk cId="622078465" sldId="269"/>
            <ac:picMk id="35" creationId="{71204811-7C68-4A99-4E10-4B87B82864BB}"/>
          </ac:picMkLst>
        </pc:picChg>
        <pc:picChg chg="mod ord">
          <ac:chgData name="Joelle Brehm" userId="a518f54c-6985-42c0-8041-2bb16a414839" providerId="ADAL" clId="{9E52C8A6-326C-473A-BC21-4CED010AFA79}" dt="2023-09-06T18:07:52.945" v="20622"/>
          <ac:picMkLst>
            <pc:docMk/>
            <pc:sldMk cId="622078465" sldId="26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07:52.917" v="20563"/>
          <ac:cxnSpMkLst>
            <pc:docMk/>
            <pc:sldMk cId="622078465" sldId="26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28:37.330" v="41893" actId="1035"/>
        <pc:sldMkLst>
          <pc:docMk/>
          <pc:sldMk cId="1002023985" sldId="270"/>
        </pc:sldMkLst>
        <pc:spChg chg="mod ord">
          <ac:chgData name="Joelle Brehm" userId="a518f54c-6985-42c0-8041-2bb16a414839" providerId="ADAL" clId="{9E52C8A6-326C-473A-BC21-4CED010AFA79}" dt="2023-09-06T18:26:00.746" v="41475"/>
          <ac:spMkLst>
            <pc:docMk/>
            <pc:sldMk cId="1002023985" sldId="270"/>
            <ac:spMk id="2" creationId="{2799481D-3313-41C1-9238-7B9AB0AAF857}"/>
          </ac:spMkLst>
        </pc:spChg>
        <pc:spChg chg="add del mod ord">
          <ac:chgData name="Joelle Brehm" userId="a518f54c-6985-42c0-8041-2bb16a414839" providerId="ADAL" clId="{9E52C8A6-326C-473A-BC21-4CED010AFA79}" dt="2023-09-06T18:25:26.141" v="39257" actId="478"/>
          <ac:spMkLst>
            <pc:docMk/>
            <pc:sldMk cId="1002023985" sldId="270"/>
            <ac:spMk id="3" creationId="{76665D14-3C9E-5FED-D02B-38B559CFB554}"/>
          </ac:spMkLst>
        </pc:spChg>
        <pc:spChg chg="add del">
          <ac:chgData name="Joelle Brehm" userId="a518f54c-6985-42c0-8041-2bb16a414839" providerId="ADAL" clId="{9E52C8A6-326C-473A-BC21-4CED010AFA79}" dt="2023-09-06T18:28:27.519" v="41890"/>
          <ac:spMkLst>
            <pc:docMk/>
            <pc:sldMk cId="1002023985" sldId="270"/>
            <ac:spMk id="5" creationId="{2603A325-CE94-BE52-D662-903F9B630081}"/>
          </ac:spMkLst>
        </pc:spChg>
        <pc:spChg chg="mod ord">
          <ac:chgData name="Joelle Brehm" userId="a518f54c-6985-42c0-8041-2bb16a414839" providerId="ADAL" clId="{9E52C8A6-326C-473A-BC21-4CED010AFA79}" dt="2023-09-06T18:26:00.721" v="41390"/>
          <ac:spMkLst>
            <pc:docMk/>
            <pc:sldMk cId="1002023985" sldId="27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9E52C8A6-326C-473A-BC21-4CED010AFA79}" dt="2023-09-06T18:25:02.629" v="39138"/>
          <ac:spMkLst>
            <pc:docMk/>
            <pc:sldMk cId="1002023985" sldId="270"/>
            <ac:spMk id="9" creationId="{DD4C6EAB-44EC-50BB-50B0-4CF1B3DC61F6}"/>
          </ac:spMkLst>
        </pc:spChg>
        <pc:spChg chg="mod">
          <ac:chgData name="Joelle Brehm" userId="a518f54c-6985-42c0-8041-2bb16a414839" providerId="ADAL" clId="{9E52C8A6-326C-473A-BC21-4CED010AFA79}" dt="2023-09-06T18:26:00.736" v="41443"/>
          <ac:spMkLst>
            <pc:docMk/>
            <pc:sldMk cId="1002023985" sldId="270"/>
            <ac:spMk id="10" creationId="{005A233C-F3E6-A155-B896-0750C255C0C7}"/>
          </ac:spMkLst>
        </pc:spChg>
        <pc:spChg chg="mod">
          <ac:chgData name="Joelle Brehm" userId="a518f54c-6985-42c0-8041-2bb16a414839" providerId="ADAL" clId="{9E52C8A6-326C-473A-BC21-4CED010AFA79}" dt="2023-09-06T18:26:00.722" v="41399"/>
          <ac:spMkLst>
            <pc:docMk/>
            <pc:sldMk cId="1002023985" sldId="270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26:00.722" v="41398"/>
          <ac:spMkLst>
            <pc:docMk/>
            <pc:sldMk cId="1002023985" sldId="270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26:00.724" v="41400"/>
          <ac:spMkLst>
            <pc:docMk/>
            <pc:sldMk cId="1002023985" sldId="270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26:00.722" v="41396"/>
          <ac:spMkLst>
            <pc:docMk/>
            <pc:sldMk cId="1002023985" sldId="270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26:00.722" v="41397"/>
          <ac:spMkLst>
            <pc:docMk/>
            <pc:sldMk cId="1002023985" sldId="270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26:00.724" v="41403"/>
          <ac:spMkLst>
            <pc:docMk/>
            <pc:sldMk cId="1002023985" sldId="270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26:00.724" v="41402"/>
          <ac:spMkLst>
            <pc:docMk/>
            <pc:sldMk cId="1002023985" sldId="270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26:00.724" v="41401"/>
          <ac:spMkLst>
            <pc:docMk/>
            <pc:sldMk cId="1002023985" sldId="270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26:00.724" v="41404"/>
          <ac:spMkLst>
            <pc:docMk/>
            <pc:sldMk cId="1002023985" sldId="270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26:00.724" v="41405"/>
          <ac:spMkLst>
            <pc:docMk/>
            <pc:sldMk cId="1002023985" sldId="270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26:00.725" v="41406"/>
          <ac:spMkLst>
            <pc:docMk/>
            <pc:sldMk cId="1002023985" sldId="270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26:00.722" v="41395"/>
          <ac:spMkLst>
            <pc:docMk/>
            <pc:sldMk cId="1002023985" sldId="270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26:00.725" v="41408"/>
          <ac:spMkLst>
            <pc:docMk/>
            <pc:sldMk cId="1002023985" sldId="270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26:00.727" v="41412"/>
          <ac:spMkLst>
            <pc:docMk/>
            <pc:sldMk cId="1002023985" sldId="270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26:00.727" v="41409"/>
          <ac:spMkLst>
            <pc:docMk/>
            <pc:sldMk cId="1002023985" sldId="270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26:00.727" v="41413"/>
          <ac:spMkLst>
            <pc:docMk/>
            <pc:sldMk cId="1002023985" sldId="270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26:00.727" v="41415"/>
          <ac:spMkLst>
            <pc:docMk/>
            <pc:sldMk cId="1002023985" sldId="270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26:00.727" v="41414"/>
          <ac:spMkLst>
            <pc:docMk/>
            <pc:sldMk cId="1002023985" sldId="270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26:00.728" v="41416"/>
          <ac:spMkLst>
            <pc:docMk/>
            <pc:sldMk cId="1002023985" sldId="270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26:00.728" v="41419"/>
          <ac:spMkLst>
            <pc:docMk/>
            <pc:sldMk cId="1002023985" sldId="270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25:40.343" v="39939"/>
          <ac:spMkLst>
            <pc:docMk/>
            <pc:sldMk cId="1002023985" sldId="270"/>
            <ac:spMk id="31" creationId="{2B843E61-16B1-B2FE-A419-E688DD153EE9}"/>
          </ac:spMkLst>
        </pc:spChg>
        <pc:spChg chg="del mod">
          <ac:chgData name="Joelle Brehm" userId="a518f54c-6985-42c0-8041-2bb16a414839" providerId="ADAL" clId="{9E52C8A6-326C-473A-BC21-4CED010AFA79}" dt="2023-09-06T18:25:40.342" v="39938"/>
          <ac:spMkLst>
            <pc:docMk/>
            <pc:sldMk cId="1002023985" sldId="270"/>
            <ac:spMk id="32" creationId="{0BE92A1F-B2E2-867E-0B96-57FFDAFB5078}"/>
          </ac:spMkLst>
        </pc:spChg>
        <pc:spChg chg="mod">
          <ac:chgData name="Joelle Brehm" userId="a518f54c-6985-42c0-8041-2bb16a414839" providerId="ADAL" clId="{9E52C8A6-326C-473A-BC21-4CED010AFA79}" dt="2023-09-06T18:26:00.736" v="41442"/>
          <ac:spMkLst>
            <pc:docMk/>
            <pc:sldMk cId="1002023985" sldId="270"/>
            <ac:spMk id="33" creationId="{F76D64DC-4154-E4CF-EF48-9A68CB6317E4}"/>
          </ac:spMkLst>
        </pc:spChg>
        <pc:spChg chg="mod">
          <ac:chgData name="Joelle Brehm" userId="a518f54c-6985-42c0-8041-2bb16a414839" providerId="ADAL" clId="{9E52C8A6-326C-473A-BC21-4CED010AFA79}" dt="2023-09-06T18:26:00.733" v="41433"/>
          <ac:spMkLst>
            <pc:docMk/>
            <pc:sldMk cId="1002023985" sldId="270"/>
            <ac:spMk id="34" creationId="{9648527B-C461-9A7E-67C5-5AEE8C3C47B5}"/>
          </ac:spMkLst>
        </pc:spChg>
        <pc:spChg chg="mod ord">
          <ac:chgData name="Joelle Brehm" userId="a518f54c-6985-42c0-8041-2bb16a414839" providerId="ADAL" clId="{9E52C8A6-326C-473A-BC21-4CED010AFA79}" dt="2023-09-06T18:26:00.732" v="41432"/>
          <ac:spMkLst>
            <pc:docMk/>
            <pc:sldMk cId="1002023985" sldId="270"/>
            <ac:spMk id="35" creationId="{3A6B1803-B9A1-DDD4-5DB0-ABDF3CF4E32A}"/>
          </ac:spMkLst>
        </pc:spChg>
        <pc:spChg chg="mod">
          <ac:chgData name="Joelle Brehm" userId="a518f54c-6985-42c0-8041-2bb16a414839" providerId="ADAL" clId="{9E52C8A6-326C-473A-BC21-4CED010AFA79}" dt="2023-09-06T18:26:00.734" v="41436"/>
          <ac:spMkLst>
            <pc:docMk/>
            <pc:sldMk cId="1002023985" sldId="270"/>
            <ac:spMk id="36" creationId="{B9E85673-A016-FD47-D855-2636CEA1CAF9}"/>
          </ac:spMkLst>
        </pc:spChg>
        <pc:spChg chg="mod ord">
          <ac:chgData name="Joelle Brehm" userId="a518f54c-6985-42c0-8041-2bb16a414839" providerId="ADAL" clId="{9E52C8A6-326C-473A-BC21-4CED010AFA79}" dt="2023-09-06T18:26:00.727" v="41411"/>
          <ac:spMkLst>
            <pc:docMk/>
            <pc:sldMk cId="1002023985" sldId="270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26:00.734" v="41435"/>
          <ac:spMkLst>
            <pc:docMk/>
            <pc:sldMk cId="1002023985" sldId="270"/>
            <ac:spMk id="38" creationId="{BFB43E9F-8A28-BC24-B4D3-15951BA92D58}"/>
          </ac:spMkLst>
        </pc:spChg>
        <pc:spChg chg="mod">
          <ac:chgData name="Joelle Brehm" userId="a518f54c-6985-42c0-8041-2bb16a414839" providerId="ADAL" clId="{9E52C8A6-326C-473A-BC21-4CED010AFA79}" dt="2023-09-06T18:26:00.735" v="41437"/>
          <ac:spMkLst>
            <pc:docMk/>
            <pc:sldMk cId="1002023985" sldId="270"/>
            <ac:spMk id="39" creationId="{5A7D87EE-5E78-D677-2C56-AEF290436EA5}"/>
          </ac:spMkLst>
        </pc:spChg>
        <pc:spChg chg="mod">
          <ac:chgData name="Joelle Brehm" userId="a518f54c-6985-42c0-8041-2bb16a414839" providerId="ADAL" clId="{9E52C8A6-326C-473A-BC21-4CED010AFA79}" dt="2023-09-06T18:26:00.730" v="41426"/>
          <ac:spMkLst>
            <pc:docMk/>
            <pc:sldMk cId="1002023985" sldId="270"/>
            <ac:spMk id="40" creationId="{976E98D4-3DE4-DCEF-3711-E5DC7ED75881}"/>
          </ac:spMkLst>
        </pc:spChg>
        <pc:spChg chg="mod">
          <ac:chgData name="Joelle Brehm" userId="a518f54c-6985-42c0-8041-2bb16a414839" providerId="ADAL" clId="{9E52C8A6-326C-473A-BC21-4CED010AFA79}" dt="2023-09-06T18:26:00.735" v="41439"/>
          <ac:spMkLst>
            <pc:docMk/>
            <pc:sldMk cId="1002023985" sldId="270"/>
            <ac:spMk id="41" creationId="{51DF5FF8-D483-FA48-6208-139CC6F687D3}"/>
          </ac:spMkLst>
        </pc:spChg>
        <pc:spChg chg="mod">
          <ac:chgData name="Joelle Brehm" userId="a518f54c-6985-42c0-8041-2bb16a414839" providerId="ADAL" clId="{9E52C8A6-326C-473A-BC21-4CED010AFA79}" dt="2023-09-06T18:26:00.735" v="41438"/>
          <ac:spMkLst>
            <pc:docMk/>
            <pc:sldMk cId="1002023985" sldId="270"/>
            <ac:spMk id="42" creationId="{3BDE8438-BE43-A39C-7A23-D065E304ECE9}"/>
          </ac:spMkLst>
        </pc:spChg>
        <pc:spChg chg="mod">
          <ac:chgData name="Joelle Brehm" userId="a518f54c-6985-42c0-8041-2bb16a414839" providerId="ADAL" clId="{9E52C8A6-326C-473A-BC21-4CED010AFA79}" dt="2023-09-06T18:26:00.736" v="41441"/>
          <ac:spMkLst>
            <pc:docMk/>
            <pc:sldMk cId="1002023985" sldId="270"/>
            <ac:spMk id="43" creationId="{29357330-070C-17EC-0CAB-CAD445419341}"/>
          </ac:spMkLst>
        </pc:spChg>
        <pc:spChg chg="mod ord">
          <ac:chgData name="Joelle Brehm" userId="a518f54c-6985-42c0-8041-2bb16a414839" providerId="ADAL" clId="{9E52C8A6-326C-473A-BC21-4CED010AFA79}" dt="2023-09-06T18:26:00.736" v="41440"/>
          <ac:spMkLst>
            <pc:docMk/>
            <pc:sldMk cId="1002023985" sldId="270"/>
            <ac:spMk id="44" creationId="{D21335E5-EBC4-9286-DD2D-7735A09D41EB}"/>
          </ac:spMkLst>
        </pc:spChg>
        <pc:spChg chg="mod">
          <ac:chgData name="Joelle Brehm" userId="a518f54c-6985-42c0-8041-2bb16a414839" providerId="ADAL" clId="{9E52C8A6-326C-473A-BC21-4CED010AFA79}" dt="2023-09-06T18:26:00.731" v="41429"/>
          <ac:spMkLst>
            <pc:docMk/>
            <pc:sldMk cId="1002023985" sldId="270"/>
            <ac:spMk id="46" creationId="{25944032-4776-632B-7FEC-F3C2EE42ED40}"/>
          </ac:spMkLst>
        </pc:spChg>
        <pc:spChg chg="mod">
          <ac:chgData name="Joelle Brehm" userId="a518f54c-6985-42c0-8041-2bb16a414839" providerId="ADAL" clId="{9E52C8A6-326C-473A-BC21-4CED010AFA79}" dt="2023-09-06T18:26:00.731" v="41428"/>
          <ac:spMkLst>
            <pc:docMk/>
            <pc:sldMk cId="1002023985" sldId="270"/>
            <ac:spMk id="47" creationId="{25C83EAD-5CCA-7A70-4E4D-DAF180D36579}"/>
          </ac:spMkLst>
        </pc:spChg>
        <pc:spChg chg="mod ord">
          <ac:chgData name="Joelle Brehm" userId="a518f54c-6985-42c0-8041-2bb16a414839" providerId="ADAL" clId="{9E52C8A6-326C-473A-BC21-4CED010AFA79}" dt="2023-09-06T18:26:00.738" v="41449"/>
          <ac:spMkLst>
            <pc:docMk/>
            <pc:sldMk cId="1002023985" sldId="270"/>
            <ac:spMk id="48" creationId="{6B485F64-D882-03C4-1207-7FC065D51BB7}"/>
          </ac:spMkLst>
        </pc:spChg>
        <pc:spChg chg="mod">
          <ac:chgData name="Joelle Brehm" userId="a518f54c-6985-42c0-8041-2bb16a414839" providerId="ADAL" clId="{9E52C8A6-326C-473A-BC21-4CED010AFA79}" dt="2023-09-06T18:26:00.739" v="41450"/>
          <ac:spMkLst>
            <pc:docMk/>
            <pc:sldMk cId="1002023985" sldId="270"/>
            <ac:spMk id="49" creationId="{AFA856A8-AC0D-8180-7227-C9FAF251C3DF}"/>
          </ac:spMkLst>
        </pc:spChg>
        <pc:spChg chg="mod">
          <ac:chgData name="Joelle Brehm" userId="a518f54c-6985-42c0-8041-2bb16a414839" providerId="ADAL" clId="{9E52C8A6-326C-473A-BC21-4CED010AFA79}" dt="2023-09-06T18:26:00.737" v="41446"/>
          <ac:spMkLst>
            <pc:docMk/>
            <pc:sldMk cId="1002023985" sldId="270"/>
            <ac:spMk id="50" creationId="{3E1A03AC-31E8-687C-FBE0-7C7D66E5248D}"/>
          </ac:spMkLst>
        </pc:spChg>
        <pc:spChg chg="mod">
          <ac:chgData name="Joelle Brehm" userId="a518f54c-6985-42c0-8041-2bb16a414839" providerId="ADAL" clId="{9E52C8A6-326C-473A-BC21-4CED010AFA79}" dt="2023-09-06T18:26:00.737" v="41444"/>
          <ac:spMkLst>
            <pc:docMk/>
            <pc:sldMk cId="1002023985" sldId="270"/>
            <ac:spMk id="51" creationId="{9459FE82-DBC5-AAD1-46F4-768D76416103}"/>
          </ac:spMkLst>
        </pc:spChg>
        <pc:spChg chg="mod ord">
          <ac:chgData name="Joelle Brehm" userId="a518f54c-6985-42c0-8041-2bb16a414839" providerId="ADAL" clId="{9E52C8A6-326C-473A-BC21-4CED010AFA79}" dt="2023-09-06T18:26:00.737" v="41445"/>
          <ac:spMkLst>
            <pc:docMk/>
            <pc:sldMk cId="1002023985" sldId="270"/>
            <ac:spMk id="52" creationId="{CDAA8CD8-B796-5FFD-8D34-2773F7AB7F1D}"/>
          </ac:spMkLst>
        </pc:spChg>
        <pc:spChg chg="add mod replST">
          <ac:chgData name="Joelle Brehm" userId="a518f54c-6985-42c0-8041-2bb16a414839" providerId="ADAL" clId="{9E52C8A6-326C-473A-BC21-4CED010AFA79}" dt="2023-09-06T18:26:00.731" v="41427"/>
          <ac:spMkLst>
            <pc:docMk/>
            <pc:sldMk cId="1002023985" sldId="270"/>
            <ac:spMk id="55" creationId="{E5519A9A-9BE6-DCEA-87DD-CC3F6748DE83}"/>
          </ac:spMkLst>
        </pc:spChg>
        <pc:spChg chg="mod">
          <ac:chgData name="Joelle Brehm" userId="a518f54c-6985-42c0-8041-2bb16a414839" providerId="ADAL" clId="{9E52C8A6-326C-473A-BC21-4CED010AFA79}" dt="2023-09-06T18:26:00.732" v="41430"/>
          <ac:spMkLst>
            <pc:docMk/>
            <pc:sldMk cId="1002023985" sldId="270"/>
            <ac:spMk id="56" creationId="{25954F1B-A0EF-892A-6914-029FB8F9549A}"/>
          </ac:spMkLst>
        </pc:spChg>
        <pc:spChg chg="mod">
          <ac:chgData name="Joelle Brehm" userId="a518f54c-6985-42c0-8041-2bb16a414839" providerId="ADAL" clId="{9E52C8A6-326C-473A-BC21-4CED010AFA79}" dt="2023-09-06T18:26:00.738" v="41448"/>
          <ac:spMkLst>
            <pc:docMk/>
            <pc:sldMk cId="1002023985" sldId="270"/>
            <ac:spMk id="57" creationId="{6DDB8F5E-76BA-9344-5233-A9117AC03BC1}"/>
          </ac:spMkLst>
        </pc:spChg>
        <pc:spChg chg="mod">
          <ac:chgData name="Joelle Brehm" userId="a518f54c-6985-42c0-8041-2bb16a414839" providerId="ADAL" clId="{9E52C8A6-326C-473A-BC21-4CED010AFA79}" dt="2023-09-06T18:26:00.738" v="41447"/>
          <ac:spMkLst>
            <pc:docMk/>
            <pc:sldMk cId="1002023985" sldId="270"/>
            <ac:spMk id="59" creationId="{15DED5C0-8834-6FCE-242E-76495D4381EE}"/>
          </ac:spMkLst>
        </pc:spChg>
        <pc:spChg chg="add mod ord replST">
          <ac:chgData name="Joelle Brehm" userId="a518f54c-6985-42c0-8041-2bb16a414839" providerId="ADAL" clId="{9E52C8A6-326C-473A-BC21-4CED010AFA79}" dt="2023-09-06T18:26:00.733" v="41434"/>
          <ac:spMkLst>
            <pc:docMk/>
            <pc:sldMk cId="1002023985" sldId="270"/>
            <ac:spMk id="60" creationId="{0C74CE89-8513-C13D-30DC-F81C311B717E}"/>
          </ac:spMkLst>
        </pc:spChg>
        <pc:spChg chg="add del mod modVis">
          <ac:chgData name="Joelle Brehm" userId="a518f54c-6985-42c0-8041-2bb16a414839" providerId="ADAL" clId="{9E52C8A6-326C-473A-BC21-4CED010AFA79}" dt="2023-09-06T18:25:35.927" v="39693"/>
          <ac:spMkLst>
            <pc:docMk/>
            <pc:sldMk cId="1002023985" sldId="270"/>
            <ac:spMk id="61" creationId="{5FB90127-4ECB-6990-37CD-4B7B718E8235}"/>
          </ac:spMkLst>
        </pc:spChg>
        <pc:spChg chg="mod">
          <ac:chgData name="Joelle Brehm" userId="a518f54c-6985-42c0-8041-2bb16a414839" providerId="ADAL" clId="{9E52C8A6-326C-473A-BC21-4CED010AFA79}" dt="2023-09-06T18:26:00.729" v="41422"/>
          <ac:spMkLst>
            <pc:docMk/>
            <pc:sldMk cId="1002023985" sldId="270"/>
            <ac:spMk id="62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5:40.411" v="40007"/>
          <ac:spMkLst>
            <pc:docMk/>
            <pc:sldMk cId="1002023985" sldId="270"/>
            <ac:spMk id="64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25:37.730" v="39935"/>
          <ac:spMkLst>
            <pc:docMk/>
            <pc:sldMk cId="1002023985" sldId="270"/>
            <ac:spMk id="65" creationId="{69006241-331E-D69B-88A4-3BBE0A0F5DDC}"/>
          </ac:spMkLst>
        </pc:spChg>
        <pc:spChg chg="del mod">
          <ac:chgData name="Joelle Brehm" userId="a518f54c-6985-42c0-8041-2bb16a414839" providerId="ADAL" clId="{9E52C8A6-326C-473A-BC21-4CED010AFA79}" dt="2023-09-06T18:25:40.411" v="40006"/>
          <ac:spMkLst>
            <pc:docMk/>
            <pc:sldMk cId="1002023985" sldId="270"/>
            <ac:spMk id="66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5:40.411" v="40005"/>
          <ac:spMkLst>
            <pc:docMk/>
            <pc:sldMk cId="1002023985" sldId="270"/>
            <ac:spMk id="67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5:40.410" v="40004"/>
          <ac:spMkLst>
            <pc:docMk/>
            <pc:sldMk cId="1002023985" sldId="270"/>
            <ac:spMk id="68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5:40.410" v="40003"/>
          <ac:spMkLst>
            <pc:docMk/>
            <pc:sldMk cId="1002023985" sldId="270"/>
            <ac:spMk id="69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5:40.410" v="40002"/>
          <ac:spMkLst>
            <pc:docMk/>
            <pc:sldMk cId="1002023985" sldId="270"/>
            <ac:spMk id="70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5:40.409" v="40001"/>
          <ac:spMkLst>
            <pc:docMk/>
            <pc:sldMk cId="1002023985" sldId="270"/>
            <ac:spMk id="71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5:40.409" v="40000"/>
          <ac:spMkLst>
            <pc:docMk/>
            <pc:sldMk cId="1002023985" sldId="270"/>
            <ac:spMk id="7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6:00.728" v="41417"/>
          <ac:spMkLst>
            <pc:docMk/>
            <pc:sldMk cId="1002023985" sldId="270"/>
            <ac:spMk id="74" creationId="{1E5392BC-349C-45B4-8F81-52F83DA74F43}"/>
          </ac:spMkLst>
        </pc:spChg>
        <pc:spChg chg="add del mod modVis">
          <ac:chgData name="Joelle Brehm" userId="a518f54c-6985-42c0-8041-2bb16a414839" providerId="ADAL" clId="{9E52C8A6-326C-473A-BC21-4CED010AFA79}" dt="2023-09-06T18:25:40.731" v="40412"/>
          <ac:spMkLst>
            <pc:docMk/>
            <pc:sldMk cId="1002023985" sldId="270"/>
            <ac:spMk id="75" creationId="{F0566967-A86D-773E-FD6C-6A94014BC661}"/>
          </ac:spMkLst>
        </pc:spChg>
        <pc:spChg chg="add mod replST">
          <ac:chgData name="Joelle Brehm" userId="a518f54c-6985-42c0-8041-2bb16a414839" providerId="ADAL" clId="{9E52C8A6-326C-473A-BC21-4CED010AFA79}" dt="2023-09-06T18:26:00.730" v="41424"/>
          <ac:spMkLst>
            <pc:docMk/>
            <pc:sldMk cId="1002023985" sldId="270"/>
            <ac:spMk id="77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26:00.740" v="41452"/>
          <ac:spMkLst>
            <pc:docMk/>
            <pc:sldMk cId="1002023985" sldId="270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26:00.740" v="41454"/>
          <ac:spMkLst>
            <pc:docMk/>
            <pc:sldMk cId="1002023985" sldId="270"/>
            <ac:spMk id="79" creationId="{F1476AC4-694B-4D83-BFD8-8DCAA4BB1923}"/>
          </ac:spMkLst>
        </pc:spChg>
        <pc:spChg chg="add mod replST">
          <ac:chgData name="Joelle Brehm" userId="a518f54c-6985-42c0-8041-2bb16a414839" providerId="ADAL" clId="{9E52C8A6-326C-473A-BC21-4CED010AFA79}" dt="2023-09-06T18:26:00.730" v="41425"/>
          <ac:spMkLst>
            <pc:docMk/>
            <pc:sldMk cId="1002023985" sldId="270"/>
            <ac:spMk id="80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25:49.029" v="40666"/>
          <ac:spMkLst>
            <pc:docMk/>
            <pc:sldMk cId="1002023985" sldId="270"/>
            <ac:spMk id="82" creationId="{76612348-C84C-9B5A-AA44-1C295D3BC3C8}"/>
          </ac:spMkLst>
        </pc:spChg>
        <pc:spChg chg="add del mod modVis">
          <ac:chgData name="Joelle Brehm" userId="a518f54c-6985-42c0-8041-2bb16a414839" providerId="ADAL" clId="{9E52C8A6-326C-473A-BC21-4CED010AFA79}" dt="2023-09-06T18:25:52.137" v="40873"/>
          <ac:spMkLst>
            <pc:docMk/>
            <pc:sldMk cId="1002023985" sldId="270"/>
            <ac:spMk id="84" creationId="{5509DB8C-6054-AEA8-1725-4C1E757B334F}"/>
          </ac:spMkLst>
        </pc:spChg>
        <pc:spChg chg="add del mod modVis">
          <ac:chgData name="Joelle Brehm" userId="a518f54c-6985-42c0-8041-2bb16a414839" providerId="ADAL" clId="{9E52C8A6-326C-473A-BC21-4CED010AFA79}" dt="2023-09-06T18:25:54.377" v="41075"/>
          <ac:spMkLst>
            <pc:docMk/>
            <pc:sldMk cId="1002023985" sldId="270"/>
            <ac:spMk id="86" creationId="{57614BB2-501F-BBE3-64B0-D58428C0C1BF}"/>
          </ac:spMkLst>
        </pc:spChg>
        <pc:spChg chg="add del mod modVis">
          <ac:chgData name="Joelle Brehm" userId="a518f54c-6985-42c0-8041-2bb16a414839" providerId="ADAL" clId="{9E52C8A6-326C-473A-BC21-4CED010AFA79}" dt="2023-09-06T18:25:58.094" v="41280"/>
          <ac:spMkLst>
            <pc:docMk/>
            <pc:sldMk cId="1002023985" sldId="270"/>
            <ac:spMk id="88" creationId="{304250A3-67A2-9C60-DF50-4D386AA81B27}"/>
          </ac:spMkLst>
        </pc:spChg>
        <pc:spChg chg="add del mod modVis">
          <ac:chgData name="Joelle Brehm" userId="a518f54c-6985-42c0-8041-2bb16a414839" providerId="ADAL" clId="{9E52C8A6-326C-473A-BC21-4CED010AFA79}" dt="2023-09-06T18:26:00.748" v="41479"/>
          <ac:spMkLst>
            <pc:docMk/>
            <pc:sldMk cId="1002023985" sldId="270"/>
            <ac:spMk id="90" creationId="{B052A277-8855-9904-D51A-C5A7A7943584}"/>
          </ac:spMkLst>
        </pc:spChg>
        <pc:spChg chg="mod ord">
          <ac:chgData name="Joelle Brehm" userId="a518f54c-6985-42c0-8041-2bb16a414839" providerId="ADAL" clId="{9E52C8A6-326C-473A-BC21-4CED010AFA79}" dt="2023-09-06T18:26:00.741" v="41456"/>
          <ac:spMkLst>
            <pc:docMk/>
            <pc:sldMk cId="1002023985" sldId="270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26:00.741" v="41458"/>
          <ac:spMkLst>
            <pc:docMk/>
            <pc:sldMk cId="1002023985" sldId="270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26:00.742" v="41460"/>
          <ac:spMkLst>
            <pc:docMk/>
            <pc:sldMk cId="1002023985" sldId="270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26:00.742" v="41462"/>
          <ac:spMkLst>
            <pc:docMk/>
            <pc:sldMk cId="1002023985" sldId="270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26:00.744" v="41467"/>
          <ac:spMkLst>
            <pc:docMk/>
            <pc:sldMk cId="1002023985" sldId="270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6:00.744" v="41468"/>
          <ac:spMkLst>
            <pc:docMk/>
            <pc:sldMk cId="1002023985" sldId="270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6:00.744" v="41466"/>
          <ac:spMkLst>
            <pc:docMk/>
            <pc:sldMk cId="1002023985" sldId="270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6:00.745" v="41469"/>
          <ac:spMkLst>
            <pc:docMk/>
            <pc:sldMk cId="1002023985" sldId="270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26:00.743" v="41465"/>
          <ac:spMkLst>
            <pc:docMk/>
            <pc:sldMk cId="1002023985" sldId="270"/>
            <ac:spMk id="158" creationId="{B1AC5405-1559-48F8-921F-C742186F4456}"/>
          </ac:spMkLst>
        </pc:spChg>
        <pc:spChg chg="mod">
          <ac:chgData name="Joelle Brehm" userId="a518f54c-6985-42c0-8041-2bb16a414839" providerId="ADAL" clId="{9E52C8A6-326C-473A-BC21-4CED010AFA79}" dt="2023-09-06T18:26:00.730" v="41423"/>
          <ac:spMkLst>
            <pc:docMk/>
            <pc:sldMk cId="1002023985" sldId="270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9E52C8A6-326C-473A-BC21-4CED010AFA79}" dt="2023-09-06T18:26:00.760" v="41481"/>
          <ac:graphicFrameMkLst>
            <pc:docMk/>
            <pc:sldMk cId="1002023985" sldId="270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25:02.557" v="39026"/>
          <ac:graphicFrameMkLst>
            <pc:docMk/>
            <pc:sldMk cId="1002023985" sldId="270"/>
            <ac:graphicFrameMk id="8" creationId="{8ECF0E11-9468-ECD6-C852-CEDAC15B1C79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5:48.956" v="40563"/>
          <ac:graphicFrameMkLst>
            <pc:docMk/>
            <pc:sldMk cId="1002023985" sldId="270"/>
            <ac:graphicFrameMk id="45" creationId="{78521883-0283-4885-852A-4E41FCC21F75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6:00.722" v="41394"/>
          <ac:graphicFrameMkLst>
            <pc:docMk/>
            <pc:sldMk cId="1002023985" sldId="270"/>
            <ac:graphicFrameMk id="53" creationId="{4B3E7A25-FF02-D191-20B2-ABAAA90FF9A5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5:37.645" v="39827"/>
          <ac:graphicFrameMkLst>
            <pc:docMk/>
            <pc:sldMk cId="1002023985" sldId="270"/>
            <ac:graphicFrameMk id="63" creationId="{8ADB2977-8338-2B34-50BC-0301803C1D0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5:40.665" v="40309"/>
          <ac:graphicFrameMkLst>
            <pc:docMk/>
            <pc:sldMk cId="1002023985" sldId="270"/>
            <ac:graphicFrameMk id="73" creationId="{C253C097-433A-15E1-6005-B7D9DD95E875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5:35.850" v="39585"/>
          <ac:graphicFrameMkLst>
            <pc:docMk/>
            <pc:sldMk cId="1002023985" sldId="270"/>
            <ac:graphicFrameMk id="76" creationId="{8D030E01-7462-44A6-A4A5-3B3FED87C085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5:52.091" v="40771"/>
          <ac:graphicFrameMkLst>
            <pc:docMk/>
            <pc:sldMk cId="1002023985" sldId="270"/>
            <ac:graphicFrameMk id="81" creationId="{EA26882E-06F8-A83B-9EC1-A3DC2402751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6:00.743" v="41464"/>
          <ac:graphicFrameMkLst>
            <pc:docMk/>
            <pc:sldMk cId="1002023985" sldId="270"/>
            <ac:graphicFrameMk id="83" creationId="{787AD111-E5E4-B82F-D6FB-EACF4180C36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5:54.327" v="40974"/>
          <ac:graphicFrameMkLst>
            <pc:docMk/>
            <pc:sldMk cId="1002023985" sldId="270"/>
            <ac:graphicFrameMk id="85" creationId="{ED23A5E9-6B8E-7703-21DD-D2BDAC77581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5:58.036" v="41180"/>
          <ac:graphicFrameMkLst>
            <pc:docMk/>
            <pc:sldMk cId="1002023985" sldId="270"/>
            <ac:graphicFrameMk id="87" creationId="{11DA9558-A8C0-5725-35F5-ECE351C25C7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6:00.696" v="41380"/>
          <ac:graphicFrameMkLst>
            <pc:docMk/>
            <pc:sldMk cId="1002023985" sldId="270"/>
            <ac:graphicFrameMk id="89" creationId="{C5E27732-6B71-558E-9D5B-F3BF96B16946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6:00.729" v="41421"/>
          <ac:graphicFrameMkLst>
            <pc:docMk/>
            <pc:sldMk cId="1002023985" sldId="270"/>
            <ac:graphicFrameMk id="91" creationId="{BF883A49-432F-8783-5A5B-1DA9F382EC57}"/>
          </ac:graphicFrameMkLst>
        </pc:graphicFrameChg>
        <pc:picChg chg="del mod ord">
          <ac:chgData name="Joelle Brehm" userId="a518f54c-6985-42c0-8041-2bb16a414839" providerId="ADAL" clId="{9E52C8A6-326C-473A-BC21-4CED010AFA79}" dt="2023-09-06T18:25:22.067" v="39256" actId="478"/>
          <ac:picMkLst>
            <pc:docMk/>
            <pc:sldMk cId="1002023985" sldId="270"/>
            <ac:picMk id="5" creationId="{65A00728-9DDB-A1BF-1E72-409B2ADB6EB5}"/>
          </ac:picMkLst>
        </pc:picChg>
        <pc:picChg chg="add mod">
          <ac:chgData name="Joelle Brehm" userId="a518f54c-6985-42c0-8041-2bb16a414839" providerId="ADAL" clId="{9E52C8A6-326C-473A-BC21-4CED010AFA79}" dt="2023-09-06T18:28:37.330" v="41893" actId="1035"/>
          <ac:picMkLst>
            <pc:docMk/>
            <pc:sldMk cId="1002023985" sldId="270"/>
            <ac:picMk id="8" creationId="{73A21DB3-6E2A-C5E2-D77C-F667A483F8A3}"/>
          </ac:picMkLst>
        </pc:picChg>
        <pc:picChg chg="add del mod ord">
          <ac:chgData name="Joelle Brehm" userId="a518f54c-6985-42c0-8041-2bb16a414839" providerId="ADAL" clId="{9E52C8A6-326C-473A-BC21-4CED010AFA79}" dt="2023-09-06T18:26:50.840" v="41886" actId="478"/>
          <ac:picMkLst>
            <pc:docMk/>
            <pc:sldMk cId="1002023985" sldId="270"/>
            <ac:picMk id="54" creationId="{BF165B67-C42B-A562-496D-B26BD4D2DC61}"/>
          </ac:picMkLst>
        </pc:picChg>
        <pc:picChg chg="mod ord">
          <ac:chgData name="Joelle Brehm" userId="a518f54c-6985-42c0-8041-2bb16a414839" providerId="ADAL" clId="{9E52C8A6-326C-473A-BC21-4CED010AFA79}" dt="2023-09-06T18:26:00.746" v="41473"/>
          <ac:picMkLst>
            <pc:docMk/>
            <pc:sldMk cId="1002023985" sldId="270"/>
            <ac:picMk id="58" creationId="{5A47B146-1888-48D9-9547-6A3C215BE1D4}"/>
          </ac:picMkLst>
        </pc:picChg>
        <pc:picChg chg="mod ord">
          <ac:chgData name="Joelle Brehm" userId="a518f54c-6985-42c0-8041-2bb16a414839" providerId="ADAL" clId="{9E52C8A6-326C-473A-BC21-4CED010AFA79}" dt="2023-09-06T18:26:00.745" v="41471"/>
          <ac:picMkLst>
            <pc:docMk/>
            <pc:sldMk cId="1002023985" sldId="27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26:00.721" v="41392"/>
          <ac:cxnSpMkLst>
            <pc:docMk/>
            <pc:sldMk cId="1002023985" sldId="27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10:18.424" v="22878"/>
        <pc:sldMkLst>
          <pc:docMk/>
          <pc:sldMk cId="2815334483" sldId="271"/>
        </pc:sldMkLst>
        <pc:spChg chg="add del mod ord">
          <ac:chgData name="Joelle Brehm" userId="a518f54c-6985-42c0-8041-2bb16a414839" providerId="ADAL" clId="{9E52C8A6-326C-473A-BC21-4CED010AFA79}" dt="2023-09-06T18:09:20.297" v="20984" actId="478"/>
          <ac:spMkLst>
            <pc:docMk/>
            <pc:sldMk cId="2815334483" sldId="271"/>
            <ac:spMk id="2" creationId="{AE87049C-2CFB-5E6C-84DC-5108917834CD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3" creationId="{393FCF28-B518-473D-82EF-3DE322BE0405}"/>
          </ac:spMkLst>
        </pc:spChg>
        <pc:spChg chg="add del mod modVis">
          <ac:chgData name="Joelle Brehm" userId="a518f54c-6985-42c0-8041-2bb16a414839" providerId="ADAL" clId="{9E52C8A6-326C-473A-BC21-4CED010AFA79}" dt="2023-09-06T18:08:56.704" v="20897"/>
          <ac:spMkLst>
            <pc:docMk/>
            <pc:sldMk cId="2815334483" sldId="271"/>
            <ac:spMk id="5" creationId="{C2FB85EE-1CDD-D019-04A6-D040DADE9458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09:39.760" v="22435"/>
          <ac:spMkLst>
            <pc:docMk/>
            <pc:sldMk cId="2815334483" sldId="271"/>
            <ac:spMk id="10" creationId="{0A5930D8-0004-9850-127B-4D3BC7A030AE}"/>
          </ac:spMkLst>
        </pc:spChg>
        <pc:spChg chg="mod">
          <ac:chgData name="Joelle Brehm" userId="a518f54c-6985-42c0-8041-2bb16a414839" providerId="ADAL" clId="{9E52C8A6-326C-473A-BC21-4CED010AFA79}" dt="2023-09-06T18:09:39.751" v="22406"/>
          <ac:spMkLst>
            <pc:docMk/>
            <pc:sldMk cId="2815334483" sldId="271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09:39.752" v="22409"/>
          <ac:spMkLst>
            <pc:docMk/>
            <pc:sldMk cId="2815334483" sldId="271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09:39.753" v="22411"/>
          <ac:spMkLst>
            <pc:docMk/>
            <pc:sldMk cId="2815334483" sldId="271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09:39.752" v="22407"/>
          <ac:spMkLst>
            <pc:docMk/>
            <pc:sldMk cId="2815334483" sldId="271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09:39.752" v="22408"/>
          <ac:spMkLst>
            <pc:docMk/>
            <pc:sldMk cId="2815334483" sldId="271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09:39.753" v="22410"/>
          <ac:spMkLst>
            <pc:docMk/>
            <pc:sldMk cId="2815334483" sldId="271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09:39.753" v="22413"/>
          <ac:spMkLst>
            <pc:docMk/>
            <pc:sldMk cId="2815334483" sldId="271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09:39.754" v="22414"/>
          <ac:spMkLst>
            <pc:docMk/>
            <pc:sldMk cId="2815334483" sldId="271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09:39.753" v="22412"/>
          <ac:spMkLst>
            <pc:docMk/>
            <pc:sldMk cId="2815334483" sldId="271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09:39.754" v="22415"/>
          <ac:spMkLst>
            <pc:docMk/>
            <pc:sldMk cId="2815334483" sldId="271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09:39.754" v="22416"/>
          <ac:spMkLst>
            <pc:docMk/>
            <pc:sldMk cId="2815334483" sldId="271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09:39.755" v="22417"/>
          <ac:spMkLst>
            <pc:docMk/>
            <pc:sldMk cId="2815334483" sldId="271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09:39.756" v="22422"/>
          <ac:spMkLst>
            <pc:docMk/>
            <pc:sldMk cId="2815334483" sldId="271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09:39.756" v="22420"/>
          <ac:spMkLst>
            <pc:docMk/>
            <pc:sldMk cId="2815334483" sldId="271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09:39.756" v="22421"/>
          <ac:spMkLst>
            <pc:docMk/>
            <pc:sldMk cId="2815334483" sldId="271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09:39.757" v="22423"/>
          <ac:spMkLst>
            <pc:docMk/>
            <pc:sldMk cId="2815334483" sldId="271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09:39.757" v="22424"/>
          <ac:spMkLst>
            <pc:docMk/>
            <pc:sldMk cId="2815334483" sldId="271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09:39.757" v="22425"/>
          <ac:spMkLst>
            <pc:docMk/>
            <pc:sldMk cId="2815334483" sldId="271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09:34.166" v="21947"/>
          <ac:spMkLst>
            <pc:docMk/>
            <pc:sldMk cId="2815334483" sldId="271"/>
            <ac:spMk id="31" creationId="{6BE24B84-EE94-3D2E-728D-88F2988B4658}"/>
          </ac:spMkLst>
        </pc:spChg>
        <pc:spChg chg="mod">
          <ac:chgData name="Joelle Brehm" userId="a518f54c-6985-42c0-8041-2bb16a414839" providerId="ADAL" clId="{9E52C8A6-326C-473A-BC21-4CED010AFA79}" dt="2023-09-06T18:09:39.760" v="22434"/>
          <ac:spMkLst>
            <pc:docMk/>
            <pc:sldMk cId="2815334483" sldId="271"/>
            <ac:spMk id="32" creationId="{8777249A-D943-16C1-E900-269856ADE995}"/>
          </ac:spMkLst>
        </pc:spChg>
        <pc:spChg chg="mod">
          <ac:chgData name="Joelle Brehm" userId="a518f54c-6985-42c0-8041-2bb16a414839" providerId="ADAL" clId="{9E52C8A6-326C-473A-BC21-4CED010AFA79}" dt="2023-09-06T18:09:39.759" v="22433"/>
          <ac:spMkLst>
            <pc:docMk/>
            <pc:sldMk cId="2815334483" sldId="271"/>
            <ac:spMk id="33" creationId="{7F959949-4A68-1491-C284-14230CE75987}"/>
          </ac:spMkLst>
        </pc:spChg>
        <pc:spChg chg="mod">
          <ac:chgData name="Joelle Brehm" userId="a518f54c-6985-42c0-8041-2bb16a414839" providerId="ADAL" clId="{9E52C8A6-326C-473A-BC21-4CED010AFA79}" dt="2023-09-06T18:09:39.760" v="22436"/>
          <ac:spMkLst>
            <pc:docMk/>
            <pc:sldMk cId="2815334483" sldId="271"/>
            <ac:spMk id="34" creationId="{316D5F01-433D-33E2-C79F-6FBFCD17CB7D}"/>
          </ac:spMkLst>
        </pc:spChg>
        <pc:spChg chg="mod">
          <ac:chgData name="Joelle Brehm" userId="a518f54c-6985-42c0-8041-2bb16a414839" providerId="ADAL" clId="{9E52C8A6-326C-473A-BC21-4CED010AFA79}" dt="2023-09-06T18:09:39.759" v="22431"/>
          <ac:spMkLst>
            <pc:docMk/>
            <pc:sldMk cId="2815334483" sldId="271"/>
            <ac:spMk id="35" creationId="{853893AD-30C5-CDDF-A4E5-224859734B58}"/>
          </ac:spMkLst>
        </pc:spChg>
        <pc:spChg chg="mod">
          <ac:chgData name="Joelle Brehm" userId="a518f54c-6985-42c0-8041-2bb16a414839" providerId="ADAL" clId="{9E52C8A6-326C-473A-BC21-4CED010AFA79}" dt="2023-09-06T18:09:39.759" v="22430"/>
          <ac:spMkLst>
            <pc:docMk/>
            <pc:sldMk cId="2815334483" sldId="271"/>
            <ac:spMk id="36" creationId="{287D6ECE-CB7D-2221-A03D-5CE75B767F13}"/>
          </ac:spMkLst>
        </pc:spChg>
        <pc:spChg chg="mod">
          <ac:chgData name="Joelle Brehm" userId="a518f54c-6985-42c0-8041-2bb16a414839" providerId="ADAL" clId="{9E52C8A6-326C-473A-BC21-4CED010AFA79}" dt="2023-09-06T18:09:39.759" v="22432"/>
          <ac:spMkLst>
            <pc:docMk/>
            <pc:sldMk cId="2815334483" sldId="271"/>
            <ac:spMk id="37" creationId="{3DD674ED-1D1B-D5B2-8B23-FE127DE17AA5}"/>
          </ac:spMkLst>
        </pc:spChg>
        <pc:spChg chg="mo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38" creationId="{CC5FA94A-B8E0-E7C9-DB9D-BB5C4E4406D1}"/>
          </ac:spMkLst>
        </pc:spChg>
        <pc:spChg chg="mo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40" creationId="{B3CE3016-99B3-974F-1EC7-6BAAE2BADCD1}"/>
          </ac:spMkLst>
        </pc:spChg>
        <pc:spChg chg="mod">
          <ac:chgData name="Joelle Brehm" userId="a518f54c-6985-42c0-8041-2bb16a414839" providerId="ADAL" clId="{9E52C8A6-326C-473A-BC21-4CED010AFA79}" dt="2023-09-06T18:09:39.761" v="22439"/>
          <ac:spMkLst>
            <pc:docMk/>
            <pc:sldMk cId="2815334483" sldId="271"/>
            <ac:spMk id="41" creationId="{DC6516B3-9BBF-0226-04DF-1347B6AC9AB0}"/>
          </ac:spMkLst>
        </pc:spChg>
        <pc:spChg chg="mod">
          <ac:chgData name="Joelle Brehm" userId="a518f54c-6985-42c0-8041-2bb16a414839" providerId="ADAL" clId="{9E52C8A6-326C-473A-BC21-4CED010AFA79}" dt="2023-09-06T18:09:39.761" v="22437"/>
          <ac:spMkLst>
            <pc:docMk/>
            <pc:sldMk cId="2815334483" sldId="271"/>
            <ac:spMk id="42" creationId="{6259DA9A-2854-0028-25DD-8E34BDEB2937}"/>
          </ac:spMkLst>
        </pc:spChg>
        <pc:spChg chg="mo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43" creationId="{BEA60322-B850-D12E-7FCF-66BC91EC080A}"/>
          </ac:spMkLst>
        </pc:spChg>
        <pc:spChg chg="mod">
          <ac:chgData name="Joelle Brehm" userId="a518f54c-6985-42c0-8041-2bb16a414839" providerId="ADAL" clId="{9E52C8A6-326C-473A-BC21-4CED010AFA79}" dt="2023-09-06T18:09:39.762" v="22440"/>
          <ac:spMkLst>
            <pc:docMk/>
            <pc:sldMk cId="2815334483" sldId="271"/>
            <ac:spMk id="44" creationId="{2A226A46-FF6E-9786-3934-AE547CB60305}"/>
          </ac:spMkLst>
        </pc:spChg>
        <pc:spChg chg="add mod replST">
          <ac:chgData name="Joelle Brehm" userId="a518f54c-6985-42c0-8041-2bb16a414839" providerId="ADAL" clId="{9E52C8A6-326C-473A-BC21-4CED010AFA79}" dt="2023-09-06T18:09:39.762" v="22441"/>
          <ac:spMkLst>
            <pc:docMk/>
            <pc:sldMk cId="2815334483" sldId="271"/>
            <ac:spMk id="46" creationId="{930ECC5A-4534-E4CB-B946-9975134BC620}"/>
          </ac:spMkLst>
        </pc:spChg>
        <pc:spChg chg="add del mod modVis">
          <ac:chgData name="Joelle Brehm" userId="a518f54c-6985-42c0-8041-2bb16a414839" providerId="ADAL" clId="{9E52C8A6-326C-473A-BC21-4CED010AFA79}" dt="2023-09-06T18:09:30.538" v="21734"/>
          <ac:spMkLst>
            <pc:docMk/>
            <pc:sldMk cId="2815334483" sldId="271"/>
            <ac:spMk id="47" creationId="{FDE16C55-F038-0215-CAB3-1386F5B063B0}"/>
          </ac:spMkLst>
        </pc:spChg>
        <pc:spChg chg="mod">
          <ac:chgData name="Joelle Brehm" userId="a518f54c-6985-42c0-8041-2bb16a414839" providerId="ADAL" clId="{9E52C8A6-326C-473A-BC21-4CED010AFA79}" dt="2023-09-06T18:09:39.761" v="22438"/>
          <ac:spMkLst>
            <pc:docMk/>
            <pc:sldMk cId="2815334483" sldId="271"/>
            <ac:spMk id="48" creationId="{E51CFCE3-4E32-6059-9327-A1EFC827F040}"/>
          </ac:spMkLst>
        </pc:spChg>
        <pc:spChg chg="add del mod modVis">
          <ac:chgData name="Joelle Brehm" userId="a518f54c-6985-42c0-8041-2bb16a414839" providerId="ADAL" clId="{9E52C8A6-326C-473A-BC21-4CED010AFA79}" dt="2023-09-06T18:09:31.788" v="21944"/>
          <ac:spMkLst>
            <pc:docMk/>
            <pc:sldMk cId="2815334483" sldId="271"/>
            <ac:spMk id="50" creationId="{38F51281-7A7E-8DBC-54B6-9768C6D4DBBE}"/>
          </ac:spMkLst>
        </pc:spChg>
        <pc:spChg chg="mo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52" creationId="{B35B2423-03A5-A469-23CF-C2DBBC1099B5}"/>
          </ac:spMkLst>
        </pc:spChg>
        <pc:spChg chg="add del mod modVis">
          <ac:chgData name="Joelle Brehm" userId="a518f54c-6985-42c0-8041-2bb16a414839" providerId="ADAL" clId="{9E52C8A6-326C-473A-BC21-4CED010AFA79}" dt="2023-09-06T18:09:34.361" v="22146"/>
          <ac:spMkLst>
            <pc:docMk/>
            <pc:sldMk cId="2815334483" sldId="271"/>
            <ac:spMk id="54" creationId="{D96E518F-CCE7-CE0A-D3A1-AC98CF03D315}"/>
          </ac:spMkLst>
        </pc:spChg>
        <pc:spChg chg="add del mod modVis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57" creationId="{80ADAA12-1834-6F2D-BCE7-F0958CD6B5A4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58" creationId="{13D3C19C-081E-48C7-8BE2-5EF3E8A1DEEB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10:18.416" v="22876"/>
          <ac:spMkLst>
            <pc:docMk/>
            <pc:sldMk cId="2815334483" sldId="271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09:39.766" v="22458"/>
          <ac:spMkLst>
            <pc:docMk/>
            <pc:sldMk cId="2815334483" sldId="27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10:18.424" v="22878"/>
          <ac:graphicFrameMkLst>
            <pc:docMk/>
            <pc:sldMk cId="2815334483" sldId="27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08:56.619" v="20810"/>
          <ac:graphicFrameMkLst>
            <pc:docMk/>
            <pc:sldMk cId="2815334483" sldId="271"/>
            <ac:graphicFrameMk id="8" creationId="{D5AC22C8-9BB4-5C69-861C-9731A86F3F04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0:18.416" v="22876"/>
          <ac:graphicFrameMkLst>
            <pc:docMk/>
            <pc:sldMk cId="2815334483" sldId="271"/>
            <ac:graphicFrameMk id="9" creationId="{49B8DCB3-49A8-FC7F-40F5-B48B1D81188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9:31.688" v="21846"/>
          <ac:graphicFrameMkLst>
            <pc:docMk/>
            <pc:sldMk cId="2815334483" sldId="271"/>
            <ac:graphicFrameMk id="49" creationId="{0BE1EFB0-8512-40CF-B126-8F9C3AE26D32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09:30.459" v="21652"/>
          <ac:graphicFrameMkLst>
            <pc:docMk/>
            <pc:sldMk cId="2815334483" sldId="271"/>
            <ac:graphicFrameMk id="51" creationId="{D670208A-D94E-96FB-E940-CE1B317AE51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09:34.298" v="22067"/>
          <ac:graphicFrameMkLst>
            <pc:docMk/>
            <pc:sldMk cId="2815334483" sldId="271"/>
            <ac:graphicFrameMk id="53" creationId="{5000BEC7-D19D-1FB2-6C59-C9D8F6A3612F}"/>
          </ac:graphicFrameMkLst>
        </pc:graphicFrameChg>
        <pc:graphicFrameChg chg="add del mod ord">
          <ac:chgData name="Joelle Brehm" userId="a518f54c-6985-42c0-8041-2bb16a414839" providerId="ADAL" clId="{9E52C8A6-326C-473A-BC21-4CED010AFA79}" dt="2023-09-06T18:10:18.416" v="22876"/>
          <ac:graphicFrameMkLst>
            <pc:docMk/>
            <pc:sldMk cId="2815334483" sldId="271"/>
            <ac:graphicFrameMk id="55" creationId="{52B8F174-FBE4-2D66-AF5E-30DCB35441E0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0:18.416" v="22876"/>
          <ac:graphicFrameMkLst>
            <pc:docMk/>
            <pc:sldMk cId="2815334483" sldId="271"/>
            <ac:graphicFrameMk id="56" creationId="{764ABC10-6683-2700-1919-2AAFC6496D8D}"/>
          </ac:graphicFrameMkLst>
        </pc:graphicFrameChg>
        <pc:graphicFrameChg chg="add mod ord replST delST">
          <ac:chgData name="Joelle Brehm" userId="a518f54c-6985-42c0-8041-2bb16a414839" providerId="ADAL" clId="{9E52C8A6-326C-473A-BC21-4CED010AFA79}" dt="2023-09-06T18:10:18.416" v="22876"/>
          <ac:graphicFrameMkLst>
            <pc:docMk/>
            <pc:sldMk cId="2815334483" sldId="271"/>
            <ac:graphicFrameMk id="59" creationId="{920F2B3D-4399-703D-815D-0AD05E576B9D}"/>
          </ac:graphicFrameMkLst>
        </pc:graphicFrameChg>
        <pc:picChg chg="del mod ord">
          <ac:chgData name="Joelle Brehm" userId="a518f54c-6985-42c0-8041-2bb16a414839" providerId="ADAL" clId="{9E52C8A6-326C-473A-BC21-4CED010AFA79}" dt="2023-09-06T18:09:17.833" v="20983" actId="478"/>
          <ac:picMkLst>
            <pc:docMk/>
            <pc:sldMk cId="2815334483" sldId="271"/>
            <ac:picMk id="39" creationId="{45226500-01CF-BF10-EBBA-92693C86062C}"/>
          </ac:picMkLst>
        </pc:picChg>
        <pc:picChg chg="add mod ord">
          <ac:chgData name="Joelle Brehm" userId="a518f54c-6985-42c0-8041-2bb16a414839" providerId="ADAL" clId="{9E52C8A6-326C-473A-BC21-4CED010AFA79}" dt="2023-09-06T18:10:18.416" v="22876"/>
          <ac:picMkLst>
            <pc:docMk/>
            <pc:sldMk cId="2815334483" sldId="271"/>
            <ac:picMk id="45" creationId="{A42E34E9-FBC9-F131-1730-871B9573A69E}"/>
          </ac:picMkLst>
        </pc:picChg>
        <pc:picChg chg="mod ord">
          <ac:chgData name="Joelle Brehm" userId="a518f54c-6985-42c0-8041-2bb16a414839" providerId="ADAL" clId="{9E52C8A6-326C-473A-BC21-4CED010AFA79}" dt="2023-09-06T18:10:18.416" v="22876"/>
          <ac:picMkLst>
            <pc:docMk/>
            <pc:sldMk cId="2815334483" sldId="27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10:18.416" v="22876"/>
          <ac:cxnSpMkLst>
            <pc:docMk/>
            <pc:sldMk cId="2815334483" sldId="27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11:43.554" v="24802"/>
        <pc:sldMkLst>
          <pc:docMk/>
          <pc:sldMk cId="1407012127" sldId="272"/>
        </pc:sldMkLst>
        <pc:spChg chg="mod ord">
          <ac:chgData name="Joelle Brehm" userId="a518f54c-6985-42c0-8041-2bb16a414839" providerId="ADAL" clId="{9E52C8A6-326C-473A-BC21-4CED010AFA79}" dt="2023-09-06T18:11:43.543" v="24796"/>
          <ac:spMkLst>
            <pc:docMk/>
            <pc:sldMk cId="1407012127" sldId="272"/>
            <ac:spMk id="2" creationId="{7B63279B-FBC7-4B7C-A9D5-69987BC864D5}"/>
          </ac:spMkLst>
        </pc:spChg>
        <pc:spChg chg="add del mod ord">
          <ac:chgData name="Joelle Brehm" userId="a518f54c-6985-42c0-8041-2bb16a414839" providerId="ADAL" clId="{9E52C8A6-326C-473A-BC21-4CED010AFA79}" dt="2023-09-06T18:11:18.066" v="23228" actId="478"/>
          <ac:spMkLst>
            <pc:docMk/>
            <pc:sldMk cId="1407012127" sldId="272"/>
            <ac:spMk id="3" creationId="{2348850B-569B-686E-DD9B-67393DC9A866}"/>
          </ac:spMkLst>
        </pc:spChg>
        <pc:spChg chg="add del mod modVis">
          <ac:chgData name="Joelle Brehm" userId="a518f54c-6985-42c0-8041-2bb16a414839" providerId="ADAL" clId="{9E52C8A6-326C-473A-BC21-4CED010AFA79}" dt="2023-09-06T18:10:53.717" v="23140"/>
          <ac:spMkLst>
            <pc:docMk/>
            <pc:sldMk cId="1407012127" sldId="272"/>
            <ac:spMk id="5" creationId="{AE032FB0-1038-DF7C-85DE-CB4D3967CF4A}"/>
          </ac:spMkLst>
        </pc:spChg>
        <pc:spChg chg="mod ord">
          <ac:chgData name="Joelle Brehm" userId="a518f54c-6985-42c0-8041-2bb16a414839" providerId="ADAL" clId="{9E52C8A6-326C-473A-BC21-4CED010AFA79}" dt="2023-09-06T18:11:43.525" v="24731"/>
          <ac:spMkLst>
            <pc:docMk/>
            <pc:sldMk cId="1407012127" sldId="272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11:43.527" v="24743"/>
          <ac:spMkLst>
            <pc:docMk/>
            <pc:sldMk cId="1407012127" sldId="272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11:43.526" v="24740"/>
          <ac:spMkLst>
            <pc:docMk/>
            <pc:sldMk cId="1407012127" sldId="272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11:43.525" v="24737"/>
          <ac:spMkLst>
            <pc:docMk/>
            <pc:sldMk cId="1407012127" sldId="272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11:43.526" v="24739"/>
          <ac:spMkLst>
            <pc:docMk/>
            <pc:sldMk cId="1407012127" sldId="272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11:43.525" v="24738"/>
          <ac:spMkLst>
            <pc:docMk/>
            <pc:sldMk cId="1407012127" sldId="272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11:43.525" v="24736"/>
          <ac:spMkLst>
            <pc:docMk/>
            <pc:sldMk cId="1407012127" sldId="272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11:43.527" v="24742"/>
          <ac:spMkLst>
            <pc:docMk/>
            <pc:sldMk cId="1407012127" sldId="272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11:43.526" v="24741"/>
          <ac:spMkLst>
            <pc:docMk/>
            <pc:sldMk cId="1407012127" sldId="272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11:43.527" v="24744"/>
          <ac:spMkLst>
            <pc:docMk/>
            <pc:sldMk cId="1407012127" sldId="272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11:43.528" v="24745"/>
          <ac:spMkLst>
            <pc:docMk/>
            <pc:sldMk cId="1407012127" sldId="272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11:43.528" v="24746"/>
          <ac:spMkLst>
            <pc:docMk/>
            <pc:sldMk cId="1407012127" sldId="272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11:43.528" v="24747"/>
          <ac:spMkLst>
            <pc:docMk/>
            <pc:sldMk cId="1407012127" sldId="272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11:43.530" v="24749"/>
          <ac:spMkLst>
            <pc:docMk/>
            <pc:sldMk cId="1407012127" sldId="272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11:43.530" v="24750"/>
          <ac:spMkLst>
            <pc:docMk/>
            <pc:sldMk cId="1407012127" sldId="272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11:43.530" v="24751"/>
          <ac:spMkLst>
            <pc:docMk/>
            <pc:sldMk cId="1407012127" sldId="272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11:43.530" v="24752"/>
          <ac:spMkLst>
            <pc:docMk/>
            <pc:sldMk cId="1407012127" sldId="272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11:43.531" v="24755"/>
          <ac:spMkLst>
            <pc:docMk/>
            <pc:sldMk cId="1407012127" sldId="272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11:43.531" v="24754"/>
          <ac:spMkLst>
            <pc:docMk/>
            <pc:sldMk cId="1407012127" sldId="272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11:43.531" v="24753"/>
          <ac:spMkLst>
            <pc:docMk/>
            <pc:sldMk cId="1407012127" sldId="272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11:43.532" v="24757"/>
          <ac:spMkLst>
            <pc:docMk/>
            <pc:sldMk cId="1407012127" sldId="272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8:11:43.535" v="24770"/>
          <ac:spMkLst>
            <pc:docMk/>
            <pc:sldMk cId="1407012127" sldId="272"/>
            <ac:spMk id="31" creationId="{12D405BD-09A7-5DE2-D31C-098B6254BA48}"/>
          </ac:spMkLst>
        </pc:spChg>
        <pc:spChg chg="mod">
          <ac:chgData name="Joelle Brehm" userId="a518f54c-6985-42c0-8041-2bb16a414839" providerId="ADAL" clId="{9E52C8A6-326C-473A-BC21-4CED010AFA79}" dt="2023-09-06T18:11:43.533" v="24760"/>
          <ac:spMkLst>
            <pc:docMk/>
            <pc:sldMk cId="1407012127" sldId="272"/>
            <ac:spMk id="32" creationId="{99895A00-E6FD-8315-8545-8F5C97720D4E}"/>
          </ac:spMkLst>
        </pc:spChg>
        <pc:spChg chg="mod">
          <ac:chgData name="Joelle Brehm" userId="a518f54c-6985-42c0-8041-2bb16a414839" providerId="ADAL" clId="{9E52C8A6-326C-473A-BC21-4CED010AFA79}" dt="2023-09-06T18:11:43.533" v="24761"/>
          <ac:spMkLst>
            <pc:docMk/>
            <pc:sldMk cId="1407012127" sldId="272"/>
            <ac:spMk id="33" creationId="{FA851268-0C57-C1F8-D85D-FE1413AC1777}"/>
          </ac:spMkLst>
        </pc:spChg>
        <pc:spChg chg="mod">
          <ac:chgData name="Joelle Brehm" userId="a518f54c-6985-42c0-8041-2bb16a414839" providerId="ADAL" clId="{9E52C8A6-326C-473A-BC21-4CED010AFA79}" dt="2023-09-06T18:11:43.534" v="24764"/>
          <ac:spMkLst>
            <pc:docMk/>
            <pc:sldMk cId="1407012127" sldId="272"/>
            <ac:spMk id="34" creationId="{6E8C107C-EC49-EF17-FEDB-0D9660F7993D}"/>
          </ac:spMkLst>
        </pc:spChg>
        <pc:spChg chg="mod">
          <ac:chgData name="Joelle Brehm" userId="a518f54c-6985-42c0-8041-2bb16a414839" providerId="ADAL" clId="{9E52C8A6-326C-473A-BC21-4CED010AFA79}" dt="2023-09-06T18:11:43.533" v="24762"/>
          <ac:spMkLst>
            <pc:docMk/>
            <pc:sldMk cId="1407012127" sldId="272"/>
            <ac:spMk id="35" creationId="{4B6310D6-23E5-0588-F042-388EAC57E1DA}"/>
          </ac:spMkLst>
        </pc:spChg>
        <pc:spChg chg="del mod">
          <ac:chgData name="Joelle Brehm" userId="a518f54c-6985-42c0-8041-2bb16a414839" providerId="ADAL" clId="{9E52C8A6-326C-473A-BC21-4CED010AFA79}" dt="2023-09-06T18:11:31.655" v="24132"/>
          <ac:spMkLst>
            <pc:docMk/>
            <pc:sldMk cId="1407012127" sldId="272"/>
            <ac:spMk id="36" creationId="{037FE80B-438D-9EB3-2953-BBBE4A06709F}"/>
          </ac:spMkLst>
        </pc:spChg>
        <pc:spChg chg="mod">
          <ac:chgData name="Joelle Brehm" userId="a518f54c-6985-42c0-8041-2bb16a414839" providerId="ADAL" clId="{9E52C8A6-326C-473A-BC21-4CED010AFA79}" dt="2023-09-06T18:11:43.534" v="24766"/>
          <ac:spMkLst>
            <pc:docMk/>
            <pc:sldMk cId="1407012127" sldId="272"/>
            <ac:spMk id="37" creationId="{AE58C16A-7C23-ACC6-D952-D08BCA29A164}"/>
          </ac:spMkLst>
        </pc:spChg>
        <pc:spChg chg="mod">
          <ac:chgData name="Joelle Brehm" userId="a518f54c-6985-42c0-8041-2bb16a414839" providerId="ADAL" clId="{9E52C8A6-326C-473A-BC21-4CED010AFA79}" dt="2023-09-06T18:11:43.535" v="24767"/>
          <ac:spMkLst>
            <pc:docMk/>
            <pc:sldMk cId="1407012127" sldId="272"/>
            <ac:spMk id="38" creationId="{06BCD81C-D0C7-3723-E170-7B3605838E01}"/>
          </ac:spMkLst>
        </pc:spChg>
        <pc:spChg chg="mod">
          <ac:chgData name="Joelle Brehm" userId="a518f54c-6985-42c0-8041-2bb16a414839" providerId="ADAL" clId="{9E52C8A6-326C-473A-BC21-4CED010AFA79}" dt="2023-09-06T18:11:43.535" v="24768"/>
          <ac:spMkLst>
            <pc:docMk/>
            <pc:sldMk cId="1407012127" sldId="272"/>
            <ac:spMk id="39" creationId="{BC8B8CEB-DD48-E296-513C-6E912EEE1511}"/>
          </ac:spMkLst>
        </pc:spChg>
        <pc:spChg chg="mod">
          <ac:chgData name="Joelle Brehm" userId="a518f54c-6985-42c0-8041-2bb16a414839" providerId="ADAL" clId="{9E52C8A6-326C-473A-BC21-4CED010AFA79}" dt="2023-09-06T18:11:43.535" v="24769"/>
          <ac:spMkLst>
            <pc:docMk/>
            <pc:sldMk cId="1407012127" sldId="272"/>
            <ac:spMk id="40" creationId="{14D3D5B8-E518-8259-72DA-929515D14DC3}"/>
          </ac:spMkLst>
        </pc:spChg>
        <pc:spChg chg="mod">
          <ac:chgData name="Joelle Brehm" userId="a518f54c-6985-42c0-8041-2bb16a414839" providerId="ADAL" clId="{9E52C8A6-326C-473A-BC21-4CED010AFA79}" dt="2023-09-06T18:11:43.534" v="24765"/>
          <ac:spMkLst>
            <pc:docMk/>
            <pc:sldMk cId="1407012127" sldId="272"/>
            <ac:spMk id="41" creationId="{3B0A3A52-5D18-7245-58AE-791EE368F68D}"/>
          </ac:spMkLst>
        </pc:spChg>
        <pc:spChg chg="mod">
          <ac:chgData name="Joelle Brehm" userId="a518f54c-6985-42c0-8041-2bb16a414839" providerId="ADAL" clId="{9E52C8A6-326C-473A-BC21-4CED010AFA79}" dt="2023-09-06T18:11:43.534" v="24763"/>
          <ac:spMkLst>
            <pc:docMk/>
            <pc:sldMk cId="1407012127" sldId="272"/>
            <ac:spMk id="43" creationId="{FB4FB43F-D084-EE9C-5BF8-B064116032D0}"/>
          </ac:spMkLst>
        </pc:spChg>
        <pc:spChg chg="add mod replST">
          <ac:chgData name="Joelle Brehm" userId="a518f54c-6985-42c0-8041-2bb16a414839" providerId="ADAL" clId="{9E52C8A6-326C-473A-BC21-4CED010AFA79}" dt="2023-09-06T18:11:43.536" v="24771"/>
          <ac:spMkLst>
            <pc:docMk/>
            <pc:sldMk cId="1407012127" sldId="272"/>
            <ac:spMk id="44" creationId="{E3686390-A76C-062A-370A-42E928068F1B}"/>
          </ac:spMkLst>
        </pc:spChg>
        <pc:spChg chg="add del mod modVis">
          <ac:chgData name="Joelle Brehm" userId="a518f54c-6985-42c0-8041-2bb16a414839" providerId="ADAL" clId="{9E52C8A6-326C-473A-BC21-4CED010AFA79}" dt="2023-09-06T18:11:28.283" v="23918"/>
          <ac:spMkLst>
            <pc:docMk/>
            <pc:sldMk cId="1407012127" sldId="272"/>
            <ac:spMk id="45" creationId="{CA7E852B-0553-BA58-57D3-14EECC6B376B}"/>
          </ac:spMkLst>
        </pc:spChg>
        <pc:spChg chg="add del mod ord replST">
          <ac:chgData name="Joelle Brehm" userId="a518f54c-6985-42c0-8041-2bb16a414839" providerId="ADAL" clId="{9E52C8A6-326C-473A-BC21-4CED010AFA79}" dt="2023-09-06T18:11:32.035" v="24334"/>
          <ac:spMkLst>
            <pc:docMk/>
            <pc:sldMk cId="1407012127" sldId="272"/>
            <ac:spMk id="46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11:29.926" v="24129"/>
          <ac:spMkLst>
            <pc:docMk/>
            <pc:sldMk cId="1407012127" sldId="272"/>
            <ac:spMk id="48" creationId="{81B23DC0-EA39-08D2-AAD8-CC2EB1A51474}"/>
          </ac:spMkLst>
        </pc:spChg>
        <pc:spChg chg="add del mod modVis">
          <ac:chgData name="Joelle Brehm" userId="a518f54c-6985-42c0-8041-2bb16a414839" providerId="ADAL" clId="{9E52C8A6-326C-473A-BC21-4CED010AFA79}" dt="2023-09-06T18:11:32.162" v="24444"/>
          <ac:spMkLst>
            <pc:docMk/>
            <pc:sldMk cId="1407012127" sldId="272"/>
            <ac:spMk id="50" creationId="{9F497A08-C529-4C01-5992-75E47D9B3E4F}"/>
          </ac:spMkLst>
        </pc:spChg>
        <pc:spChg chg="add del mod ord replST">
          <ac:chgData name="Joelle Brehm" userId="a518f54c-6985-42c0-8041-2bb16a414839" providerId="ADAL" clId="{9E52C8A6-326C-473A-BC21-4CED010AFA79}" dt="2023-09-06T18:11:43.502" v="24719"/>
          <ac:spMkLst>
            <pc:docMk/>
            <pc:sldMk cId="1407012127" sldId="272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11:38.751" v="24647"/>
          <ac:spMkLst>
            <pc:docMk/>
            <pc:sldMk cId="1407012127" sldId="272"/>
            <ac:spMk id="53" creationId="{23189F78-A17D-4BC6-3EB0-6C76C5DF0B6F}"/>
          </ac:spMkLst>
        </pc:spChg>
        <pc:spChg chg="add del mod modVis">
          <ac:chgData name="Joelle Brehm" userId="a518f54c-6985-42c0-8041-2bb16a414839" providerId="ADAL" clId="{9E52C8A6-326C-473A-BC21-4CED010AFA79}" dt="2023-09-06T18:11:43.544" v="24800"/>
          <ac:spMkLst>
            <pc:docMk/>
            <pc:sldMk cId="1407012127" sldId="272"/>
            <ac:spMk id="56" creationId="{AB75EFCB-9CF8-E594-84D7-EC168A8AD406}"/>
          </ac:spMkLst>
        </pc:spChg>
        <pc:spChg chg="mod ord">
          <ac:chgData name="Joelle Brehm" userId="a518f54c-6985-42c0-8041-2bb16a414839" providerId="ADAL" clId="{9E52C8A6-326C-473A-BC21-4CED010AFA79}" dt="2023-09-06T18:11:43.542" v="24794"/>
          <ac:spMkLst>
            <pc:docMk/>
            <pc:sldMk cId="1407012127" sldId="272"/>
            <ac:spMk id="72" creationId="{E9A305E6-E2FF-42BD-A4C9-5026A51C421A}"/>
          </ac:spMkLst>
        </pc:spChg>
        <pc:spChg chg="mod ord">
          <ac:chgData name="Joelle Brehm" userId="a518f54c-6985-42c0-8041-2bb16a414839" providerId="ADAL" clId="{9E52C8A6-326C-473A-BC21-4CED010AFA79}" dt="2023-09-06T18:11:43.536" v="24773"/>
          <ac:spMkLst>
            <pc:docMk/>
            <pc:sldMk cId="1407012127" sldId="272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11:43.537" v="24775"/>
          <ac:spMkLst>
            <pc:docMk/>
            <pc:sldMk cId="1407012127" sldId="272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11:43.538" v="24777"/>
          <ac:spMkLst>
            <pc:docMk/>
            <pc:sldMk cId="1407012127" sldId="272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11:43.538" v="24779"/>
          <ac:spMkLst>
            <pc:docMk/>
            <pc:sldMk cId="1407012127" sldId="272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11:43.539" v="24781"/>
          <ac:spMkLst>
            <pc:docMk/>
            <pc:sldMk cId="1407012127" sldId="272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11:43.539" v="24783"/>
          <ac:spMkLst>
            <pc:docMk/>
            <pc:sldMk cId="1407012127" sldId="272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11:43.540" v="24786"/>
          <ac:spMkLst>
            <pc:docMk/>
            <pc:sldMk cId="1407012127" sldId="272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1:43.540" v="24787"/>
          <ac:spMkLst>
            <pc:docMk/>
            <pc:sldMk cId="1407012127" sldId="272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1:43.541" v="24788"/>
          <ac:spMkLst>
            <pc:docMk/>
            <pc:sldMk cId="1407012127" sldId="272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1:43.541" v="24789"/>
          <ac:spMkLst>
            <pc:docMk/>
            <pc:sldMk cId="1407012127" sldId="272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11:43.541" v="24790"/>
          <ac:spMkLst>
            <pc:docMk/>
            <pc:sldMk cId="1407012127" sldId="27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11:43.554" v="24802"/>
          <ac:graphicFrameMkLst>
            <pc:docMk/>
            <pc:sldMk cId="1407012127" sldId="27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10:53.628" v="23055"/>
          <ac:graphicFrameMkLst>
            <pc:docMk/>
            <pc:sldMk cId="1407012127" sldId="272"/>
            <ac:graphicFrameMk id="8" creationId="{6BEC2761-F603-4E9A-F923-CCA2AB9930D5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1:43.525" v="24735"/>
          <ac:graphicFrameMkLst>
            <pc:docMk/>
            <pc:sldMk cId="1407012127" sldId="272"/>
            <ac:graphicFrameMk id="9" creationId="{1EE81E13-4C98-8CD2-A61A-49D3E1A21E81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1:29.797" v="24025"/>
          <ac:graphicFrameMkLst>
            <pc:docMk/>
            <pc:sldMk cId="1407012127" sldId="272"/>
            <ac:graphicFrameMk id="47" creationId="{9A886918-D764-EEF0-7A02-F98F59C7AD05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1:32.042" v="24341"/>
          <ac:graphicFrameMkLst>
            <pc:docMk/>
            <pc:sldMk cId="1407012127" sldId="272"/>
            <ac:graphicFrameMk id="49" creationId="{08E8F9FB-10A2-0217-5AE2-51BF7B3E6EE7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1:43.503" v="24721"/>
          <ac:graphicFrameMkLst>
            <pc:docMk/>
            <pc:sldMk cId="1407012127" sldId="272"/>
            <ac:graphicFrameMk id="52" creationId="{A54F0DA4-F042-0EC8-F83F-D7217CF8E1B5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1:28.190" v="23828"/>
          <ac:graphicFrameMkLst>
            <pc:docMk/>
            <pc:sldMk cId="1407012127" sldId="272"/>
            <ac:graphicFrameMk id="54" creationId="{F6CF7236-474F-768F-8D5F-A3B198444F5E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1:43.540" v="24785"/>
          <ac:graphicFrameMkLst>
            <pc:docMk/>
            <pc:sldMk cId="1407012127" sldId="272"/>
            <ac:graphicFrameMk id="55" creationId="{03F2AD63-B6AE-3B70-0380-9408B20A8F5F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1:43.532" v="24759"/>
          <ac:graphicFrameMkLst>
            <pc:docMk/>
            <pc:sldMk cId="1407012127" sldId="272"/>
            <ac:graphicFrameMk id="57" creationId="{A0C210B8-F2C9-EBC0-41B3-A27EAA8C43E3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1:38.633" v="24566"/>
          <ac:graphicFrameMkLst>
            <pc:docMk/>
            <pc:sldMk cId="1407012127" sldId="272"/>
            <ac:graphicFrameMk id="59" creationId="{0AC56E9F-DB72-D85E-486F-CA18A78D1133}"/>
          </ac:graphicFrameMkLst>
        </pc:graphicFrameChg>
        <pc:picChg chg="del mod ord">
          <ac:chgData name="Joelle Brehm" userId="a518f54c-6985-42c0-8041-2bb16a414839" providerId="ADAL" clId="{9E52C8A6-326C-473A-BC21-4CED010AFA79}" dt="2023-09-06T18:11:11.238" v="23225" actId="478"/>
          <ac:picMkLst>
            <pc:docMk/>
            <pc:sldMk cId="1407012127" sldId="272"/>
            <ac:picMk id="10" creationId="{50EBC07E-D0A3-CF36-3ADB-F122177F54D4}"/>
          </ac:picMkLst>
        </pc:picChg>
        <pc:picChg chg="add mod ord">
          <ac:chgData name="Joelle Brehm" userId="a518f54c-6985-42c0-8041-2bb16a414839" providerId="ADAL" clId="{9E52C8A6-326C-473A-BC21-4CED010AFA79}" dt="2023-09-06T18:11:43.523" v="24729"/>
          <ac:picMkLst>
            <pc:docMk/>
            <pc:sldMk cId="1407012127" sldId="272"/>
            <ac:picMk id="42" creationId="{4FFFA157-FBEF-DDF9-2061-017C65170725}"/>
          </ac:picMkLst>
        </pc:picChg>
        <pc:picChg chg="mod ord">
          <ac:chgData name="Joelle Brehm" userId="a518f54c-6985-42c0-8041-2bb16a414839" providerId="ADAL" clId="{9E52C8A6-326C-473A-BC21-4CED010AFA79}" dt="2023-09-06T18:11:43.542" v="24792"/>
          <ac:picMkLst>
            <pc:docMk/>
            <pc:sldMk cId="1407012127" sldId="27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11:43.525" v="24733"/>
          <ac:cxnSpMkLst>
            <pc:docMk/>
            <pc:sldMk cId="1407012127" sldId="27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12:53.736" v="26328"/>
        <pc:sldMkLst>
          <pc:docMk/>
          <pc:sldMk cId="4005475890" sldId="273"/>
        </pc:sldMkLst>
        <pc:spChg chg="mod ord">
          <ac:chgData name="Joelle Brehm" userId="a518f54c-6985-42c0-8041-2bb16a414839" providerId="ADAL" clId="{9E52C8A6-326C-473A-BC21-4CED010AFA79}" dt="2023-09-06T18:12:53.714" v="26322"/>
          <ac:spMkLst>
            <pc:docMk/>
            <pc:sldMk cId="4005475890" sldId="273"/>
            <ac:spMk id="2" creationId="{072E23F3-409C-46DC-8EB8-140BD200F8C6}"/>
          </ac:spMkLst>
        </pc:spChg>
        <pc:spChg chg="add del mod ord">
          <ac:chgData name="Joelle Brehm" userId="a518f54c-6985-42c0-8041-2bb16a414839" providerId="ADAL" clId="{9E52C8A6-326C-473A-BC21-4CED010AFA79}" dt="2023-09-06T18:12:33.439" v="25163" actId="478"/>
          <ac:spMkLst>
            <pc:docMk/>
            <pc:sldMk cId="4005475890" sldId="273"/>
            <ac:spMk id="3" creationId="{75AB61F8-3E45-5A48-3F07-129AF8555B69}"/>
          </ac:spMkLst>
        </pc:spChg>
        <pc:spChg chg="add del mod modVis">
          <ac:chgData name="Joelle Brehm" userId="a518f54c-6985-42c0-8041-2bb16a414839" providerId="ADAL" clId="{9E52C8A6-326C-473A-BC21-4CED010AFA79}" dt="2023-09-06T18:12:01.920" v="25070"/>
          <ac:spMkLst>
            <pc:docMk/>
            <pc:sldMk cId="4005475890" sldId="273"/>
            <ac:spMk id="5" creationId="{6DD83378-0A51-E742-EB2D-08A31E35ECAD}"/>
          </ac:spMkLst>
        </pc:spChg>
        <pc:spChg chg="mod ord">
          <ac:chgData name="Joelle Brehm" userId="a518f54c-6985-42c0-8041-2bb16a414839" providerId="ADAL" clId="{9E52C8A6-326C-473A-BC21-4CED010AFA79}" dt="2023-09-06T18:12:53.671" v="26257"/>
          <ac:spMkLst>
            <pc:docMk/>
            <pc:sldMk cId="4005475890" sldId="273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12:53.676" v="26268"/>
          <ac:spMkLst>
            <pc:docMk/>
            <pc:sldMk cId="4005475890" sldId="273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12:53.674" v="26264"/>
          <ac:spMkLst>
            <pc:docMk/>
            <pc:sldMk cId="4005475890" sldId="273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12:53.675" v="26266"/>
          <ac:spMkLst>
            <pc:docMk/>
            <pc:sldMk cId="4005475890" sldId="273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12:53.673" v="26262"/>
          <ac:spMkLst>
            <pc:docMk/>
            <pc:sldMk cId="4005475890" sldId="273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12:53.674" v="26265"/>
          <ac:spMkLst>
            <pc:docMk/>
            <pc:sldMk cId="4005475890" sldId="273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12:53.674" v="26263"/>
          <ac:spMkLst>
            <pc:docMk/>
            <pc:sldMk cId="4005475890" sldId="273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12:53.675" v="26267"/>
          <ac:spMkLst>
            <pc:docMk/>
            <pc:sldMk cId="4005475890" sldId="273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12:53.677" v="26269"/>
          <ac:spMkLst>
            <pc:docMk/>
            <pc:sldMk cId="4005475890" sldId="273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12:53.677" v="26270"/>
          <ac:spMkLst>
            <pc:docMk/>
            <pc:sldMk cId="4005475890" sldId="273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12:53.678" v="26271"/>
          <ac:spMkLst>
            <pc:docMk/>
            <pc:sldMk cId="4005475890" sldId="273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12:53.678" v="26272"/>
          <ac:spMkLst>
            <pc:docMk/>
            <pc:sldMk cId="4005475890" sldId="273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12:53.679" v="26273"/>
          <ac:spMkLst>
            <pc:docMk/>
            <pc:sldMk cId="4005475890" sldId="273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12:53.680" v="26275"/>
          <ac:spMkLst>
            <pc:docMk/>
            <pc:sldMk cId="4005475890" sldId="273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12:53.682" v="26278"/>
          <ac:spMkLst>
            <pc:docMk/>
            <pc:sldMk cId="4005475890" sldId="273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12:53.681" v="26276"/>
          <ac:spMkLst>
            <pc:docMk/>
            <pc:sldMk cId="4005475890" sldId="273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12:53.682" v="26277"/>
          <ac:spMkLst>
            <pc:docMk/>
            <pc:sldMk cId="4005475890" sldId="273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12:53.683" v="26280"/>
          <ac:spMkLst>
            <pc:docMk/>
            <pc:sldMk cId="4005475890" sldId="273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12:53.682" v="26279"/>
          <ac:spMkLst>
            <pc:docMk/>
            <pc:sldMk cId="4005475890" sldId="273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12:53.683" v="26281"/>
          <ac:spMkLst>
            <pc:docMk/>
            <pc:sldMk cId="4005475890" sldId="273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12:53.685" v="26283"/>
          <ac:spMkLst>
            <pc:docMk/>
            <pc:sldMk cId="4005475890" sldId="273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8:12:53.692" v="26294"/>
          <ac:spMkLst>
            <pc:docMk/>
            <pc:sldMk cId="4005475890" sldId="273"/>
            <ac:spMk id="32" creationId="{73FBDD3F-B046-DCA8-2889-DF2C26DB5351}"/>
          </ac:spMkLst>
        </pc:spChg>
        <pc:spChg chg="mod">
          <ac:chgData name="Joelle Brehm" userId="a518f54c-6985-42c0-8041-2bb16a414839" providerId="ADAL" clId="{9E52C8A6-326C-473A-BC21-4CED010AFA79}" dt="2023-09-06T18:12:53.692" v="26295"/>
          <ac:spMkLst>
            <pc:docMk/>
            <pc:sldMk cId="4005475890" sldId="273"/>
            <ac:spMk id="33" creationId="{DD197FE7-3589-FD89-6611-B0D101E5EA5C}"/>
          </ac:spMkLst>
        </pc:spChg>
        <pc:spChg chg="mod">
          <ac:chgData name="Joelle Brehm" userId="a518f54c-6985-42c0-8041-2bb16a414839" providerId="ADAL" clId="{9E52C8A6-326C-473A-BC21-4CED010AFA79}" dt="2023-09-06T18:12:53.690" v="26292"/>
          <ac:spMkLst>
            <pc:docMk/>
            <pc:sldMk cId="4005475890" sldId="273"/>
            <ac:spMk id="34" creationId="{A2B9B97E-B334-BC21-89F0-0EE0D8109A92}"/>
          </ac:spMkLst>
        </pc:spChg>
        <pc:spChg chg="mod">
          <ac:chgData name="Joelle Brehm" userId="a518f54c-6985-42c0-8041-2bb16a414839" providerId="ADAL" clId="{9E52C8A6-326C-473A-BC21-4CED010AFA79}" dt="2023-09-06T18:12:53.691" v="26293"/>
          <ac:spMkLst>
            <pc:docMk/>
            <pc:sldMk cId="4005475890" sldId="273"/>
            <ac:spMk id="36" creationId="{2EDF94C4-61E5-066D-4CC5-2CF1F259F61A}"/>
          </ac:spMkLst>
        </pc:spChg>
        <pc:spChg chg="mod">
          <ac:chgData name="Joelle Brehm" userId="a518f54c-6985-42c0-8041-2bb16a414839" providerId="ADAL" clId="{9E52C8A6-326C-473A-BC21-4CED010AFA79}" dt="2023-09-06T18:12:53.693" v="26296"/>
          <ac:spMkLst>
            <pc:docMk/>
            <pc:sldMk cId="4005475890" sldId="273"/>
            <ac:spMk id="37" creationId="{5DD7E90F-9520-0EAD-1E3D-1C0CF22BD274}"/>
          </ac:spMkLst>
        </pc:spChg>
        <pc:spChg chg="add mod replST">
          <ac:chgData name="Joelle Brehm" userId="a518f54c-6985-42c0-8041-2bb16a414839" providerId="ADAL" clId="{9E52C8A6-326C-473A-BC21-4CED010AFA79}" dt="2023-09-06T18:12:53.693" v="26297"/>
          <ac:spMkLst>
            <pc:docMk/>
            <pc:sldMk cId="4005475890" sldId="273"/>
            <ac:spMk id="38" creationId="{8B5BCAB4-60F8-4FD5-A40F-97245FABCE9A}"/>
          </ac:spMkLst>
        </pc:spChg>
        <pc:spChg chg="add del mod modVis">
          <ac:chgData name="Joelle Brehm" userId="a518f54c-6985-42c0-8041-2bb16a414839" providerId="ADAL" clId="{9E52C8A6-326C-473A-BC21-4CED010AFA79}" dt="2023-09-06T18:12:45.309" v="25718"/>
          <ac:spMkLst>
            <pc:docMk/>
            <pc:sldMk cId="4005475890" sldId="273"/>
            <ac:spMk id="39" creationId="{FF1CB239-6FE6-F16F-0770-529D8D5A608E}"/>
          </ac:spMkLst>
        </pc:spChg>
        <pc:spChg chg="add del mod modVis">
          <ac:chgData name="Joelle Brehm" userId="a518f54c-6985-42c0-8041-2bb16a414839" providerId="ADAL" clId="{9E52C8A6-326C-473A-BC21-4CED010AFA79}" dt="2023-09-06T18:12:46.869" v="25928"/>
          <ac:spMkLst>
            <pc:docMk/>
            <pc:sldMk cId="4005475890" sldId="273"/>
            <ac:spMk id="41" creationId="{9CAE4550-3E4E-A522-382B-4BC357EA7093}"/>
          </ac:spMkLst>
        </pc:spChg>
        <pc:spChg chg="add del mod modVis">
          <ac:chgData name="Joelle Brehm" userId="a518f54c-6985-42c0-8041-2bb16a414839" providerId="ADAL" clId="{9E52C8A6-326C-473A-BC21-4CED010AFA79}" dt="2023-09-06T18:12:48.509" v="26126"/>
          <ac:spMkLst>
            <pc:docMk/>
            <pc:sldMk cId="4005475890" sldId="273"/>
            <ac:spMk id="43" creationId="{7EE31D38-A273-527A-4EF7-558DBE9B3B36}"/>
          </ac:spMkLst>
        </pc:spChg>
        <pc:spChg chg="add del mod modVis">
          <ac:chgData name="Joelle Brehm" userId="a518f54c-6985-42c0-8041-2bb16a414839" providerId="ADAL" clId="{9E52C8A6-326C-473A-BC21-4CED010AFA79}" dt="2023-09-06T18:12:53.717" v="26326"/>
          <ac:spMkLst>
            <pc:docMk/>
            <pc:sldMk cId="4005475890" sldId="273"/>
            <ac:spMk id="45" creationId="{9686E4C8-DBD8-5AFF-8DD9-66B4F884A807}"/>
          </ac:spMkLst>
        </pc:spChg>
        <pc:spChg chg="mod ord">
          <ac:chgData name="Joelle Brehm" userId="a518f54c-6985-42c0-8041-2bb16a414839" providerId="ADAL" clId="{9E52C8A6-326C-473A-BC21-4CED010AFA79}" dt="2023-09-06T18:12:53.712" v="26320"/>
          <ac:spMkLst>
            <pc:docMk/>
            <pc:sldMk cId="4005475890" sldId="273"/>
            <ac:spMk id="58" creationId="{FEC487CB-3123-46A1-8350-8669839FA870}"/>
          </ac:spMkLst>
        </pc:spChg>
        <pc:spChg chg="mod ord">
          <ac:chgData name="Joelle Brehm" userId="a518f54c-6985-42c0-8041-2bb16a414839" providerId="ADAL" clId="{9E52C8A6-326C-473A-BC21-4CED010AFA79}" dt="2023-09-06T18:12:53.696" v="26299"/>
          <ac:spMkLst>
            <pc:docMk/>
            <pc:sldMk cId="4005475890" sldId="273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12:53.697" v="26301"/>
          <ac:spMkLst>
            <pc:docMk/>
            <pc:sldMk cId="4005475890" sldId="273"/>
            <ac:spMk id="79" creationId="{F1476AC4-694B-4D83-BFD8-8DCAA4BB1923}"/>
          </ac:spMkLst>
        </pc:spChg>
        <pc:spChg chg="del mod">
          <ac:chgData name="Joelle Brehm" userId="a518f54c-6985-42c0-8041-2bb16a414839" providerId="ADAL" clId="{9E52C8A6-326C-473A-BC21-4CED010AFA79}" dt="2023-09-06T18:12:48.289" v="25931"/>
          <ac:spMkLst>
            <pc:docMk/>
            <pc:sldMk cId="4005475890" sldId="273"/>
            <ac:spMk id="8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688" v="26287"/>
          <ac:spMkLst>
            <pc:docMk/>
            <pc:sldMk cId="4005475890" sldId="273"/>
            <ac:spMk id="8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689" v="26288"/>
          <ac:spMkLst>
            <pc:docMk/>
            <pc:sldMk cId="4005475890" sldId="273"/>
            <ac:spMk id="8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689" v="26290"/>
          <ac:spMkLst>
            <pc:docMk/>
            <pc:sldMk cId="4005475890" sldId="273"/>
            <ac:spMk id="8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690" v="26291"/>
          <ac:spMkLst>
            <pc:docMk/>
            <pc:sldMk cId="4005475890" sldId="273"/>
            <ac:spMk id="8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689" v="26289"/>
          <ac:spMkLst>
            <pc:docMk/>
            <pc:sldMk cId="4005475890" sldId="273"/>
            <ac:spMk id="8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687" v="26286"/>
          <ac:spMkLst>
            <pc:docMk/>
            <pc:sldMk cId="4005475890" sldId="273"/>
            <ac:spMk id="86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12:53.699" v="26303"/>
          <ac:spMkLst>
            <pc:docMk/>
            <pc:sldMk cId="4005475890" sldId="273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12:53.700" v="26305"/>
          <ac:spMkLst>
            <pc:docMk/>
            <pc:sldMk cId="4005475890" sldId="273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12:53.702" v="26307"/>
          <ac:spMkLst>
            <pc:docMk/>
            <pc:sldMk cId="4005475890" sldId="273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12:53.704" v="26309"/>
          <ac:spMkLst>
            <pc:docMk/>
            <pc:sldMk cId="4005475890" sldId="273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12:53.706" v="26313"/>
          <ac:spMkLst>
            <pc:docMk/>
            <pc:sldMk cId="4005475890" sldId="273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706" v="26312"/>
          <ac:spMkLst>
            <pc:docMk/>
            <pc:sldMk cId="4005475890" sldId="273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708" v="26315"/>
          <ac:spMkLst>
            <pc:docMk/>
            <pc:sldMk cId="4005475890" sldId="273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2:53.710" v="26316"/>
          <ac:spMkLst>
            <pc:docMk/>
            <pc:sldMk cId="4005475890" sldId="273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12:53.707" v="26314"/>
          <ac:spMkLst>
            <pc:docMk/>
            <pc:sldMk cId="4005475890" sldId="273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12:53.736" v="26328"/>
          <ac:graphicFrameMkLst>
            <pc:docMk/>
            <pc:sldMk cId="4005475890" sldId="273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12:01.803" v="24987"/>
          <ac:graphicFrameMkLst>
            <pc:docMk/>
            <pc:sldMk cId="4005475890" sldId="273"/>
            <ac:graphicFrameMk id="8" creationId="{8E568FA2-9C7E-1BD9-D296-9AFB2A0D0B93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2:53.673" v="26261"/>
          <ac:graphicFrameMkLst>
            <pc:docMk/>
            <pc:sldMk cId="4005475890" sldId="273"/>
            <ac:graphicFrameMk id="10" creationId="{B519C2C9-623A-8BC2-84BD-2D1F9BBC4D9A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2:53.619" v="26247"/>
          <ac:graphicFrameMkLst>
            <pc:docMk/>
            <pc:sldMk cId="4005475890" sldId="273"/>
            <ac:graphicFrameMk id="35" creationId="{CD571E18-48F3-2CD2-DD4B-5A22880198EE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2:46.653" v="25826"/>
          <ac:graphicFrameMkLst>
            <pc:docMk/>
            <pc:sldMk cId="4005475890" sldId="273"/>
            <ac:graphicFrameMk id="40" creationId="{565B3E71-6202-9B26-6385-E004F30BB87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2:48.435" v="26047"/>
          <ac:graphicFrameMkLst>
            <pc:docMk/>
            <pc:sldMk cId="4005475890" sldId="273"/>
            <ac:graphicFrameMk id="42" creationId="{9ED4FA76-EB45-E22F-738F-3A65B82FA467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2:53.686" v="26285"/>
          <ac:graphicFrameMkLst>
            <pc:docMk/>
            <pc:sldMk cId="4005475890" sldId="273"/>
            <ac:graphicFrameMk id="44" creationId="{F70F1F47-6A22-C68E-C768-8E2BF16D83D2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2:53.705" v="26311"/>
          <ac:graphicFrameMkLst>
            <pc:docMk/>
            <pc:sldMk cId="4005475890" sldId="273"/>
            <ac:graphicFrameMk id="46" creationId="{AABA59AE-F367-364A-9DC0-E13F3F1F76BF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2:45.192" v="25630"/>
          <ac:graphicFrameMkLst>
            <pc:docMk/>
            <pc:sldMk cId="4005475890" sldId="273"/>
            <ac:graphicFrameMk id="49" creationId="{F6836028-B66D-B0A9-7F6B-53AB7EF0F726}"/>
          </ac:graphicFrameMkLst>
        </pc:graphicFrameChg>
        <pc:picChg chg="del mod ord">
          <ac:chgData name="Joelle Brehm" userId="a518f54c-6985-42c0-8041-2bb16a414839" providerId="ADAL" clId="{9E52C8A6-326C-473A-BC21-4CED010AFA79}" dt="2023-09-06T18:12:31.299" v="25162" actId="478"/>
          <ac:picMkLst>
            <pc:docMk/>
            <pc:sldMk cId="4005475890" sldId="273"/>
            <ac:picMk id="9" creationId="{8EB9893B-ED8E-68C5-DA90-E1DE835AF016}"/>
          </ac:picMkLst>
        </pc:picChg>
        <pc:picChg chg="add mod ord">
          <ac:chgData name="Joelle Brehm" userId="a518f54c-6985-42c0-8041-2bb16a414839" providerId="ADAL" clId="{9E52C8A6-326C-473A-BC21-4CED010AFA79}" dt="2023-09-06T18:12:53.669" v="26255"/>
          <ac:picMkLst>
            <pc:docMk/>
            <pc:sldMk cId="4005475890" sldId="273"/>
            <ac:picMk id="31" creationId="{9B2964A5-4859-578A-C127-2B609E09585C}"/>
          </ac:picMkLst>
        </pc:picChg>
        <pc:picChg chg="mod ord">
          <ac:chgData name="Joelle Brehm" userId="a518f54c-6985-42c0-8041-2bb16a414839" providerId="ADAL" clId="{9E52C8A6-326C-473A-BC21-4CED010AFA79}" dt="2023-09-06T18:12:53.711" v="26318"/>
          <ac:picMkLst>
            <pc:docMk/>
            <pc:sldMk cId="4005475890" sldId="273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12:53.672" v="26259"/>
          <ac:cxnSpMkLst>
            <pc:docMk/>
            <pc:sldMk cId="4005475890" sldId="273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14:22.208" v="28849"/>
        <pc:sldMkLst>
          <pc:docMk/>
          <pc:sldMk cId="3374649050" sldId="274"/>
        </pc:sldMkLst>
        <pc:spChg chg="mod ord">
          <ac:chgData name="Joelle Brehm" userId="a518f54c-6985-42c0-8041-2bb16a414839" providerId="ADAL" clId="{9E52C8A6-326C-473A-BC21-4CED010AFA79}" dt="2023-09-06T18:14:22.197" v="28843"/>
          <ac:spMkLst>
            <pc:docMk/>
            <pc:sldMk cId="3374649050" sldId="274"/>
            <ac:spMk id="2" creationId="{5B9511BD-9A18-4BDB-8C3B-3627E48A258D}"/>
          </ac:spMkLst>
        </pc:spChg>
        <pc:spChg chg="add del mod ord">
          <ac:chgData name="Joelle Brehm" userId="a518f54c-6985-42c0-8041-2bb16a414839" providerId="ADAL" clId="{9E52C8A6-326C-473A-BC21-4CED010AFA79}" dt="2023-09-06T18:13:36.137" v="26674" actId="478"/>
          <ac:spMkLst>
            <pc:docMk/>
            <pc:sldMk cId="3374649050" sldId="274"/>
            <ac:spMk id="3" creationId="{6C081879-8FA8-1135-9C39-22DB7228A508}"/>
          </ac:spMkLst>
        </pc:spChg>
        <pc:spChg chg="add del mod modVis">
          <ac:chgData name="Joelle Brehm" userId="a518f54c-6985-42c0-8041-2bb16a414839" providerId="ADAL" clId="{9E52C8A6-326C-473A-BC21-4CED010AFA79}" dt="2023-09-06T18:13:16.654" v="26588"/>
          <ac:spMkLst>
            <pc:docMk/>
            <pc:sldMk cId="3374649050" sldId="274"/>
            <ac:spMk id="5" creationId="{5BA84680-5B51-E8D7-B3D6-3A73DDF6F0AB}"/>
          </ac:spMkLst>
        </pc:spChg>
        <pc:spChg chg="mod ord">
          <ac:chgData name="Joelle Brehm" userId="a518f54c-6985-42c0-8041-2bb16a414839" providerId="ADAL" clId="{9E52C8A6-326C-473A-BC21-4CED010AFA79}" dt="2023-09-06T18:14:22.179" v="28778"/>
          <ac:spMkLst>
            <pc:docMk/>
            <pc:sldMk cId="3374649050" sldId="274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14:22.182" v="28790"/>
          <ac:spMkLst>
            <pc:docMk/>
            <pc:sldMk cId="3374649050" sldId="274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14:22.181" v="28786"/>
          <ac:spMkLst>
            <pc:docMk/>
            <pc:sldMk cId="3374649050" sldId="274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14:22.182" v="28789"/>
          <ac:spMkLst>
            <pc:docMk/>
            <pc:sldMk cId="3374649050" sldId="274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14:22.181" v="28785"/>
          <ac:spMkLst>
            <pc:docMk/>
            <pc:sldMk cId="3374649050" sldId="274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14:22.180" v="28783"/>
          <ac:spMkLst>
            <pc:docMk/>
            <pc:sldMk cId="3374649050" sldId="274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14:22.181" v="28788"/>
          <ac:spMkLst>
            <pc:docMk/>
            <pc:sldMk cId="3374649050" sldId="274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14:22.181" v="28787"/>
          <ac:spMkLst>
            <pc:docMk/>
            <pc:sldMk cId="3374649050" sldId="274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14:22.182" v="28791"/>
          <ac:spMkLst>
            <pc:docMk/>
            <pc:sldMk cId="3374649050" sldId="274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14:22.183" v="28792"/>
          <ac:spMkLst>
            <pc:docMk/>
            <pc:sldMk cId="3374649050" sldId="274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14:22.180" v="28784"/>
          <ac:spMkLst>
            <pc:docMk/>
            <pc:sldMk cId="3374649050" sldId="274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14:22.183" v="28793"/>
          <ac:spMkLst>
            <pc:docMk/>
            <pc:sldMk cId="3374649050" sldId="274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14:22.183" v="28794"/>
          <ac:spMkLst>
            <pc:docMk/>
            <pc:sldMk cId="3374649050" sldId="274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14:22.184" v="28796"/>
          <ac:spMkLst>
            <pc:docMk/>
            <pc:sldMk cId="3374649050" sldId="274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14:22.184" v="28797"/>
          <ac:spMkLst>
            <pc:docMk/>
            <pc:sldMk cId="3374649050" sldId="274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14:22.184" v="28798"/>
          <ac:spMkLst>
            <pc:docMk/>
            <pc:sldMk cId="3374649050" sldId="274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14:22.185" v="28799"/>
          <ac:spMkLst>
            <pc:docMk/>
            <pc:sldMk cId="3374649050" sldId="274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14:22.185" v="28800"/>
          <ac:spMkLst>
            <pc:docMk/>
            <pc:sldMk cId="3374649050" sldId="274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14:22.185" v="28801"/>
          <ac:spMkLst>
            <pc:docMk/>
            <pc:sldMk cId="3374649050" sldId="274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14:22.186" v="28802"/>
          <ac:spMkLst>
            <pc:docMk/>
            <pc:sldMk cId="3374649050" sldId="274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14:22.186" v="28804"/>
          <ac:spMkLst>
            <pc:docMk/>
            <pc:sldMk cId="3374649050" sldId="274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8:14:22.189" v="28816"/>
          <ac:spMkLst>
            <pc:docMk/>
            <pc:sldMk cId="3374649050" sldId="274"/>
            <ac:spMk id="32" creationId="{5324707A-1B1B-6212-8309-A11137DFC2A2}"/>
          </ac:spMkLst>
        </pc:spChg>
        <pc:spChg chg="mod">
          <ac:chgData name="Joelle Brehm" userId="a518f54c-6985-42c0-8041-2bb16a414839" providerId="ADAL" clId="{9E52C8A6-326C-473A-BC21-4CED010AFA79}" dt="2023-09-06T18:14:22.187" v="28809"/>
          <ac:spMkLst>
            <pc:docMk/>
            <pc:sldMk cId="3374649050" sldId="274"/>
            <ac:spMk id="33" creationId="{8A5C4479-0363-6F13-F887-8871FD03F34C}"/>
          </ac:spMkLst>
        </pc:spChg>
        <pc:spChg chg="mod">
          <ac:chgData name="Joelle Brehm" userId="a518f54c-6985-42c0-8041-2bb16a414839" providerId="ADAL" clId="{9E52C8A6-326C-473A-BC21-4CED010AFA79}" dt="2023-09-06T18:14:22.189" v="28815"/>
          <ac:spMkLst>
            <pc:docMk/>
            <pc:sldMk cId="3374649050" sldId="274"/>
            <ac:spMk id="35" creationId="{2802A121-31E5-DB0B-5B38-DE9CBE8BEA57}"/>
          </ac:spMkLst>
        </pc:spChg>
        <pc:spChg chg="mod">
          <ac:chgData name="Joelle Brehm" userId="a518f54c-6985-42c0-8041-2bb16a414839" providerId="ADAL" clId="{9E52C8A6-326C-473A-BC21-4CED010AFA79}" dt="2023-09-06T18:14:22.190" v="28817"/>
          <ac:spMkLst>
            <pc:docMk/>
            <pc:sldMk cId="3374649050" sldId="274"/>
            <ac:spMk id="36" creationId="{88575725-6998-54DE-FE5F-DCCF247F6A3F}"/>
          </ac:spMkLst>
        </pc:spChg>
        <pc:spChg chg="add del mod modVis">
          <ac:chgData name="Joelle Brehm" userId="a518f54c-6985-42c0-8041-2bb16a414839" providerId="ADAL" clId="{9E52C8A6-326C-473A-BC21-4CED010AFA79}" dt="2023-09-06T18:13:43.811" v="26915"/>
          <ac:spMkLst>
            <pc:docMk/>
            <pc:sldMk cId="3374649050" sldId="274"/>
            <ac:spMk id="37" creationId="{54D5290B-7BCB-40D9-401B-A03C1ABDB76C}"/>
          </ac:spMkLst>
        </pc:spChg>
        <pc:spChg chg="mod">
          <ac:chgData name="Joelle Brehm" userId="a518f54c-6985-42c0-8041-2bb16a414839" providerId="ADAL" clId="{9E52C8A6-326C-473A-BC21-4CED010AFA79}" dt="2023-09-06T18:14:22.189" v="28814"/>
          <ac:spMkLst>
            <pc:docMk/>
            <pc:sldMk cId="3374649050" sldId="274"/>
            <ac:spMk id="38" creationId="{1995B1DD-126C-92BA-1668-3B87C2F5B1E5}"/>
          </ac:spMkLst>
        </pc:spChg>
        <pc:spChg chg="add mod replST">
          <ac:chgData name="Joelle Brehm" userId="a518f54c-6985-42c0-8041-2bb16a414839" providerId="ADAL" clId="{9E52C8A6-326C-473A-BC21-4CED010AFA79}" dt="2023-09-06T18:14:22.190" v="28818"/>
          <ac:spMkLst>
            <pc:docMk/>
            <pc:sldMk cId="3374649050" sldId="274"/>
            <ac:spMk id="40" creationId="{8BA31CDF-8D43-74CD-D3E4-26F103CC0D3B}"/>
          </ac:spMkLst>
        </pc:spChg>
        <pc:spChg chg="add del mod modVis">
          <ac:chgData name="Joelle Brehm" userId="a518f54c-6985-42c0-8041-2bb16a414839" providerId="ADAL" clId="{9E52C8A6-326C-473A-BC21-4CED010AFA79}" dt="2023-09-06T18:13:49.459" v="27391"/>
          <ac:spMkLst>
            <pc:docMk/>
            <pc:sldMk cId="3374649050" sldId="274"/>
            <ac:spMk id="41" creationId="{7DC8FCAD-3CA2-90D8-F5BA-6B987B372146}"/>
          </ac:spMkLst>
        </pc:spChg>
        <pc:spChg chg="mod">
          <ac:chgData name="Joelle Brehm" userId="a518f54c-6985-42c0-8041-2bb16a414839" providerId="ADAL" clId="{9E52C8A6-326C-473A-BC21-4CED010AFA79}" dt="2023-09-06T18:14:22.194" v="28833"/>
          <ac:spMkLst>
            <pc:docMk/>
            <pc:sldMk cId="3374649050" sldId="274"/>
            <ac:spMk id="43" creationId="{71A50278-0560-C951-1F18-CA11BF2F6494}"/>
          </ac:spMkLst>
        </pc:spChg>
        <pc:spChg chg="add del mod modVis">
          <ac:chgData name="Joelle Brehm" userId="a518f54c-6985-42c0-8041-2bb16a414839" providerId="ADAL" clId="{9E52C8A6-326C-473A-BC21-4CED010AFA79}" dt="2023-09-06T18:13:51.949" v="27599"/>
          <ac:spMkLst>
            <pc:docMk/>
            <pc:sldMk cId="3374649050" sldId="274"/>
            <ac:spMk id="44" creationId="{33B1580E-7B05-C140-224C-2B8835B6D37B}"/>
          </ac:spMkLst>
        </pc:spChg>
        <pc:spChg chg="add del mod modVis">
          <ac:chgData name="Joelle Brehm" userId="a518f54c-6985-42c0-8041-2bb16a414839" providerId="ADAL" clId="{9E52C8A6-326C-473A-BC21-4CED010AFA79}" dt="2023-09-06T18:13:55.137" v="28173"/>
          <ac:spMkLst>
            <pc:docMk/>
            <pc:sldMk cId="3374649050" sldId="274"/>
            <ac:spMk id="46" creationId="{11F330F3-929B-80F3-7840-4E9B3148A890}"/>
          </ac:spMkLst>
        </pc:spChg>
        <pc:spChg chg="add del mod ord replST">
          <ac:chgData name="Joelle Brehm" userId="a518f54c-6985-42c0-8041-2bb16a414839" providerId="ADAL" clId="{9E52C8A6-326C-473A-BC21-4CED010AFA79}" dt="2023-09-06T18:14:22.151" v="28766"/>
          <ac:spMkLst>
            <pc:docMk/>
            <pc:sldMk cId="3374649050" sldId="274"/>
            <ac:spMk id="47" creationId="{7CAA3B95-4C78-4122-BECA-B5FB0F3F3764}"/>
          </ac:spMkLst>
        </pc:spChg>
        <pc:spChg chg="add del mod ord replST">
          <ac:chgData name="Joelle Brehm" userId="a518f54c-6985-42c0-8041-2bb16a414839" providerId="ADAL" clId="{9E52C8A6-326C-473A-BC21-4CED010AFA79}" dt="2023-09-06T18:14:16.859" v="28430"/>
          <ac:spMkLst>
            <pc:docMk/>
            <pc:sldMk cId="3374649050" sldId="274"/>
            <ac:spMk id="49" creationId="{7CAA3B95-4C78-4122-BECA-B5FB0F3F3764}"/>
          </ac:spMkLst>
        </pc:spChg>
        <pc:spChg chg="add del mod ord replST">
          <ac:chgData name="Joelle Brehm" userId="a518f54c-6985-42c0-8041-2bb16a414839" providerId="ADAL" clId="{9E52C8A6-326C-473A-BC21-4CED010AFA79}" dt="2023-09-06T18:14:16.860" v="28434"/>
          <ac:spMkLst>
            <pc:docMk/>
            <pc:sldMk cId="3374649050" sldId="274"/>
            <ac:spMk id="50" creationId="{7CAA3B95-4C78-4122-BECA-B5FB0F3F3764}"/>
          </ac:spMkLst>
        </pc:spChg>
        <pc:spChg chg="add del mod ord replST">
          <ac:chgData name="Joelle Brehm" userId="a518f54c-6985-42c0-8041-2bb16a414839" providerId="ADAL" clId="{9E52C8A6-326C-473A-BC21-4CED010AFA79}" dt="2023-09-06T18:14:16.864" v="28446"/>
          <ac:spMkLst>
            <pc:docMk/>
            <pc:sldMk cId="3374649050" sldId="274"/>
            <ac:spMk id="51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14:04.365" v="28341"/>
          <ac:spMkLst>
            <pc:docMk/>
            <pc:sldMk cId="3374649050" sldId="274"/>
            <ac:spMk id="53" creationId="{A95566E8-74C1-FDCA-45E4-0378008AB300}"/>
          </ac:spMkLst>
        </pc:spChg>
        <pc:spChg chg="add del mod modVis">
          <ac:chgData name="Joelle Brehm" userId="a518f54c-6985-42c0-8041-2bb16a414839" providerId="ADAL" clId="{9E52C8A6-326C-473A-BC21-4CED010AFA79}" dt="2023-09-06T18:14:16.907" v="28537"/>
          <ac:spMkLst>
            <pc:docMk/>
            <pc:sldMk cId="3374649050" sldId="274"/>
            <ac:spMk id="55" creationId="{478AFD7B-066D-0DF8-D82E-7BCAEEE4A947}"/>
          </ac:spMkLst>
        </pc:spChg>
        <pc:spChg chg="add del mod modVis">
          <ac:chgData name="Joelle Brehm" userId="a518f54c-6985-42c0-8041-2bb16a414839" providerId="ADAL" clId="{9E52C8A6-326C-473A-BC21-4CED010AFA79}" dt="2023-09-06T18:14:19.372" v="28692"/>
          <ac:spMkLst>
            <pc:docMk/>
            <pc:sldMk cId="3374649050" sldId="274"/>
            <ac:spMk id="57" creationId="{E1A1EDE9-BC3F-10C5-3EBF-B3C3BE3D2000}"/>
          </ac:spMkLst>
        </pc:spChg>
        <pc:spChg chg="mod ord">
          <ac:chgData name="Joelle Brehm" userId="a518f54c-6985-42c0-8041-2bb16a414839" providerId="ADAL" clId="{9E52C8A6-326C-473A-BC21-4CED010AFA79}" dt="2023-09-06T18:14:22.196" v="28841"/>
          <ac:spMkLst>
            <pc:docMk/>
            <pc:sldMk cId="3374649050" sldId="274"/>
            <ac:spMk id="58" creationId="{5BBF118A-F952-4AA1-8B74-92A00B5F6171}"/>
          </ac:spMkLst>
        </pc:spChg>
        <pc:spChg chg="add del mod modVis">
          <ac:chgData name="Joelle Brehm" userId="a518f54c-6985-42c0-8041-2bb16a414839" providerId="ADAL" clId="{9E52C8A6-326C-473A-BC21-4CED010AFA79}" dt="2023-09-06T18:14:22.198" v="28847"/>
          <ac:spMkLst>
            <pc:docMk/>
            <pc:sldMk cId="3374649050" sldId="274"/>
            <ac:spMk id="60" creationId="{EF70003B-2D97-2581-EA2A-95F9B36E6092}"/>
          </ac:spMkLst>
        </pc:spChg>
        <pc:spChg chg="mod ord">
          <ac:chgData name="Joelle Brehm" userId="a518f54c-6985-42c0-8041-2bb16a414839" providerId="ADAL" clId="{9E52C8A6-326C-473A-BC21-4CED010AFA79}" dt="2023-09-06T18:14:22.190" v="28820"/>
          <ac:spMkLst>
            <pc:docMk/>
            <pc:sldMk cId="3374649050" sldId="274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14:22.191" v="28822"/>
          <ac:spMkLst>
            <pc:docMk/>
            <pc:sldMk cId="3374649050" sldId="274"/>
            <ac:spMk id="79" creationId="{F1476AC4-694B-4D83-BFD8-8DCAA4BB1923}"/>
          </ac:spMkLst>
        </pc:spChg>
        <pc:spChg chg="del mod">
          <ac:chgData name="Joelle Brehm" userId="a518f54c-6985-42c0-8041-2bb16a414839" providerId="ADAL" clId="{9E52C8A6-326C-473A-BC21-4CED010AFA79}" dt="2023-09-06T18:13:53.943" v="27602"/>
          <ac:spMkLst>
            <pc:docMk/>
            <pc:sldMk cId="3374649050" sldId="274"/>
            <ac:spMk id="8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88" v="28810"/>
          <ac:spMkLst>
            <pc:docMk/>
            <pc:sldMk cId="3374649050" sldId="274"/>
            <ac:spMk id="8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88" v="28811"/>
          <ac:spMkLst>
            <pc:docMk/>
            <pc:sldMk cId="3374649050" sldId="274"/>
            <ac:spMk id="8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88" v="28813"/>
          <ac:spMkLst>
            <pc:docMk/>
            <pc:sldMk cId="3374649050" sldId="274"/>
            <ac:spMk id="8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87" v="28808"/>
          <ac:spMkLst>
            <pc:docMk/>
            <pc:sldMk cId="3374649050" sldId="274"/>
            <ac:spMk id="8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87" v="28807"/>
          <ac:spMkLst>
            <pc:docMk/>
            <pc:sldMk cId="3374649050" sldId="274"/>
            <ac:spMk id="8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88" v="28812"/>
          <ac:spMkLst>
            <pc:docMk/>
            <pc:sldMk cId="3374649050" sldId="274"/>
            <ac:spMk id="87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14:22.192" v="28824"/>
          <ac:spMkLst>
            <pc:docMk/>
            <pc:sldMk cId="3374649050" sldId="274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14:22.192" v="28826"/>
          <ac:spMkLst>
            <pc:docMk/>
            <pc:sldMk cId="3374649050" sldId="274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14:22.193" v="28828"/>
          <ac:spMkLst>
            <pc:docMk/>
            <pc:sldMk cId="3374649050" sldId="274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14:22.193" v="28830"/>
          <ac:spMkLst>
            <pc:docMk/>
            <pc:sldMk cId="3374649050" sldId="274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14:22.194" v="28834"/>
          <ac:spMkLst>
            <pc:docMk/>
            <pc:sldMk cId="3374649050" sldId="274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94" v="28835"/>
          <ac:spMkLst>
            <pc:docMk/>
            <pc:sldMk cId="3374649050" sldId="274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4:22.195" v="28836"/>
          <ac:spMkLst>
            <pc:docMk/>
            <pc:sldMk cId="3374649050" sldId="274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14:22.195" v="28837"/>
          <ac:spMkLst>
            <pc:docMk/>
            <pc:sldMk cId="3374649050" sldId="274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14:22.208" v="28849"/>
          <ac:graphicFrameMkLst>
            <pc:docMk/>
            <pc:sldMk cId="3374649050" sldId="274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13:16.557" v="26505"/>
          <ac:graphicFrameMkLst>
            <pc:docMk/>
            <pc:sldMk cId="3374649050" sldId="274"/>
            <ac:graphicFrameMk id="8" creationId="{89FD22BC-5DE5-049C-8342-10AD9452BAD5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4:22.179" v="28782"/>
          <ac:graphicFrameMkLst>
            <pc:docMk/>
            <pc:sldMk cId="3374649050" sldId="274"/>
            <ac:graphicFrameMk id="10" creationId="{C03181CE-DB01-F685-17D6-D2B87D28A29A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3:43.736" v="26836"/>
          <ac:graphicFrameMkLst>
            <pc:docMk/>
            <pc:sldMk cId="3374649050" sldId="274"/>
            <ac:graphicFrameMk id="34" creationId="{2CE9DDE4-F53C-B40D-B189-3094DD802829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4:22.194" v="28832"/>
          <ac:graphicFrameMkLst>
            <pc:docMk/>
            <pc:sldMk cId="3374649050" sldId="274"/>
            <ac:graphicFrameMk id="39" creationId="{B6C1E0A4-6E34-F4C7-A7C8-7F21D5D53CE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3:51.838" v="27499"/>
          <ac:graphicFrameMkLst>
            <pc:docMk/>
            <pc:sldMk cId="3374649050" sldId="274"/>
            <ac:graphicFrameMk id="42" creationId="{64E3DA47-DEDC-942E-B123-4417B37C36B3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3:55.053" v="28082"/>
          <ac:graphicFrameMkLst>
            <pc:docMk/>
            <pc:sldMk cId="3374649050" sldId="274"/>
            <ac:graphicFrameMk id="45" creationId="{0525F372-DDEF-D130-0A89-5BC7F663E92E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3:49.412" v="27307"/>
          <ac:graphicFrameMkLst>
            <pc:docMk/>
            <pc:sldMk cId="3374649050" sldId="274"/>
            <ac:graphicFrameMk id="48" creationId="{BA23BA74-3DDE-8006-9340-5ED39C7A26B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4:04.315" v="28254"/>
          <ac:graphicFrameMkLst>
            <pc:docMk/>
            <pc:sldMk cId="3374649050" sldId="274"/>
            <ac:graphicFrameMk id="52" creationId="{45B3E8B1-DAC7-950D-04D0-A4D93AAAD227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4:16.867" v="28456"/>
          <ac:graphicFrameMkLst>
            <pc:docMk/>
            <pc:sldMk cId="3374649050" sldId="274"/>
            <ac:graphicFrameMk id="54" creationId="{9D6FB41A-5D9C-9C43-72D4-223F605011A1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4:19.294" v="28611"/>
          <ac:graphicFrameMkLst>
            <pc:docMk/>
            <pc:sldMk cId="3374649050" sldId="274"/>
            <ac:graphicFrameMk id="56" creationId="{80D3F5F0-5E3E-523E-E996-8D025261B88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4:22.152" v="28768"/>
          <ac:graphicFrameMkLst>
            <pc:docMk/>
            <pc:sldMk cId="3374649050" sldId="274"/>
            <ac:graphicFrameMk id="59" creationId="{153576FD-E187-0317-F0EA-1D56FA001817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4:22.187" v="28806"/>
          <ac:graphicFrameMkLst>
            <pc:docMk/>
            <pc:sldMk cId="3374649050" sldId="274"/>
            <ac:graphicFrameMk id="61" creationId="{8ABE7991-345B-4333-F9A5-937BB5FD9189}"/>
          </ac:graphicFrameMkLst>
        </pc:graphicFrameChg>
        <pc:picChg chg="del mod ord">
          <ac:chgData name="Joelle Brehm" userId="a518f54c-6985-42c0-8041-2bb16a414839" providerId="ADAL" clId="{9E52C8A6-326C-473A-BC21-4CED010AFA79}" dt="2023-09-06T18:13:34.158" v="26673" actId="478"/>
          <ac:picMkLst>
            <pc:docMk/>
            <pc:sldMk cId="3374649050" sldId="274"/>
            <ac:picMk id="9" creationId="{FF0B03D8-0D9A-1DBB-4083-EDA071118CE5}"/>
          </ac:picMkLst>
        </pc:picChg>
        <pc:picChg chg="add mod ord">
          <ac:chgData name="Joelle Brehm" userId="a518f54c-6985-42c0-8041-2bb16a414839" providerId="ADAL" clId="{9E52C8A6-326C-473A-BC21-4CED010AFA79}" dt="2023-09-06T18:14:22.178" v="28776"/>
          <ac:picMkLst>
            <pc:docMk/>
            <pc:sldMk cId="3374649050" sldId="274"/>
            <ac:picMk id="31" creationId="{9E38E314-41AB-346D-D472-FCD56EC66821}"/>
          </ac:picMkLst>
        </pc:picChg>
        <pc:picChg chg="mod ord">
          <ac:chgData name="Joelle Brehm" userId="a518f54c-6985-42c0-8041-2bb16a414839" providerId="ADAL" clId="{9E52C8A6-326C-473A-BC21-4CED010AFA79}" dt="2023-09-06T18:14:22.196" v="28839"/>
          <ac:picMkLst>
            <pc:docMk/>
            <pc:sldMk cId="3374649050" sldId="27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14:22.179" v="28780"/>
          <ac:cxnSpMkLst>
            <pc:docMk/>
            <pc:sldMk cId="3374649050" sldId="27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15:33.461" v="30546"/>
        <pc:sldMkLst>
          <pc:docMk/>
          <pc:sldMk cId="592117244" sldId="275"/>
        </pc:sldMkLst>
        <pc:spChg chg="add del mod ord">
          <ac:chgData name="Joelle Brehm" userId="a518f54c-6985-42c0-8041-2bb16a414839" providerId="ADAL" clId="{9E52C8A6-326C-473A-BC21-4CED010AFA79}" dt="2023-09-06T18:15:06.746" v="29204" actId="478"/>
          <ac:spMkLst>
            <pc:docMk/>
            <pc:sldMk cId="592117244" sldId="275"/>
            <ac:spMk id="2" creationId="{F4D4ECF4-34E0-B8AA-E92F-CFD3AF656303}"/>
          </ac:spMkLst>
        </pc:spChg>
        <pc:spChg chg="mod ord">
          <ac:chgData name="Joelle Brehm" userId="a518f54c-6985-42c0-8041-2bb16a414839" providerId="ADAL" clId="{9E52C8A6-326C-473A-BC21-4CED010AFA79}" dt="2023-09-06T18:15:33.451" v="30542"/>
          <ac:spMkLst>
            <pc:docMk/>
            <pc:sldMk cId="592117244" sldId="275"/>
            <ac:spMk id="3" creationId="{0C27DD68-4A51-4792-857F-F431DC7C99BB}"/>
          </ac:spMkLst>
        </pc:spChg>
        <pc:spChg chg="add del mod modVis">
          <ac:chgData name="Joelle Brehm" userId="a518f54c-6985-42c0-8041-2bb16a414839" providerId="ADAL" clId="{9E52C8A6-326C-473A-BC21-4CED010AFA79}" dt="2023-09-06T18:14:51.675" v="29118"/>
          <ac:spMkLst>
            <pc:docMk/>
            <pc:sldMk cId="592117244" sldId="275"/>
            <ac:spMk id="5" creationId="{6EE3C8FF-589E-C903-B19E-C9CC506CCA7C}"/>
          </ac:spMkLst>
        </pc:spChg>
        <pc:spChg chg="mod ord">
          <ac:chgData name="Joelle Brehm" userId="a518f54c-6985-42c0-8041-2bb16a414839" providerId="ADAL" clId="{9E52C8A6-326C-473A-BC21-4CED010AFA79}" dt="2023-09-06T18:15:33.431" v="30477"/>
          <ac:spMkLst>
            <pc:docMk/>
            <pc:sldMk cId="592117244" sldId="275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15:33.434" v="30482"/>
          <ac:spMkLst>
            <pc:docMk/>
            <pc:sldMk cId="592117244" sldId="275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15:33.434" v="30487"/>
          <ac:spMkLst>
            <pc:docMk/>
            <pc:sldMk cId="592117244" sldId="275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15:33.435" v="30489"/>
          <ac:spMkLst>
            <pc:docMk/>
            <pc:sldMk cId="592117244" sldId="275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15:33.434" v="30485"/>
          <ac:spMkLst>
            <pc:docMk/>
            <pc:sldMk cId="592117244" sldId="275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15:33.434" v="30483"/>
          <ac:spMkLst>
            <pc:docMk/>
            <pc:sldMk cId="592117244" sldId="275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15:33.434" v="30486"/>
          <ac:spMkLst>
            <pc:docMk/>
            <pc:sldMk cId="592117244" sldId="275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15:33.435" v="30490"/>
          <ac:spMkLst>
            <pc:docMk/>
            <pc:sldMk cId="592117244" sldId="275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15:33.435" v="30488"/>
          <ac:spMkLst>
            <pc:docMk/>
            <pc:sldMk cId="592117244" sldId="275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15:33.435" v="30491"/>
          <ac:spMkLst>
            <pc:docMk/>
            <pc:sldMk cId="592117244" sldId="275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15:33.436" v="30492"/>
          <ac:spMkLst>
            <pc:docMk/>
            <pc:sldMk cId="592117244" sldId="275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15:33.436" v="30493"/>
          <ac:spMkLst>
            <pc:docMk/>
            <pc:sldMk cId="592117244" sldId="275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15:33.434" v="30484"/>
          <ac:spMkLst>
            <pc:docMk/>
            <pc:sldMk cId="592117244" sldId="275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15:33.436" v="30495"/>
          <ac:spMkLst>
            <pc:docMk/>
            <pc:sldMk cId="592117244" sldId="275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15:33.438" v="30498"/>
          <ac:spMkLst>
            <pc:docMk/>
            <pc:sldMk cId="592117244" sldId="275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15:33.438" v="30497"/>
          <ac:spMkLst>
            <pc:docMk/>
            <pc:sldMk cId="592117244" sldId="275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15:33.438" v="30496"/>
          <ac:spMkLst>
            <pc:docMk/>
            <pc:sldMk cId="592117244" sldId="275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15:33.438" v="30500"/>
          <ac:spMkLst>
            <pc:docMk/>
            <pc:sldMk cId="592117244" sldId="275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15:33.438" v="30499"/>
          <ac:spMkLst>
            <pc:docMk/>
            <pc:sldMk cId="592117244" sldId="275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15:33.439" v="30501"/>
          <ac:spMkLst>
            <pc:docMk/>
            <pc:sldMk cId="592117244" sldId="275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15:33.439" v="30503"/>
          <ac:spMkLst>
            <pc:docMk/>
            <pc:sldMk cId="592117244" sldId="275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8:15:33.444" v="30514"/>
          <ac:spMkLst>
            <pc:docMk/>
            <pc:sldMk cId="592117244" sldId="275"/>
            <ac:spMk id="32" creationId="{EFD7F861-36C7-CE7A-55EC-A3296A1A6932}"/>
          </ac:spMkLst>
        </pc:spChg>
        <pc:spChg chg="mod">
          <ac:chgData name="Joelle Brehm" userId="a518f54c-6985-42c0-8041-2bb16a414839" providerId="ADAL" clId="{9E52C8A6-326C-473A-BC21-4CED010AFA79}" dt="2023-09-06T18:15:33.444" v="30515"/>
          <ac:spMkLst>
            <pc:docMk/>
            <pc:sldMk cId="592117244" sldId="275"/>
            <ac:spMk id="33" creationId="{7E8BBD9E-2B2D-57B8-A905-831743E16231}"/>
          </ac:spMkLst>
        </pc:spChg>
        <pc:spChg chg="add mod replST">
          <ac:chgData name="Joelle Brehm" userId="a518f54c-6985-42c0-8041-2bb16a414839" providerId="ADAL" clId="{9E52C8A6-326C-473A-BC21-4CED010AFA79}" dt="2023-09-06T18:15:33.445" v="30517"/>
          <ac:spMkLst>
            <pc:docMk/>
            <pc:sldMk cId="592117244" sldId="275"/>
            <ac:spMk id="34" creationId="{64F7045B-EE14-2B1A-D049-E46AAD4C8671}"/>
          </ac:spMkLst>
        </pc:spChg>
        <pc:spChg chg="mod">
          <ac:chgData name="Joelle Brehm" userId="a518f54c-6985-42c0-8041-2bb16a414839" providerId="ADAL" clId="{9E52C8A6-326C-473A-BC21-4CED010AFA79}" dt="2023-09-06T18:15:33.444" v="30516"/>
          <ac:spMkLst>
            <pc:docMk/>
            <pc:sldMk cId="592117244" sldId="275"/>
            <ac:spMk id="35" creationId="{8A659545-7F46-0F9C-1180-4340FFF52971}"/>
          </ac:spMkLst>
        </pc:spChg>
        <pc:spChg chg="add del mod modVis">
          <ac:chgData name="Joelle Brehm" userId="a518f54c-6985-42c0-8041-2bb16a414839" providerId="ADAL" clId="{9E52C8A6-326C-473A-BC21-4CED010AFA79}" dt="2023-09-06T18:15:19.296" v="29701"/>
          <ac:spMkLst>
            <pc:docMk/>
            <pc:sldMk cId="592117244" sldId="275"/>
            <ac:spMk id="36" creationId="{E81A058B-41A5-8857-B30A-992541BC6443}"/>
          </ac:spMkLst>
        </pc:spChg>
        <pc:spChg chg="mod">
          <ac:chgData name="Joelle Brehm" userId="a518f54c-6985-42c0-8041-2bb16a414839" providerId="ADAL" clId="{9E52C8A6-326C-473A-BC21-4CED010AFA79}" dt="2023-09-06T18:15:33.443" v="30513"/>
          <ac:spMkLst>
            <pc:docMk/>
            <pc:sldMk cId="592117244" sldId="275"/>
            <ac:spMk id="37" creationId="{90FA8FF8-BF43-F8ED-7D69-4D34F348E5E1}"/>
          </ac:spMkLst>
        </pc:spChg>
        <pc:spChg chg="mod">
          <ac:chgData name="Joelle Brehm" userId="a518f54c-6985-42c0-8041-2bb16a414839" providerId="ADAL" clId="{9E52C8A6-326C-473A-BC21-4CED010AFA79}" dt="2023-09-06T18:15:33.443" v="30512"/>
          <ac:spMkLst>
            <pc:docMk/>
            <pc:sldMk cId="592117244" sldId="275"/>
            <ac:spMk id="39" creationId="{1EFCB791-16E1-BC87-1C92-0DDD24DA7D5F}"/>
          </ac:spMkLst>
        </pc:spChg>
        <pc:spChg chg="add del mod modVis">
          <ac:chgData name="Joelle Brehm" userId="a518f54c-6985-42c0-8041-2bb16a414839" providerId="ADAL" clId="{9E52C8A6-326C-473A-BC21-4CED010AFA79}" dt="2023-09-06T18:15:20.879" v="29907"/>
          <ac:spMkLst>
            <pc:docMk/>
            <pc:sldMk cId="592117244" sldId="275"/>
            <ac:spMk id="40" creationId="{4C464E7E-58D1-6F26-90CE-8079AB2795D8}"/>
          </ac:spMkLst>
        </pc:spChg>
        <pc:spChg chg="add del mod modVis">
          <ac:chgData name="Joelle Brehm" userId="a518f54c-6985-42c0-8041-2bb16a414839" providerId="ADAL" clId="{9E52C8A6-326C-473A-BC21-4CED010AFA79}" dt="2023-09-06T18:15:23.344" v="30103"/>
          <ac:spMkLst>
            <pc:docMk/>
            <pc:sldMk cId="592117244" sldId="275"/>
            <ac:spMk id="42" creationId="{617217E8-8729-A22D-D05E-1A9F324C7DA3}"/>
          </ac:spMkLst>
        </pc:spChg>
        <pc:spChg chg="add del mod modVis">
          <ac:chgData name="Joelle Brehm" userId="a518f54c-6985-42c0-8041-2bb16a414839" providerId="ADAL" clId="{9E52C8A6-326C-473A-BC21-4CED010AFA79}" dt="2023-09-06T18:15:29.498" v="30346"/>
          <ac:spMkLst>
            <pc:docMk/>
            <pc:sldMk cId="592117244" sldId="275"/>
            <ac:spMk id="44" creationId="{9BE537C0-1E4A-3B44-C904-4D81E642EC01}"/>
          </ac:spMkLst>
        </pc:spChg>
        <pc:spChg chg="mod ord">
          <ac:chgData name="Joelle Brehm" userId="a518f54c-6985-42c0-8041-2bb16a414839" providerId="ADAL" clId="{9E52C8A6-326C-473A-BC21-4CED010AFA79}" dt="2023-09-06T18:15:33.450" v="30540"/>
          <ac:spMkLst>
            <pc:docMk/>
            <pc:sldMk cId="592117244" sldId="275"/>
            <ac:spMk id="58" creationId="{E203E344-295B-447B-A55D-50D302A82D3F}"/>
          </ac:spMkLst>
        </pc:spChg>
        <pc:spChg chg="mod ord">
          <ac:chgData name="Joelle Brehm" userId="a518f54c-6985-42c0-8041-2bb16a414839" providerId="ADAL" clId="{9E52C8A6-326C-473A-BC21-4CED010AFA79}" dt="2023-09-06T18:15:33.445" v="30519"/>
          <ac:spMkLst>
            <pc:docMk/>
            <pc:sldMk cId="592117244" sldId="275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15:33.446" v="30521"/>
          <ac:spMkLst>
            <pc:docMk/>
            <pc:sldMk cId="592117244" sldId="275"/>
            <ac:spMk id="79" creationId="{F1476AC4-694B-4D83-BFD8-8DCAA4BB1923}"/>
          </ac:spMkLst>
        </pc:spChg>
        <pc:spChg chg="del mod">
          <ac:chgData name="Joelle Brehm" userId="a518f54c-6985-42c0-8041-2bb16a414839" providerId="ADAL" clId="{9E52C8A6-326C-473A-BC21-4CED010AFA79}" dt="2023-09-06T18:15:23.159" v="29910"/>
          <ac:spMkLst>
            <pc:docMk/>
            <pc:sldMk cId="592117244" sldId="275"/>
            <ac:spMk id="8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1" v="30507"/>
          <ac:spMkLst>
            <pc:docMk/>
            <pc:sldMk cId="592117244" sldId="275"/>
            <ac:spMk id="8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2" v="30509"/>
          <ac:spMkLst>
            <pc:docMk/>
            <pc:sldMk cId="592117244" sldId="275"/>
            <ac:spMk id="8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2" v="30510"/>
          <ac:spMkLst>
            <pc:docMk/>
            <pc:sldMk cId="592117244" sldId="275"/>
            <ac:spMk id="8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3" v="30511"/>
          <ac:spMkLst>
            <pc:docMk/>
            <pc:sldMk cId="592117244" sldId="275"/>
            <ac:spMk id="8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2" v="30508"/>
          <ac:spMkLst>
            <pc:docMk/>
            <pc:sldMk cId="592117244" sldId="275"/>
            <ac:spMk id="8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1" v="30506"/>
          <ac:spMkLst>
            <pc:docMk/>
            <pc:sldMk cId="592117244" sldId="275"/>
            <ac:spMk id="88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15:33.446" v="30523"/>
          <ac:spMkLst>
            <pc:docMk/>
            <pc:sldMk cId="592117244" sldId="275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15:33.447" v="30525"/>
          <ac:spMkLst>
            <pc:docMk/>
            <pc:sldMk cId="592117244" sldId="275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15:33.447" v="30527"/>
          <ac:spMkLst>
            <pc:docMk/>
            <pc:sldMk cId="592117244" sldId="275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15:33.448" v="30529"/>
          <ac:spMkLst>
            <pc:docMk/>
            <pc:sldMk cId="592117244" sldId="275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15:33.448" v="30532"/>
          <ac:spMkLst>
            <pc:docMk/>
            <pc:sldMk cId="592117244" sldId="275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9" v="30533"/>
          <ac:spMkLst>
            <pc:docMk/>
            <pc:sldMk cId="592117244" sldId="275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9" v="30534"/>
          <ac:spMkLst>
            <pc:docMk/>
            <pc:sldMk cId="592117244" sldId="275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5:33.449" v="30535"/>
          <ac:spMkLst>
            <pc:docMk/>
            <pc:sldMk cId="592117244" sldId="275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15:33.449" v="30536"/>
          <ac:spMkLst>
            <pc:docMk/>
            <pc:sldMk cId="592117244" sldId="27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15:33.461" v="30546"/>
          <ac:graphicFrameMkLst>
            <pc:docMk/>
            <pc:sldMk cId="592117244" sldId="27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5:33.434" v="30481"/>
          <ac:graphicFrameMkLst>
            <pc:docMk/>
            <pc:sldMk cId="592117244" sldId="275"/>
            <ac:graphicFrameMk id="8" creationId="{D9B79383-7800-7051-E532-71103C98E0E8}"/>
          </ac:graphicFrameMkLst>
        </pc:graphicFrameChg>
        <pc:graphicFrameChg chg="del">
          <ac:chgData name="Joelle Brehm" userId="a518f54c-6985-42c0-8041-2bb16a414839" providerId="ADAL" clId="{9E52C8A6-326C-473A-BC21-4CED010AFA79}" dt="2023-09-06T18:14:51.560" v="29033"/>
          <ac:graphicFrameMkLst>
            <pc:docMk/>
            <pc:sldMk cId="592117244" sldId="275"/>
            <ac:graphicFrameMk id="9" creationId="{9FB2E59B-FF70-94B4-5B12-AA1A4DEB4AA1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5:20.801" v="29807"/>
          <ac:graphicFrameMkLst>
            <pc:docMk/>
            <pc:sldMk cId="592117244" sldId="275"/>
            <ac:graphicFrameMk id="38" creationId="{6A9D1652-8F29-F9D7-F949-0B11D1BD847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5:23.275" v="30024"/>
          <ac:graphicFrameMkLst>
            <pc:docMk/>
            <pc:sldMk cId="592117244" sldId="275"/>
            <ac:graphicFrameMk id="41" creationId="{17DFF21A-E081-6D56-9972-AADC90D154D3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5:33.440" v="30505"/>
          <ac:graphicFrameMkLst>
            <pc:docMk/>
            <pc:sldMk cId="592117244" sldId="275"/>
            <ac:graphicFrameMk id="43" creationId="{C9E15B5E-5F0F-39BF-2382-508C7FAF19B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5:31.852" v="30368"/>
          <ac:graphicFrameMkLst>
            <pc:docMk/>
            <pc:sldMk cId="592117244" sldId="275"/>
            <ac:graphicFrameMk id="45" creationId="{A3C0ED57-6F09-83A5-3CEB-930B95A9B39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5:33.404" v="30467"/>
          <ac:graphicFrameMkLst>
            <pc:docMk/>
            <pc:sldMk cId="592117244" sldId="275"/>
            <ac:graphicFrameMk id="46" creationId="{181C749A-3D1F-9F2C-7AC4-F5C018C9AEA7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5:33.448" v="30531"/>
          <ac:graphicFrameMkLst>
            <pc:docMk/>
            <pc:sldMk cId="592117244" sldId="275"/>
            <ac:graphicFrameMk id="47" creationId="{8D19C76F-D792-A8BD-6386-5CE9EBA4299E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5:19.240" v="29615"/>
          <ac:graphicFrameMkLst>
            <pc:docMk/>
            <pc:sldMk cId="592117244" sldId="275"/>
            <ac:graphicFrameMk id="49" creationId="{C7C524EA-096A-B104-232F-21A81A690D24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5:29.428" v="30267"/>
          <ac:graphicFrameMkLst>
            <pc:docMk/>
            <pc:sldMk cId="592117244" sldId="275"/>
            <ac:graphicFrameMk id="51" creationId="{2CC33969-AC81-CB0A-6513-BCCE077CEE55}"/>
          </ac:graphicFrameMkLst>
        </pc:graphicFrameChg>
        <pc:picChg chg="del mod ord">
          <ac:chgData name="Joelle Brehm" userId="a518f54c-6985-42c0-8041-2bb16a414839" providerId="ADAL" clId="{9E52C8A6-326C-473A-BC21-4CED010AFA79}" dt="2023-09-06T18:15:05.261" v="29203" actId="478"/>
          <ac:picMkLst>
            <pc:docMk/>
            <pc:sldMk cId="592117244" sldId="275"/>
            <ac:picMk id="10" creationId="{0A4BF9E7-024B-870B-2F8D-9996C3700520}"/>
          </ac:picMkLst>
        </pc:picChg>
        <pc:picChg chg="add mod ord">
          <ac:chgData name="Joelle Brehm" userId="a518f54c-6985-42c0-8041-2bb16a414839" providerId="ADAL" clId="{9E52C8A6-326C-473A-BC21-4CED010AFA79}" dt="2023-09-06T18:15:33.431" v="30475"/>
          <ac:picMkLst>
            <pc:docMk/>
            <pc:sldMk cId="592117244" sldId="275"/>
            <ac:picMk id="31" creationId="{C95B20CA-ED3A-3586-C443-245C6D413795}"/>
          </ac:picMkLst>
        </pc:picChg>
        <pc:picChg chg="mod ord">
          <ac:chgData name="Joelle Brehm" userId="a518f54c-6985-42c0-8041-2bb16a414839" providerId="ADAL" clId="{9E52C8A6-326C-473A-BC21-4CED010AFA79}" dt="2023-09-06T18:15:33.450" v="30538"/>
          <ac:picMkLst>
            <pc:docMk/>
            <pc:sldMk cId="592117244" sldId="27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15:33.433" v="30479"/>
          <ac:cxnSpMkLst>
            <pc:docMk/>
            <pc:sldMk cId="592117244" sldId="27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16:42.800" v="32540"/>
        <pc:sldMkLst>
          <pc:docMk/>
          <pc:sldMk cId="3358644479" sldId="276"/>
        </pc:sldMkLst>
        <pc:spChg chg="mod ord">
          <ac:chgData name="Joelle Brehm" userId="a518f54c-6985-42c0-8041-2bb16a414839" providerId="ADAL" clId="{9E52C8A6-326C-473A-BC21-4CED010AFA79}" dt="2023-09-06T18:16:42.785" v="32536"/>
          <ac:spMkLst>
            <pc:docMk/>
            <pc:sldMk cId="3358644479" sldId="276"/>
            <ac:spMk id="2" creationId="{2688F805-F703-4FD1-AEE0-0F8E6A5589FE}"/>
          </ac:spMkLst>
        </pc:spChg>
        <pc:spChg chg="add del mod ord">
          <ac:chgData name="Joelle Brehm" userId="a518f54c-6985-42c0-8041-2bb16a414839" providerId="ADAL" clId="{9E52C8A6-326C-473A-BC21-4CED010AFA79}" dt="2023-09-06T18:16:23.088" v="30883" actId="478"/>
          <ac:spMkLst>
            <pc:docMk/>
            <pc:sldMk cId="3358644479" sldId="276"/>
            <ac:spMk id="3" creationId="{5D65E2E7-7DF5-2801-9380-157A4E2CE36C}"/>
          </ac:spMkLst>
        </pc:spChg>
        <pc:spChg chg="add del mod modVis">
          <ac:chgData name="Joelle Brehm" userId="a518f54c-6985-42c0-8041-2bb16a414839" providerId="ADAL" clId="{9E52C8A6-326C-473A-BC21-4CED010AFA79}" dt="2023-09-06T18:16:01.894" v="30793"/>
          <ac:spMkLst>
            <pc:docMk/>
            <pc:sldMk cId="3358644479" sldId="276"/>
            <ac:spMk id="5" creationId="{6D9C2289-AC39-39A0-CBA7-C848C2A0C1D8}"/>
          </ac:spMkLst>
        </pc:spChg>
        <pc:spChg chg="mod ord">
          <ac:chgData name="Joelle Brehm" userId="a518f54c-6985-42c0-8041-2bb16a414839" providerId="ADAL" clId="{9E52C8A6-326C-473A-BC21-4CED010AFA79}" dt="2023-09-06T18:16:42.762" v="32471"/>
          <ac:spMkLst>
            <pc:docMk/>
            <pc:sldMk cId="3358644479" sldId="276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16:42.775" v="32509"/>
          <ac:spMkLst>
            <pc:docMk/>
            <pc:sldMk cId="3358644479" sldId="276"/>
            <ac:spMk id="10" creationId="{EF95270E-E3A3-1E2D-6373-FF3396A5A5F5}"/>
          </ac:spMkLst>
        </pc:spChg>
        <pc:spChg chg="mod">
          <ac:chgData name="Joelle Brehm" userId="a518f54c-6985-42c0-8041-2bb16a414839" providerId="ADAL" clId="{9E52C8A6-326C-473A-BC21-4CED010AFA79}" dt="2023-09-06T18:16:42.766" v="32481"/>
          <ac:spMkLst>
            <pc:docMk/>
            <pc:sldMk cId="3358644479" sldId="276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16:42.765" v="32480"/>
          <ac:spMkLst>
            <pc:docMk/>
            <pc:sldMk cId="3358644479" sldId="276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16:42.766" v="32484"/>
          <ac:spMkLst>
            <pc:docMk/>
            <pc:sldMk cId="3358644479" sldId="276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16:42.763" v="32476"/>
          <ac:spMkLst>
            <pc:docMk/>
            <pc:sldMk cId="3358644479" sldId="276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16:42.764" v="32478"/>
          <ac:spMkLst>
            <pc:docMk/>
            <pc:sldMk cId="3358644479" sldId="276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16:42.766" v="32482"/>
          <ac:spMkLst>
            <pc:docMk/>
            <pc:sldMk cId="3358644479" sldId="276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16:42.767" v="32485"/>
          <ac:spMkLst>
            <pc:docMk/>
            <pc:sldMk cId="3358644479" sldId="276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16:42.765" v="32479"/>
          <ac:spMkLst>
            <pc:docMk/>
            <pc:sldMk cId="3358644479" sldId="276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16:42.764" v="32477"/>
          <ac:spMkLst>
            <pc:docMk/>
            <pc:sldMk cId="3358644479" sldId="276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16:42.767" v="32486"/>
          <ac:spMkLst>
            <pc:docMk/>
            <pc:sldMk cId="3358644479" sldId="276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16:42.766" v="32483"/>
          <ac:spMkLst>
            <pc:docMk/>
            <pc:sldMk cId="3358644479" sldId="276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16:42.767" v="32487"/>
          <ac:spMkLst>
            <pc:docMk/>
            <pc:sldMk cId="3358644479" sldId="276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16:42.768" v="32489"/>
          <ac:spMkLst>
            <pc:docMk/>
            <pc:sldMk cId="3358644479" sldId="276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16:42.768" v="32490"/>
          <ac:spMkLst>
            <pc:docMk/>
            <pc:sldMk cId="3358644479" sldId="276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16:42.769" v="32491"/>
          <ac:spMkLst>
            <pc:docMk/>
            <pc:sldMk cId="3358644479" sldId="276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16:42.769" v="32492"/>
          <ac:spMkLst>
            <pc:docMk/>
            <pc:sldMk cId="3358644479" sldId="276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16:42.770" v="32495"/>
          <ac:spMkLst>
            <pc:docMk/>
            <pc:sldMk cId="3358644479" sldId="276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16:42.769" v="32493"/>
          <ac:spMkLst>
            <pc:docMk/>
            <pc:sldMk cId="3358644479" sldId="276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16:42.770" v="32494"/>
          <ac:spMkLst>
            <pc:docMk/>
            <pc:sldMk cId="3358644479" sldId="276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16:42.771" v="32497"/>
          <ac:spMkLst>
            <pc:docMk/>
            <pc:sldMk cId="3358644479" sldId="276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16:31.714" v="31796"/>
          <ac:spMkLst>
            <pc:docMk/>
            <pc:sldMk cId="3358644479" sldId="276"/>
            <ac:spMk id="31" creationId="{65EF0830-A1F0-A253-1BB2-8CDCFF5CECBB}"/>
          </ac:spMkLst>
        </pc:spChg>
        <pc:spChg chg="mod">
          <ac:chgData name="Joelle Brehm" userId="a518f54c-6985-42c0-8041-2bb16a414839" providerId="ADAL" clId="{9E52C8A6-326C-473A-BC21-4CED010AFA79}" dt="2023-09-06T18:16:42.774" v="32505"/>
          <ac:spMkLst>
            <pc:docMk/>
            <pc:sldMk cId="3358644479" sldId="276"/>
            <ac:spMk id="32" creationId="{8D25BC14-41C5-8647-5CC0-BE12A57BA555}"/>
          </ac:spMkLst>
        </pc:spChg>
        <pc:spChg chg="mod">
          <ac:chgData name="Joelle Brehm" userId="a518f54c-6985-42c0-8041-2bb16a414839" providerId="ADAL" clId="{9E52C8A6-326C-473A-BC21-4CED010AFA79}" dt="2023-09-06T18:16:42.773" v="32502"/>
          <ac:spMkLst>
            <pc:docMk/>
            <pc:sldMk cId="3358644479" sldId="276"/>
            <ac:spMk id="33" creationId="{F9C148ED-6941-E56C-2F19-150E6514366D}"/>
          </ac:spMkLst>
        </pc:spChg>
        <pc:spChg chg="mod">
          <ac:chgData name="Joelle Brehm" userId="a518f54c-6985-42c0-8041-2bb16a414839" providerId="ADAL" clId="{9E52C8A6-326C-473A-BC21-4CED010AFA79}" dt="2023-09-06T18:16:42.772" v="32501"/>
          <ac:spMkLst>
            <pc:docMk/>
            <pc:sldMk cId="3358644479" sldId="276"/>
            <ac:spMk id="34" creationId="{2EC784B5-4DDF-6FD0-D462-50F110303F01}"/>
          </ac:spMkLst>
        </pc:spChg>
        <pc:spChg chg="mod">
          <ac:chgData name="Joelle Brehm" userId="a518f54c-6985-42c0-8041-2bb16a414839" providerId="ADAL" clId="{9E52C8A6-326C-473A-BC21-4CED010AFA79}" dt="2023-09-06T18:16:42.773" v="32503"/>
          <ac:spMkLst>
            <pc:docMk/>
            <pc:sldMk cId="3358644479" sldId="276"/>
            <ac:spMk id="35" creationId="{F6E5A8F3-72AC-F44C-CACB-ED952FD27440}"/>
          </ac:spMkLst>
        </pc:spChg>
        <pc:spChg chg="mod">
          <ac:chgData name="Joelle Brehm" userId="a518f54c-6985-42c0-8041-2bb16a414839" providerId="ADAL" clId="{9E52C8A6-326C-473A-BC21-4CED010AFA79}" dt="2023-09-06T18:16:42.774" v="32506"/>
          <ac:spMkLst>
            <pc:docMk/>
            <pc:sldMk cId="3358644479" sldId="276"/>
            <ac:spMk id="37" creationId="{F6AFDECE-7CC0-9591-2197-625EF70294BF}"/>
          </ac:spMkLst>
        </pc:spChg>
        <pc:spChg chg="mod">
          <ac:chgData name="Joelle Brehm" userId="a518f54c-6985-42c0-8041-2bb16a414839" providerId="ADAL" clId="{9E52C8A6-326C-473A-BC21-4CED010AFA79}" dt="2023-09-06T18:16:42.773" v="32504"/>
          <ac:spMkLst>
            <pc:docMk/>
            <pc:sldMk cId="3358644479" sldId="276"/>
            <ac:spMk id="38" creationId="{0EA5D8FD-393F-1F62-1D1E-029E1AF4310C}"/>
          </ac:spMkLst>
        </pc:spChg>
        <pc:spChg chg="mod">
          <ac:chgData name="Joelle Brehm" userId="a518f54c-6985-42c0-8041-2bb16a414839" providerId="ADAL" clId="{9E52C8A6-326C-473A-BC21-4CED010AFA79}" dt="2023-09-06T18:16:42.782" v="32529"/>
          <ac:spMkLst>
            <pc:docMk/>
            <pc:sldMk cId="3358644479" sldId="276"/>
            <ac:spMk id="39" creationId="{4FEE52F1-F036-DD7D-A4F7-332F7492BB1A}"/>
          </ac:spMkLst>
        </pc:spChg>
        <pc:spChg chg="mod">
          <ac:chgData name="Joelle Brehm" userId="a518f54c-6985-42c0-8041-2bb16a414839" providerId="ADAL" clId="{9E52C8A6-326C-473A-BC21-4CED010AFA79}" dt="2023-09-06T18:16:42.782" v="32528"/>
          <ac:spMkLst>
            <pc:docMk/>
            <pc:sldMk cId="3358644479" sldId="276"/>
            <ac:spMk id="40" creationId="{BF422452-141B-CCA7-F304-DD7C41C4B026}"/>
          </ac:spMkLst>
        </pc:spChg>
        <pc:spChg chg="mod">
          <ac:chgData name="Joelle Brehm" userId="a518f54c-6985-42c0-8041-2bb16a414839" providerId="ADAL" clId="{9E52C8A6-326C-473A-BC21-4CED010AFA79}" dt="2023-09-06T18:16:42.776" v="32511"/>
          <ac:spMkLst>
            <pc:docMk/>
            <pc:sldMk cId="3358644479" sldId="276"/>
            <ac:spMk id="41" creationId="{0DF654ED-9C07-457F-9B36-17DA4AA22A24}"/>
          </ac:spMkLst>
        </pc:spChg>
        <pc:spChg chg="mod">
          <ac:chgData name="Joelle Brehm" userId="a518f54c-6985-42c0-8041-2bb16a414839" providerId="ADAL" clId="{9E52C8A6-326C-473A-BC21-4CED010AFA79}" dt="2023-09-06T18:16:42.775" v="32510"/>
          <ac:spMkLst>
            <pc:docMk/>
            <pc:sldMk cId="3358644479" sldId="276"/>
            <ac:spMk id="42" creationId="{14A59D3D-0E04-F038-E831-1425EC648002}"/>
          </ac:spMkLst>
        </pc:spChg>
        <pc:spChg chg="mod">
          <ac:chgData name="Joelle Brehm" userId="a518f54c-6985-42c0-8041-2bb16a414839" providerId="ADAL" clId="{9E52C8A6-326C-473A-BC21-4CED010AFA79}" dt="2023-09-06T18:16:42.775" v="32508"/>
          <ac:spMkLst>
            <pc:docMk/>
            <pc:sldMk cId="3358644479" sldId="276"/>
            <ac:spMk id="44" creationId="{5C64EA04-B56C-CC91-D9A7-8AB0C80D5C79}"/>
          </ac:spMkLst>
        </pc:spChg>
        <pc:spChg chg="add mod replST">
          <ac:chgData name="Joelle Brehm" userId="a518f54c-6985-42c0-8041-2bb16a414839" providerId="ADAL" clId="{9E52C8A6-326C-473A-BC21-4CED010AFA79}" dt="2023-09-06T18:16:42.772" v="32500"/>
          <ac:spMkLst>
            <pc:docMk/>
            <pc:sldMk cId="3358644479" sldId="276"/>
            <ac:spMk id="45" creationId="{E2BF77D0-7FDB-BE38-6486-446042D2E6CA}"/>
          </ac:spMkLst>
        </pc:spChg>
        <pc:spChg chg="add del mod modVis">
          <ac:chgData name="Joelle Brehm" userId="a518f54c-6985-42c0-8041-2bb16a414839" providerId="ADAL" clId="{9E52C8A6-326C-473A-BC21-4CED010AFA79}" dt="2023-09-06T18:16:28.213" v="31588"/>
          <ac:spMkLst>
            <pc:docMk/>
            <pc:sldMk cId="3358644479" sldId="276"/>
            <ac:spMk id="46" creationId="{C79127EE-3EED-C0D3-252B-F21C3D252AB9}"/>
          </ac:spMkLst>
        </pc:spChg>
        <pc:spChg chg="add del mod ord replST">
          <ac:chgData name="Joelle Brehm" userId="a518f54c-6985-42c0-8041-2bb16a414839" providerId="ADAL" clId="{9E52C8A6-326C-473A-BC21-4CED010AFA79}" dt="2023-09-06T18:16:35.654" v="32076"/>
          <ac:spMkLst>
            <pc:docMk/>
            <pc:sldMk cId="3358644479" sldId="276"/>
            <ac:spMk id="4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6:42.774" v="32507"/>
          <ac:spMkLst>
            <pc:docMk/>
            <pc:sldMk cId="3358644479" sldId="276"/>
            <ac:spMk id="49" creationId="{D4F90E1C-EAB9-BF7D-5820-940E92571336}"/>
          </ac:spMkLst>
        </pc:spChg>
        <pc:spChg chg="add del mod modVis">
          <ac:chgData name="Joelle Brehm" userId="a518f54c-6985-42c0-8041-2bb16a414839" providerId="ADAL" clId="{9E52C8A6-326C-473A-BC21-4CED010AFA79}" dt="2023-09-06T18:16:30.079" v="31793"/>
          <ac:spMkLst>
            <pc:docMk/>
            <pc:sldMk cId="3358644479" sldId="276"/>
            <ac:spMk id="50" creationId="{660D3861-7FBA-0752-E2B7-F3AEBA2DC049}"/>
          </ac:spMkLst>
        </pc:spChg>
        <pc:spChg chg="add del mod modVis">
          <ac:chgData name="Joelle Brehm" userId="a518f54c-6985-42c0-8041-2bb16a414839" providerId="ADAL" clId="{9E52C8A6-326C-473A-BC21-4CED010AFA79}" dt="2023-09-06T18:16:31.994" v="32004"/>
          <ac:spMkLst>
            <pc:docMk/>
            <pc:sldMk cId="3358644479" sldId="276"/>
            <ac:spMk id="53" creationId="{0119858A-3FE5-08B7-167D-F3585CA1C0B2}"/>
          </ac:spMkLst>
        </pc:spChg>
        <pc:spChg chg="add del mod modVis">
          <ac:chgData name="Joelle Brehm" userId="a518f54c-6985-42c0-8041-2bb16a414839" providerId="ADAL" clId="{9E52C8A6-326C-473A-BC21-4CED010AFA79}" dt="2023-09-06T18:16:35.700" v="32157"/>
          <ac:spMkLst>
            <pc:docMk/>
            <pc:sldMk cId="3358644479" sldId="276"/>
            <ac:spMk id="56" creationId="{9D2F356F-BD6E-A629-3D45-7B7169899644}"/>
          </ac:spMkLst>
        </pc:spChg>
        <pc:spChg chg="mod ord">
          <ac:chgData name="Joelle Brehm" userId="a518f54c-6985-42c0-8041-2bb16a414839" providerId="ADAL" clId="{9E52C8A6-326C-473A-BC21-4CED010AFA79}" dt="2023-09-06T18:16:42.784" v="32534"/>
          <ac:spMkLst>
            <pc:docMk/>
            <pc:sldMk cId="3358644479" sldId="276"/>
            <ac:spMk id="58" creationId="{0CB06D1E-8664-4C1B-9ACF-854D6C46B776}"/>
          </ac:spMkLst>
        </pc:spChg>
        <pc:spChg chg="mod">
          <ac:chgData name="Joelle Brehm" userId="a518f54c-6985-42c0-8041-2bb16a414839" providerId="ADAL" clId="{9E52C8A6-326C-473A-BC21-4CED010AFA79}" dt="2023-09-06T18:16:42.783" v="32530"/>
          <ac:spMkLst>
            <pc:docMk/>
            <pc:sldMk cId="3358644479" sldId="276"/>
            <ac:spMk id="59" creationId="{5164D3E0-C681-43D3-E345-132BB4AD109F}"/>
          </ac:spMkLst>
        </pc:spChg>
        <pc:spChg chg="add del mod modVis">
          <ac:chgData name="Joelle Brehm" userId="a518f54c-6985-42c0-8041-2bb16a414839" providerId="ADAL" clId="{9E52C8A6-326C-473A-BC21-4CED010AFA79}" dt="2023-09-06T18:16:39.252" v="32439"/>
          <ac:spMkLst>
            <pc:docMk/>
            <pc:sldMk cId="3358644479" sldId="276"/>
            <ac:spMk id="60" creationId="{1EAC14CE-86D4-8473-81E5-99F589379583}"/>
          </ac:spMkLst>
        </pc:spChg>
        <pc:spChg chg="mod ord">
          <ac:chgData name="Joelle Brehm" userId="a518f54c-6985-42c0-8041-2bb16a414839" providerId="ADAL" clId="{9E52C8A6-326C-473A-BC21-4CED010AFA79}" dt="2023-09-06T18:16:42.777" v="32513"/>
          <ac:spMkLst>
            <pc:docMk/>
            <pc:sldMk cId="3358644479" sldId="276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16:42.777" v="32515"/>
          <ac:spMkLst>
            <pc:docMk/>
            <pc:sldMk cId="3358644479" sldId="276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16:42.778" v="32517"/>
          <ac:spMkLst>
            <pc:docMk/>
            <pc:sldMk cId="3358644479" sldId="276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16:42.779" v="32519"/>
          <ac:spMkLst>
            <pc:docMk/>
            <pc:sldMk cId="3358644479" sldId="276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16:42.779" v="32521"/>
          <ac:spMkLst>
            <pc:docMk/>
            <pc:sldMk cId="3358644479" sldId="276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16:42.780" v="32523"/>
          <ac:spMkLst>
            <pc:docMk/>
            <pc:sldMk cId="3358644479" sldId="276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16:42.781" v="32527"/>
          <ac:spMkLst>
            <pc:docMk/>
            <pc:sldMk cId="3358644479" sldId="276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6:42.781" v="32526"/>
          <ac:spMkLst>
            <pc:docMk/>
            <pc:sldMk cId="3358644479" sldId="276"/>
            <ac:spMk id="135" creationId="{7CAA3B95-4C78-4122-BECA-B5FB0F3F3764}"/>
          </ac:spMkLst>
        </pc:spChg>
        <pc:graphicFrameChg chg="mod">
          <ac:chgData name="Joelle Brehm" userId="a518f54c-6985-42c0-8041-2bb16a414839" providerId="ADAL" clId="{9E52C8A6-326C-473A-BC21-4CED010AFA79}" dt="2023-09-06T18:16:42.800" v="32540"/>
          <ac:graphicFrameMkLst>
            <pc:docMk/>
            <pc:sldMk cId="3358644479" sldId="27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6:42.763" v="32475"/>
          <ac:graphicFrameMkLst>
            <pc:docMk/>
            <pc:sldMk cId="3358644479" sldId="276"/>
            <ac:graphicFrameMk id="8" creationId="{2C30A473-B1BD-E118-0BCB-8DDF9991CCE6}"/>
          </ac:graphicFrameMkLst>
        </pc:graphicFrameChg>
        <pc:graphicFrameChg chg="del">
          <ac:chgData name="Joelle Brehm" userId="a518f54c-6985-42c0-8041-2bb16a414839" providerId="ADAL" clId="{9E52C8A6-326C-473A-BC21-4CED010AFA79}" dt="2023-09-06T18:16:01.766" v="30694"/>
          <ac:graphicFrameMkLst>
            <pc:docMk/>
            <pc:sldMk cId="3358644479" sldId="276"/>
            <ac:graphicFrameMk id="9" creationId="{D433BDEE-1E73-1FFD-685F-79D4A53ED727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6:29.951" v="31691"/>
          <ac:graphicFrameMkLst>
            <pc:docMk/>
            <pc:sldMk cId="3358644479" sldId="276"/>
            <ac:graphicFrameMk id="48" creationId="{A0A2F59C-F41C-2D04-04ED-E57C0B86D813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6:31.908" v="31923"/>
          <ac:graphicFrameMkLst>
            <pc:docMk/>
            <pc:sldMk cId="3358644479" sldId="276"/>
            <ac:graphicFrameMk id="51" creationId="{A8E6E88E-FC40-B44E-E6A4-810E114E87F1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6:28.163" v="31504"/>
          <ac:graphicFrameMkLst>
            <pc:docMk/>
            <pc:sldMk cId="3358644479" sldId="276"/>
            <ac:graphicFrameMk id="52" creationId="{E2B32CB6-DB1D-F5EA-BC32-620744B8B10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6:35.656" v="32078"/>
          <ac:graphicFrameMkLst>
            <pc:docMk/>
            <pc:sldMk cId="3358644479" sldId="276"/>
            <ac:graphicFrameMk id="54" creationId="{0EC3FB79-CEF9-0364-A00E-FF1192D9296F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6:39.165" v="32360"/>
          <ac:graphicFrameMkLst>
            <pc:docMk/>
            <pc:sldMk cId="3358644479" sldId="276"/>
            <ac:graphicFrameMk id="55" creationId="{0544E3D5-97BD-3151-76F1-222440513F43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6:42.771" v="32499"/>
          <ac:graphicFrameMkLst>
            <pc:docMk/>
            <pc:sldMk cId="3358644479" sldId="276"/>
            <ac:graphicFrameMk id="57" creationId="{4B6DAC9D-639C-EDE9-86E4-D22C78755E01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6:42.728" v="32461"/>
          <ac:graphicFrameMkLst>
            <pc:docMk/>
            <pc:sldMk cId="3358644479" sldId="276"/>
            <ac:graphicFrameMk id="61" creationId="{36D6E75B-7519-17D2-CD3C-F47109FCBFEC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6:42.780" v="32525"/>
          <ac:graphicFrameMkLst>
            <pc:docMk/>
            <pc:sldMk cId="3358644479" sldId="276"/>
            <ac:graphicFrameMk id="62" creationId="{D48A623C-9E34-A498-2AFE-D6D9AD4CD090}"/>
          </ac:graphicFrameMkLst>
        </pc:graphicFrameChg>
        <pc:picChg chg="del mod ord">
          <ac:chgData name="Joelle Brehm" userId="a518f54c-6985-42c0-8041-2bb16a414839" providerId="ADAL" clId="{9E52C8A6-326C-473A-BC21-4CED010AFA79}" dt="2023-09-06T18:16:18.664" v="30882" actId="478"/>
          <ac:picMkLst>
            <pc:docMk/>
            <pc:sldMk cId="3358644479" sldId="276"/>
            <ac:picMk id="36" creationId="{6A419C6D-E9DD-0D89-4C85-76B0BAAE58B9}"/>
          </ac:picMkLst>
        </pc:picChg>
        <pc:picChg chg="add mod ord">
          <ac:chgData name="Joelle Brehm" userId="a518f54c-6985-42c0-8041-2bb16a414839" providerId="ADAL" clId="{9E52C8A6-326C-473A-BC21-4CED010AFA79}" dt="2023-09-06T18:16:42.761" v="32469"/>
          <ac:picMkLst>
            <pc:docMk/>
            <pc:sldMk cId="3358644479" sldId="276"/>
            <ac:picMk id="43" creationId="{D1EE9B4D-868A-B464-6290-5AA35CBC2433}"/>
          </ac:picMkLst>
        </pc:picChg>
        <pc:picChg chg="mod ord">
          <ac:chgData name="Joelle Brehm" userId="a518f54c-6985-42c0-8041-2bb16a414839" providerId="ADAL" clId="{9E52C8A6-326C-473A-BC21-4CED010AFA79}" dt="2023-09-06T18:16:42.784" v="32532"/>
          <ac:picMkLst>
            <pc:docMk/>
            <pc:sldMk cId="3358644479" sldId="27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16:42.762" v="32473"/>
          <ac:cxnSpMkLst>
            <pc:docMk/>
            <pc:sldMk cId="3358644479" sldId="27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20:45.452" v="34791" actId="1076"/>
        <pc:sldMkLst>
          <pc:docMk/>
          <pc:sldMk cId="1336352168" sldId="277"/>
        </pc:sldMkLst>
        <pc:spChg chg="mod ord">
          <ac:chgData name="Joelle Brehm" userId="a518f54c-6985-42c0-8041-2bb16a414839" providerId="ADAL" clId="{9E52C8A6-326C-473A-BC21-4CED010AFA79}" dt="2023-09-06T18:18:14.298" v="34514"/>
          <ac:spMkLst>
            <pc:docMk/>
            <pc:sldMk cId="1336352168" sldId="277"/>
            <ac:spMk id="2" creationId="{92BF2826-0C6B-4A3A-89A1-7B17EE6A8135}"/>
          </ac:spMkLst>
        </pc:spChg>
        <pc:spChg chg="add del mod ord">
          <ac:chgData name="Joelle Brehm" userId="a518f54c-6985-42c0-8041-2bb16a414839" providerId="ADAL" clId="{9E52C8A6-326C-473A-BC21-4CED010AFA79}" dt="2023-09-06T18:17:45.173" v="32902" actId="478"/>
          <ac:spMkLst>
            <pc:docMk/>
            <pc:sldMk cId="1336352168" sldId="277"/>
            <ac:spMk id="3" creationId="{10E76968-7D29-AF5E-2637-D5479E8F721C}"/>
          </ac:spMkLst>
        </pc:spChg>
        <pc:spChg chg="add del mod modVis">
          <ac:chgData name="Joelle Brehm" userId="a518f54c-6985-42c0-8041-2bb16a414839" providerId="ADAL" clId="{9E52C8A6-326C-473A-BC21-4CED010AFA79}" dt="2023-09-06T18:17:23.647" v="32806"/>
          <ac:spMkLst>
            <pc:docMk/>
            <pc:sldMk cId="1336352168" sldId="277"/>
            <ac:spMk id="5" creationId="{EFDD2CC8-AB6B-EF39-2F0C-E704DD6AC7CF}"/>
          </ac:spMkLst>
        </pc:spChg>
        <pc:spChg chg="mod ord">
          <ac:chgData name="Joelle Brehm" userId="a518f54c-6985-42c0-8041-2bb16a414839" providerId="ADAL" clId="{9E52C8A6-326C-473A-BC21-4CED010AFA79}" dt="2023-09-06T18:18:14.268" v="34449"/>
          <ac:spMkLst>
            <pc:docMk/>
            <pc:sldMk cId="1336352168" sldId="277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18:14.271" v="34455"/>
          <ac:spMkLst>
            <pc:docMk/>
            <pc:sldMk cId="1336352168" sldId="277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18:14.271" v="34457"/>
          <ac:spMkLst>
            <pc:docMk/>
            <pc:sldMk cId="1336352168" sldId="277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18:14.273" v="34461"/>
          <ac:spMkLst>
            <pc:docMk/>
            <pc:sldMk cId="1336352168" sldId="277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18:14.270" v="34454"/>
          <ac:spMkLst>
            <pc:docMk/>
            <pc:sldMk cId="1336352168" sldId="277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18:14.272" v="34459"/>
          <ac:spMkLst>
            <pc:docMk/>
            <pc:sldMk cId="1336352168" sldId="277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18:14.272" v="34460"/>
          <ac:spMkLst>
            <pc:docMk/>
            <pc:sldMk cId="1336352168" sldId="277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18:14.271" v="34456"/>
          <ac:spMkLst>
            <pc:docMk/>
            <pc:sldMk cId="1336352168" sldId="277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18:14.272" v="34458"/>
          <ac:spMkLst>
            <pc:docMk/>
            <pc:sldMk cId="1336352168" sldId="277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18:14.273" v="34462"/>
          <ac:spMkLst>
            <pc:docMk/>
            <pc:sldMk cId="1336352168" sldId="277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18:14.274" v="34463"/>
          <ac:spMkLst>
            <pc:docMk/>
            <pc:sldMk cId="1336352168" sldId="277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18:14.274" v="34464"/>
          <ac:spMkLst>
            <pc:docMk/>
            <pc:sldMk cId="1336352168" sldId="277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18:14.274" v="34465"/>
          <ac:spMkLst>
            <pc:docMk/>
            <pc:sldMk cId="1336352168" sldId="277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18:14.275" v="34467"/>
          <ac:spMkLst>
            <pc:docMk/>
            <pc:sldMk cId="1336352168" sldId="277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18:14.276" v="34469"/>
          <ac:spMkLst>
            <pc:docMk/>
            <pc:sldMk cId="1336352168" sldId="277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18:14.276" v="34468"/>
          <ac:spMkLst>
            <pc:docMk/>
            <pc:sldMk cId="1336352168" sldId="277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18:14.277" v="34470"/>
          <ac:spMkLst>
            <pc:docMk/>
            <pc:sldMk cId="1336352168" sldId="277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18:14.278" v="34472"/>
          <ac:spMkLst>
            <pc:docMk/>
            <pc:sldMk cId="1336352168" sldId="277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18:14.278" v="34471"/>
          <ac:spMkLst>
            <pc:docMk/>
            <pc:sldMk cId="1336352168" sldId="277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18:14.278" v="34473"/>
          <ac:spMkLst>
            <pc:docMk/>
            <pc:sldMk cId="1336352168" sldId="277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18:14.279" v="34475"/>
          <ac:spMkLst>
            <pc:docMk/>
            <pc:sldMk cId="1336352168" sldId="277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17:58.339" v="33860"/>
          <ac:spMkLst>
            <pc:docMk/>
            <pc:sldMk cId="1336352168" sldId="277"/>
            <ac:spMk id="31" creationId="{4A07E04C-1B9D-B1D4-ED08-6B67E4FD9CA7}"/>
          </ac:spMkLst>
        </pc:spChg>
        <pc:spChg chg="mod">
          <ac:chgData name="Joelle Brehm" userId="a518f54c-6985-42c0-8041-2bb16a414839" providerId="ADAL" clId="{9E52C8A6-326C-473A-BC21-4CED010AFA79}" dt="2023-09-06T18:18:14.281" v="34479"/>
          <ac:spMkLst>
            <pc:docMk/>
            <pc:sldMk cId="1336352168" sldId="277"/>
            <ac:spMk id="33" creationId="{CBC56295-E0C4-1963-15A7-B869935D155D}"/>
          </ac:spMkLst>
        </pc:spChg>
        <pc:spChg chg="mod">
          <ac:chgData name="Joelle Brehm" userId="a518f54c-6985-42c0-8041-2bb16a414839" providerId="ADAL" clId="{9E52C8A6-326C-473A-BC21-4CED010AFA79}" dt="2023-09-06T18:18:14.281" v="34478"/>
          <ac:spMkLst>
            <pc:docMk/>
            <pc:sldMk cId="1336352168" sldId="277"/>
            <ac:spMk id="34" creationId="{AC95B571-934C-3912-0ACC-4C3A108EC104}"/>
          </ac:spMkLst>
        </pc:spChg>
        <pc:spChg chg="mod">
          <ac:chgData name="Joelle Brehm" userId="a518f54c-6985-42c0-8041-2bb16a414839" providerId="ADAL" clId="{9E52C8A6-326C-473A-BC21-4CED010AFA79}" dt="2023-09-06T18:18:14.282" v="34480"/>
          <ac:spMkLst>
            <pc:docMk/>
            <pc:sldMk cId="1336352168" sldId="277"/>
            <ac:spMk id="35" creationId="{955B995E-5FE5-47CE-C6B5-A801048A119B}"/>
          </ac:spMkLst>
        </pc:spChg>
        <pc:spChg chg="mod">
          <ac:chgData name="Joelle Brehm" userId="a518f54c-6985-42c0-8041-2bb16a414839" providerId="ADAL" clId="{9E52C8A6-326C-473A-BC21-4CED010AFA79}" dt="2023-09-06T18:18:14.282" v="34481"/>
          <ac:spMkLst>
            <pc:docMk/>
            <pc:sldMk cId="1336352168" sldId="277"/>
            <ac:spMk id="36" creationId="{82E6ED76-54D0-1138-9A98-D9EF48EED763}"/>
          </ac:spMkLst>
        </pc:spChg>
        <pc:spChg chg="mod">
          <ac:chgData name="Joelle Brehm" userId="a518f54c-6985-42c0-8041-2bb16a414839" providerId="ADAL" clId="{9E52C8A6-326C-473A-BC21-4CED010AFA79}" dt="2023-09-06T18:18:14.284" v="34483"/>
          <ac:spMkLst>
            <pc:docMk/>
            <pc:sldMk cId="1336352168" sldId="277"/>
            <ac:spMk id="37" creationId="{216495B8-6C11-99B6-5FE8-2B2415F750FD}"/>
          </ac:spMkLst>
        </pc:spChg>
        <pc:spChg chg="mod">
          <ac:chgData name="Joelle Brehm" userId="a518f54c-6985-42c0-8041-2bb16a414839" providerId="ADAL" clId="{9E52C8A6-326C-473A-BC21-4CED010AFA79}" dt="2023-09-06T18:18:14.283" v="34482"/>
          <ac:spMkLst>
            <pc:docMk/>
            <pc:sldMk cId="1336352168" sldId="277"/>
            <ac:spMk id="38" creationId="{E2D775AD-7211-8F23-E4F1-0A234FF1B7D9}"/>
          </ac:spMkLst>
        </pc:spChg>
        <pc:spChg chg="mod">
          <ac:chgData name="Joelle Brehm" userId="a518f54c-6985-42c0-8041-2bb16a414839" providerId="ADAL" clId="{9E52C8A6-326C-473A-BC21-4CED010AFA79}" dt="2023-09-06T18:18:14.285" v="34485"/>
          <ac:spMkLst>
            <pc:docMk/>
            <pc:sldMk cId="1336352168" sldId="277"/>
            <ac:spMk id="39" creationId="{92EB3DCF-E6D1-6016-64A0-043B49481C0C}"/>
          </ac:spMkLst>
        </pc:spChg>
        <pc:spChg chg="mod">
          <ac:chgData name="Joelle Brehm" userId="a518f54c-6985-42c0-8041-2bb16a414839" providerId="ADAL" clId="{9E52C8A6-326C-473A-BC21-4CED010AFA79}" dt="2023-09-06T18:18:14.286" v="34487"/>
          <ac:spMkLst>
            <pc:docMk/>
            <pc:sldMk cId="1336352168" sldId="277"/>
            <ac:spMk id="40" creationId="{22DE2434-BBBF-CBE5-DB4B-76B8CE949CF7}"/>
          </ac:spMkLst>
        </pc:spChg>
        <pc:spChg chg="mod">
          <ac:chgData name="Joelle Brehm" userId="a518f54c-6985-42c0-8041-2bb16a414839" providerId="ADAL" clId="{9E52C8A6-326C-473A-BC21-4CED010AFA79}" dt="2023-09-06T18:18:14.285" v="34486"/>
          <ac:spMkLst>
            <pc:docMk/>
            <pc:sldMk cId="1336352168" sldId="277"/>
            <ac:spMk id="41" creationId="{1E1294CE-F17B-FB84-754E-490C164E1AF9}"/>
          </ac:spMkLst>
        </pc:spChg>
        <pc:spChg chg="add mod replST">
          <ac:chgData name="Joelle Brehm" userId="a518f54c-6985-42c0-8041-2bb16a414839" providerId="ADAL" clId="{9E52C8A6-326C-473A-BC21-4CED010AFA79}" dt="2023-09-06T18:18:14.287" v="34489"/>
          <ac:spMkLst>
            <pc:docMk/>
            <pc:sldMk cId="1336352168" sldId="277"/>
            <ac:spMk id="42" creationId="{04656030-ED65-550D-E841-3EC7F85E35CF}"/>
          </ac:spMkLst>
        </pc:spChg>
        <pc:spChg chg="mod">
          <ac:chgData name="Joelle Brehm" userId="a518f54c-6985-42c0-8041-2bb16a414839" providerId="ADAL" clId="{9E52C8A6-326C-473A-BC21-4CED010AFA79}" dt="2023-09-06T18:18:14.284" v="34484"/>
          <ac:spMkLst>
            <pc:docMk/>
            <pc:sldMk cId="1336352168" sldId="277"/>
            <ac:spMk id="43" creationId="{ECB6CDA6-E36A-D61A-929E-A4CF74A13872}"/>
          </ac:spMkLst>
        </pc:spChg>
        <pc:spChg chg="mod">
          <ac:chgData name="Joelle Brehm" userId="a518f54c-6985-42c0-8041-2bb16a414839" providerId="ADAL" clId="{9E52C8A6-326C-473A-BC21-4CED010AFA79}" dt="2023-09-06T18:18:14.286" v="34488"/>
          <ac:spMkLst>
            <pc:docMk/>
            <pc:sldMk cId="1336352168" sldId="277"/>
            <ac:spMk id="44" creationId="{948C7430-EE17-A200-FEA6-849EEC95829A}"/>
          </ac:spMkLst>
        </pc:spChg>
        <pc:spChg chg="add del mod modVis">
          <ac:chgData name="Joelle Brehm" userId="a518f54c-6985-42c0-8041-2bb16a414839" providerId="ADAL" clId="{9E52C8A6-326C-473A-BC21-4CED010AFA79}" dt="2023-09-06T18:17:55.072" v="33643"/>
          <ac:spMkLst>
            <pc:docMk/>
            <pc:sldMk cId="1336352168" sldId="277"/>
            <ac:spMk id="45" creationId="{2FA780FE-8BD8-3B37-AB82-207D6E7F55EF}"/>
          </ac:spMkLst>
        </pc:spChg>
        <pc:spChg chg="add del mod ord replST">
          <ac:chgData name="Joelle Brehm" userId="a518f54c-6985-42c0-8041-2bb16a414839" providerId="ADAL" clId="{9E52C8A6-326C-473A-BC21-4CED010AFA79}" dt="2023-09-06T18:17:58.418" v="33940"/>
          <ac:spMkLst>
            <pc:docMk/>
            <pc:sldMk cId="1336352168" sldId="277"/>
            <ac:spMk id="46" creationId="{7CAA3B95-4C78-4122-BECA-B5FB0F3F3764}"/>
          </ac:spMkLst>
        </pc:spChg>
        <pc:spChg chg="add del mod ord replST">
          <ac:chgData name="Joelle Brehm" userId="a518f54c-6985-42c0-8041-2bb16a414839" providerId="ADAL" clId="{9E52C8A6-326C-473A-BC21-4CED010AFA79}" dt="2023-09-06T18:17:58.431" v="33975"/>
          <ac:spMkLst>
            <pc:docMk/>
            <pc:sldMk cId="1336352168" sldId="277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17:56.143" v="33857"/>
          <ac:spMkLst>
            <pc:docMk/>
            <pc:sldMk cId="1336352168" sldId="277"/>
            <ac:spMk id="49" creationId="{4A67C7B4-5DB9-BD47-9975-7815AAD3E945}"/>
          </ac:spMkLst>
        </pc:spChg>
        <pc:spChg chg="add del mod modVis">
          <ac:chgData name="Joelle Brehm" userId="a518f54c-6985-42c0-8041-2bb16a414839" providerId="ADAL" clId="{9E52C8A6-326C-473A-BC21-4CED010AFA79}" dt="2023-09-06T18:17:58.485" v="34061"/>
          <ac:spMkLst>
            <pc:docMk/>
            <pc:sldMk cId="1336352168" sldId="277"/>
            <ac:spMk id="51" creationId="{3376DA83-6E05-6986-E9EF-ED7A7583823B}"/>
          </ac:spMkLst>
        </pc:spChg>
        <pc:spChg chg="add del mod modVis">
          <ac:chgData name="Joelle Brehm" userId="a518f54c-6985-42c0-8041-2bb16a414839" providerId="ADAL" clId="{9E52C8A6-326C-473A-BC21-4CED010AFA79}" dt="2023-09-06T18:18:03.529" v="34318"/>
          <ac:spMkLst>
            <pc:docMk/>
            <pc:sldMk cId="1336352168" sldId="277"/>
            <ac:spMk id="53" creationId="{A082FE13-AA68-B562-22C0-C3F02661DD85}"/>
          </ac:spMkLst>
        </pc:spChg>
        <pc:spChg chg="mod ord">
          <ac:chgData name="Joelle Brehm" userId="a518f54c-6985-42c0-8041-2bb16a414839" providerId="ADAL" clId="{9E52C8A6-326C-473A-BC21-4CED010AFA79}" dt="2023-09-06T18:18:14.298" v="34512"/>
          <ac:spMkLst>
            <pc:docMk/>
            <pc:sldMk cId="1336352168" sldId="277"/>
            <ac:spMk id="58" creationId="{3378A65B-8FF4-4781-8563-6C0C79CE7E62}"/>
          </ac:spMkLst>
        </pc:spChg>
        <pc:spChg chg="mod ord">
          <ac:chgData name="Joelle Brehm" userId="a518f54c-6985-42c0-8041-2bb16a414839" providerId="ADAL" clId="{9E52C8A6-326C-473A-BC21-4CED010AFA79}" dt="2023-09-06T18:18:14.288" v="34491"/>
          <ac:spMkLst>
            <pc:docMk/>
            <pc:sldMk cId="1336352168" sldId="277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18:14.289" v="34493"/>
          <ac:spMkLst>
            <pc:docMk/>
            <pc:sldMk cId="1336352168" sldId="277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18:14.290" v="34495"/>
          <ac:spMkLst>
            <pc:docMk/>
            <pc:sldMk cId="1336352168" sldId="277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18:14.291" v="34497"/>
          <ac:spMkLst>
            <pc:docMk/>
            <pc:sldMk cId="1336352168" sldId="277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18:14.292" v="34499"/>
          <ac:spMkLst>
            <pc:docMk/>
            <pc:sldMk cId="1336352168" sldId="277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18:14.293" v="34501"/>
          <ac:spMkLst>
            <pc:docMk/>
            <pc:sldMk cId="1336352168" sldId="277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18:14.295" v="34506"/>
          <ac:spMkLst>
            <pc:docMk/>
            <pc:sldMk cId="1336352168" sldId="277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8:14.295" v="34504"/>
          <ac:spMkLst>
            <pc:docMk/>
            <pc:sldMk cId="1336352168" sldId="277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8:14.296" v="34507"/>
          <ac:spMkLst>
            <pc:docMk/>
            <pc:sldMk cId="1336352168" sldId="277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18:14.296" v="34508"/>
          <ac:spMkLst>
            <pc:docMk/>
            <pc:sldMk cId="1336352168" sldId="277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18:14.295" v="34505"/>
          <ac:spMkLst>
            <pc:docMk/>
            <pc:sldMk cId="1336352168" sldId="277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18:14.312" v="34518"/>
          <ac:graphicFrameMkLst>
            <pc:docMk/>
            <pc:sldMk cId="1336352168" sldId="277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17:23.540" v="32721"/>
          <ac:graphicFrameMkLst>
            <pc:docMk/>
            <pc:sldMk cId="1336352168" sldId="277"/>
            <ac:graphicFrameMk id="8" creationId="{8BBE83B5-2B8B-D03A-E7E6-A94615CAC4BE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8:14.270" v="34453"/>
          <ac:graphicFrameMkLst>
            <pc:docMk/>
            <pc:sldMk cId="1336352168" sldId="277"/>
            <ac:graphicFrameMk id="9" creationId="{97E79F06-3B00-03AF-E24B-77CECCA4E0C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7:56.061" v="33753"/>
          <ac:graphicFrameMkLst>
            <pc:docMk/>
            <pc:sldMk cId="1336352168" sldId="277"/>
            <ac:graphicFrameMk id="48" creationId="{5D84C059-0361-3B12-0E4D-58D85088858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7:58.436" v="33982"/>
          <ac:graphicFrameMkLst>
            <pc:docMk/>
            <pc:sldMk cId="1336352168" sldId="277"/>
            <ac:graphicFrameMk id="50" creationId="{59A7EF01-6203-EF0E-7929-2857D9CBE757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8:14.281" v="34477"/>
          <ac:graphicFrameMkLst>
            <pc:docMk/>
            <pc:sldMk cId="1336352168" sldId="277"/>
            <ac:graphicFrameMk id="52" creationId="{185808E7-693A-5F8D-9BCB-FD415CBE1D97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8:12.907" v="34340"/>
          <ac:graphicFrameMkLst>
            <pc:docMk/>
            <pc:sldMk cId="1336352168" sldId="277"/>
            <ac:graphicFrameMk id="54" creationId="{092747F4-879C-F590-E539-4FA3E833C3A1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7:55.018" v="33553"/>
          <ac:graphicFrameMkLst>
            <pc:docMk/>
            <pc:sldMk cId="1336352168" sldId="277"/>
            <ac:graphicFrameMk id="55" creationId="{6CAC425F-8107-6258-C8BF-CDBBF2EF6CC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18:14.216" v="34439"/>
          <ac:graphicFrameMkLst>
            <pc:docMk/>
            <pc:sldMk cId="1336352168" sldId="277"/>
            <ac:graphicFrameMk id="56" creationId="{7D6FDB30-8E67-C4E7-885E-E54F89FFFAC2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18:14.294" v="34503"/>
          <ac:graphicFrameMkLst>
            <pc:docMk/>
            <pc:sldMk cId="1336352168" sldId="277"/>
            <ac:graphicFrameMk id="57" creationId="{C7DF0206-4D7A-7022-3F34-3E07BC6D453F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18:03.439" v="34239"/>
          <ac:graphicFrameMkLst>
            <pc:docMk/>
            <pc:sldMk cId="1336352168" sldId="277"/>
            <ac:graphicFrameMk id="59" creationId="{A731FAB2-1414-9725-70B4-1933D646B4B0}"/>
          </ac:graphicFrameMkLst>
        </pc:graphicFrameChg>
        <pc:picChg chg="add mod ord">
          <ac:chgData name="Joelle Brehm" userId="a518f54c-6985-42c0-8041-2bb16a414839" providerId="ADAL" clId="{9E52C8A6-326C-473A-BC21-4CED010AFA79}" dt="2023-09-06T18:20:45.452" v="34791" actId="1076"/>
          <ac:picMkLst>
            <pc:docMk/>
            <pc:sldMk cId="1336352168" sldId="277"/>
            <ac:picMk id="10" creationId="{8304ABDD-EE0A-F199-2576-DC2604AA1D65}"/>
          </ac:picMkLst>
        </pc:picChg>
        <pc:picChg chg="del mod ord">
          <ac:chgData name="Joelle Brehm" userId="a518f54c-6985-42c0-8041-2bb16a414839" providerId="ADAL" clId="{9E52C8A6-326C-473A-BC21-4CED010AFA79}" dt="2023-09-06T18:17:42.142" v="32901" actId="478"/>
          <ac:picMkLst>
            <pc:docMk/>
            <pc:sldMk cId="1336352168" sldId="277"/>
            <ac:picMk id="32" creationId="{FA02CEB1-7B70-94A2-2F89-A976A59C74D0}"/>
          </ac:picMkLst>
        </pc:picChg>
        <pc:picChg chg="mod ord">
          <ac:chgData name="Joelle Brehm" userId="a518f54c-6985-42c0-8041-2bb16a414839" providerId="ADAL" clId="{9E52C8A6-326C-473A-BC21-4CED010AFA79}" dt="2023-09-06T18:18:14.297" v="34510"/>
          <ac:picMkLst>
            <pc:docMk/>
            <pc:sldMk cId="1336352168" sldId="277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18:14.269" v="34451"/>
          <ac:cxnSpMkLst>
            <pc:docMk/>
            <pc:sldMk cId="1336352168" sldId="277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22:39.021" v="37466" actId="1076"/>
        <pc:sldMkLst>
          <pc:docMk/>
          <pc:sldMk cId="1379386497" sldId="278"/>
        </pc:sldMkLst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2" creationId="{F45C2660-F634-4943-BD78-279946171050}"/>
          </ac:spMkLst>
        </pc:spChg>
        <pc:spChg chg="add del mod ord">
          <ac:chgData name="Joelle Brehm" userId="a518f54c-6985-42c0-8041-2bb16a414839" providerId="ADAL" clId="{9E52C8A6-326C-473A-BC21-4CED010AFA79}" dt="2023-09-06T18:21:21.885" v="34908" actId="478"/>
          <ac:spMkLst>
            <pc:docMk/>
            <pc:sldMk cId="1379386497" sldId="278"/>
            <ac:spMk id="3" creationId="{3287355C-CD3D-AF91-8FC7-7B4CFDF585AE}"/>
          </ac:spMkLst>
        </pc:spChg>
        <pc:spChg chg="add del mod modVis">
          <ac:chgData name="Joelle Brehm" userId="a518f54c-6985-42c0-8041-2bb16a414839" providerId="ADAL" clId="{9E52C8A6-326C-473A-BC21-4CED010AFA79}" dt="2023-09-06T18:20:19.527" v="34784"/>
          <ac:spMkLst>
            <pc:docMk/>
            <pc:sldMk cId="1379386497" sldId="278"/>
            <ac:spMk id="5" creationId="{58C5022E-970F-87EE-3C97-09C3E739F39C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22:32.921" v="37021"/>
          <ac:spMkLst>
            <pc:docMk/>
            <pc:sldMk cId="1379386497" sldId="278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22:32.920" v="37018"/>
          <ac:spMkLst>
            <pc:docMk/>
            <pc:sldMk cId="1379386497" sldId="278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22:32.919" v="37015"/>
          <ac:spMkLst>
            <pc:docMk/>
            <pc:sldMk cId="1379386497" sldId="278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22:32.921" v="37019"/>
          <ac:spMkLst>
            <pc:docMk/>
            <pc:sldMk cId="1379386497" sldId="278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22:32.921" v="37020"/>
          <ac:spMkLst>
            <pc:docMk/>
            <pc:sldMk cId="1379386497" sldId="278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22:32.920" v="37017"/>
          <ac:spMkLst>
            <pc:docMk/>
            <pc:sldMk cId="1379386497" sldId="278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22:32.920" v="37016"/>
          <ac:spMkLst>
            <pc:docMk/>
            <pc:sldMk cId="1379386497" sldId="278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22:32.921" v="37023"/>
          <ac:spMkLst>
            <pc:docMk/>
            <pc:sldMk cId="1379386497" sldId="278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22:32.923" v="37024"/>
          <ac:spMkLst>
            <pc:docMk/>
            <pc:sldMk cId="1379386497" sldId="278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22:32.923" v="37025"/>
          <ac:spMkLst>
            <pc:docMk/>
            <pc:sldMk cId="1379386497" sldId="278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22:32.923" v="37026"/>
          <ac:spMkLst>
            <pc:docMk/>
            <pc:sldMk cId="1379386497" sldId="278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22:32.921" v="37022"/>
          <ac:spMkLst>
            <pc:docMk/>
            <pc:sldMk cId="1379386497" sldId="278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22:32.925" v="37030"/>
          <ac:spMkLst>
            <pc:docMk/>
            <pc:sldMk cId="1379386497" sldId="278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22:32.925" v="37029"/>
          <ac:spMkLst>
            <pc:docMk/>
            <pc:sldMk cId="1379386497" sldId="278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22:32.926" v="37031"/>
          <ac:spMkLst>
            <pc:docMk/>
            <pc:sldMk cId="1379386497" sldId="278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22:32.927" v="37034"/>
          <ac:spMkLst>
            <pc:docMk/>
            <pc:sldMk cId="1379386497" sldId="278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22:32.926" v="37033"/>
          <ac:spMkLst>
            <pc:docMk/>
            <pc:sldMk cId="1379386497" sldId="278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22:32.926" v="37032"/>
          <ac:spMkLst>
            <pc:docMk/>
            <pc:sldMk cId="1379386497" sldId="278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21:34.116" v="35631"/>
          <ac:spMkLst>
            <pc:docMk/>
            <pc:sldMk cId="1379386497" sldId="278"/>
            <ac:spMk id="31" creationId="{761920EE-DAF2-B98F-C8B3-EF7A215140D4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32" creationId="{1170C7BB-6AE4-3790-934D-53510906BEC9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33" creationId="{EE1A50AB-3C6E-8AC0-42BD-B22810C4182F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34" creationId="{0B03BBFD-783A-B231-2FA9-DA2AD304A2F4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35" creationId="{F2CF5D67-71BE-8A59-E229-76C2662CAC06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37" creationId="{FC8B8426-BA51-69F5-3004-860C870C4B34}"/>
          </ac:spMkLst>
        </pc:spChg>
        <pc:spChg chg="mod">
          <ac:chgData name="Joelle Brehm" userId="a518f54c-6985-42c0-8041-2bb16a414839" providerId="ADAL" clId="{9E52C8A6-326C-473A-BC21-4CED010AFA79}" dt="2023-09-06T18:22:32.939" v="37070"/>
          <ac:spMkLst>
            <pc:docMk/>
            <pc:sldMk cId="1379386497" sldId="278"/>
            <ac:spMk id="38" creationId="{A2B38D9F-E0DE-893F-C86F-10A3F1C2BC81}"/>
          </ac:spMkLst>
        </pc:spChg>
        <pc:spChg chg="mod">
          <ac:chgData name="Joelle Brehm" userId="a518f54c-6985-42c0-8041-2bb16a414839" providerId="ADAL" clId="{9E52C8A6-326C-473A-BC21-4CED010AFA79}" dt="2023-09-06T18:22:32.940" v="37071"/>
          <ac:spMkLst>
            <pc:docMk/>
            <pc:sldMk cId="1379386497" sldId="278"/>
            <ac:spMk id="39" creationId="{BC5B7AD7-98AB-AC45-8C89-733A6DC5051A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40" creationId="{19EAC242-0641-3DCA-CBDC-E602B8F0CB05}"/>
          </ac:spMkLst>
        </pc:spChg>
        <pc:spChg chg="add mod replST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41" creationId="{2CE2D9E3-933C-589B-9FDF-AD85A36D3F72}"/>
          </ac:spMkLst>
        </pc:spChg>
        <pc:spChg chg="add del mod modVis">
          <ac:chgData name="Joelle Brehm" userId="a518f54c-6985-42c0-8041-2bb16a414839" providerId="ADAL" clId="{9E52C8A6-326C-473A-BC21-4CED010AFA79}" dt="2023-09-06T18:21:30.344" v="35428"/>
          <ac:spMkLst>
            <pc:docMk/>
            <pc:sldMk cId="1379386497" sldId="278"/>
            <ac:spMk id="42" creationId="{F25C2482-F403-468F-FFB7-DAABBD66091A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43" creationId="{9BFE083A-DE75-2F86-ECDB-6ADE652E9C65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44" creationId="{63FB28D8-4BD3-7848-F08F-4920117655F2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46" creationId="{86BD7409-404E-F355-254D-BE919727871E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47" creationId="{6057FFE7-9F54-EBDD-8215-FE17C631267E}"/>
          </ac:spMkLst>
        </pc:spChg>
        <pc:spChg chg="add del mod modVis">
          <ac:chgData name="Joelle Brehm" userId="a518f54c-6985-42c0-8041-2bb16a414839" providerId="ADAL" clId="{9E52C8A6-326C-473A-BC21-4CED010AFA79}" dt="2023-09-06T18:21:32.330" v="35628"/>
          <ac:spMkLst>
            <pc:docMk/>
            <pc:sldMk cId="1379386497" sldId="278"/>
            <ac:spMk id="49" creationId="{61F38EE9-89FA-196A-33C5-675D6D5A1040}"/>
          </ac:spMkLst>
        </pc:spChg>
        <pc:spChg chg="add del mod modVis">
          <ac:chgData name="Joelle Brehm" userId="a518f54c-6985-42c0-8041-2bb16a414839" providerId="ADAL" clId="{9E52C8A6-326C-473A-BC21-4CED010AFA79}" dt="2023-09-06T18:21:34.287" v="35820"/>
          <ac:spMkLst>
            <pc:docMk/>
            <pc:sldMk cId="1379386497" sldId="278"/>
            <ac:spMk id="51" creationId="{AB3265EB-26DD-8504-2C65-33CE8ABE6058}"/>
          </ac:spMkLst>
        </pc:spChg>
        <pc:spChg chg="add del mod modVis">
          <ac:chgData name="Joelle Brehm" userId="a518f54c-6985-42c0-8041-2bb16a414839" providerId="ADAL" clId="{9E52C8A6-326C-473A-BC21-4CED010AFA79}" dt="2023-09-06T18:21:39.596" v="36077"/>
          <ac:spMkLst>
            <pc:docMk/>
            <pc:sldMk cId="1379386497" sldId="278"/>
            <ac:spMk id="53" creationId="{39B0ECE0-F41E-6718-9E64-FCA04859F9E2}"/>
          </ac:spMkLst>
        </pc:spChg>
        <pc:spChg chg="add mod replST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55" creationId="{B2CF1BE4-745E-0D6D-B6AF-283D678F8896}"/>
          </ac:spMkLst>
        </pc:spChg>
        <pc:spChg chg="add del mod modVis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56" creationId="{0F8EA3A4-7405-5B89-253D-A1B75F1E7E98}"/>
          </ac:spMkLst>
        </pc:spChg>
        <pc:spChg chg="add mod ord replST delST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57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58" creationId="{78B81F80-FD88-43AD-B1EA-9D49D321CFA2}"/>
          </ac:spMkLst>
        </pc:spChg>
        <pc:spChg chg="add mod ord replST delST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59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60" creationId="{2B15A064-F539-2DBC-4751-EC9AD27E414F}"/>
          </ac:spMkLst>
        </pc:spChg>
        <pc:spChg chg="add del mod modVis">
          <ac:chgData name="Joelle Brehm" userId="a518f54c-6985-42c0-8041-2bb16a414839" providerId="ADAL" clId="{9E52C8A6-326C-473A-BC21-4CED010AFA79}" dt="2023-09-06T18:22:37.400" v="37199"/>
          <ac:spMkLst>
            <pc:docMk/>
            <pc:sldMk cId="1379386497" sldId="278"/>
            <ac:spMk id="63" creationId="{5982934B-FC20-6FFF-9488-7B7DD34E12A5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22:38.568" v="37463"/>
          <ac:spMkLst>
            <pc:docMk/>
            <pc:sldMk cId="1379386497" sldId="278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22:32.940" v="37072"/>
          <ac:spMkLst>
            <pc:docMk/>
            <pc:sldMk cId="1379386497" sldId="278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2:32.941" v="37073"/>
          <ac:spMkLst>
            <pc:docMk/>
            <pc:sldMk cId="1379386497" sldId="278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2:32.941" v="37074"/>
          <ac:spMkLst>
            <pc:docMk/>
            <pc:sldMk cId="1379386497" sldId="278"/>
            <ac:spMk id="136" creationId="{7CAA3B95-4C78-4122-BECA-B5FB0F3F3764}"/>
          </ac:spMkLst>
        </pc:spChg>
        <pc:graphicFrameChg chg="mod">
          <ac:chgData name="Joelle Brehm" userId="a518f54c-6985-42c0-8041-2bb16a414839" providerId="ADAL" clId="{9E52C8A6-326C-473A-BC21-4CED010AFA79}" dt="2023-09-06T18:22:39.021" v="37466" actId="1076"/>
          <ac:graphicFrameMkLst>
            <pc:docMk/>
            <pc:sldMk cId="1379386497" sldId="27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20:19.468" v="34697"/>
          <ac:graphicFrameMkLst>
            <pc:docMk/>
            <pc:sldMk cId="1379386497" sldId="278"/>
            <ac:graphicFrameMk id="8" creationId="{AF1702EC-DC79-308B-A7E7-C7DC880A177B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2:38.568" v="37463"/>
          <ac:graphicFrameMkLst>
            <pc:docMk/>
            <pc:sldMk cId="1379386497" sldId="278"/>
            <ac:graphicFrameMk id="9" creationId="{75D35A04-52BF-7F42-2305-B4BE32871837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1:39.506" v="35998"/>
          <ac:graphicFrameMkLst>
            <pc:docMk/>
            <pc:sldMk cId="1379386497" sldId="278"/>
            <ac:graphicFrameMk id="45" creationId="{83CFA345-9E2E-2D42-9661-67CDA95A2E51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1:32.254" v="35530"/>
          <ac:graphicFrameMkLst>
            <pc:docMk/>
            <pc:sldMk cId="1379386497" sldId="278"/>
            <ac:graphicFrameMk id="48" creationId="{3A3B9247-36CF-2C17-89CB-731DA55628A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1:34.237" v="35741"/>
          <ac:graphicFrameMkLst>
            <pc:docMk/>
            <pc:sldMk cId="1379386497" sldId="278"/>
            <ac:graphicFrameMk id="50" creationId="{62A31BB4-CE1A-72CC-EB18-087DB5BECB8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2:38.568" v="37463"/>
          <ac:graphicFrameMkLst>
            <pc:docMk/>
            <pc:sldMk cId="1379386497" sldId="278"/>
            <ac:graphicFrameMk id="52" creationId="{F828AA31-E95B-AF97-F7E1-3E7D61E4F724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2:38.568" v="37463"/>
          <ac:graphicFrameMkLst>
            <pc:docMk/>
            <pc:sldMk cId="1379386497" sldId="278"/>
            <ac:graphicFrameMk id="54" creationId="{D2078315-E2C4-4558-CA1F-83C5BEDE824B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1:30.235" v="35344"/>
          <ac:graphicFrameMkLst>
            <pc:docMk/>
            <pc:sldMk cId="1379386497" sldId="278"/>
            <ac:graphicFrameMk id="61" creationId="{F7D0A406-EB5F-C471-2022-3E3D095F16BB}"/>
          </ac:graphicFrameMkLst>
        </pc:graphicFrameChg>
        <pc:graphicFrameChg chg="add del mod ord replST delST">
          <ac:chgData name="Joelle Brehm" userId="a518f54c-6985-42c0-8041-2bb16a414839" providerId="ADAL" clId="{9E52C8A6-326C-473A-BC21-4CED010AFA79}" dt="2023-09-06T18:22:38.568" v="37463"/>
          <ac:graphicFrameMkLst>
            <pc:docMk/>
            <pc:sldMk cId="1379386497" sldId="278"/>
            <ac:graphicFrameMk id="62" creationId="{AEEBE739-7763-DEEB-883E-FFC8139FA767}"/>
          </ac:graphicFrameMkLst>
        </pc:graphicFrameChg>
        <pc:graphicFrameChg chg="add mod ord replST delST">
          <ac:chgData name="Joelle Brehm" userId="a518f54c-6985-42c0-8041-2bb16a414839" providerId="ADAL" clId="{9E52C8A6-326C-473A-BC21-4CED010AFA79}" dt="2023-09-06T18:22:37.400" v="37199"/>
          <ac:graphicFrameMkLst>
            <pc:docMk/>
            <pc:sldMk cId="1379386497" sldId="278"/>
            <ac:graphicFrameMk id="64" creationId="{9C5AD389-FEB8-5F11-6702-E039627E01C1}"/>
          </ac:graphicFrameMkLst>
        </pc:graphicFrameChg>
        <pc:picChg chg="add mod ord">
          <ac:chgData name="Joelle Brehm" userId="a518f54c-6985-42c0-8041-2bb16a414839" providerId="ADAL" clId="{9E52C8A6-326C-473A-BC21-4CED010AFA79}" dt="2023-09-06T18:22:38.568" v="37463"/>
          <ac:picMkLst>
            <pc:docMk/>
            <pc:sldMk cId="1379386497" sldId="278"/>
            <ac:picMk id="10" creationId="{E4FF4689-7A4B-584D-8749-97112490439F}"/>
          </ac:picMkLst>
        </pc:picChg>
        <pc:picChg chg="del mod ord">
          <ac:chgData name="Joelle Brehm" userId="a518f54c-6985-42c0-8041-2bb16a414839" providerId="ADAL" clId="{9E52C8A6-326C-473A-BC21-4CED010AFA79}" dt="2023-09-06T18:20:57.999" v="34876" actId="478"/>
          <ac:picMkLst>
            <pc:docMk/>
            <pc:sldMk cId="1379386497" sldId="278"/>
            <ac:picMk id="36" creationId="{7EC613D1-A53B-CC21-9976-730F1891FA96}"/>
          </ac:picMkLst>
        </pc:picChg>
        <pc:picChg chg="mod ord">
          <ac:chgData name="Joelle Brehm" userId="a518f54c-6985-42c0-8041-2bb16a414839" providerId="ADAL" clId="{9E52C8A6-326C-473A-BC21-4CED010AFA79}" dt="2023-09-06T18:22:38.568" v="37463"/>
          <ac:picMkLst>
            <pc:docMk/>
            <pc:sldMk cId="1379386497" sldId="27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22:38.568" v="37463"/>
          <ac:cxnSpMkLst>
            <pc:docMk/>
            <pc:sldMk cId="1379386497" sldId="27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23:14.842" v="38850"/>
        <pc:sldMkLst>
          <pc:docMk/>
          <pc:sldMk cId="1917659360" sldId="279"/>
        </pc:sldMkLst>
        <pc:spChg chg="add del mod ord">
          <ac:chgData name="Joelle Brehm" userId="a518f54c-6985-42c0-8041-2bb16a414839" providerId="ADAL" clId="{9E52C8A6-326C-473A-BC21-4CED010AFA79}" dt="2023-09-06T18:22:58.221" v="37627" actId="478"/>
          <ac:spMkLst>
            <pc:docMk/>
            <pc:sldMk cId="1917659360" sldId="279"/>
            <ac:spMk id="2" creationId="{F2CE0703-BAD1-0A2E-C111-952FF0DAD971}"/>
          </ac:spMkLst>
        </pc:spChg>
        <pc:spChg chg="mod ord">
          <ac:chgData name="Joelle Brehm" userId="a518f54c-6985-42c0-8041-2bb16a414839" providerId="ADAL" clId="{9E52C8A6-326C-473A-BC21-4CED010AFA79}" dt="2023-09-06T18:23:14.826" v="38844"/>
          <ac:spMkLst>
            <pc:docMk/>
            <pc:sldMk cId="1917659360" sldId="279"/>
            <ac:spMk id="3" creationId="{406BB448-665A-4F87-A867-B3E81CDBD2E8}"/>
          </ac:spMkLst>
        </pc:spChg>
        <pc:spChg chg="add del mod modVis">
          <ac:chgData name="Joelle Brehm" userId="a518f54c-6985-42c0-8041-2bb16a414839" providerId="ADAL" clId="{9E52C8A6-326C-473A-BC21-4CED010AFA79}" dt="2023-09-06T18:22:04.456" v="36341"/>
          <ac:spMkLst>
            <pc:docMk/>
            <pc:sldMk cId="1917659360" sldId="279"/>
            <ac:spMk id="5" creationId="{74769AD2-597D-31A9-85F3-6ED32904EDE0}"/>
          </ac:spMkLst>
        </pc:spChg>
        <pc:spChg chg="mod ord">
          <ac:chgData name="Joelle Brehm" userId="a518f54c-6985-42c0-8041-2bb16a414839" providerId="ADAL" clId="{9E52C8A6-326C-473A-BC21-4CED010AFA79}" dt="2023-09-06T18:23:14.795" v="38779"/>
          <ac:spMkLst>
            <pc:docMk/>
            <pc:sldMk cId="1917659360" sldId="279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23:14.813" v="38814"/>
          <ac:spMkLst>
            <pc:docMk/>
            <pc:sldMk cId="1917659360" sldId="279"/>
            <ac:spMk id="10" creationId="{CE0EE785-3E88-4929-795C-5EE17C040043}"/>
          </ac:spMkLst>
        </pc:spChg>
        <pc:spChg chg="mod">
          <ac:chgData name="Joelle Brehm" userId="a518f54c-6985-42c0-8041-2bb16a414839" providerId="ADAL" clId="{9E52C8A6-326C-473A-BC21-4CED010AFA79}" dt="2023-09-06T18:23:14.797" v="38784"/>
          <ac:spMkLst>
            <pc:docMk/>
            <pc:sldMk cId="1917659360" sldId="279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23:14.800" v="38789"/>
          <ac:spMkLst>
            <pc:docMk/>
            <pc:sldMk cId="1917659360" sldId="279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23:14.799" v="38787"/>
          <ac:spMkLst>
            <pc:docMk/>
            <pc:sldMk cId="1917659360" sldId="279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23:14.798" v="38785"/>
          <ac:spMkLst>
            <pc:docMk/>
            <pc:sldMk cId="1917659360" sldId="279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23:14.800" v="38788"/>
          <ac:spMkLst>
            <pc:docMk/>
            <pc:sldMk cId="1917659360" sldId="279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23:14.799" v="38786"/>
          <ac:spMkLst>
            <pc:docMk/>
            <pc:sldMk cId="1917659360" sldId="279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23:14.801" v="38790"/>
          <ac:spMkLst>
            <pc:docMk/>
            <pc:sldMk cId="1917659360" sldId="279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23:14.801" v="38791"/>
          <ac:spMkLst>
            <pc:docMk/>
            <pc:sldMk cId="1917659360" sldId="279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23:14.802" v="38792"/>
          <ac:spMkLst>
            <pc:docMk/>
            <pc:sldMk cId="1917659360" sldId="279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23:14.802" v="38793"/>
          <ac:spMkLst>
            <pc:docMk/>
            <pc:sldMk cId="1917659360" sldId="279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23:14.803" v="38794"/>
          <ac:spMkLst>
            <pc:docMk/>
            <pc:sldMk cId="1917659360" sldId="279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23:14.803" v="38795"/>
          <ac:spMkLst>
            <pc:docMk/>
            <pc:sldMk cId="1917659360" sldId="279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23:14.804" v="38797"/>
          <ac:spMkLst>
            <pc:docMk/>
            <pc:sldMk cId="1917659360" sldId="279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23:14.806" v="38800"/>
          <ac:spMkLst>
            <pc:docMk/>
            <pc:sldMk cId="1917659360" sldId="279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23:14.805" v="38798"/>
          <ac:spMkLst>
            <pc:docMk/>
            <pc:sldMk cId="1917659360" sldId="279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23:14.805" v="38799"/>
          <ac:spMkLst>
            <pc:docMk/>
            <pc:sldMk cId="1917659360" sldId="279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23:14.807" v="38802"/>
          <ac:spMkLst>
            <pc:docMk/>
            <pc:sldMk cId="1917659360" sldId="279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23:14.806" v="38801"/>
          <ac:spMkLst>
            <pc:docMk/>
            <pc:sldMk cId="1917659360" sldId="279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23:14.808" v="38803"/>
          <ac:spMkLst>
            <pc:docMk/>
            <pc:sldMk cId="1917659360" sldId="279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23:14.808" v="38805"/>
          <ac:spMkLst>
            <pc:docMk/>
            <pc:sldMk cId="1917659360" sldId="279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23:07.759" v="38396"/>
          <ac:spMkLst>
            <pc:docMk/>
            <pc:sldMk cId="1917659360" sldId="279"/>
            <ac:spMk id="31" creationId="{F093A4C8-6E18-05C7-7E72-289C39311345}"/>
          </ac:spMkLst>
        </pc:spChg>
        <pc:spChg chg="mod">
          <ac:chgData name="Joelle Brehm" userId="a518f54c-6985-42c0-8041-2bb16a414839" providerId="ADAL" clId="{9E52C8A6-326C-473A-BC21-4CED010AFA79}" dt="2023-09-06T18:23:14.812" v="38813"/>
          <ac:spMkLst>
            <pc:docMk/>
            <pc:sldMk cId="1917659360" sldId="279"/>
            <ac:spMk id="33" creationId="{EF1BE76E-3513-F867-5535-98776D038363}"/>
          </ac:spMkLst>
        </pc:spChg>
        <pc:spChg chg="mod">
          <ac:chgData name="Joelle Brehm" userId="a518f54c-6985-42c0-8041-2bb16a414839" providerId="ADAL" clId="{9E52C8A6-326C-473A-BC21-4CED010AFA79}" dt="2023-09-06T18:23:14.813" v="38815"/>
          <ac:spMkLst>
            <pc:docMk/>
            <pc:sldMk cId="1917659360" sldId="279"/>
            <ac:spMk id="34" creationId="{3E8DCD8F-C1DE-43F0-D54C-AEB157F6432C}"/>
          </ac:spMkLst>
        </pc:spChg>
        <pc:spChg chg="mod">
          <ac:chgData name="Joelle Brehm" userId="a518f54c-6985-42c0-8041-2bb16a414839" providerId="ADAL" clId="{9E52C8A6-326C-473A-BC21-4CED010AFA79}" dt="2023-09-06T18:23:14.811" v="38811"/>
          <ac:spMkLst>
            <pc:docMk/>
            <pc:sldMk cId="1917659360" sldId="279"/>
            <ac:spMk id="35" creationId="{C7DD4FF6-B8A4-3198-38FF-B0BFD57B5F3E}"/>
          </ac:spMkLst>
        </pc:spChg>
        <pc:spChg chg="mod">
          <ac:chgData name="Joelle Brehm" userId="a518f54c-6985-42c0-8041-2bb16a414839" providerId="ADAL" clId="{9E52C8A6-326C-473A-BC21-4CED010AFA79}" dt="2023-09-06T18:23:14.810" v="38808"/>
          <ac:spMkLst>
            <pc:docMk/>
            <pc:sldMk cId="1917659360" sldId="279"/>
            <ac:spMk id="36" creationId="{1DD7BBF4-6C80-7EAE-8C4B-809D66ECE570}"/>
          </ac:spMkLst>
        </pc:spChg>
        <pc:spChg chg="mod">
          <ac:chgData name="Joelle Brehm" userId="a518f54c-6985-42c0-8041-2bb16a414839" providerId="ADAL" clId="{9E52C8A6-326C-473A-BC21-4CED010AFA79}" dt="2023-09-06T18:23:14.814" v="38816"/>
          <ac:spMkLst>
            <pc:docMk/>
            <pc:sldMk cId="1917659360" sldId="279"/>
            <ac:spMk id="38" creationId="{F98146E0-0CDE-47DF-A82C-B29BE329AD84}"/>
          </ac:spMkLst>
        </pc:spChg>
        <pc:spChg chg="add del mod modVis">
          <ac:chgData name="Joelle Brehm" userId="a518f54c-6985-42c0-8041-2bb16a414839" providerId="ADAL" clId="{9E52C8A6-326C-473A-BC21-4CED010AFA79}" dt="2023-09-06T18:22:51.768" v="37623"/>
          <ac:spMkLst>
            <pc:docMk/>
            <pc:sldMk cId="1917659360" sldId="279"/>
            <ac:spMk id="39" creationId="{7474C8AE-73F4-33A9-98F7-E6B402066995}"/>
          </ac:spMkLst>
        </pc:spChg>
        <pc:spChg chg="mod">
          <ac:chgData name="Joelle Brehm" userId="a518f54c-6985-42c0-8041-2bb16a414839" providerId="ADAL" clId="{9E52C8A6-326C-473A-BC21-4CED010AFA79}" dt="2023-09-06T18:23:14.810" v="38809"/>
          <ac:spMkLst>
            <pc:docMk/>
            <pc:sldMk cId="1917659360" sldId="279"/>
            <ac:spMk id="40" creationId="{5B5D62FB-4106-E270-7394-CAB5E92F046A}"/>
          </ac:spMkLst>
        </pc:spChg>
        <pc:spChg chg="mod">
          <ac:chgData name="Joelle Brehm" userId="a518f54c-6985-42c0-8041-2bb16a414839" providerId="ADAL" clId="{9E52C8A6-326C-473A-BC21-4CED010AFA79}" dt="2023-09-06T18:23:14.815" v="38819"/>
          <ac:spMkLst>
            <pc:docMk/>
            <pc:sldMk cId="1917659360" sldId="279"/>
            <ac:spMk id="42" creationId="{EF95DB07-0B48-150F-2D4A-D46B37A43A30}"/>
          </ac:spMkLst>
        </pc:spChg>
        <pc:spChg chg="add mod replST">
          <ac:chgData name="Joelle Brehm" userId="a518f54c-6985-42c0-8041-2bb16a414839" providerId="ADAL" clId="{9E52C8A6-326C-473A-BC21-4CED010AFA79}" dt="2023-09-06T18:23:14.812" v="38812"/>
          <ac:spMkLst>
            <pc:docMk/>
            <pc:sldMk cId="1917659360" sldId="279"/>
            <ac:spMk id="43" creationId="{BBDFBA71-A567-2AC1-EC82-8D2F9B910F5F}"/>
          </ac:spMkLst>
        </pc:spChg>
        <pc:spChg chg="mod">
          <ac:chgData name="Joelle Brehm" userId="a518f54c-6985-42c0-8041-2bb16a414839" providerId="ADAL" clId="{9E52C8A6-326C-473A-BC21-4CED010AFA79}" dt="2023-09-06T18:23:14.811" v="38810"/>
          <ac:spMkLst>
            <pc:docMk/>
            <pc:sldMk cId="1917659360" sldId="279"/>
            <ac:spMk id="44" creationId="{6D0C749E-E8C8-88F8-DDE8-851FCBBEB3E2}"/>
          </ac:spMkLst>
        </pc:spChg>
        <pc:spChg chg="add del mod modVis">
          <ac:chgData name="Joelle Brehm" userId="a518f54c-6985-42c0-8041-2bb16a414839" providerId="ADAL" clId="{9E52C8A6-326C-473A-BC21-4CED010AFA79}" dt="2023-09-06T18:23:04.060" v="38237"/>
          <ac:spMkLst>
            <pc:docMk/>
            <pc:sldMk cId="1917659360" sldId="279"/>
            <ac:spMk id="45" creationId="{6E488877-A988-0517-E092-B2BBE1BA0E3E}"/>
          </ac:spMkLst>
        </pc:spChg>
        <pc:spChg chg="mod">
          <ac:chgData name="Joelle Brehm" userId="a518f54c-6985-42c0-8041-2bb16a414839" providerId="ADAL" clId="{9E52C8A6-326C-473A-BC21-4CED010AFA79}" dt="2023-09-06T18:23:14.814" v="38817"/>
          <ac:spMkLst>
            <pc:docMk/>
            <pc:sldMk cId="1917659360" sldId="279"/>
            <ac:spMk id="46" creationId="{B9B060A3-E664-8DA1-E53F-1EF51677568B}"/>
          </ac:spMkLst>
        </pc:spChg>
        <pc:spChg chg="mod">
          <ac:chgData name="Joelle Brehm" userId="a518f54c-6985-42c0-8041-2bb16a414839" providerId="ADAL" clId="{9E52C8A6-326C-473A-BC21-4CED010AFA79}" dt="2023-09-06T18:23:14.815" v="38818"/>
          <ac:spMkLst>
            <pc:docMk/>
            <pc:sldMk cId="1917659360" sldId="279"/>
            <ac:spMk id="47" creationId="{698A62C7-0861-3196-719C-E48F5560BE43}"/>
          </ac:spMkLst>
        </pc:spChg>
        <pc:spChg chg="add del mod modVis">
          <ac:chgData name="Joelle Brehm" userId="a518f54c-6985-42c0-8041-2bb16a414839" providerId="ADAL" clId="{9E52C8A6-326C-473A-BC21-4CED010AFA79}" dt="2023-09-06T18:23:06.232" v="38393"/>
          <ac:spMkLst>
            <pc:docMk/>
            <pc:sldMk cId="1917659360" sldId="279"/>
            <ac:spMk id="49" creationId="{77B70ACB-FAFB-F1D3-AC45-A8D9F1C0A472}"/>
          </ac:spMkLst>
        </pc:spChg>
        <pc:spChg chg="add del mod modVis">
          <ac:chgData name="Joelle Brehm" userId="a518f54c-6985-42c0-8041-2bb16a414839" providerId="ADAL" clId="{9E52C8A6-326C-473A-BC21-4CED010AFA79}" dt="2023-09-06T18:23:07.907" v="38591"/>
          <ac:spMkLst>
            <pc:docMk/>
            <pc:sldMk cId="1917659360" sldId="279"/>
            <ac:spMk id="51" creationId="{B2D2C568-0837-8F20-C6BA-26E1850F4D14}"/>
          </ac:spMkLst>
        </pc:spChg>
        <pc:spChg chg="add del mod modVis">
          <ac:chgData name="Joelle Brehm" userId="a518f54c-6985-42c0-8041-2bb16a414839" providerId="ADAL" clId="{9E52C8A6-326C-473A-BC21-4CED010AFA79}" dt="2023-09-06T18:23:14.828" v="38848"/>
          <ac:spMkLst>
            <pc:docMk/>
            <pc:sldMk cId="1917659360" sldId="279"/>
            <ac:spMk id="53" creationId="{C8BA45DC-5D2E-FF1C-9B7E-C132637894C5}"/>
          </ac:spMkLst>
        </pc:spChg>
        <pc:spChg chg="mod ord">
          <ac:chgData name="Joelle Brehm" userId="a518f54c-6985-42c0-8041-2bb16a414839" providerId="ADAL" clId="{9E52C8A6-326C-473A-BC21-4CED010AFA79}" dt="2023-09-06T18:23:14.825" v="38842"/>
          <ac:spMkLst>
            <pc:docMk/>
            <pc:sldMk cId="1917659360" sldId="279"/>
            <ac:spMk id="58" creationId="{C2B29D16-5A5D-43B3-B972-0B57287E081A}"/>
          </ac:spMkLst>
        </pc:spChg>
        <pc:spChg chg="mod ord">
          <ac:chgData name="Joelle Brehm" userId="a518f54c-6985-42c0-8041-2bb16a414839" providerId="ADAL" clId="{9E52C8A6-326C-473A-BC21-4CED010AFA79}" dt="2023-09-06T18:23:14.816" v="38821"/>
          <ac:spMkLst>
            <pc:docMk/>
            <pc:sldMk cId="1917659360" sldId="279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23:14.817" v="38823"/>
          <ac:spMkLst>
            <pc:docMk/>
            <pc:sldMk cId="1917659360" sldId="279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23:14.818" v="38825"/>
          <ac:spMkLst>
            <pc:docMk/>
            <pc:sldMk cId="1917659360" sldId="279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23:14.819" v="38827"/>
          <ac:spMkLst>
            <pc:docMk/>
            <pc:sldMk cId="1917659360" sldId="279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23:14.819" v="38829"/>
          <ac:spMkLst>
            <pc:docMk/>
            <pc:sldMk cId="1917659360" sldId="279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23:14.820" v="38831"/>
          <ac:spMkLst>
            <pc:docMk/>
            <pc:sldMk cId="1917659360" sldId="279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23:14.821" v="38835"/>
          <ac:spMkLst>
            <pc:docMk/>
            <pc:sldMk cId="1917659360" sldId="279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3:14.823" v="38837"/>
          <ac:spMkLst>
            <pc:docMk/>
            <pc:sldMk cId="1917659360" sldId="279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3:14.822" v="38836"/>
          <ac:spMkLst>
            <pc:docMk/>
            <pc:sldMk cId="1917659360" sldId="279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3:14.821" v="38834"/>
          <ac:spMkLst>
            <pc:docMk/>
            <pc:sldMk cId="1917659360" sldId="279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23:14.823" v="38838"/>
          <ac:spMkLst>
            <pc:docMk/>
            <pc:sldMk cId="1917659360" sldId="279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23:14.842" v="38850"/>
          <ac:graphicFrameMkLst>
            <pc:docMk/>
            <pc:sldMk cId="1917659360" sldId="279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22:04.388" v="36256"/>
          <ac:graphicFrameMkLst>
            <pc:docMk/>
            <pc:sldMk cId="1917659360" sldId="279"/>
            <ac:graphicFrameMk id="8" creationId="{D6072E66-733B-AE13-BC11-BF77C4BFE1B8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3:14.797" v="38783"/>
          <ac:graphicFrameMkLst>
            <pc:docMk/>
            <pc:sldMk cId="1917659360" sldId="279"/>
            <ac:graphicFrameMk id="9" creationId="{EB14F7CC-8993-8B95-949A-9EE63AEE2B71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3:14.748" v="38769"/>
          <ac:graphicFrameMkLst>
            <pc:docMk/>
            <pc:sldMk cId="1917659360" sldId="279"/>
            <ac:graphicFrameMk id="41" creationId="{4649841A-0C70-786F-3D17-8365114F958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3:06.184" v="38313"/>
          <ac:graphicFrameMkLst>
            <pc:docMk/>
            <pc:sldMk cId="1917659360" sldId="279"/>
            <ac:graphicFrameMk id="48" creationId="{A31FD446-FA3C-E494-60C3-09A57408381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3:07.856" v="38512"/>
          <ac:graphicFrameMkLst>
            <pc:docMk/>
            <pc:sldMk cId="1917659360" sldId="279"/>
            <ac:graphicFrameMk id="50" creationId="{1AABA212-80AD-5F52-3D20-AA35C63D6BEF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3:14.808" v="38807"/>
          <ac:graphicFrameMkLst>
            <pc:docMk/>
            <pc:sldMk cId="1917659360" sldId="279"/>
            <ac:graphicFrameMk id="52" creationId="{98E8D54F-44F1-A60F-8EF7-850C878EC42A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3:14.820" v="38833"/>
          <ac:graphicFrameMkLst>
            <pc:docMk/>
            <pc:sldMk cId="1917659360" sldId="279"/>
            <ac:graphicFrameMk id="54" creationId="{5D9CE939-B1C5-4814-C94B-4B01C883EEEF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3:03.983" v="38151"/>
          <ac:graphicFrameMkLst>
            <pc:docMk/>
            <pc:sldMk cId="1917659360" sldId="279"/>
            <ac:graphicFrameMk id="55" creationId="{E626DA8D-BF62-8A16-255E-2BEECB8EB731}"/>
          </ac:graphicFrameMkLst>
        </pc:graphicFrameChg>
        <pc:picChg chg="add mod ord">
          <ac:chgData name="Joelle Brehm" userId="a518f54c-6985-42c0-8041-2bb16a414839" providerId="ADAL" clId="{9E52C8A6-326C-473A-BC21-4CED010AFA79}" dt="2023-09-06T18:23:14.794" v="38777"/>
          <ac:picMkLst>
            <pc:docMk/>
            <pc:sldMk cId="1917659360" sldId="279"/>
            <ac:picMk id="32" creationId="{95BCD3F5-8318-11C9-DD37-048C6A590F10}"/>
          </ac:picMkLst>
        </pc:picChg>
        <pc:picChg chg="add del mod ord">
          <ac:chgData name="Joelle Brehm" userId="a518f54c-6985-42c0-8041-2bb16a414839" providerId="ADAL" clId="{9E52C8A6-326C-473A-BC21-4CED010AFA79}" dt="2023-09-06T18:22:53.449" v="37626" actId="478"/>
          <ac:picMkLst>
            <pc:docMk/>
            <pc:sldMk cId="1917659360" sldId="279"/>
            <ac:picMk id="37" creationId="{6B9EB36C-EFF1-C308-3B29-4C0CB4E0C340}"/>
          </ac:picMkLst>
        </pc:picChg>
        <pc:picChg chg="mod ord">
          <ac:chgData name="Joelle Brehm" userId="a518f54c-6985-42c0-8041-2bb16a414839" providerId="ADAL" clId="{9E52C8A6-326C-473A-BC21-4CED010AFA79}" dt="2023-09-06T18:23:14.824" v="38840"/>
          <ac:picMkLst>
            <pc:docMk/>
            <pc:sldMk cId="1917659360" sldId="279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23:14.796" v="38781"/>
          <ac:cxnSpMkLst>
            <pc:docMk/>
            <pc:sldMk cId="1917659360" sldId="279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29:31.054" v="43112"/>
        <pc:sldMkLst>
          <pc:docMk/>
          <pc:sldMk cId="168389892" sldId="281"/>
        </pc:sldMkLst>
        <pc:spChg chg="mod ord">
          <ac:chgData name="Joelle Brehm" userId="a518f54c-6985-42c0-8041-2bb16a414839" providerId="ADAL" clId="{9E52C8A6-326C-473A-BC21-4CED010AFA79}" dt="2023-09-06T18:29:30.986" v="43104"/>
          <ac:spMkLst>
            <pc:docMk/>
            <pc:sldMk cId="168389892" sldId="281"/>
            <ac:spMk id="2" creationId="{113280EF-7092-46F4-B9C0-9ADB445F51A4}"/>
          </ac:spMkLst>
        </pc:spChg>
        <pc:spChg chg="add del mod ord">
          <ac:chgData name="Joelle Brehm" userId="a518f54c-6985-42c0-8041-2bb16a414839" providerId="ADAL" clId="{9E52C8A6-326C-473A-BC21-4CED010AFA79}" dt="2023-09-06T18:29:06.798" v="41896" actId="478"/>
          <ac:spMkLst>
            <pc:docMk/>
            <pc:sldMk cId="168389892" sldId="281"/>
            <ac:spMk id="3" creationId="{08BD63C6-1D34-F694-78ED-C83A2CE1D7BD}"/>
          </ac:spMkLst>
        </pc:spChg>
        <pc:spChg chg="add del mod modVis">
          <ac:chgData name="Joelle Brehm" userId="a518f54c-6985-42c0-8041-2bb16a414839" providerId="ADAL" clId="{9E52C8A6-326C-473A-BC21-4CED010AFA79}" dt="2023-09-06T18:26:26.154" v="41776"/>
          <ac:spMkLst>
            <pc:docMk/>
            <pc:sldMk cId="168389892" sldId="281"/>
            <ac:spMk id="5" creationId="{B72026C4-E166-9990-7923-AE192B78E507}"/>
          </ac:spMkLst>
        </pc:spChg>
        <pc:spChg chg="mod ord">
          <ac:chgData name="Joelle Brehm" userId="a518f54c-6985-42c0-8041-2bb16a414839" providerId="ADAL" clId="{9E52C8A6-326C-473A-BC21-4CED010AFA79}" dt="2023-09-06T18:29:30.942" v="43018"/>
          <ac:spMkLst>
            <pc:docMk/>
            <pc:sldMk cId="168389892" sldId="281"/>
            <ac:spMk id="6" creationId="{B47CE71D-7819-4857-B121-737A3BD39B4D}"/>
          </ac:spMkLst>
        </pc:spChg>
        <pc:spChg chg="add mod replST">
          <ac:chgData name="Joelle Brehm" userId="a518f54c-6985-42c0-8041-2bb16a414839" providerId="ADAL" clId="{9E52C8A6-326C-473A-BC21-4CED010AFA79}" dt="2023-09-06T18:29:30.959" v="43057"/>
          <ac:spMkLst>
            <pc:docMk/>
            <pc:sldMk cId="168389892" sldId="281"/>
            <ac:spMk id="9" creationId="{3B8DB0B0-E1C2-FCF1-CE4E-5AC50FBA3FD7}"/>
          </ac:spMkLst>
        </pc:spChg>
        <pc:spChg chg="mod">
          <ac:chgData name="Joelle Brehm" userId="a518f54c-6985-42c0-8041-2bb16a414839" providerId="ADAL" clId="{9E52C8A6-326C-473A-BC21-4CED010AFA79}" dt="2023-09-06T18:29:30.963" v="43065"/>
          <ac:spMkLst>
            <pc:docMk/>
            <pc:sldMk cId="168389892" sldId="281"/>
            <ac:spMk id="10" creationId="{74729029-689C-AB13-D8CF-55608B6316D2}"/>
          </ac:spMkLst>
        </pc:spChg>
        <pc:spChg chg="mod">
          <ac:chgData name="Joelle Brehm" userId="a518f54c-6985-42c0-8041-2bb16a414839" providerId="ADAL" clId="{9E52C8A6-326C-473A-BC21-4CED010AFA79}" dt="2023-09-06T18:29:30.947" v="43030"/>
          <ac:spMkLst>
            <pc:docMk/>
            <pc:sldMk cId="168389892" sldId="281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29:30.947" v="43029"/>
          <ac:spMkLst>
            <pc:docMk/>
            <pc:sldMk cId="168389892" sldId="281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29:30.944" v="43023"/>
          <ac:spMkLst>
            <pc:docMk/>
            <pc:sldMk cId="168389892" sldId="281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29:30.944" v="43024"/>
          <ac:spMkLst>
            <pc:docMk/>
            <pc:sldMk cId="168389892" sldId="281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29:30.946" v="43027"/>
          <ac:spMkLst>
            <pc:docMk/>
            <pc:sldMk cId="168389892" sldId="281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29:30.945" v="43026"/>
          <ac:spMkLst>
            <pc:docMk/>
            <pc:sldMk cId="168389892" sldId="281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29:30.946" v="43028"/>
          <ac:spMkLst>
            <pc:docMk/>
            <pc:sldMk cId="168389892" sldId="281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29:30.945" v="43025"/>
          <ac:spMkLst>
            <pc:docMk/>
            <pc:sldMk cId="168389892" sldId="281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29:30.948" v="43031"/>
          <ac:spMkLst>
            <pc:docMk/>
            <pc:sldMk cId="168389892" sldId="281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29:30.949" v="43032"/>
          <ac:spMkLst>
            <pc:docMk/>
            <pc:sldMk cId="168389892" sldId="281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29:30.949" v="43033"/>
          <ac:spMkLst>
            <pc:docMk/>
            <pc:sldMk cId="168389892" sldId="281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29:30.949" v="43034"/>
          <ac:spMkLst>
            <pc:docMk/>
            <pc:sldMk cId="168389892" sldId="281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29:30.950" v="43036"/>
          <ac:spMkLst>
            <pc:docMk/>
            <pc:sldMk cId="168389892" sldId="281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29:30.952" v="43040"/>
          <ac:spMkLst>
            <pc:docMk/>
            <pc:sldMk cId="168389892" sldId="281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29:30.951" v="43039"/>
          <ac:spMkLst>
            <pc:docMk/>
            <pc:sldMk cId="168389892" sldId="281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29:30.952" v="43041"/>
          <ac:spMkLst>
            <pc:docMk/>
            <pc:sldMk cId="168389892" sldId="281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29:30.954" v="43044"/>
          <ac:spMkLst>
            <pc:docMk/>
            <pc:sldMk cId="168389892" sldId="281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29:30.953" v="43043"/>
          <ac:spMkLst>
            <pc:docMk/>
            <pc:sldMk cId="168389892" sldId="281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29:30.953" v="43042"/>
          <ac:spMkLst>
            <pc:docMk/>
            <pc:sldMk cId="168389892" sldId="281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29:30.955" v="43047"/>
          <ac:spMkLst>
            <pc:docMk/>
            <pc:sldMk cId="168389892" sldId="281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29:23.136" v="42569"/>
          <ac:spMkLst>
            <pc:docMk/>
            <pc:sldMk cId="168389892" sldId="281"/>
            <ac:spMk id="31" creationId="{711541B8-27AE-44A5-8FC9-D12E6804FB92}"/>
          </ac:spMkLst>
        </pc:spChg>
        <pc:spChg chg="del mod">
          <ac:chgData name="Joelle Brehm" userId="a518f54c-6985-42c0-8041-2bb16a414839" providerId="ADAL" clId="{9E52C8A6-326C-473A-BC21-4CED010AFA79}" dt="2023-09-06T18:29:23.134" v="42568"/>
          <ac:spMkLst>
            <pc:docMk/>
            <pc:sldMk cId="168389892" sldId="281"/>
            <ac:spMk id="32" creationId="{267D9261-1F00-B849-706B-361467A439F9}"/>
          </ac:spMkLst>
        </pc:spChg>
        <pc:spChg chg="mod">
          <ac:chgData name="Joelle Brehm" userId="a518f54c-6985-42c0-8041-2bb16a414839" providerId="ADAL" clId="{9E52C8A6-326C-473A-BC21-4CED010AFA79}" dt="2023-09-06T18:29:30.964" v="43066"/>
          <ac:spMkLst>
            <pc:docMk/>
            <pc:sldMk cId="168389892" sldId="281"/>
            <ac:spMk id="33" creationId="{B1E9DD7B-A017-14DB-FDC5-572B2A809BD1}"/>
          </ac:spMkLst>
        </pc:spChg>
        <pc:spChg chg="mod">
          <ac:chgData name="Joelle Brehm" userId="a518f54c-6985-42c0-8041-2bb16a414839" providerId="ADAL" clId="{9E52C8A6-326C-473A-BC21-4CED010AFA79}" dt="2023-09-06T18:29:30.962" v="43062"/>
          <ac:spMkLst>
            <pc:docMk/>
            <pc:sldMk cId="168389892" sldId="281"/>
            <ac:spMk id="34" creationId="{A3449709-B02E-77EF-4F6F-B47BC234DA54}"/>
          </ac:spMkLst>
        </pc:spChg>
        <pc:spChg chg="mod">
          <ac:chgData name="Joelle Brehm" userId="a518f54c-6985-42c0-8041-2bb16a414839" providerId="ADAL" clId="{9E52C8A6-326C-473A-BC21-4CED010AFA79}" dt="2023-09-06T18:29:30.961" v="43060"/>
          <ac:spMkLst>
            <pc:docMk/>
            <pc:sldMk cId="168389892" sldId="281"/>
            <ac:spMk id="35" creationId="{0B484CBC-5CE9-D383-6E19-BF1B45083FAC}"/>
          </ac:spMkLst>
        </pc:spChg>
        <pc:spChg chg="mod">
          <ac:chgData name="Joelle Brehm" userId="a518f54c-6985-42c0-8041-2bb16a414839" providerId="ADAL" clId="{9E52C8A6-326C-473A-BC21-4CED010AFA79}" dt="2023-09-06T18:29:30.963" v="43064"/>
          <ac:spMkLst>
            <pc:docMk/>
            <pc:sldMk cId="168389892" sldId="281"/>
            <ac:spMk id="36" creationId="{36968B59-7E4B-5916-DE24-FBEDF12C1E49}"/>
          </ac:spMkLst>
        </pc:spChg>
        <pc:spChg chg="mod ord">
          <ac:chgData name="Joelle Brehm" userId="a518f54c-6985-42c0-8041-2bb16a414839" providerId="ADAL" clId="{9E52C8A6-326C-473A-BC21-4CED010AFA79}" dt="2023-09-06T18:29:30.951" v="43038"/>
          <ac:spMkLst>
            <pc:docMk/>
            <pc:sldMk cId="168389892" sldId="281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29:30.963" v="43063"/>
          <ac:spMkLst>
            <pc:docMk/>
            <pc:sldMk cId="168389892" sldId="281"/>
            <ac:spMk id="38" creationId="{33D6C8F4-21B6-9786-940E-4D86B2714801}"/>
          </ac:spMkLst>
        </pc:spChg>
        <pc:spChg chg="mod">
          <ac:chgData name="Joelle Brehm" userId="a518f54c-6985-42c0-8041-2bb16a414839" providerId="ADAL" clId="{9E52C8A6-326C-473A-BC21-4CED010AFA79}" dt="2023-09-06T18:29:30.966" v="43068"/>
          <ac:spMkLst>
            <pc:docMk/>
            <pc:sldMk cId="168389892" sldId="281"/>
            <ac:spMk id="39" creationId="{2B503E1C-4F05-1772-4CC4-AD21528F44F1}"/>
          </ac:spMkLst>
        </pc:spChg>
        <pc:spChg chg="mod">
          <ac:chgData name="Joelle Brehm" userId="a518f54c-6985-42c0-8041-2bb16a414839" providerId="ADAL" clId="{9E52C8A6-326C-473A-BC21-4CED010AFA79}" dt="2023-09-06T18:29:30.967" v="43069"/>
          <ac:spMkLst>
            <pc:docMk/>
            <pc:sldMk cId="168389892" sldId="281"/>
            <ac:spMk id="40" creationId="{1DB452B4-7021-7EDF-AB37-EC0DEBE64811}"/>
          </ac:spMkLst>
        </pc:spChg>
        <pc:spChg chg="mod">
          <ac:chgData name="Joelle Brehm" userId="a518f54c-6985-42c0-8041-2bb16a414839" providerId="ADAL" clId="{9E52C8A6-326C-473A-BC21-4CED010AFA79}" dt="2023-09-06T18:29:30.965" v="43067"/>
          <ac:spMkLst>
            <pc:docMk/>
            <pc:sldMk cId="168389892" sldId="281"/>
            <ac:spMk id="41" creationId="{FDBDB5F4-8253-DAFB-C27E-59BA58987D05}"/>
          </ac:spMkLst>
        </pc:spChg>
        <pc:spChg chg="mod">
          <ac:chgData name="Joelle Brehm" userId="a518f54c-6985-42c0-8041-2bb16a414839" providerId="ADAL" clId="{9E52C8A6-326C-473A-BC21-4CED010AFA79}" dt="2023-09-06T18:29:30.960" v="43058"/>
          <ac:spMkLst>
            <pc:docMk/>
            <pc:sldMk cId="168389892" sldId="281"/>
            <ac:spMk id="42" creationId="{D92C5BDA-DC6C-8233-31E7-83F0BF18BDAE}"/>
          </ac:spMkLst>
        </pc:spChg>
        <pc:spChg chg="mod">
          <ac:chgData name="Joelle Brehm" userId="a518f54c-6985-42c0-8041-2bb16a414839" providerId="ADAL" clId="{9E52C8A6-326C-473A-BC21-4CED010AFA79}" dt="2023-09-06T18:29:30.968" v="43071"/>
          <ac:spMkLst>
            <pc:docMk/>
            <pc:sldMk cId="168389892" sldId="281"/>
            <ac:spMk id="43" creationId="{CE812906-6C8A-33DD-EEAD-A4C8B1428E2C}"/>
          </ac:spMkLst>
        </pc:spChg>
        <pc:spChg chg="mod">
          <ac:chgData name="Joelle Brehm" userId="a518f54c-6985-42c0-8041-2bb16a414839" providerId="ADAL" clId="{9E52C8A6-326C-473A-BC21-4CED010AFA79}" dt="2023-09-06T18:29:30.958" v="43053"/>
          <ac:spMkLst>
            <pc:docMk/>
            <pc:sldMk cId="168389892" sldId="281"/>
            <ac:spMk id="4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9:30.958" v="43054"/>
          <ac:spMkLst>
            <pc:docMk/>
            <pc:sldMk cId="168389892" sldId="281"/>
            <ac:spMk id="4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9:30.958" v="43052"/>
          <ac:spMkLst>
            <pc:docMk/>
            <pc:sldMk cId="168389892" sldId="281"/>
            <ac:spMk id="46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29:23.256" v="42626"/>
          <ac:spMkLst>
            <pc:docMk/>
            <pc:sldMk cId="168389892" sldId="281"/>
            <ac:spMk id="4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9:30.967" v="43070"/>
          <ac:spMkLst>
            <pc:docMk/>
            <pc:sldMk cId="168389892" sldId="281"/>
            <ac:spMk id="48" creationId="{D7C724F5-3AF0-C1C4-489C-1D5CE45F0FB0}"/>
          </ac:spMkLst>
        </pc:spChg>
        <pc:spChg chg="add mod replST">
          <ac:chgData name="Joelle Brehm" userId="a518f54c-6985-42c0-8041-2bb16a414839" providerId="ADAL" clId="{9E52C8A6-326C-473A-BC21-4CED010AFA79}" dt="2023-09-06T18:29:30.961" v="43061"/>
          <ac:spMkLst>
            <pc:docMk/>
            <pc:sldMk cId="168389892" sldId="281"/>
            <ac:spMk id="49" creationId="{C06AD811-F54D-296F-21A9-ACC2CBDA832A}"/>
          </ac:spMkLst>
        </pc:spChg>
        <pc:spChg chg="mod">
          <ac:chgData name="Joelle Brehm" userId="a518f54c-6985-42c0-8041-2bb16a414839" providerId="ADAL" clId="{9E52C8A6-326C-473A-BC21-4CED010AFA79}" dt="2023-09-06T18:29:30.957" v="43051"/>
          <ac:spMkLst>
            <pc:docMk/>
            <pc:sldMk cId="168389892" sldId="281"/>
            <ac:spMk id="5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9:30.960" v="43059"/>
          <ac:spMkLst>
            <pc:docMk/>
            <pc:sldMk cId="168389892" sldId="281"/>
            <ac:spMk id="51" creationId="{1AE6E9AE-D620-2F06-1B3B-77AC8647A2C2}"/>
          </ac:spMkLst>
        </pc:spChg>
        <pc:spChg chg="mod">
          <ac:chgData name="Joelle Brehm" userId="a518f54c-6985-42c0-8041-2bb16a414839" providerId="ADAL" clId="{9E52C8A6-326C-473A-BC21-4CED010AFA79}" dt="2023-09-06T18:29:30.972" v="43077"/>
          <ac:spMkLst>
            <pc:docMk/>
            <pc:sldMk cId="168389892" sldId="281"/>
            <ac:spMk id="52" creationId="{C2136919-F830-5FA4-4909-5DFDE94744CA}"/>
          </ac:spMkLst>
        </pc:spChg>
        <pc:spChg chg="mod">
          <ac:chgData name="Joelle Brehm" userId="a518f54c-6985-42c0-8041-2bb16a414839" providerId="ADAL" clId="{9E52C8A6-326C-473A-BC21-4CED010AFA79}" dt="2023-09-06T18:29:30.972" v="43076"/>
          <ac:spMkLst>
            <pc:docMk/>
            <pc:sldMk cId="168389892" sldId="281"/>
            <ac:spMk id="53" creationId="{DF60D68E-A8E9-4219-0821-2BF8FE4E0626}"/>
          </ac:spMkLst>
        </pc:spChg>
        <pc:spChg chg="mod">
          <ac:chgData name="Joelle Brehm" userId="a518f54c-6985-42c0-8041-2bb16a414839" providerId="ADAL" clId="{9E52C8A6-326C-473A-BC21-4CED010AFA79}" dt="2023-09-06T18:29:30.969" v="43073"/>
          <ac:spMkLst>
            <pc:docMk/>
            <pc:sldMk cId="168389892" sldId="281"/>
            <ac:spMk id="54" creationId="{622603CE-58AD-807F-F76A-AA9426112C20}"/>
          </ac:spMkLst>
        </pc:spChg>
        <pc:spChg chg="add del mod modVis">
          <ac:chgData name="Joelle Brehm" userId="a518f54c-6985-42c0-8041-2bb16a414839" providerId="ADAL" clId="{9E52C8A6-326C-473A-BC21-4CED010AFA79}" dt="2023-09-06T18:29:19.890" v="42333"/>
          <ac:spMkLst>
            <pc:docMk/>
            <pc:sldMk cId="168389892" sldId="281"/>
            <ac:spMk id="55" creationId="{474F20C5-9A50-EA16-25E5-B463C8DE98F7}"/>
          </ac:spMkLst>
        </pc:spChg>
        <pc:spChg chg="mod">
          <ac:chgData name="Joelle Brehm" userId="a518f54c-6985-42c0-8041-2bb16a414839" providerId="ADAL" clId="{9E52C8A6-326C-473A-BC21-4CED010AFA79}" dt="2023-09-06T18:29:30.968" v="43072"/>
          <ac:spMkLst>
            <pc:docMk/>
            <pc:sldMk cId="168389892" sldId="281"/>
            <ac:spMk id="56" creationId="{02188EDD-C1DA-07E7-1AAB-44DEAB4B37E6}"/>
          </ac:spMkLst>
        </pc:spChg>
        <pc:spChg chg="mod">
          <ac:chgData name="Joelle Brehm" userId="a518f54c-6985-42c0-8041-2bb16a414839" providerId="ADAL" clId="{9E52C8A6-326C-473A-BC21-4CED010AFA79}" dt="2023-09-06T18:29:30.971" v="43075"/>
          <ac:spMkLst>
            <pc:docMk/>
            <pc:sldMk cId="168389892" sldId="281"/>
            <ac:spMk id="57" creationId="{C5C40907-46F2-01D7-4DFC-21E722FD6F82}"/>
          </ac:spMkLst>
        </pc:spChg>
        <pc:spChg chg="mod">
          <ac:chgData name="Joelle Brehm" userId="a518f54c-6985-42c0-8041-2bb16a414839" providerId="ADAL" clId="{9E52C8A6-326C-473A-BC21-4CED010AFA79}" dt="2023-09-06T18:29:30.959" v="43056"/>
          <ac:spMkLst>
            <pc:docMk/>
            <pc:sldMk cId="168389892" sldId="281"/>
            <ac:spMk id="59" creationId="{BBFA453A-E525-16C3-8EB6-A14471D632A3}"/>
          </ac:spMkLst>
        </pc:spChg>
        <pc:spChg chg="mod">
          <ac:chgData name="Joelle Brehm" userId="a518f54c-6985-42c0-8041-2bb16a414839" providerId="ADAL" clId="{9E52C8A6-326C-473A-BC21-4CED010AFA79}" dt="2023-09-06T18:29:30.970" v="43074"/>
          <ac:spMkLst>
            <pc:docMk/>
            <pc:sldMk cId="168389892" sldId="281"/>
            <ac:spMk id="60" creationId="{E2CCABD6-E3A5-2DEA-E763-1A50AC421FC3}"/>
          </ac:spMkLst>
        </pc:spChg>
        <pc:spChg chg="mod">
          <ac:chgData name="Joelle Brehm" userId="a518f54c-6985-42c0-8041-2bb16a414839" providerId="ADAL" clId="{9E52C8A6-326C-473A-BC21-4CED010AFA79}" dt="2023-09-06T18:29:30.973" v="43079"/>
          <ac:spMkLst>
            <pc:docMk/>
            <pc:sldMk cId="168389892" sldId="281"/>
            <ac:spMk id="62" creationId="{DE7D5BF8-193E-8278-7BAE-2D4FE573EB09}"/>
          </ac:spMkLst>
        </pc:spChg>
        <pc:spChg chg="add del mod modVis">
          <ac:chgData name="Joelle Brehm" userId="a518f54c-6985-42c0-8041-2bb16a414839" providerId="ADAL" clId="{9E52C8A6-326C-473A-BC21-4CED010AFA79}" dt="2023-09-06T18:29:21.479" v="42565"/>
          <ac:spMkLst>
            <pc:docMk/>
            <pc:sldMk cId="168389892" sldId="281"/>
            <ac:spMk id="63" creationId="{FC9F18EF-C5D1-E4A5-38A7-A32222CE00D6}"/>
          </ac:spMkLst>
        </pc:spChg>
        <pc:spChg chg="add del mod modVis">
          <ac:chgData name="Joelle Brehm" userId="a518f54c-6985-42c0-8041-2bb16a414839" providerId="ADAL" clId="{9E52C8A6-326C-473A-BC21-4CED010AFA79}" dt="2023-09-06T18:29:23.474" v="42859"/>
          <ac:spMkLst>
            <pc:docMk/>
            <pc:sldMk cId="168389892" sldId="281"/>
            <ac:spMk id="65" creationId="{0F4FFC75-F262-0402-BF6C-33661D3937BA}"/>
          </ac:spMkLst>
        </pc:spChg>
        <pc:spChg chg="mod">
          <ac:chgData name="Joelle Brehm" userId="a518f54c-6985-42c0-8041-2bb16a414839" providerId="ADAL" clId="{9E52C8A6-326C-473A-BC21-4CED010AFA79}" dt="2023-09-06T18:29:30.973" v="43078"/>
          <ac:spMkLst>
            <pc:docMk/>
            <pc:sldMk cId="168389892" sldId="281"/>
            <ac:spMk id="67" creationId="{7E34EA90-F698-215B-99E3-B598F96FF491}"/>
          </ac:spMkLst>
        </pc:spChg>
        <pc:spChg chg="add del mod modVis">
          <ac:chgData name="Joelle Brehm" userId="a518f54c-6985-42c0-8041-2bb16a414839" providerId="ADAL" clId="{9E52C8A6-326C-473A-BC21-4CED010AFA79}" dt="2023-09-06T18:29:30.990" v="43110"/>
          <ac:spMkLst>
            <pc:docMk/>
            <pc:sldMk cId="168389892" sldId="281"/>
            <ac:spMk id="68" creationId="{5091499E-FED8-CA4F-9B1C-4460F6784A4F}"/>
          </ac:spMkLst>
        </pc:spChg>
        <pc:spChg chg="mod">
          <ac:chgData name="Joelle Brehm" userId="a518f54c-6985-42c0-8041-2bb16a414839" providerId="ADAL" clId="{9E52C8A6-326C-473A-BC21-4CED010AFA79}" dt="2023-09-06T18:29:30.954" v="43045"/>
          <ac:spMkLst>
            <pc:docMk/>
            <pc:sldMk cId="168389892" sldId="281"/>
            <ac:spMk id="74" creationId="{1E5392BC-349C-45B4-8F81-52F83DA74F43}"/>
          </ac:spMkLst>
        </pc:spChg>
        <pc:spChg chg="mod ord">
          <ac:chgData name="Joelle Brehm" userId="a518f54c-6985-42c0-8041-2bb16a414839" providerId="ADAL" clId="{9E52C8A6-326C-473A-BC21-4CED010AFA79}" dt="2023-09-06T18:29:30.974" v="43081"/>
          <ac:spMkLst>
            <pc:docMk/>
            <pc:sldMk cId="168389892" sldId="281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29:30.975" v="43083"/>
          <ac:spMkLst>
            <pc:docMk/>
            <pc:sldMk cId="168389892" sldId="281"/>
            <ac:spMk id="79" creationId="{F1476AC4-694B-4D83-BFD8-8DCAA4BB1923}"/>
          </ac:spMkLst>
        </pc:spChg>
        <pc:spChg chg="mod">
          <ac:chgData name="Joelle Brehm" userId="a518f54c-6985-42c0-8041-2bb16a414839" providerId="ADAL" clId="{9E52C8A6-326C-473A-BC21-4CED010AFA79}" dt="2023-09-06T18:29:30.957" v="43050"/>
          <ac:spMkLst>
            <pc:docMk/>
            <pc:sldMk cId="168389892" sldId="281"/>
            <ac:spMk id="99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29:30.976" v="43085"/>
          <ac:spMkLst>
            <pc:docMk/>
            <pc:sldMk cId="168389892" sldId="281"/>
            <ac:spMk id="100" creationId="{8B5667AB-609C-4AEA-83B3-24E395C8F420}"/>
          </ac:spMkLst>
        </pc:spChg>
        <pc:spChg chg="mod">
          <ac:chgData name="Joelle Brehm" userId="a518f54c-6985-42c0-8041-2bb16a414839" providerId="ADAL" clId="{9E52C8A6-326C-473A-BC21-4CED010AFA79}" dt="2023-09-06T18:29:30.958" v="43055"/>
          <ac:spMkLst>
            <pc:docMk/>
            <pc:sldMk cId="168389892" sldId="281"/>
            <ac:spMk id="101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29:30.977" v="43087"/>
          <ac:spMkLst>
            <pc:docMk/>
            <pc:sldMk cId="168389892" sldId="281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29:30.978" v="43089"/>
          <ac:spMkLst>
            <pc:docMk/>
            <pc:sldMk cId="168389892" sldId="281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29:30.980" v="43091"/>
          <ac:spMkLst>
            <pc:docMk/>
            <pc:sldMk cId="168389892" sldId="281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29:30.982" v="43095"/>
          <ac:spMkLst>
            <pc:docMk/>
            <pc:sldMk cId="168389892" sldId="281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9:30.981" v="43094"/>
          <ac:spMkLst>
            <pc:docMk/>
            <pc:sldMk cId="168389892" sldId="281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9:30.982" v="43096"/>
          <ac:spMkLst>
            <pc:docMk/>
            <pc:sldMk cId="168389892" sldId="281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29:30.983" v="43097"/>
          <ac:spMkLst>
            <pc:docMk/>
            <pc:sldMk cId="168389892" sldId="281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29:30.983" v="43098"/>
          <ac:spMkLst>
            <pc:docMk/>
            <pc:sldMk cId="168389892" sldId="28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29:31.054" v="43112"/>
          <ac:graphicFrameMkLst>
            <pc:docMk/>
            <pc:sldMk cId="168389892" sldId="281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9:30.944" v="43022"/>
          <ac:graphicFrameMkLst>
            <pc:docMk/>
            <pc:sldMk cId="168389892" sldId="281"/>
            <ac:graphicFrameMk id="8" creationId="{D48DACD4-9B1A-9D10-BFF6-DC534BD36E4C}"/>
          </ac:graphicFrameMkLst>
        </pc:graphicFrameChg>
        <pc:graphicFrameChg chg="del">
          <ac:chgData name="Joelle Brehm" userId="a518f54c-6985-42c0-8041-2bb16a414839" providerId="ADAL" clId="{9E52C8A6-326C-473A-BC21-4CED010AFA79}" dt="2023-09-06T18:26:26.089" v="41667"/>
          <ac:graphicFrameMkLst>
            <pc:docMk/>
            <pc:sldMk cId="168389892" sldId="281"/>
            <ac:graphicFrameMk id="9" creationId="{997E625F-CFF6-9FDC-49ED-450728190A0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9:21.394" v="42462"/>
          <ac:graphicFrameMkLst>
            <pc:docMk/>
            <pc:sldMk cId="168389892" sldId="281"/>
            <ac:graphicFrameMk id="58" creationId="{565D1E6D-D135-D29B-071F-5CDF91F4EA1E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9:30.911" v="43010"/>
          <ac:graphicFrameMkLst>
            <pc:docMk/>
            <pc:sldMk cId="168389892" sldId="281"/>
            <ac:graphicFrameMk id="61" creationId="{A35CE645-D8E7-8225-3778-84E3213C281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29:23.374" v="42759"/>
          <ac:graphicFrameMkLst>
            <pc:docMk/>
            <pc:sldMk cId="168389892" sldId="281"/>
            <ac:graphicFrameMk id="64" creationId="{B5BDA62D-A2D4-2E13-DC66-A06998B7BFB6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9:30.956" v="43049"/>
          <ac:graphicFrameMkLst>
            <pc:docMk/>
            <pc:sldMk cId="168389892" sldId="281"/>
            <ac:graphicFrameMk id="66" creationId="{BC4FA4A5-E880-5B79-24C3-89AC9C5B0F87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29:30.981" v="43093"/>
          <ac:graphicFrameMkLst>
            <pc:docMk/>
            <pc:sldMk cId="168389892" sldId="281"/>
            <ac:graphicFrameMk id="69" creationId="{BE27BC31-5455-57BB-CB72-3046ED11CFA8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29:19.833" v="42230"/>
          <ac:graphicFrameMkLst>
            <pc:docMk/>
            <pc:sldMk cId="168389892" sldId="281"/>
            <ac:graphicFrameMk id="71" creationId="{12BA7164-2EC0-CD87-04DB-A9B7D75DB26C}"/>
          </ac:graphicFrameMkLst>
        </pc:graphicFrameChg>
        <pc:picChg chg="add mod ord">
          <ac:chgData name="Joelle Brehm" userId="a518f54c-6985-42c0-8041-2bb16a414839" providerId="ADAL" clId="{9E52C8A6-326C-473A-BC21-4CED010AFA79}" dt="2023-09-06T18:29:30.987" v="43106"/>
          <ac:picMkLst>
            <pc:docMk/>
            <pc:sldMk cId="168389892" sldId="281"/>
            <ac:picMk id="5" creationId="{AAAA8358-1123-9588-A6AE-CE4DD0699CDD}"/>
          </ac:picMkLst>
        </pc:picChg>
        <pc:picChg chg="add del mod ord">
          <ac:chgData name="Joelle Brehm" userId="a518f54c-6985-42c0-8041-2bb16a414839" providerId="ADAL" clId="{9E52C8A6-326C-473A-BC21-4CED010AFA79}" dt="2023-09-06T18:26:44.473" v="41885" actId="478"/>
          <ac:picMkLst>
            <pc:docMk/>
            <pc:sldMk cId="168389892" sldId="281"/>
            <ac:picMk id="49" creationId="{0AB042E7-8CCC-81DB-0B04-57859D0C73B0}"/>
          </ac:picMkLst>
        </pc:picChg>
        <pc:picChg chg="del mod ord">
          <ac:chgData name="Joelle Brehm" userId="a518f54c-6985-42c0-8041-2bb16a414839" providerId="ADAL" clId="{9E52C8A6-326C-473A-BC21-4CED010AFA79}" dt="2023-09-06T18:26:41.750" v="41884" actId="478"/>
          <ac:picMkLst>
            <pc:docMk/>
            <pc:sldMk cId="168389892" sldId="281"/>
            <ac:picMk id="55" creationId="{C6746876-6946-BBBF-AE2C-B7F9312CA023}"/>
          </ac:picMkLst>
        </pc:picChg>
        <pc:picChg chg="mod ord">
          <ac:chgData name="Joelle Brehm" userId="a518f54c-6985-42c0-8041-2bb16a414839" providerId="ADAL" clId="{9E52C8A6-326C-473A-BC21-4CED010AFA79}" dt="2023-09-06T18:29:30.985" v="43102"/>
          <ac:picMkLst>
            <pc:docMk/>
            <pc:sldMk cId="168389892" sldId="281"/>
            <ac:picMk id="89" creationId="{E4075C08-D964-4E5B-A0D4-2971757014BA}"/>
          </ac:picMkLst>
        </pc:picChg>
        <pc:picChg chg="mod ord">
          <ac:chgData name="Joelle Brehm" userId="a518f54c-6985-42c0-8041-2bb16a414839" providerId="ADAL" clId="{9E52C8A6-326C-473A-BC21-4CED010AFA79}" dt="2023-09-06T18:29:30.984" v="43100"/>
          <ac:picMkLst>
            <pc:docMk/>
            <pc:sldMk cId="168389892" sldId="28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29:30.943" v="43020"/>
          <ac:cxnSpMkLst>
            <pc:docMk/>
            <pc:sldMk cId="168389892" sldId="28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30:52.013" v="45010"/>
        <pc:sldMkLst>
          <pc:docMk/>
          <pc:sldMk cId="3564961532" sldId="282"/>
        </pc:sldMkLst>
        <pc:spChg chg="mod ord">
          <ac:chgData name="Joelle Brehm" userId="a518f54c-6985-42c0-8041-2bb16a414839" providerId="ADAL" clId="{9E52C8A6-326C-473A-BC21-4CED010AFA79}" dt="2023-09-06T18:30:51.993" v="45004"/>
          <ac:spMkLst>
            <pc:docMk/>
            <pc:sldMk cId="3564961532" sldId="282"/>
            <ac:spMk id="2" creationId="{D4513B5B-A8C4-4146-9B42-032BB78B09F2}"/>
          </ac:spMkLst>
        </pc:spChg>
        <pc:spChg chg="add del mod ord">
          <ac:chgData name="Joelle Brehm" userId="a518f54c-6985-42c0-8041-2bb16a414839" providerId="ADAL" clId="{9E52C8A6-326C-473A-BC21-4CED010AFA79}" dt="2023-09-06T18:30:26.998" v="43522" actId="478"/>
          <ac:spMkLst>
            <pc:docMk/>
            <pc:sldMk cId="3564961532" sldId="282"/>
            <ac:spMk id="3" creationId="{53485848-08E9-C689-21AA-7402F706A5A4}"/>
          </ac:spMkLst>
        </pc:spChg>
        <pc:spChg chg="add del mod modVis">
          <ac:chgData name="Joelle Brehm" userId="a518f54c-6985-42c0-8041-2bb16a414839" providerId="ADAL" clId="{9E52C8A6-326C-473A-BC21-4CED010AFA79}" dt="2023-09-06T18:29:53.846" v="43404"/>
          <ac:spMkLst>
            <pc:docMk/>
            <pc:sldMk cId="3564961532" sldId="282"/>
            <ac:spMk id="5" creationId="{34779A3D-D439-E829-F1C1-FCF1029A2307}"/>
          </ac:spMkLst>
        </pc:spChg>
        <pc:spChg chg="mod ord">
          <ac:chgData name="Joelle Brehm" userId="a518f54c-6985-42c0-8041-2bb16a414839" providerId="ADAL" clId="{9E52C8A6-326C-473A-BC21-4CED010AFA79}" dt="2023-09-06T18:30:51.959" v="44916"/>
          <ac:spMkLst>
            <pc:docMk/>
            <pc:sldMk cId="3564961532" sldId="282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30:51.980" v="44970"/>
          <ac:spMkLst>
            <pc:docMk/>
            <pc:sldMk cId="3564961532" sldId="282"/>
            <ac:spMk id="10" creationId="{2286D204-B337-1B4B-F833-2B2A6734E471}"/>
          </ac:spMkLst>
        </pc:spChg>
        <pc:spChg chg="mod">
          <ac:chgData name="Joelle Brehm" userId="a518f54c-6985-42c0-8041-2bb16a414839" providerId="ADAL" clId="{9E52C8A6-326C-473A-BC21-4CED010AFA79}" dt="2023-09-06T18:30:51.964" v="44928"/>
          <ac:spMkLst>
            <pc:docMk/>
            <pc:sldMk cId="3564961532" sldId="282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30:51.961" v="44922"/>
          <ac:spMkLst>
            <pc:docMk/>
            <pc:sldMk cId="3564961532" sldId="282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30:51.962" v="44925"/>
          <ac:spMkLst>
            <pc:docMk/>
            <pc:sldMk cId="3564961532" sldId="282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30:51.962" v="44924"/>
          <ac:spMkLst>
            <pc:docMk/>
            <pc:sldMk cId="3564961532" sldId="282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30:51.963" v="44926"/>
          <ac:spMkLst>
            <pc:docMk/>
            <pc:sldMk cId="3564961532" sldId="282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30:51.963" v="44927"/>
          <ac:spMkLst>
            <pc:docMk/>
            <pc:sldMk cId="3564961532" sldId="282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30:51.962" v="44923"/>
          <ac:spMkLst>
            <pc:docMk/>
            <pc:sldMk cId="3564961532" sldId="282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30:51.964" v="44929"/>
          <ac:spMkLst>
            <pc:docMk/>
            <pc:sldMk cId="3564961532" sldId="282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30:51.964" v="44930"/>
          <ac:spMkLst>
            <pc:docMk/>
            <pc:sldMk cId="3564961532" sldId="282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30:51.961" v="44921"/>
          <ac:spMkLst>
            <pc:docMk/>
            <pc:sldMk cId="3564961532" sldId="282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30:51.965" v="44931"/>
          <ac:spMkLst>
            <pc:docMk/>
            <pc:sldMk cId="3564961532" sldId="282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30:51.965" v="44932"/>
          <ac:spMkLst>
            <pc:docMk/>
            <pc:sldMk cId="3564961532" sldId="282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30:51.966" v="44934"/>
          <ac:spMkLst>
            <pc:docMk/>
            <pc:sldMk cId="3564961532" sldId="282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30:51.967" v="44937"/>
          <ac:spMkLst>
            <pc:docMk/>
            <pc:sldMk cId="3564961532" sldId="282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30:51.966" v="44935"/>
          <ac:spMkLst>
            <pc:docMk/>
            <pc:sldMk cId="3564961532" sldId="282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30:51.967" v="44936"/>
          <ac:spMkLst>
            <pc:docMk/>
            <pc:sldMk cId="3564961532" sldId="282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30:51.969" v="44941"/>
          <ac:spMkLst>
            <pc:docMk/>
            <pc:sldMk cId="3564961532" sldId="282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30:51.968" v="44940"/>
          <ac:spMkLst>
            <pc:docMk/>
            <pc:sldMk cId="3564961532" sldId="282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30:51.969" v="44942"/>
          <ac:spMkLst>
            <pc:docMk/>
            <pc:sldMk cId="3564961532" sldId="282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30:51.970" v="44945"/>
          <ac:spMkLst>
            <pc:docMk/>
            <pc:sldMk cId="3564961532" sldId="282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30:42.018" v="44196"/>
          <ac:spMkLst>
            <pc:docMk/>
            <pc:sldMk cId="3564961532" sldId="282"/>
            <ac:spMk id="31" creationId="{A6492FB9-8592-6D5F-05A0-3C55A9F0B290}"/>
          </ac:spMkLst>
        </pc:spChg>
        <pc:spChg chg="del mod">
          <ac:chgData name="Joelle Brehm" userId="a518f54c-6985-42c0-8041-2bb16a414839" providerId="ADAL" clId="{9E52C8A6-326C-473A-BC21-4CED010AFA79}" dt="2023-09-06T18:30:42.017" v="44195"/>
          <ac:spMkLst>
            <pc:docMk/>
            <pc:sldMk cId="3564961532" sldId="282"/>
            <ac:spMk id="32" creationId="{C76CF01D-E5C9-5360-86BE-563950D79635}"/>
          </ac:spMkLst>
        </pc:spChg>
        <pc:spChg chg="mod">
          <ac:chgData name="Joelle Brehm" userId="a518f54c-6985-42c0-8041-2bb16a414839" providerId="ADAL" clId="{9E52C8A6-326C-473A-BC21-4CED010AFA79}" dt="2023-09-06T18:30:51.979" v="44968"/>
          <ac:spMkLst>
            <pc:docMk/>
            <pc:sldMk cId="3564961532" sldId="282"/>
            <ac:spMk id="33" creationId="{A942A586-4C6D-05F4-003F-7AD155D23817}"/>
          </ac:spMkLst>
        </pc:spChg>
        <pc:spChg chg="mod">
          <ac:chgData name="Joelle Brehm" userId="a518f54c-6985-42c0-8041-2bb16a414839" providerId="ADAL" clId="{9E52C8A6-326C-473A-BC21-4CED010AFA79}" dt="2023-09-06T18:30:51.976" v="44960"/>
          <ac:spMkLst>
            <pc:docMk/>
            <pc:sldMk cId="3564961532" sldId="282"/>
            <ac:spMk id="34" creationId="{AE868296-AA73-04E8-5729-F60A467F8321}"/>
          </ac:spMkLst>
        </pc:spChg>
        <pc:spChg chg="mod">
          <ac:chgData name="Joelle Brehm" userId="a518f54c-6985-42c0-8041-2bb16a414839" providerId="ADAL" clId="{9E52C8A6-326C-473A-BC21-4CED010AFA79}" dt="2023-09-06T18:30:51.975" v="44959"/>
          <ac:spMkLst>
            <pc:docMk/>
            <pc:sldMk cId="3564961532" sldId="282"/>
            <ac:spMk id="35" creationId="{08798804-7117-7252-16D9-FFE107CEB4CE}"/>
          </ac:spMkLst>
        </pc:spChg>
        <pc:spChg chg="mod">
          <ac:chgData name="Joelle Brehm" userId="a518f54c-6985-42c0-8041-2bb16a414839" providerId="ADAL" clId="{9E52C8A6-326C-473A-BC21-4CED010AFA79}" dt="2023-09-06T18:30:51.976" v="44962"/>
          <ac:spMkLst>
            <pc:docMk/>
            <pc:sldMk cId="3564961532" sldId="282"/>
            <ac:spMk id="36" creationId="{D6260AD9-4FAC-BBE1-577F-7BE5C67AAFB3}"/>
          </ac:spMkLst>
        </pc:spChg>
        <pc:spChg chg="mod ord">
          <ac:chgData name="Joelle Brehm" userId="a518f54c-6985-42c0-8041-2bb16a414839" providerId="ADAL" clId="{9E52C8A6-326C-473A-BC21-4CED010AFA79}" dt="2023-09-06T18:30:51.968" v="44939"/>
          <ac:spMkLst>
            <pc:docMk/>
            <pc:sldMk cId="3564961532" sldId="282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30:51.976" v="44961"/>
          <ac:spMkLst>
            <pc:docMk/>
            <pc:sldMk cId="3564961532" sldId="282"/>
            <ac:spMk id="38" creationId="{1026F8B0-CCCC-40FF-9D5D-1CD95ABD906A}"/>
          </ac:spMkLst>
        </pc:spChg>
        <pc:spChg chg="mod">
          <ac:chgData name="Joelle Brehm" userId="a518f54c-6985-42c0-8041-2bb16a414839" providerId="ADAL" clId="{9E52C8A6-326C-473A-BC21-4CED010AFA79}" dt="2023-09-06T18:30:51.983" v="44979"/>
          <ac:spMkLst>
            <pc:docMk/>
            <pc:sldMk cId="3564961532" sldId="282"/>
            <ac:spMk id="40" creationId="{49200808-4894-56C2-435A-1B6676A67AA8}"/>
          </ac:spMkLst>
        </pc:spChg>
        <pc:spChg chg="mod">
          <ac:chgData name="Joelle Brehm" userId="a518f54c-6985-42c0-8041-2bb16a414839" providerId="ADAL" clId="{9E52C8A6-326C-473A-BC21-4CED010AFA79}" dt="2023-09-06T18:30:51.975" v="44958"/>
          <ac:spMkLst>
            <pc:docMk/>
            <pc:sldMk cId="3564961532" sldId="282"/>
            <ac:spMk id="41" creationId="{447F883B-B9D8-0511-A2AB-9573CD2F08CD}"/>
          </ac:spMkLst>
        </pc:spChg>
        <pc:spChg chg="mod">
          <ac:chgData name="Joelle Brehm" userId="a518f54c-6985-42c0-8041-2bb16a414839" providerId="ADAL" clId="{9E52C8A6-326C-473A-BC21-4CED010AFA79}" dt="2023-09-06T18:30:51.977" v="44964"/>
          <ac:spMkLst>
            <pc:docMk/>
            <pc:sldMk cId="3564961532" sldId="282"/>
            <ac:spMk id="42" creationId="{029DF0F0-1819-B6C9-E910-A68F2546536E}"/>
          </ac:spMkLst>
        </pc:spChg>
        <pc:spChg chg="mod">
          <ac:chgData name="Joelle Brehm" userId="a518f54c-6985-42c0-8041-2bb16a414839" providerId="ADAL" clId="{9E52C8A6-326C-473A-BC21-4CED010AFA79}" dt="2023-09-06T18:30:51.977" v="44963"/>
          <ac:spMkLst>
            <pc:docMk/>
            <pc:sldMk cId="3564961532" sldId="282"/>
            <ac:spMk id="43" creationId="{4CFD2106-F154-A8BF-D78A-2012D271E6C6}"/>
          </ac:spMkLst>
        </pc:spChg>
        <pc:spChg chg="mod">
          <ac:chgData name="Joelle Brehm" userId="a518f54c-6985-42c0-8041-2bb16a414839" providerId="ADAL" clId="{9E52C8A6-326C-473A-BC21-4CED010AFA79}" dt="2023-09-06T18:30:51.975" v="44957"/>
          <ac:spMkLst>
            <pc:docMk/>
            <pc:sldMk cId="3564961532" sldId="282"/>
            <ac:spMk id="44" creationId="{1F6C7A4E-3741-C604-E97F-BC7B1D2FF004}"/>
          </ac:spMkLst>
        </pc:spChg>
        <pc:spChg chg="mod">
          <ac:chgData name="Joelle Brehm" userId="a518f54c-6985-42c0-8041-2bb16a414839" providerId="ADAL" clId="{9E52C8A6-326C-473A-BC21-4CED010AFA79}" dt="2023-09-06T18:30:51.978" v="44966"/>
          <ac:spMkLst>
            <pc:docMk/>
            <pc:sldMk cId="3564961532" sldId="282"/>
            <ac:spMk id="45" creationId="{13402A60-D873-7DF2-943A-0976851061CD}"/>
          </ac:spMkLst>
        </pc:spChg>
        <pc:spChg chg="mod">
          <ac:chgData name="Joelle Brehm" userId="a518f54c-6985-42c0-8041-2bb16a414839" providerId="ADAL" clId="{9E52C8A6-326C-473A-BC21-4CED010AFA79}" dt="2023-09-06T18:30:51.972" v="44951"/>
          <ac:spMkLst>
            <pc:docMk/>
            <pc:sldMk cId="3564961532" sldId="282"/>
            <ac:spMk id="4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81" v="44974"/>
          <ac:spMkLst>
            <pc:docMk/>
            <pc:sldMk cId="3564961532" sldId="282"/>
            <ac:spMk id="48" creationId="{09826AD1-7BA3-F5B7-5AF2-917276777A15}"/>
          </ac:spMkLst>
        </pc:spChg>
        <pc:spChg chg="mod">
          <ac:chgData name="Joelle Brehm" userId="a518f54c-6985-42c0-8041-2bb16a414839" providerId="ADAL" clId="{9E52C8A6-326C-473A-BC21-4CED010AFA79}" dt="2023-09-06T18:30:51.982" v="44976"/>
          <ac:spMkLst>
            <pc:docMk/>
            <pc:sldMk cId="3564961532" sldId="282"/>
            <ac:spMk id="49" creationId="{3033D612-1447-43C8-A9AD-7D6333587F77}"/>
          </ac:spMkLst>
        </pc:spChg>
        <pc:spChg chg="mod">
          <ac:chgData name="Joelle Brehm" userId="a518f54c-6985-42c0-8041-2bb16a414839" providerId="ADAL" clId="{9E52C8A6-326C-473A-BC21-4CED010AFA79}" dt="2023-09-06T18:30:51.980" v="44971"/>
          <ac:spMkLst>
            <pc:docMk/>
            <pc:sldMk cId="3564961532" sldId="282"/>
            <ac:spMk id="50" creationId="{3DE8EAFC-BBA1-9B18-6EFA-0D04A3B96CC1}"/>
          </ac:spMkLst>
        </pc:spChg>
        <pc:spChg chg="add mod replST">
          <ac:chgData name="Joelle Brehm" userId="a518f54c-6985-42c0-8041-2bb16a414839" providerId="ADAL" clId="{9E52C8A6-326C-473A-BC21-4CED010AFA79}" dt="2023-09-06T18:30:51.983" v="44978"/>
          <ac:spMkLst>
            <pc:docMk/>
            <pc:sldMk cId="3564961532" sldId="282"/>
            <ac:spMk id="51" creationId="{7D7C884D-D57C-725C-5AC2-3935B0668B1E}"/>
          </ac:spMkLst>
        </pc:spChg>
        <pc:spChg chg="mod">
          <ac:chgData name="Joelle Brehm" userId="a518f54c-6985-42c0-8041-2bb16a414839" providerId="ADAL" clId="{9E52C8A6-326C-473A-BC21-4CED010AFA79}" dt="2023-09-06T18:30:51.979" v="44969"/>
          <ac:spMkLst>
            <pc:docMk/>
            <pc:sldMk cId="3564961532" sldId="282"/>
            <ac:spMk id="52" creationId="{A260D228-2161-2454-3FCB-CF937873361D}"/>
          </ac:spMkLst>
        </pc:spChg>
        <pc:spChg chg="mod">
          <ac:chgData name="Joelle Brehm" userId="a518f54c-6985-42c0-8041-2bb16a414839" providerId="ADAL" clId="{9E52C8A6-326C-473A-BC21-4CED010AFA79}" dt="2023-09-06T18:30:51.981" v="44973"/>
          <ac:spMkLst>
            <pc:docMk/>
            <pc:sldMk cId="3564961532" sldId="282"/>
            <ac:spMk id="53" creationId="{38705BBC-1969-2802-06B0-A9451DCAD493}"/>
          </ac:spMkLst>
        </pc:spChg>
        <pc:spChg chg="mod">
          <ac:chgData name="Joelle Brehm" userId="a518f54c-6985-42c0-8041-2bb16a414839" providerId="ADAL" clId="{9E52C8A6-326C-473A-BC21-4CED010AFA79}" dt="2023-09-06T18:30:51.978" v="44965"/>
          <ac:spMkLst>
            <pc:docMk/>
            <pc:sldMk cId="3564961532" sldId="282"/>
            <ac:spMk id="55" creationId="{63EF832D-C460-84B8-6136-051E0B959067}"/>
          </ac:spMkLst>
        </pc:spChg>
        <pc:spChg chg="mod">
          <ac:chgData name="Joelle Brehm" userId="a518f54c-6985-42c0-8041-2bb16a414839" providerId="ADAL" clId="{9E52C8A6-326C-473A-BC21-4CED010AFA79}" dt="2023-09-06T18:30:51.980" v="44972"/>
          <ac:spMkLst>
            <pc:docMk/>
            <pc:sldMk cId="3564961532" sldId="282"/>
            <ac:spMk id="56" creationId="{524D0E2B-EC88-5451-10B4-9BAED81D2D7E}"/>
          </ac:spMkLst>
        </pc:spChg>
        <pc:spChg chg="add mod ord replST">
          <ac:chgData name="Joelle Brehm" userId="a518f54c-6985-42c0-8041-2bb16a414839" providerId="ADAL" clId="{9E52C8A6-326C-473A-BC21-4CED010AFA79}" dt="2023-09-06T18:30:51.978" v="44967"/>
          <ac:spMkLst>
            <pc:docMk/>
            <pc:sldMk cId="3564961532" sldId="282"/>
            <ac:spMk id="57" creationId="{6C3836C5-4B8F-D1FF-D868-DEBFC10CBCF3}"/>
          </ac:spMkLst>
        </pc:spChg>
        <pc:spChg chg="add del mod modVis">
          <ac:chgData name="Joelle Brehm" userId="a518f54c-6985-42c0-8041-2bb16a414839" providerId="ADAL" clId="{9E52C8A6-326C-473A-BC21-4CED010AFA79}" dt="2023-09-06T18:30:38.323" v="43951"/>
          <ac:spMkLst>
            <pc:docMk/>
            <pc:sldMk cId="3564961532" sldId="282"/>
            <ac:spMk id="58" creationId="{C0F1CAC1-D20A-063B-0AB1-7B92854FB6A9}"/>
          </ac:spMkLst>
        </pc:spChg>
        <pc:spChg chg="mod">
          <ac:chgData name="Joelle Brehm" userId="a518f54c-6985-42c0-8041-2bb16a414839" providerId="ADAL" clId="{9E52C8A6-326C-473A-BC21-4CED010AFA79}" dt="2023-09-06T18:30:51.982" v="44977"/>
          <ac:spMkLst>
            <pc:docMk/>
            <pc:sldMk cId="3564961532" sldId="282"/>
            <ac:spMk id="59" creationId="{59620921-9E96-B42F-E10D-70C8E9A97CC5}"/>
          </ac:spMkLst>
        </pc:spChg>
        <pc:spChg chg="add del mod modVis">
          <ac:chgData name="Joelle Brehm" userId="a518f54c-6985-42c0-8041-2bb16a414839" providerId="ADAL" clId="{9E52C8A6-326C-473A-BC21-4CED010AFA79}" dt="2023-09-06T18:30:40.347" v="44192"/>
          <ac:spMkLst>
            <pc:docMk/>
            <pc:sldMk cId="3564961532" sldId="282"/>
            <ac:spMk id="61" creationId="{78BA0108-6CF1-4AA8-81E0-5CD2673C2FBE}"/>
          </ac:spMkLst>
        </pc:spChg>
        <pc:spChg chg="mod">
          <ac:chgData name="Joelle Brehm" userId="a518f54c-6985-42c0-8041-2bb16a414839" providerId="ADAL" clId="{9E52C8A6-326C-473A-BC21-4CED010AFA79}" dt="2023-09-06T18:30:51.982" v="44975"/>
          <ac:spMkLst>
            <pc:docMk/>
            <pc:sldMk cId="3564961532" sldId="282"/>
            <ac:spMk id="62" creationId="{8250AA4C-09BD-619E-B000-EF59FF9E8355}"/>
          </ac:spMkLst>
        </pc:spChg>
        <pc:spChg chg="add del mod modVis">
          <ac:chgData name="Joelle Brehm" userId="a518f54c-6985-42c0-8041-2bb16a414839" providerId="ADAL" clId="{9E52C8A6-326C-473A-BC21-4CED010AFA79}" dt="2023-09-06T18:30:42.482" v="44464"/>
          <ac:spMkLst>
            <pc:docMk/>
            <pc:sldMk cId="3564961532" sldId="282"/>
            <ac:spMk id="64" creationId="{8D793491-A62E-BCF9-3B37-4152BBFCADA7}"/>
          </ac:spMkLst>
        </pc:spChg>
        <pc:spChg chg="mod">
          <ac:chgData name="Joelle Brehm" userId="a518f54c-6985-42c0-8041-2bb16a414839" providerId="ADAL" clId="{9E52C8A6-326C-473A-BC21-4CED010AFA79}" dt="2023-09-06T18:30:51.974" v="44956"/>
          <ac:spMkLst>
            <pc:docMk/>
            <pc:sldMk cId="3564961532" sldId="282"/>
            <ac:spMk id="66" creationId="{C4A33F4F-7FD9-EA78-EDDC-D0E322FB3032}"/>
          </ac:spMkLst>
        </pc:spChg>
        <pc:spChg chg="add del mod modVis">
          <ac:chgData name="Joelle Brehm" userId="a518f54c-6985-42c0-8041-2bb16a414839" providerId="ADAL" clId="{9E52C8A6-326C-473A-BC21-4CED010AFA79}" dt="2023-09-06T18:30:47.375" v="44674"/>
          <ac:spMkLst>
            <pc:docMk/>
            <pc:sldMk cId="3564961532" sldId="282"/>
            <ac:spMk id="68" creationId="{34131726-73B1-39A9-BC4E-88DB08748041}"/>
          </ac:spMkLst>
        </pc:spChg>
        <pc:spChg chg="add del mod modVis">
          <ac:chgData name="Joelle Brehm" userId="a518f54c-6985-42c0-8041-2bb16a414839" providerId="ADAL" clId="{9E52C8A6-326C-473A-BC21-4CED010AFA79}" dt="2023-09-06T18:30:51.996" v="45008"/>
          <ac:spMkLst>
            <pc:docMk/>
            <pc:sldMk cId="3564961532" sldId="282"/>
            <ac:spMk id="70" creationId="{B2A5516B-A8EE-0B81-4CD5-1B92F3C21D52}"/>
          </ac:spMkLst>
        </pc:spChg>
        <pc:spChg chg="mod">
          <ac:chgData name="Joelle Brehm" userId="a518f54c-6985-42c0-8041-2bb16a414839" providerId="ADAL" clId="{9E52C8A6-326C-473A-BC21-4CED010AFA79}" dt="2023-09-06T18:30:51.969" v="44943"/>
          <ac:spMkLst>
            <pc:docMk/>
            <pc:sldMk cId="3564961532" sldId="282"/>
            <ac:spMk id="74" creationId="{1E5392BC-349C-45B4-8F81-52F83DA74F43}"/>
          </ac:spMkLst>
        </pc:spChg>
        <pc:spChg chg="mod ord">
          <ac:chgData name="Joelle Brehm" userId="a518f54c-6985-42c0-8041-2bb16a414839" providerId="ADAL" clId="{9E52C8A6-326C-473A-BC21-4CED010AFA79}" dt="2023-09-06T18:30:51.984" v="44981"/>
          <ac:spMkLst>
            <pc:docMk/>
            <pc:sldMk cId="3564961532" sldId="282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30:51.985" v="44983"/>
          <ac:spMkLst>
            <pc:docMk/>
            <pc:sldMk cId="3564961532" sldId="282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30:51.993" v="45002"/>
          <ac:spMkLst>
            <pc:docMk/>
            <pc:sldMk cId="3564961532" sldId="282"/>
            <ac:spMk id="89" creationId="{A74F6581-E271-4B10-835E-910483AD7353}"/>
          </ac:spMkLst>
        </pc:spChg>
        <pc:spChg chg="mod">
          <ac:chgData name="Joelle Brehm" userId="a518f54c-6985-42c0-8041-2bb16a414839" providerId="ADAL" clId="{9E52C8A6-326C-473A-BC21-4CED010AFA79}" dt="2023-09-06T18:30:51.973" v="44952"/>
          <ac:spMkLst>
            <pc:docMk/>
            <pc:sldMk cId="3564961532" sldId="282"/>
            <ac:spMk id="9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73" v="44953"/>
          <ac:spMkLst>
            <pc:docMk/>
            <pc:sldMk cId="3564961532" sldId="282"/>
            <ac:spMk id="99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30:51.986" v="44985"/>
          <ac:spMkLst>
            <pc:docMk/>
            <pc:sldMk cId="3564961532" sldId="282"/>
            <ac:spMk id="100" creationId="{8B5667AB-609C-4AEA-83B3-24E395C8F420}"/>
          </ac:spMkLst>
        </pc:spChg>
        <pc:spChg chg="mod">
          <ac:chgData name="Joelle Brehm" userId="a518f54c-6985-42c0-8041-2bb16a414839" providerId="ADAL" clId="{9E52C8A6-326C-473A-BC21-4CED010AFA79}" dt="2023-09-06T18:30:51.972" v="44948"/>
          <ac:spMkLst>
            <pc:docMk/>
            <pc:sldMk cId="3564961532" sldId="282"/>
            <ac:spMk id="107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8:30:51.987" v="44987"/>
          <ac:spMkLst>
            <pc:docMk/>
            <pc:sldMk cId="3564961532" sldId="282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30:51.988" v="44989"/>
          <ac:spMkLst>
            <pc:docMk/>
            <pc:sldMk cId="3564961532" sldId="282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30:51.989" v="44991"/>
          <ac:spMkLst>
            <pc:docMk/>
            <pc:sldMk cId="3564961532" sldId="282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30:51.974" v="44955"/>
          <ac:spMkLst>
            <pc:docMk/>
            <pc:sldMk cId="3564961532" sldId="282"/>
            <ac:spMk id="119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72" v="44950"/>
          <ac:spMkLst>
            <pc:docMk/>
            <pc:sldMk cId="3564961532" sldId="282"/>
            <ac:spMk id="12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72" v="44949"/>
          <ac:spMkLst>
            <pc:docMk/>
            <pc:sldMk cId="3564961532" sldId="282"/>
            <ac:spMk id="12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74" v="44954"/>
          <ac:spMkLst>
            <pc:docMk/>
            <pc:sldMk cId="3564961532" sldId="282"/>
            <ac:spMk id="12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90" v="44996"/>
          <ac:spMkLst>
            <pc:docMk/>
            <pc:sldMk cId="3564961532" sldId="282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90" v="44995"/>
          <ac:spMkLst>
            <pc:docMk/>
            <pc:sldMk cId="3564961532" sldId="282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91" v="44997"/>
          <ac:spMkLst>
            <pc:docMk/>
            <pc:sldMk cId="3564961532" sldId="282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0:51.990" v="44994"/>
          <ac:spMkLst>
            <pc:docMk/>
            <pc:sldMk cId="3564961532" sldId="282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30:51.991" v="44998"/>
          <ac:spMkLst>
            <pc:docMk/>
            <pc:sldMk cId="3564961532" sldId="28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30:52.013" v="45010"/>
          <ac:graphicFrameMkLst>
            <pc:docMk/>
            <pc:sldMk cId="3564961532" sldId="28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29:53.554" v="43294"/>
          <ac:graphicFrameMkLst>
            <pc:docMk/>
            <pc:sldMk cId="3564961532" sldId="282"/>
            <ac:graphicFrameMk id="8" creationId="{7CF8AB4B-F270-E248-59C6-B93FFA005B5A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0:51.960" v="44920"/>
          <ac:graphicFrameMkLst>
            <pc:docMk/>
            <pc:sldMk cId="3564961532" sldId="282"/>
            <ac:graphicFrameMk id="9" creationId="{0CBC37E4-9A91-FEE8-482D-AFDDE9EF3958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0:51.924" v="44906"/>
          <ac:graphicFrameMkLst>
            <pc:docMk/>
            <pc:sldMk cId="3564961532" sldId="282"/>
            <ac:graphicFrameMk id="54" creationId="{B573E6D6-6B93-2284-41DD-62148ACFF25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0:40.242" v="44087"/>
          <ac:graphicFrameMkLst>
            <pc:docMk/>
            <pc:sldMk cId="3564961532" sldId="282"/>
            <ac:graphicFrameMk id="60" creationId="{07DEA1AF-8455-9739-63CC-9F20FA40E6B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0:42.369" v="44361"/>
          <ac:graphicFrameMkLst>
            <pc:docMk/>
            <pc:sldMk cId="3564961532" sldId="282"/>
            <ac:graphicFrameMk id="63" creationId="{9EF9E05F-EF1C-132F-9C99-4B9C477DB2EB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0:47.294" v="44572"/>
          <ac:graphicFrameMkLst>
            <pc:docMk/>
            <pc:sldMk cId="3564961532" sldId="282"/>
            <ac:graphicFrameMk id="65" creationId="{4403B4B1-D87E-B68F-BAF2-CAAD54473CA3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0:38.207" v="43846"/>
          <ac:graphicFrameMkLst>
            <pc:docMk/>
            <pc:sldMk cId="3564961532" sldId="282"/>
            <ac:graphicFrameMk id="67" creationId="{DBCACDED-D730-1F74-877B-3D0E795E51DE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0:51.971" v="44947"/>
          <ac:graphicFrameMkLst>
            <pc:docMk/>
            <pc:sldMk cId="3564961532" sldId="282"/>
            <ac:graphicFrameMk id="69" creationId="{74F2242C-3029-24DD-6571-AFE04CA0B46D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0:51.989" v="44993"/>
          <ac:graphicFrameMkLst>
            <pc:docMk/>
            <pc:sldMk cId="3564961532" sldId="282"/>
            <ac:graphicFrameMk id="71" creationId="{9016B3E2-D7AA-7BD0-0D4B-8804565CB3E3}"/>
          </ac:graphicFrameMkLst>
        </pc:graphicFrameChg>
        <pc:picChg chg="del mod ord">
          <ac:chgData name="Joelle Brehm" userId="a518f54c-6985-42c0-8041-2bb16a414839" providerId="ADAL" clId="{9E52C8A6-326C-473A-BC21-4CED010AFA79}" dt="2023-09-06T18:30:16.784" v="43521" actId="478"/>
          <ac:picMkLst>
            <pc:docMk/>
            <pc:sldMk cId="3564961532" sldId="282"/>
            <ac:picMk id="39" creationId="{923AC5E5-AA69-2146-688A-C535F3DEA5DF}"/>
          </ac:picMkLst>
        </pc:picChg>
        <pc:picChg chg="add mod ord">
          <ac:chgData name="Joelle Brehm" userId="a518f54c-6985-42c0-8041-2bb16a414839" providerId="ADAL" clId="{9E52C8A6-326C-473A-BC21-4CED010AFA79}" dt="2023-09-06T18:30:51.958" v="44914"/>
          <ac:picMkLst>
            <pc:docMk/>
            <pc:sldMk cId="3564961532" sldId="282"/>
            <ac:picMk id="46" creationId="{8A6F9578-A030-FCB0-5E43-E354A3080561}"/>
          </ac:picMkLst>
        </pc:picChg>
        <pc:picChg chg="mod ord">
          <ac:chgData name="Joelle Brehm" userId="a518f54c-6985-42c0-8041-2bb16a414839" providerId="ADAL" clId="{9E52C8A6-326C-473A-BC21-4CED010AFA79}" dt="2023-09-06T18:30:51.992" v="45000"/>
          <ac:picMkLst>
            <pc:docMk/>
            <pc:sldMk cId="3564961532" sldId="28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30:51.960" v="44918"/>
          <ac:cxnSpMkLst>
            <pc:docMk/>
            <pc:sldMk cId="3564961532" sldId="28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33:30.111" v="48007"/>
        <pc:sldMkLst>
          <pc:docMk/>
          <pc:sldMk cId="2958919186" sldId="284"/>
        </pc:sldMkLst>
        <pc:spChg chg="mod ord">
          <ac:chgData name="Joelle Brehm" userId="a518f54c-6985-42c0-8041-2bb16a414839" providerId="ADAL" clId="{9E52C8A6-326C-473A-BC21-4CED010AFA79}" dt="2023-09-06T18:33:30.087" v="48001"/>
          <ac:spMkLst>
            <pc:docMk/>
            <pc:sldMk cId="2958919186" sldId="284"/>
            <ac:spMk id="2" creationId="{E0BBFF4A-7EEF-43CB-94FA-0BDC45C7239C}"/>
          </ac:spMkLst>
        </pc:spChg>
        <pc:spChg chg="add del mod ord">
          <ac:chgData name="Joelle Brehm" userId="a518f54c-6985-42c0-8041-2bb16a414839" providerId="ADAL" clId="{9E52C8A6-326C-473A-BC21-4CED010AFA79}" dt="2023-09-06T18:32:46.221" v="45415" actId="478"/>
          <ac:spMkLst>
            <pc:docMk/>
            <pc:sldMk cId="2958919186" sldId="284"/>
            <ac:spMk id="3" creationId="{6D3704BE-508C-0500-07D2-D08F5433D0A8}"/>
          </ac:spMkLst>
        </pc:spChg>
        <pc:spChg chg="add del mod modVis">
          <ac:chgData name="Joelle Brehm" userId="a518f54c-6985-42c0-8041-2bb16a414839" providerId="ADAL" clId="{9E52C8A6-326C-473A-BC21-4CED010AFA79}" dt="2023-09-06T18:31:12.155" v="45297"/>
          <ac:spMkLst>
            <pc:docMk/>
            <pc:sldMk cId="2958919186" sldId="284"/>
            <ac:spMk id="5" creationId="{716E09C1-4D62-406A-5459-AFE3EE804FC9}"/>
          </ac:spMkLst>
        </pc:spChg>
        <pc:spChg chg="mod ord">
          <ac:chgData name="Joelle Brehm" userId="a518f54c-6985-42c0-8041-2bb16a414839" providerId="ADAL" clId="{9E52C8A6-326C-473A-BC21-4CED010AFA79}" dt="2023-09-06T18:33:30.031" v="47915"/>
          <ac:spMkLst>
            <pc:docMk/>
            <pc:sldMk cId="2958919186" sldId="284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33:30.064" v="47960"/>
          <ac:spMkLst>
            <pc:docMk/>
            <pc:sldMk cId="2958919186" sldId="284"/>
            <ac:spMk id="9" creationId="{581018D9-D474-E6D8-4FB0-2F2B587E2BA8}"/>
          </ac:spMkLst>
        </pc:spChg>
        <pc:spChg chg="mod">
          <ac:chgData name="Joelle Brehm" userId="a518f54c-6985-42c0-8041-2bb16a414839" providerId="ADAL" clId="{9E52C8A6-326C-473A-BC21-4CED010AFA79}" dt="2023-09-06T18:33:30.040" v="47925"/>
          <ac:spMkLst>
            <pc:docMk/>
            <pc:sldMk cId="2958919186" sldId="284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33:30.042" v="47927"/>
          <ac:spMkLst>
            <pc:docMk/>
            <pc:sldMk cId="2958919186" sldId="284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33:30.041" v="47926"/>
          <ac:spMkLst>
            <pc:docMk/>
            <pc:sldMk cId="2958919186" sldId="284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33:30.037" v="47921"/>
          <ac:spMkLst>
            <pc:docMk/>
            <pc:sldMk cId="2958919186" sldId="284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33:30.039" v="47924"/>
          <ac:spMkLst>
            <pc:docMk/>
            <pc:sldMk cId="2958919186" sldId="284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33:30.037" v="47922"/>
          <ac:spMkLst>
            <pc:docMk/>
            <pc:sldMk cId="2958919186" sldId="284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33:30.037" v="47920"/>
          <ac:spMkLst>
            <pc:docMk/>
            <pc:sldMk cId="2958919186" sldId="284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33:30.038" v="47923"/>
          <ac:spMkLst>
            <pc:docMk/>
            <pc:sldMk cId="2958919186" sldId="284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33:30.042" v="47928"/>
          <ac:spMkLst>
            <pc:docMk/>
            <pc:sldMk cId="2958919186" sldId="284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33:30.044" v="47929"/>
          <ac:spMkLst>
            <pc:docMk/>
            <pc:sldMk cId="2958919186" sldId="284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33:30.044" v="47930"/>
          <ac:spMkLst>
            <pc:docMk/>
            <pc:sldMk cId="2958919186" sldId="284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33:30.045" v="47931"/>
          <ac:spMkLst>
            <pc:docMk/>
            <pc:sldMk cId="2958919186" sldId="284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33:30.046" v="47933"/>
          <ac:spMkLst>
            <pc:docMk/>
            <pc:sldMk cId="2958919186" sldId="284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33:30.050" v="47938"/>
          <ac:spMkLst>
            <pc:docMk/>
            <pc:sldMk cId="2958919186" sldId="284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33:30.047" v="47934"/>
          <ac:spMkLst>
            <pc:docMk/>
            <pc:sldMk cId="2958919186" sldId="284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33:30.049" v="47937"/>
          <ac:spMkLst>
            <pc:docMk/>
            <pc:sldMk cId="2958919186" sldId="284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33:30.052" v="47940"/>
          <ac:spMkLst>
            <pc:docMk/>
            <pc:sldMk cId="2958919186" sldId="284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33:30.051" v="47939"/>
          <ac:spMkLst>
            <pc:docMk/>
            <pc:sldMk cId="2958919186" sldId="284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33:30.052" v="47941"/>
          <ac:spMkLst>
            <pc:docMk/>
            <pc:sldMk cId="2958919186" sldId="284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33:30.055" v="47944"/>
          <ac:spMkLst>
            <pc:docMk/>
            <pc:sldMk cId="2958919186" sldId="284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8:33:30.068" v="47967"/>
          <ac:spMkLst>
            <pc:docMk/>
            <pc:sldMk cId="2958919186" sldId="284"/>
            <ac:spMk id="31" creationId="{125088B1-BC05-E61C-E778-A5953B0A5CC9}"/>
          </ac:spMkLst>
        </pc:spChg>
        <pc:spChg chg="mod">
          <ac:chgData name="Joelle Brehm" userId="a518f54c-6985-42c0-8041-2bb16a414839" providerId="ADAL" clId="{9E52C8A6-326C-473A-BC21-4CED010AFA79}" dt="2023-09-06T18:33:30.064" v="47959"/>
          <ac:spMkLst>
            <pc:docMk/>
            <pc:sldMk cId="2958919186" sldId="284"/>
            <ac:spMk id="32" creationId="{7DC518E0-B6F8-2016-02E9-5BDCE98B8BD2}"/>
          </ac:spMkLst>
        </pc:spChg>
        <pc:spChg chg="mod">
          <ac:chgData name="Joelle Brehm" userId="a518f54c-6985-42c0-8041-2bb16a414839" providerId="ADAL" clId="{9E52C8A6-326C-473A-BC21-4CED010AFA79}" dt="2023-09-06T18:33:30.065" v="47962"/>
          <ac:spMkLst>
            <pc:docMk/>
            <pc:sldMk cId="2958919186" sldId="284"/>
            <ac:spMk id="33" creationId="{4B94C134-301E-FFE0-B344-351A0F3A058C}"/>
          </ac:spMkLst>
        </pc:spChg>
        <pc:spChg chg="mod">
          <ac:chgData name="Joelle Brehm" userId="a518f54c-6985-42c0-8041-2bb16a414839" providerId="ADAL" clId="{9E52C8A6-326C-473A-BC21-4CED010AFA79}" dt="2023-09-06T18:33:30.066" v="47963"/>
          <ac:spMkLst>
            <pc:docMk/>
            <pc:sldMk cId="2958919186" sldId="284"/>
            <ac:spMk id="34" creationId="{1D083AF9-5BB6-268F-E100-556C500563FF}"/>
          </ac:spMkLst>
        </pc:spChg>
        <pc:spChg chg="del mod">
          <ac:chgData name="Joelle Brehm" userId="a518f54c-6985-42c0-8041-2bb16a414839" providerId="ADAL" clId="{9E52C8A6-326C-473A-BC21-4CED010AFA79}" dt="2023-09-06T18:33:04.598" v="46077"/>
          <ac:spMkLst>
            <pc:docMk/>
            <pc:sldMk cId="2958919186" sldId="284"/>
            <ac:spMk id="35" creationId="{CCB6D4E8-4FEE-67A7-4C47-E83C2C523E98}"/>
          </ac:spMkLst>
        </pc:spChg>
        <pc:spChg chg="mod">
          <ac:chgData name="Joelle Brehm" userId="a518f54c-6985-42c0-8041-2bb16a414839" providerId="ADAL" clId="{9E52C8A6-326C-473A-BC21-4CED010AFA79}" dt="2023-09-06T18:33:30.065" v="47961"/>
          <ac:spMkLst>
            <pc:docMk/>
            <pc:sldMk cId="2958919186" sldId="284"/>
            <ac:spMk id="36" creationId="{2B31A95E-66FE-6A51-6096-E25DEE4F6185}"/>
          </ac:spMkLst>
        </pc:spChg>
        <pc:spChg chg="mod ord">
          <ac:chgData name="Joelle Brehm" userId="a518f54c-6985-42c0-8041-2bb16a414839" providerId="ADAL" clId="{9E52C8A6-326C-473A-BC21-4CED010AFA79}" dt="2023-09-06T18:33:30.048" v="47936"/>
          <ac:spMkLst>
            <pc:docMk/>
            <pc:sldMk cId="2958919186" sldId="284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33:30.061" v="47954"/>
          <ac:spMkLst>
            <pc:docMk/>
            <pc:sldMk cId="2958919186" sldId="284"/>
            <ac:spMk id="38" creationId="{64FE4593-24F9-360D-B61A-345C6A72C704}"/>
          </ac:spMkLst>
        </pc:spChg>
        <pc:spChg chg="del mod">
          <ac:chgData name="Joelle Brehm" userId="a518f54c-6985-42c0-8041-2bb16a414839" providerId="ADAL" clId="{9E52C8A6-326C-473A-BC21-4CED010AFA79}" dt="2023-09-06T18:33:04.597" v="46076"/>
          <ac:spMkLst>
            <pc:docMk/>
            <pc:sldMk cId="2958919186" sldId="284"/>
            <ac:spMk id="39" creationId="{F91A3A97-9514-6870-9E95-5ED2A350A37A}"/>
          </ac:spMkLst>
        </pc:spChg>
        <pc:spChg chg="mod">
          <ac:chgData name="Joelle Brehm" userId="a518f54c-6985-42c0-8041-2bb16a414839" providerId="ADAL" clId="{9E52C8A6-326C-473A-BC21-4CED010AFA79}" dt="2023-09-06T18:33:30.069" v="47969"/>
          <ac:spMkLst>
            <pc:docMk/>
            <pc:sldMk cId="2958919186" sldId="284"/>
            <ac:spMk id="40" creationId="{65B69A5C-0F9E-A4F4-3815-34C5AD49C7B7}"/>
          </ac:spMkLst>
        </pc:spChg>
        <pc:spChg chg="mod ord">
          <ac:chgData name="Joelle Brehm" userId="a518f54c-6985-42c0-8041-2bb16a414839" providerId="ADAL" clId="{9E52C8A6-326C-473A-BC21-4CED010AFA79}" dt="2023-09-06T18:33:30.068" v="47968"/>
          <ac:spMkLst>
            <pc:docMk/>
            <pc:sldMk cId="2958919186" sldId="284"/>
            <ac:spMk id="41" creationId="{6F6FCB65-B77A-CEE3-3C55-1C7EB0F7E454}"/>
          </ac:spMkLst>
        </pc:spChg>
        <pc:spChg chg="add mod replST">
          <ac:chgData name="Joelle Brehm" userId="a518f54c-6985-42c0-8041-2bb16a414839" providerId="ADAL" clId="{9E52C8A6-326C-473A-BC21-4CED010AFA79}" dt="2023-09-06T18:33:30.072" v="47975"/>
          <ac:spMkLst>
            <pc:docMk/>
            <pc:sldMk cId="2958919186" sldId="284"/>
            <ac:spMk id="42" creationId="{907D7408-F4BF-634D-C4A3-6AB144A133E9}"/>
          </ac:spMkLst>
        </pc:spChg>
        <pc:spChg chg="mod">
          <ac:chgData name="Joelle Brehm" userId="a518f54c-6985-42c0-8041-2bb16a414839" providerId="ADAL" clId="{9E52C8A6-326C-473A-BC21-4CED010AFA79}" dt="2023-09-06T18:33:30.067" v="47965"/>
          <ac:spMkLst>
            <pc:docMk/>
            <pc:sldMk cId="2958919186" sldId="284"/>
            <ac:spMk id="43" creationId="{37188F03-F6CA-EE9D-F6C7-47E8CCD42E86}"/>
          </ac:spMkLst>
        </pc:spChg>
        <pc:spChg chg="add mod replST">
          <ac:chgData name="Joelle Brehm" userId="a518f54c-6985-42c0-8041-2bb16a414839" providerId="ADAL" clId="{9E52C8A6-326C-473A-BC21-4CED010AFA79}" dt="2023-09-06T18:33:30.060" v="47953"/>
          <ac:spMkLst>
            <pc:docMk/>
            <pc:sldMk cId="2958919186" sldId="284"/>
            <ac:spMk id="44" creationId="{77917790-2F42-F887-E684-5C13E341F164}"/>
          </ac:spMkLst>
        </pc:spChg>
        <pc:spChg chg="mod">
          <ac:chgData name="Joelle Brehm" userId="a518f54c-6985-42c0-8041-2bb16a414839" providerId="ADAL" clId="{9E52C8A6-326C-473A-BC21-4CED010AFA79}" dt="2023-09-06T18:33:30.063" v="47958"/>
          <ac:spMkLst>
            <pc:docMk/>
            <pc:sldMk cId="2958919186" sldId="284"/>
            <ac:spMk id="45" creationId="{BA6D2150-ACED-DB3B-247D-B1C7D75594BC}"/>
          </ac:spMkLst>
        </pc:spChg>
        <pc:spChg chg="mod ord">
          <ac:chgData name="Joelle Brehm" userId="a518f54c-6985-42c0-8041-2bb16a414839" providerId="ADAL" clId="{9E52C8A6-326C-473A-BC21-4CED010AFA79}" dt="2023-09-06T18:33:30.067" v="47966"/>
          <ac:spMkLst>
            <pc:docMk/>
            <pc:sldMk cId="2958919186" sldId="284"/>
            <ac:spMk id="46" creationId="{57979B6E-92A7-E2CD-D125-48728C290A15}"/>
          </ac:spMkLst>
        </pc:spChg>
        <pc:spChg chg="mod">
          <ac:chgData name="Joelle Brehm" userId="a518f54c-6985-42c0-8041-2bb16a414839" providerId="ADAL" clId="{9E52C8A6-326C-473A-BC21-4CED010AFA79}" dt="2023-09-06T18:33:30.071" v="47973"/>
          <ac:spMkLst>
            <pc:docMk/>
            <pc:sldMk cId="2958919186" sldId="284"/>
            <ac:spMk id="47" creationId="{F1368363-5333-B95D-BCFC-162A180EC1E3}"/>
          </ac:spMkLst>
        </pc:spChg>
        <pc:spChg chg="add del mod modVis">
          <ac:chgData name="Joelle Brehm" userId="a518f54c-6985-42c0-8041-2bb16a414839" providerId="ADAL" clId="{9E52C8A6-326C-473A-BC21-4CED010AFA79}" dt="2023-09-06T18:33:00.538" v="45838"/>
          <ac:spMkLst>
            <pc:docMk/>
            <pc:sldMk cId="2958919186" sldId="284"/>
            <ac:spMk id="48" creationId="{957FBBB7-D51B-50D0-FD28-FB47F934589B}"/>
          </ac:spMkLst>
        </pc:spChg>
        <pc:spChg chg="mod">
          <ac:chgData name="Joelle Brehm" userId="a518f54c-6985-42c0-8041-2bb16a414839" providerId="ADAL" clId="{9E52C8A6-326C-473A-BC21-4CED010AFA79}" dt="2023-09-06T18:33:30.062" v="47956"/>
          <ac:spMkLst>
            <pc:docMk/>
            <pc:sldMk cId="2958919186" sldId="284"/>
            <ac:spMk id="52" creationId="{6E4409F8-DCE2-073E-9CE6-5DBB74FB2660}"/>
          </ac:spMkLst>
        </pc:spChg>
        <pc:spChg chg="mod">
          <ac:chgData name="Joelle Brehm" userId="a518f54c-6985-42c0-8041-2bb16a414839" providerId="ADAL" clId="{9E52C8A6-326C-473A-BC21-4CED010AFA79}" dt="2023-09-06T18:33:30.063" v="47957"/>
          <ac:spMkLst>
            <pc:docMk/>
            <pc:sldMk cId="2958919186" sldId="284"/>
            <ac:spMk id="53" creationId="{7BFBA14E-9C06-1228-89A6-C1CD785143C9}"/>
          </ac:spMkLst>
        </pc:spChg>
        <pc:spChg chg="mod">
          <ac:chgData name="Joelle Brehm" userId="a518f54c-6985-42c0-8041-2bb16a414839" providerId="ADAL" clId="{9E52C8A6-326C-473A-BC21-4CED010AFA79}" dt="2023-09-06T18:33:30.073" v="47976"/>
          <ac:spMkLst>
            <pc:docMk/>
            <pc:sldMk cId="2958919186" sldId="284"/>
            <ac:spMk id="54" creationId="{6B5CA9E5-6CAB-32F9-DC0A-F88273FB2B4F}"/>
          </ac:spMkLst>
        </pc:spChg>
        <pc:spChg chg="mod">
          <ac:chgData name="Joelle Brehm" userId="a518f54c-6985-42c0-8041-2bb16a414839" providerId="ADAL" clId="{9E52C8A6-326C-473A-BC21-4CED010AFA79}" dt="2023-09-06T18:33:30.072" v="47974"/>
          <ac:spMkLst>
            <pc:docMk/>
            <pc:sldMk cId="2958919186" sldId="284"/>
            <ac:spMk id="55" creationId="{2BAA32C5-1C92-8614-2678-B94A36FCDC54}"/>
          </ac:spMkLst>
        </pc:spChg>
        <pc:spChg chg="add del mod modVis">
          <ac:chgData name="Joelle Brehm" userId="a518f54c-6985-42c0-8041-2bb16a414839" providerId="ADAL" clId="{9E52C8A6-326C-473A-BC21-4CED010AFA79}" dt="2023-09-06T18:33:03.320" v="46073"/>
          <ac:spMkLst>
            <pc:docMk/>
            <pc:sldMk cId="2958919186" sldId="284"/>
            <ac:spMk id="56" creationId="{5AB61540-1486-5210-2BA5-98574B1A82C1}"/>
          </ac:spMkLst>
        </pc:spChg>
        <pc:spChg chg="mod">
          <ac:chgData name="Joelle Brehm" userId="a518f54c-6985-42c0-8041-2bb16a414839" providerId="ADAL" clId="{9E52C8A6-326C-473A-BC21-4CED010AFA79}" dt="2023-09-06T18:33:30.066" v="47964"/>
          <ac:spMkLst>
            <pc:docMk/>
            <pc:sldMk cId="2958919186" sldId="284"/>
            <ac:spMk id="58" creationId="{1FE8095F-70AA-80E7-5AB4-793D17F07A13}"/>
          </ac:spMkLst>
        </pc:spChg>
        <pc:spChg chg="add del mod modVis">
          <ac:chgData name="Joelle Brehm" userId="a518f54c-6985-42c0-8041-2bb16a414839" providerId="ADAL" clId="{9E52C8A6-326C-473A-BC21-4CED010AFA79}" dt="2023-09-06T18:33:06.072" v="46794"/>
          <ac:spMkLst>
            <pc:docMk/>
            <pc:sldMk cId="2958919186" sldId="284"/>
            <ac:spMk id="59" creationId="{DF63E1EF-9624-C75E-217F-41B60C659037}"/>
          </ac:spMkLst>
        </pc:spChg>
        <pc:spChg chg="mod">
          <ac:chgData name="Joelle Brehm" userId="a518f54c-6985-42c0-8041-2bb16a414839" providerId="ADAL" clId="{9E52C8A6-326C-473A-BC21-4CED010AFA79}" dt="2023-09-06T18:33:30.070" v="47970"/>
          <ac:spMkLst>
            <pc:docMk/>
            <pc:sldMk cId="2958919186" sldId="284"/>
            <ac:spMk id="60" creationId="{8759D603-88B6-A9D6-C425-741AE5AD2811}"/>
          </ac:spMkLst>
        </pc:spChg>
        <pc:spChg chg="mod ord">
          <ac:chgData name="Joelle Brehm" userId="a518f54c-6985-42c0-8041-2bb16a414839" providerId="ADAL" clId="{9E52C8A6-326C-473A-BC21-4CED010AFA79}" dt="2023-09-06T18:33:30.062" v="47955"/>
          <ac:spMkLst>
            <pc:docMk/>
            <pc:sldMk cId="2958919186" sldId="284"/>
            <ac:spMk id="61" creationId="{C2E8F2D5-0EFE-8256-D3A3-FD39CD48ED50}"/>
          </ac:spMkLst>
        </pc:spChg>
        <pc:spChg chg="add del mod replST">
          <ac:chgData name="Joelle Brehm" userId="a518f54c-6985-42c0-8041-2bb16a414839" providerId="ADAL" clId="{9E52C8A6-326C-473A-BC21-4CED010AFA79}" dt="2023-09-06T18:33:19.278" v="47130"/>
          <ac:spMkLst>
            <pc:docMk/>
            <pc:sldMk cId="2958919186" sldId="284"/>
            <ac:spMk id="62" creationId="{7CAA3B95-4C78-4122-BECA-B5FB0F3F3764}"/>
          </ac:spMkLst>
        </pc:spChg>
        <pc:spChg chg="add del mod replST">
          <ac:chgData name="Joelle Brehm" userId="a518f54c-6985-42c0-8041-2bb16a414839" providerId="ADAL" clId="{9E52C8A6-326C-473A-BC21-4CED010AFA79}" dt="2023-09-06T18:33:19.278" v="47129"/>
          <ac:spMkLst>
            <pc:docMk/>
            <pc:sldMk cId="2958919186" sldId="284"/>
            <ac:spMk id="6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71" v="47972"/>
          <ac:spMkLst>
            <pc:docMk/>
            <pc:sldMk cId="2958919186" sldId="284"/>
            <ac:spMk id="64" creationId="{B1366E3F-F395-5537-B661-2D2E6B4B920E}"/>
          </ac:spMkLst>
        </pc:spChg>
        <pc:spChg chg="add del mod replST">
          <ac:chgData name="Joelle Brehm" userId="a518f54c-6985-42c0-8041-2bb16a414839" providerId="ADAL" clId="{9E52C8A6-326C-473A-BC21-4CED010AFA79}" dt="2023-09-06T18:33:19.277" v="47128"/>
          <ac:spMkLst>
            <pc:docMk/>
            <pc:sldMk cId="2958919186" sldId="284"/>
            <ac:spMk id="65" creationId="{7CAA3B95-4C78-4122-BECA-B5FB0F3F3764}"/>
          </ac:spMkLst>
        </pc:spChg>
        <pc:spChg chg="add del mod replST">
          <ac:chgData name="Joelle Brehm" userId="a518f54c-6985-42c0-8041-2bb16a414839" providerId="ADAL" clId="{9E52C8A6-326C-473A-BC21-4CED010AFA79}" dt="2023-09-06T18:33:19.277" v="47127"/>
          <ac:spMkLst>
            <pc:docMk/>
            <pc:sldMk cId="2958919186" sldId="284"/>
            <ac:spMk id="66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33:04.798" v="46144"/>
          <ac:spMkLst>
            <pc:docMk/>
            <pc:sldMk cId="2958919186" sldId="284"/>
            <ac:spMk id="6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57" v="47947"/>
          <ac:spMkLst>
            <pc:docMk/>
            <pc:sldMk cId="2958919186" sldId="284"/>
            <ac:spMk id="68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58" v="47948"/>
          <ac:spMkLst>
            <pc:docMk/>
            <pc:sldMk cId="2958919186" sldId="284"/>
            <ac:spMk id="69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59" v="47951"/>
          <ac:spMkLst>
            <pc:docMk/>
            <pc:sldMk cId="2958919186" sldId="284"/>
            <ac:spMk id="7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59" v="47950"/>
          <ac:spMkLst>
            <pc:docMk/>
            <pc:sldMk cId="2958919186" sldId="284"/>
            <ac:spMk id="71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33:04.797" v="46143"/>
          <ac:spMkLst>
            <pc:docMk/>
            <pc:sldMk cId="2958919186" sldId="284"/>
            <ac:spMk id="72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8:33:04.796" v="46142"/>
          <ac:spMkLst>
            <pc:docMk/>
            <pc:sldMk cId="2958919186" sldId="284"/>
            <ac:spMk id="7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53" v="47942"/>
          <ac:spMkLst>
            <pc:docMk/>
            <pc:sldMk cId="2958919186" sldId="284"/>
            <ac:spMk id="74" creationId="{1E5392BC-349C-45B4-8F81-52F83DA74F43}"/>
          </ac:spMkLst>
        </pc:spChg>
        <pc:spChg chg="add del mod replST">
          <ac:chgData name="Joelle Brehm" userId="a518f54c-6985-42c0-8041-2bb16a414839" providerId="ADAL" clId="{9E52C8A6-326C-473A-BC21-4CED010AFA79}" dt="2023-09-06T18:33:19.276" v="47126"/>
          <ac:spMkLst>
            <pc:docMk/>
            <pc:sldMk cId="2958919186" sldId="284"/>
            <ac:spMk id="7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70" v="47971"/>
          <ac:spMkLst>
            <pc:docMk/>
            <pc:sldMk cId="2958919186" sldId="284"/>
            <ac:spMk id="76" creationId="{8974FF74-9912-6A62-3246-A52A3C2CFCAD}"/>
          </ac:spMkLst>
        </pc:spChg>
        <pc:spChg chg="mod ord">
          <ac:chgData name="Joelle Brehm" userId="a518f54c-6985-42c0-8041-2bb16a414839" providerId="ADAL" clId="{9E52C8A6-326C-473A-BC21-4CED010AFA79}" dt="2023-09-06T18:33:30.074" v="47978"/>
          <ac:spMkLst>
            <pc:docMk/>
            <pc:sldMk cId="2958919186" sldId="284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33:30.076" v="47980"/>
          <ac:spMkLst>
            <pc:docMk/>
            <pc:sldMk cId="2958919186" sldId="284"/>
            <ac:spMk id="79" creationId="{F1476AC4-694B-4D83-BFD8-8DCAA4BB1923}"/>
          </ac:spMkLst>
        </pc:spChg>
        <pc:spChg chg="add del mod modVis">
          <ac:chgData name="Joelle Brehm" userId="a518f54c-6985-42c0-8041-2bb16a414839" providerId="ADAL" clId="{9E52C8A6-326C-473A-BC21-4CED010AFA79}" dt="2023-09-06T18:33:13.838" v="47065"/>
          <ac:spMkLst>
            <pc:docMk/>
            <pc:sldMk cId="2958919186" sldId="284"/>
            <ac:spMk id="81" creationId="{7DE7A658-55CF-1E90-CB85-B26EC90EE965}"/>
          </ac:spMkLst>
        </pc:spChg>
        <pc:spChg chg="add del mod modVis">
          <ac:chgData name="Joelle Brehm" userId="a518f54c-6985-42c0-8041-2bb16a414839" providerId="ADAL" clId="{9E52C8A6-326C-473A-BC21-4CED010AFA79}" dt="2023-09-06T18:33:19.554" v="47393"/>
          <ac:spMkLst>
            <pc:docMk/>
            <pc:sldMk cId="2958919186" sldId="284"/>
            <ac:spMk id="84" creationId="{28BA391E-061C-D96F-68A4-F02B674C5C8C}"/>
          </ac:spMkLst>
        </pc:spChg>
        <pc:spChg chg="add mod replST">
          <ac:chgData name="Joelle Brehm" userId="a518f54c-6985-42c0-8041-2bb16a414839" providerId="ADAL" clId="{9E52C8A6-326C-473A-BC21-4CED010AFA79}" dt="2023-09-06T18:33:30.060" v="47952"/>
          <ac:spMkLst>
            <pc:docMk/>
            <pc:sldMk cId="2958919186" sldId="284"/>
            <ac:spMk id="85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33:22.912" v="47599"/>
          <ac:spMkLst>
            <pc:docMk/>
            <pc:sldMk cId="2958919186" sldId="284"/>
            <ac:spMk id="87" creationId="{86EE0604-4127-9023-CA12-610C11D5E4AA}"/>
          </ac:spMkLst>
        </pc:spChg>
        <pc:spChg chg="add del mod modVis">
          <ac:chgData name="Joelle Brehm" userId="a518f54c-6985-42c0-8041-2bb16a414839" providerId="ADAL" clId="{9E52C8A6-326C-473A-BC21-4CED010AFA79}" dt="2023-09-06T18:33:26.924" v="47800"/>
          <ac:spMkLst>
            <pc:docMk/>
            <pc:sldMk cId="2958919186" sldId="284"/>
            <ac:spMk id="89" creationId="{2432B08C-3FDE-2A95-3484-8539FAE2FC45}"/>
          </ac:spMkLst>
        </pc:spChg>
        <pc:spChg chg="mod ord">
          <ac:chgData name="Joelle Brehm" userId="a518f54c-6985-42c0-8041-2bb16a414839" providerId="ADAL" clId="{9E52C8A6-326C-473A-BC21-4CED010AFA79}" dt="2023-09-06T18:33:30.086" v="47999"/>
          <ac:spMkLst>
            <pc:docMk/>
            <pc:sldMk cId="2958919186" sldId="284"/>
            <ac:spMk id="91" creationId="{3415D765-4D00-4167-8446-C78684E6A375}"/>
          </ac:spMkLst>
        </pc:spChg>
        <pc:spChg chg="add del mod modVis">
          <ac:chgData name="Joelle Brehm" userId="a518f54c-6985-42c0-8041-2bb16a414839" providerId="ADAL" clId="{9E52C8A6-326C-473A-BC21-4CED010AFA79}" dt="2023-09-06T18:33:30.090" v="48005"/>
          <ac:spMkLst>
            <pc:docMk/>
            <pc:sldMk cId="2958919186" sldId="284"/>
            <ac:spMk id="92" creationId="{294F47E2-630B-F94C-0902-BA8C73A9FB57}"/>
          </ac:spMkLst>
        </pc:spChg>
        <pc:spChg chg="mod ord">
          <ac:chgData name="Joelle Brehm" userId="a518f54c-6985-42c0-8041-2bb16a414839" providerId="ADAL" clId="{9E52C8A6-326C-473A-BC21-4CED010AFA79}" dt="2023-09-06T18:33:30.077" v="47982"/>
          <ac:spMkLst>
            <pc:docMk/>
            <pc:sldMk cId="2958919186" sldId="284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33:30.078" v="47984"/>
          <ac:spMkLst>
            <pc:docMk/>
            <pc:sldMk cId="2958919186" sldId="284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33:30.079" v="47986"/>
          <ac:spMkLst>
            <pc:docMk/>
            <pc:sldMk cId="2958919186" sldId="284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33:30.080" v="47988"/>
          <ac:spMkLst>
            <pc:docMk/>
            <pc:sldMk cId="2958919186" sldId="284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33:30.083" v="47992"/>
          <ac:spMkLst>
            <pc:docMk/>
            <pc:sldMk cId="2958919186" sldId="284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84" v="47994"/>
          <ac:spMkLst>
            <pc:docMk/>
            <pc:sldMk cId="2958919186" sldId="284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82" v="47991"/>
          <ac:spMkLst>
            <pc:docMk/>
            <pc:sldMk cId="2958919186" sldId="284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3:30.084" v="47995"/>
          <ac:spMkLst>
            <pc:docMk/>
            <pc:sldMk cId="2958919186" sldId="284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33:30.083" v="47993"/>
          <ac:spMkLst>
            <pc:docMk/>
            <pc:sldMk cId="2958919186" sldId="284"/>
            <ac:spMk id="158" creationId="{B1AC5405-1559-48F8-921F-C742186F4456}"/>
          </ac:spMkLst>
        </pc:spChg>
        <pc:spChg chg="mod">
          <ac:chgData name="Joelle Brehm" userId="a518f54c-6985-42c0-8041-2bb16a414839" providerId="ADAL" clId="{9E52C8A6-326C-473A-BC21-4CED010AFA79}" dt="2023-09-06T18:33:30.058" v="47949"/>
          <ac:spMkLst>
            <pc:docMk/>
            <pc:sldMk cId="2958919186" sldId="284"/>
            <ac:spMk id="166" creationId="{7CAA3B95-4C78-4122-BECA-B5FB0F3F3764}"/>
          </ac:spMkLst>
        </pc:spChg>
        <pc:graphicFrameChg chg="mod">
          <ac:chgData name="Joelle Brehm" userId="a518f54c-6985-42c0-8041-2bb16a414839" providerId="ADAL" clId="{9E52C8A6-326C-473A-BC21-4CED010AFA79}" dt="2023-09-06T18:33:30.111" v="48007"/>
          <ac:graphicFrameMkLst>
            <pc:docMk/>
            <pc:sldMk cId="2958919186" sldId="284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3:30.036" v="47919"/>
          <ac:graphicFrameMkLst>
            <pc:docMk/>
            <pc:sldMk cId="2958919186" sldId="284"/>
            <ac:graphicFrameMk id="8" creationId="{ACA8B1A7-88B7-15ED-DC47-2444C814641B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3:03.166" v="45968"/>
          <ac:graphicFrameMkLst>
            <pc:docMk/>
            <pc:sldMk cId="2958919186" sldId="284"/>
            <ac:graphicFrameMk id="49" creationId="{CD521138-9E77-0F94-46AB-77D2D12319AA}"/>
          </ac:graphicFrameMkLst>
        </pc:graphicFrameChg>
        <pc:graphicFrameChg chg="del">
          <ac:chgData name="Joelle Brehm" userId="a518f54c-6985-42c0-8041-2bb16a414839" providerId="ADAL" clId="{9E52C8A6-326C-473A-BC21-4CED010AFA79}" dt="2023-09-06T18:31:12.037" v="45189"/>
          <ac:graphicFrameMkLst>
            <pc:docMk/>
            <pc:sldMk cId="2958919186" sldId="284"/>
            <ac:graphicFrameMk id="50" creationId="{C2B524D0-3E97-F105-C345-AF59A28BB3C2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3:05.966" v="46687"/>
          <ac:graphicFrameMkLst>
            <pc:docMk/>
            <pc:sldMk cId="2958919186" sldId="284"/>
            <ac:graphicFrameMk id="57" creationId="{391F454B-3A13-6B52-5EA4-192E6EE3B82B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3:19.475" v="47290"/>
          <ac:graphicFrameMkLst>
            <pc:docMk/>
            <pc:sldMk cId="2958919186" sldId="284"/>
            <ac:graphicFrameMk id="77" creationId="{8AA5DB5D-797D-1550-C4CD-3807FBFE69B6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3:00.377" v="45733"/>
          <ac:graphicFrameMkLst>
            <pc:docMk/>
            <pc:sldMk cId="2958919186" sldId="284"/>
            <ac:graphicFrameMk id="80" creationId="{DA0A631F-DF20-7FE5-5E74-27D9801687C7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3:13.714" v="46958"/>
          <ac:graphicFrameMkLst>
            <pc:docMk/>
            <pc:sldMk cId="2958919186" sldId="284"/>
            <ac:graphicFrameMk id="82" creationId="{3A186399-26B3-770C-1A55-50FBE9BCD4C0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3:30.081" v="47990"/>
          <ac:graphicFrameMkLst>
            <pc:docMk/>
            <pc:sldMk cId="2958919186" sldId="284"/>
            <ac:graphicFrameMk id="83" creationId="{C207079B-6C93-A6D1-6615-D0B49753D485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3:22.862" v="47497"/>
          <ac:graphicFrameMkLst>
            <pc:docMk/>
            <pc:sldMk cId="2958919186" sldId="284"/>
            <ac:graphicFrameMk id="86" creationId="{7FA0BC07-07F1-D0B6-71E8-AE0D5346F51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3:26.860" v="47699"/>
          <ac:graphicFrameMkLst>
            <pc:docMk/>
            <pc:sldMk cId="2958919186" sldId="284"/>
            <ac:graphicFrameMk id="88" creationId="{2BEDD379-437F-6B74-7E7A-C2D7898112B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3:29.975" v="47905"/>
          <ac:graphicFrameMkLst>
            <pc:docMk/>
            <pc:sldMk cId="2958919186" sldId="284"/>
            <ac:graphicFrameMk id="90" creationId="{CFFCD701-A0A6-747D-B446-158CC0C8CB2B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3:30.056" v="47946"/>
          <ac:graphicFrameMkLst>
            <pc:docMk/>
            <pc:sldMk cId="2958919186" sldId="284"/>
            <ac:graphicFrameMk id="93" creationId="{03EEF561-8E95-8C87-657B-FC1B7D3B76D9}"/>
          </ac:graphicFrameMkLst>
        </pc:graphicFrameChg>
        <pc:picChg chg="add mod ord">
          <ac:chgData name="Joelle Brehm" userId="a518f54c-6985-42c0-8041-2bb16a414839" providerId="ADAL" clId="{9E52C8A6-326C-473A-BC21-4CED010AFA79}" dt="2023-09-06T18:33:30.029" v="47913"/>
          <ac:picMkLst>
            <pc:docMk/>
            <pc:sldMk cId="2958919186" sldId="284"/>
            <ac:picMk id="10" creationId="{A92147B6-DD82-26B6-81E2-D96E15ED226D}"/>
          </ac:picMkLst>
        </pc:picChg>
        <pc:picChg chg="del mod ord">
          <ac:chgData name="Joelle Brehm" userId="a518f54c-6985-42c0-8041-2bb16a414839" providerId="ADAL" clId="{9E52C8A6-326C-473A-BC21-4CED010AFA79}" dt="2023-09-06T18:31:53.727" v="45414" actId="478"/>
          <ac:picMkLst>
            <pc:docMk/>
            <pc:sldMk cId="2958919186" sldId="284"/>
            <ac:picMk id="51" creationId="{2E0047FB-8918-18E9-ED79-58331009B534}"/>
          </ac:picMkLst>
        </pc:picChg>
        <pc:picChg chg="mod ord">
          <ac:chgData name="Joelle Brehm" userId="a518f54c-6985-42c0-8041-2bb16a414839" providerId="ADAL" clId="{9E52C8A6-326C-473A-BC21-4CED010AFA79}" dt="2023-09-06T18:33:30.085" v="47997"/>
          <ac:picMkLst>
            <pc:docMk/>
            <pc:sldMk cId="2958919186" sldId="284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33:30.033" v="47917"/>
          <ac:cxnSpMkLst>
            <pc:docMk/>
            <pc:sldMk cId="2958919186" sldId="284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34:51.251" v="49800"/>
        <pc:sldMkLst>
          <pc:docMk/>
          <pc:sldMk cId="3959601197" sldId="285"/>
        </pc:sldMkLst>
        <pc:spChg chg="mod ord">
          <ac:chgData name="Joelle Brehm" userId="a518f54c-6985-42c0-8041-2bb16a414839" providerId="ADAL" clId="{9E52C8A6-326C-473A-BC21-4CED010AFA79}" dt="2023-09-06T18:34:51.229" v="49794"/>
          <ac:spMkLst>
            <pc:docMk/>
            <pc:sldMk cId="3959601197" sldId="285"/>
            <ac:spMk id="2" creationId="{834E3642-3BF8-4D50-9A2A-9ADF91017D8B}"/>
          </ac:spMkLst>
        </pc:spChg>
        <pc:spChg chg="add del mod ord">
          <ac:chgData name="Joelle Brehm" userId="a518f54c-6985-42c0-8041-2bb16a414839" providerId="ADAL" clId="{9E52C8A6-326C-473A-BC21-4CED010AFA79}" dt="2023-09-06T18:34:27.967" v="48382" actId="478"/>
          <ac:spMkLst>
            <pc:docMk/>
            <pc:sldMk cId="3959601197" sldId="285"/>
            <ac:spMk id="3" creationId="{3BC577E8-38FE-5B6F-E9D7-D96C264F589B}"/>
          </ac:spMkLst>
        </pc:spChg>
        <pc:spChg chg="add del mod modVis">
          <ac:chgData name="Joelle Brehm" userId="a518f54c-6985-42c0-8041-2bb16a414839" providerId="ADAL" clId="{9E52C8A6-326C-473A-BC21-4CED010AFA79}" dt="2023-09-06T18:34:02.891" v="48282"/>
          <ac:spMkLst>
            <pc:docMk/>
            <pc:sldMk cId="3959601197" sldId="285"/>
            <ac:spMk id="5" creationId="{9312B333-022D-A5C8-881D-81F3EF33F074}"/>
          </ac:spMkLst>
        </pc:spChg>
        <pc:spChg chg="mod ord">
          <ac:chgData name="Joelle Brehm" userId="a518f54c-6985-42c0-8041-2bb16a414839" providerId="ADAL" clId="{9E52C8A6-326C-473A-BC21-4CED010AFA79}" dt="2023-09-06T18:34:51.192" v="49726"/>
          <ac:spMkLst>
            <pc:docMk/>
            <pc:sldMk cId="3959601197" sldId="285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34:51.213" v="49764"/>
          <ac:spMkLst>
            <pc:docMk/>
            <pc:sldMk cId="3959601197" sldId="285"/>
            <ac:spMk id="9" creationId="{858DC60A-0DA1-3BA6-A01C-BAEBEE6835CE}"/>
          </ac:spMkLst>
        </pc:spChg>
        <pc:spChg chg="mod">
          <ac:chgData name="Joelle Brehm" userId="a518f54c-6985-42c0-8041-2bb16a414839" providerId="ADAL" clId="{9E52C8A6-326C-473A-BC21-4CED010AFA79}" dt="2023-09-06T18:34:51.196" v="49736"/>
          <ac:spMkLst>
            <pc:docMk/>
            <pc:sldMk cId="3959601197" sldId="285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34:51.195" v="49734"/>
          <ac:spMkLst>
            <pc:docMk/>
            <pc:sldMk cId="3959601197" sldId="285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34:51.195" v="49733"/>
          <ac:spMkLst>
            <pc:docMk/>
            <pc:sldMk cId="3959601197" sldId="285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34:51.195" v="49731"/>
          <ac:spMkLst>
            <pc:docMk/>
            <pc:sldMk cId="3959601197" sldId="285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34:51.195" v="49732"/>
          <ac:spMkLst>
            <pc:docMk/>
            <pc:sldMk cId="3959601197" sldId="285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34:51.197" v="49737"/>
          <ac:spMkLst>
            <pc:docMk/>
            <pc:sldMk cId="3959601197" sldId="285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34:51.199" v="49739"/>
          <ac:spMkLst>
            <pc:docMk/>
            <pc:sldMk cId="3959601197" sldId="285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34:51.196" v="49735"/>
          <ac:spMkLst>
            <pc:docMk/>
            <pc:sldMk cId="3959601197" sldId="285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34:51.199" v="49740"/>
          <ac:spMkLst>
            <pc:docMk/>
            <pc:sldMk cId="3959601197" sldId="285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34:51.198" v="49738"/>
          <ac:spMkLst>
            <pc:docMk/>
            <pc:sldMk cId="3959601197" sldId="285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34:51.200" v="49741"/>
          <ac:spMkLst>
            <pc:docMk/>
            <pc:sldMk cId="3959601197" sldId="285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34:51.200" v="49742"/>
          <ac:spMkLst>
            <pc:docMk/>
            <pc:sldMk cId="3959601197" sldId="285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34:51.202" v="49744"/>
          <ac:spMkLst>
            <pc:docMk/>
            <pc:sldMk cId="3959601197" sldId="285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34:51.203" v="49747"/>
          <ac:spMkLst>
            <pc:docMk/>
            <pc:sldMk cId="3959601197" sldId="285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34:51.203" v="49746"/>
          <ac:spMkLst>
            <pc:docMk/>
            <pc:sldMk cId="3959601197" sldId="285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34:51.202" v="49745"/>
          <ac:spMkLst>
            <pc:docMk/>
            <pc:sldMk cId="3959601197" sldId="285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34:51.206" v="49752"/>
          <ac:spMkLst>
            <pc:docMk/>
            <pc:sldMk cId="3959601197" sldId="285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34:51.205" v="49750"/>
          <ac:spMkLst>
            <pc:docMk/>
            <pc:sldMk cId="3959601197" sldId="285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34:51.206" v="49751"/>
          <ac:spMkLst>
            <pc:docMk/>
            <pc:sldMk cId="3959601197" sldId="285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34:51.208" v="49755"/>
          <ac:spMkLst>
            <pc:docMk/>
            <pc:sldMk cId="3959601197" sldId="285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34:37.531" v="49220"/>
          <ac:spMkLst>
            <pc:docMk/>
            <pc:sldMk cId="3959601197" sldId="285"/>
            <ac:spMk id="31" creationId="{9D8A59E9-C471-9618-6B0F-F3E414CCD2A7}"/>
          </ac:spMkLst>
        </pc:spChg>
        <pc:spChg chg="mod">
          <ac:chgData name="Joelle Brehm" userId="a518f54c-6985-42c0-8041-2bb16a414839" providerId="ADAL" clId="{9E52C8A6-326C-473A-BC21-4CED010AFA79}" dt="2023-09-06T18:34:51.213" v="49765"/>
          <ac:spMkLst>
            <pc:docMk/>
            <pc:sldMk cId="3959601197" sldId="285"/>
            <ac:spMk id="32" creationId="{B0AF6ACE-86A6-94FA-8046-DB9299EFD512}"/>
          </ac:spMkLst>
        </pc:spChg>
        <pc:spChg chg="mod">
          <ac:chgData name="Joelle Brehm" userId="a518f54c-6985-42c0-8041-2bb16a414839" providerId="ADAL" clId="{9E52C8A6-326C-473A-BC21-4CED010AFA79}" dt="2023-09-06T18:34:51.211" v="49759"/>
          <ac:spMkLst>
            <pc:docMk/>
            <pc:sldMk cId="3959601197" sldId="285"/>
            <ac:spMk id="33" creationId="{C5132F62-12DF-25F1-3C35-C772E0E4C2D8}"/>
          </ac:spMkLst>
        </pc:spChg>
        <pc:spChg chg="mod">
          <ac:chgData name="Joelle Brehm" userId="a518f54c-6985-42c0-8041-2bb16a414839" providerId="ADAL" clId="{9E52C8A6-326C-473A-BC21-4CED010AFA79}" dt="2023-09-06T18:34:51.212" v="49762"/>
          <ac:spMkLst>
            <pc:docMk/>
            <pc:sldMk cId="3959601197" sldId="285"/>
            <ac:spMk id="34" creationId="{7296A792-C9A5-603D-0DFE-510144F74B20}"/>
          </ac:spMkLst>
        </pc:spChg>
        <pc:spChg chg="mod">
          <ac:chgData name="Joelle Brehm" userId="a518f54c-6985-42c0-8041-2bb16a414839" providerId="ADAL" clId="{9E52C8A6-326C-473A-BC21-4CED010AFA79}" dt="2023-09-06T18:34:51.211" v="49760"/>
          <ac:spMkLst>
            <pc:docMk/>
            <pc:sldMk cId="3959601197" sldId="285"/>
            <ac:spMk id="35" creationId="{92EBFCAE-7CF8-1287-AE5E-630381F4864A}"/>
          </ac:spMkLst>
        </pc:spChg>
        <pc:spChg chg="mod ord">
          <ac:chgData name="Joelle Brehm" userId="a518f54c-6985-42c0-8041-2bb16a414839" providerId="ADAL" clId="{9E52C8A6-326C-473A-BC21-4CED010AFA79}" dt="2023-09-06T18:34:51.204" v="49749"/>
          <ac:spMkLst>
            <pc:docMk/>
            <pc:sldMk cId="3959601197" sldId="285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34:51.210" v="49758"/>
          <ac:spMkLst>
            <pc:docMk/>
            <pc:sldMk cId="3959601197" sldId="285"/>
            <ac:spMk id="39" creationId="{49E3BF94-A3A3-6D9E-A640-936C4D588482}"/>
          </ac:spMkLst>
        </pc:spChg>
        <pc:spChg chg="mod">
          <ac:chgData name="Joelle Brehm" userId="a518f54c-6985-42c0-8041-2bb16a414839" providerId="ADAL" clId="{9E52C8A6-326C-473A-BC21-4CED010AFA79}" dt="2023-09-06T18:34:51.215" v="49768"/>
          <ac:spMkLst>
            <pc:docMk/>
            <pc:sldMk cId="3959601197" sldId="285"/>
            <ac:spMk id="40" creationId="{EA599A54-45AC-0837-D7C5-3771AA871AAD}"/>
          </ac:spMkLst>
        </pc:spChg>
        <pc:spChg chg="add mod replST">
          <ac:chgData name="Joelle Brehm" userId="a518f54c-6985-42c0-8041-2bb16a414839" providerId="ADAL" clId="{9E52C8A6-326C-473A-BC21-4CED010AFA79}" dt="2023-09-06T18:34:51.215" v="49769"/>
          <ac:spMkLst>
            <pc:docMk/>
            <pc:sldMk cId="3959601197" sldId="285"/>
            <ac:spMk id="41" creationId="{EEDF60F4-83FD-2158-5CFE-740630E662A0}"/>
          </ac:spMkLst>
        </pc:spChg>
        <pc:spChg chg="mod">
          <ac:chgData name="Joelle Brehm" userId="a518f54c-6985-42c0-8041-2bb16a414839" providerId="ADAL" clId="{9E52C8A6-326C-473A-BC21-4CED010AFA79}" dt="2023-09-06T18:34:51.211" v="49761"/>
          <ac:spMkLst>
            <pc:docMk/>
            <pc:sldMk cId="3959601197" sldId="285"/>
            <ac:spMk id="42" creationId="{4E3A90E0-E736-41A1-6C28-222246D5C0B8}"/>
          </ac:spMkLst>
        </pc:spChg>
        <pc:spChg chg="mod">
          <ac:chgData name="Joelle Brehm" userId="a518f54c-6985-42c0-8041-2bb16a414839" providerId="ADAL" clId="{9E52C8A6-326C-473A-BC21-4CED010AFA79}" dt="2023-09-06T18:34:51.214" v="49766"/>
          <ac:spMkLst>
            <pc:docMk/>
            <pc:sldMk cId="3959601197" sldId="285"/>
            <ac:spMk id="43" creationId="{7A0654C5-E72A-A91E-A2D8-90D96122F7D7}"/>
          </ac:spMkLst>
        </pc:spChg>
        <pc:spChg chg="add del mod modVis">
          <ac:chgData name="Joelle Brehm" userId="a518f54c-6985-42c0-8041-2bb16a414839" providerId="ADAL" clId="{9E52C8A6-326C-473A-BC21-4CED010AFA79}" dt="2023-09-06T18:34:34.981" v="49003"/>
          <ac:spMkLst>
            <pc:docMk/>
            <pc:sldMk cId="3959601197" sldId="285"/>
            <ac:spMk id="44" creationId="{2998785D-897B-D6C5-D7CF-79CE17DF3A5C}"/>
          </ac:spMkLst>
        </pc:spChg>
        <pc:spChg chg="mod">
          <ac:chgData name="Joelle Brehm" userId="a518f54c-6985-42c0-8041-2bb16a414839" providerId="ADAL" clId="{9E52C8A6-326C-473A-BC21-4CED010AFA79}" dt="2023-09-06T18:34:51.212" v="49763"/>
          <ac:spMkLst>
            <pc:docMk/>
            <pc:sldMk cId="3959601197" sldId="285"/>
            <ac:spMk id="45" creationId="{C0C2677E-B02A-A9FD-C32D-94A1D148E0A5}"/>
          </ac:spMkLst>
        </pc:spChg>
        <pc:spChg chg="mod">
          <ac:chgData name="Joelle Brehm" userId="a518f54c-6985-42c0-8041-2bb16a414839" providerId="ADAL" clId="{9E52C8A6-326C-473A-BC21-4CED010AFA79}" dt="2023-09-06T18:34:51.214" v="49767"/>
          <ac:spMkLst>
            <pc:docMk/>
            <pc:sldMk cId="3959601197" sldId="285"/>
            <ac:spMk id="47" creationId="{E68B1E78-8D9D-3E69-597C-1E05491CF1D5}"/>
          </ac:spMkLst>
        </pc:spChg>
        <pc:spChg chg="add del mod modVis">
          <ac:chgData name="Joelle Brehm" userId="a518f54c-6985-42c0-8041-2bb16a414839" providerId="ADAL" clId="{9E52C8A6-326C-473A-BC21-4CED010AFA79}" dt="2023-09-06T18:34:36.024" v="49217"/>
          <ac:spMkLst>
            <pc:docMk/>
            <pc:sldMk cId="3959601197" sldId="285"/>
            <ac:spMk id="48" creationId="{927CF050-1028-C21F-D67C-432A6761F2AA}"/>
          </ac:spMkLst>
        </pc:spChg>
        <pc:spChg chg="add del mod modVis">
          <ac:chgData name="Joelle Brehm" userId="a518f54c-6985-42c0-8041-2bb16a414839" providerId="ADAL" clId="{9E52C8A6-326C-473A-BC21-4CED010AFA79}" dt="2023-09-06T18:34:37.779" v="49419"/>
          <ac:spMkLst>
            <pc:docMk/>
            <pc:sldMk cId="3959601197" sldId="285"/>
            <ac:spMk id="50" creationId="{8B026525-3922-5EBD-B91A-BC6E410328F1}"/>
          </ac:spMkLst>
        </pc:spChg>
        <pc:spChg chg="add del mod modVis">
          <ac:chgData name="Joelle Brehm" userId="a518f54c-6985-42c0-8041-2bb16a414839" providerId="ADAL" clId="{9E52C8A6-326C-473A-BC21-4CED010AFA79}" dt="2023-09-06T18:34:45.004" v="49579"/>
          <ac:spMkLst>
            <pc:docMk/>
            <pc:sldMk cId="3959601197" sldId="285"/>
            <ac:spMk id="53" creationId="{7A4126BC-A959-63D1-4FFB-7FE4FEAA175E}"/>
          </ac:spMkLst>
        </pc:spChg>
        <pc:spChg chg="add del mod modVis">
          <ac:chgData name="Joelle Brehm" userId="a518f54c-6985-42c0-8041-2bb16a414839" providerId="ADAL" clId="{9E52C8A6-326C-473A-BC21-4CED010AFA79}" dt="2023-09-06T18:34:51.231" v="49798"/>
          <ac:spMkLst>
            <pc:docMk/>
            <pc:sldMk cId="3959601197" sldId="285"/>
            <ac:spMk id="56" creationId="{55568D19-71F9-3B3F-C28C-F7355E59355B}"/>
          </ac:spMkLst>
        </pc:spChg>
        <pc:spChg chg="mod">
          <ac:chgData name="Joelle Brehm" userId="a518f54c-6985-42c0-8041-2bb16a414839" providerId="ADAL" clId="{9E52C8A6-326C-473A-BC21-4CED010AFA79}" dt="2023-09-06T18:34:51.207" v="49753"/>
          <ac:spMkLst>
            <pc:docMk/>
            <pc:sldMk cId="3959601197" sldId="285"/>
            <ac:spMk id="74" creationId="{1E5392BC-349C-45B4-8F81-52F83DA74F43}"/>
          </ac:spMkLst>
        </pc:spChg>
        <pc:spChg chg="mod ord">
          <ac:chgData name="Joelle Brehm" userId="a518f54c-6985-42c0-8041-2bb16a414839" providerId="ADAL" clId="{9E52C8A6-326C-473A-BC21-4CED010AFA79}" dt="2023-09-06T18:34:51.217" v="49771"/>
          <ac:spMkLst>
            <pc:docMk/>
            <pc:sldMk cId="3959601197" sldId="285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34:51.218" v="49773"/>
          <ac:spMkLst>
            <pc:docMk/>
            <pc:sldMk cId="3959601197" sldId="285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34:51.228" v="49792"/>
          <ac:spMkLst>
            <pc:docMk/>
            <pc:sldMk cId="3959601197" sldId="285"/>
            <ac:spMk id="91" creationId="{E5B40C5A-BDC3-4853-8F1F-9DB30A643AB0}"/>
          </ac:spMkLst>
        </pc:spChg>
        <pc:spChg chg="mod ord">
          <ac:chgData name="Joelle Brehm" userId="a518f54c-6985-42c0-8041-2bb16a414839" providerId="ADAL" clId="{9E52C8A6-326C-473A-BC21-4CED010AFA79}" dt="2023-09-06T18:34:51.218" v="49775"/>
          <ac:spMkLst>
            <pc:docMk/>
            <pc:sldMk cId="3959601197" sldId="285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34:51.219" v="49777"/>
          <ac:spMkLst>
            <pc:docMk/>
            <pc:sldMk cId="3959601197" sldId="285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34:51.220" v="49779"/>
          <ac:spMkLst>
            <pc:docMk/>
            <pc:sldMk cId="3959601197" sldId="285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34:51.221" v="49781"/>
          <ac:spMkLst>
            <pc:docMk/>
            <pc:sldMk cId="3959601197" sldId="285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34:51.224" v="49787"/>
          <ac:spMkLst>
            <pc:docMk/>
            <pc:sldMk cId="3959601197" sldId="285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4:51.224" v="49786"/>
          <ac:spMkLst>
            <pc:docMk/>
            <pc:sldMk cId="3959601197" sldId="285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4:51.223" v="49785"/>
          <ac:spMkLst>
            <pc:docMk/>
            <pc:sldMk cId="3959601197" sldId="285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4:51.223" v="49784"/>
          <ac:spMkLst>
            <pc:docMk/>
            <pc:sldMk cId="3959601197" sldId="285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34:51.225" v="49788"/>
          <ac:spMkLst>
            <pc:docMk/>
            <pc:sldMk cId="3959601197" sldId="285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34:51.251" v="49800"/>
          <ac:graphicFrameMkLst>
            <pc:docMk/>
            <pc:sldMk cId="3959601197" sldId="285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4:51.194" v="49730"/>
          <ac:graphicFrameMkLst>
            <pc:docMk/>
            <pc:sldMk cId="3959601197" sldId="285"/>
            <ac:graphicFrameMk id="8" creationId="{730A0167-1836-CE3E-2003-7550D3641BCC}"/>
          </ac:graphicFrameMkLst>
        </pc:graphicFrameChg>
        <pc:graphicFrameChg chg="del">
          <ac:chgData name="Joelle Brehm" userId="a518f54c-6985-42c0-8041-2bb16a414839" providerId="ADAL" clId="{9E52C8A6-326C-473A-BC21-4CED010AFA79}" dt="2023-09-06T18:34:02.791" v="48194"/>
          <ac:graphicFrameMkLst>
            <pc:docMk/>
            <pc:sldMk cId="3959601197" sldId="285"/>
            <ac:graphicFrameMk id="36" creationId="{AC217BBC-C545-4E5C-2248-59B57994927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4:35.866" v="49112"/>
          <ac:graphicFrameMkLst>
            <pc:docMk/>
            <pc:sldMk cId="3959601197" sldId="285"/>
            <ac:graphicFrameMk id="46" creationId="{0A818185-13FE-E0CA-F6EA-592A9AE8C2D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4:37.691" v="49337"/>
          <ac:graphicFrameMkLst>
            <pc:docMk/>
            <pc:sldMk cId="3959601197" sldId="285"/>
            <ac:graphicFrameMk id="49" creationId="{2748B9E3-AC01-3955-7299-6287683AD5E1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4:34.841" v="48912"/>
          <ac:graphicFrameMkLst>
            <pc:docMk/>
            <pc:sldMk cId="3959601197" sldId="285"/>
            <ac:graphicFrameMk id="51" creationId="{B987CBDD-4ADA-694E-793A-F73D20606FE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4:44.960" v="49497"/>
          <ac:graphicFrameMkLst>
            <pc:docMk/>
            <pc:sldMk cId="3959601197" sldId="285"/>
            <ac:graphicFrameMk id="52" creationId="{F0CAF288-F95D-E607-6487-CDAC34519DF6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4:51.145" v="49716"/>
          <ac:graphicFrameMkLst>
            <pc:docMk/>
            <pc:sldMk cId="3959601197" sldId="285"/>
            <ac:graphicFrameMk id="54" creationId="{CC38BD52-1DF8-93A3-EC24-F03EE737632F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4:51.210" v="49757"/>
          <ac:graphicFrameMkLst>
            <pc:docMk/>
            <pc:sldMk cId="3959601197" sldId="285"/>
            <ac:graphicFrameMk id="55" creationId="{76897D42-3606-0B3C-FA6D-FF014AC2AE98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4:51.222" v="49783"/>
          <ac:graphicFrameMkLst>
            <pc:docMk/>
            <pc:sldMk cId="3959601197" sldId="285"/>
            <ac:graphicFrameMk id="57" creationId="{1A62B9EE-AA8C-8B9F-7918-6015C0F2A765}"/>
          </ac:graphicFrameMkLst>
        </pc:graphicFrameChg>
        <pc:picChg chg="add mod ord">
          <ac:chgData name="Joelle Brehm" userId="a518f54c-6985-42c0-8041-2bb16a414839" providerId="ADAL" clId="{9E52C8A6-326C-473A-BC21-4CED010AFA79}" dt="2023-09-06T18:34:51.191" v="49724"/>
          <ac:picMkLst>
            <pc:docMk/>
            <pc:sldMk cId="3959601197" sldId="285"/>
            <ac:picMk id="10" creationId="{AD96506B-0589-6104-05C8-29405C606F98}"/>
          </ac:picMkLst>
        </pc:picChg>
        <pc:picChg chg="del mod ord">
          <ac:chgData name="Joelle Brehm" userId="a518f54c-6985-42c0-8041-2bb16a414839" providerId="ADAL" clId="{9E52C8A6-326C-473A-BC21-4CED010AFA79}" dt="2023-09-06T18:34:21.485" v="48381" actId="478"/>
          <ac:picMkLst>
            <pc:docMk/>
            <pc:sldMk cId="3959601197" sldId="285"/>
            <ac:picMk id="38" creationId="{6DC3BD6A-4FB9-BD1F-0FA4-7264B8E18DED}"/>
          </ac:picMkLst>
        </pc:picChg>
        <pc:picChg chg="mod ord">
          <ac:chgData name="Joelle Brehm" userId="a518f54c-6985-42c0-8041-2bb16a414839" providerId="ADAL" clId="{9E52C8A6-326C-473A-BC21-4CED010AFA79}" dt="2023-09-06T18:34:51.226" v="49790"/>
          <ac:picMkLst>
            <pc:docMk/>
            <pc:sldMk cId="3959601197" sldId="285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34:51.193" v="49728"/>
          <ac:cxnSpMkLst>
            <pc:docMk/>
            <pc:sldMk cId="3959601197" sldId="285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36:26.834" v="51844"/>
        <pc:sldMkLst>
          <pc:docMk/>
          <pc:sldMk cId="3093897313" sldId="286"/>
        </pc:sldMkLst>
        <pc:spChg chg="mod ord">
          <ac:chgData name="Joelle Brehm" userId="a518f54c-6985-42c0-8041-2bb16a414839" providerId="ADAL" clId="{9E52C8A6-326C-473A-BC21-4CED010AFA79}" dt="2023-09-06T18:36:26.813" v="51838"/>
          <ac:spMkLst>
            <pc:docMk/>
            <pc:sldMk cId="3093897313" sldId="286"/>
            <ac:spMk id="2" creationId="{F7E4C1AF-4B86-49C2-BCE8-3BD8367EC27A}"/>
          </ac:spMkLst>
        </pc:spChg>
        <pc:spChg chg="add del mod ord">
          <ac:chgData name="Joelle Brehm" userId="a518f54c-6985-42c0-8041-2bb16a414839" providerId="ADAL" clId="{9E52C8A6-326C-473A-BC21-4CED010AFA79}" dt="2023-09-06T18:35:46.368" v="50165" actId="478"/>
          <ac:spMkLst>
            <pc:docMk/>
            <pc:sldMk cId="3093897313" sldId="286"/>
            <ac:spMk id="3" creationId="{CC944F05-FD51-B8CF-927B-11838F954CBC}"/>
          </ac:spMkLst>
        </pc:spChg>
        <pc:spChg chg="add del mod modVis">
          <ac:chgData name="Joelle Brehm" userId="a518f54c-6985-42c0-8041-2bb16a414839" providerId="ADAL" clId="{9E52C8A6-326C-473A-BC21-4CED010AFA79}" dt="2023-09-06T18:35:17.603" v="50066"/>
          <ac:spMkLst>
            <pc:docMk/>
            <pc:sldMk cId="3093897313" sldId="286"/>
            <ac:spMk id="5" creationId="{45A38308-F047-F86F-A9E6-8968A9C3F434}"/>
          </ac:spMkLst>
        </pc:spChg>
        <pc:spChg chg="mod ord">
          <ac:chgData name="Joelle Brehm" userId="a518f54c-6985-42c0-8041-2bb16a414839" providerId="ADAL" clId="{9E52C8A6-326C-473A-BC21-4CED010AFA79}" dt="2023-09-06T18:36:26.785" v="51770"/>
          <ac:spMkLst>
            <pc:docMk/>
            <pc:sldMk cId="3093897313" sldId="286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36:26.800" v="51807"/>
          <ac:spMkLst>
            <pc:docMk/>
            <pc:sldMk cId="3093897313" sldId="286"/>
            <ac:spMk id="10" creationId="{60ADB749-A473-69BD-55F5-A0D431E60A6D}"/>
          </ac:spMkLst>
        </pc:spChg>
        <pc:spChg chg="mod">
          <ac:chgData name="Joelle Brehm" userId="a518f54c-6985-42c0-8041-2bb16a414839" providerId="ADAL" clId="{9E52C8A6-326C-473A-BC21-4CED010AFA79}" dt="2023-09-06T18:36:26.789" v="51782"/>
          <ac:spMkLst>
            <pc:docMk/>
            <pc:sldMk cId="3093897313" sldId="286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36:26.788" v="51779"/>
          <ac:spMkLst>
            <pc:docMk/>
            <pc:sldMk cId="3093897313" sldId="286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36:26.787" v="51778"/>
          <ac:spMkLst>
            <pc:docMk/>
            <pc:sldMk cId="3093897313" sldId="286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36:26.787" v="51777"/>
          <ac:spMkLst>
            <pc:docMk/>
            <pc:sldMk cId="3093897313" sldId="286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36:26.788" v="51780"/>
          <ac:spMkLst>
            <pc:docMk/>
            <pc:sldMk cId="3093897313" sldId="286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36:26.788" v="51781"/>
          <ac:spMkLst>
            <pc:docMk/>
            <pc:sldMk cId="3093897313" sldId="286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36:26.789" v="51783"/>
          <ac:spMkLst>
            <pc:docMk/>
            <pc:sldMk cId="3093897313" sldId="286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36:26.786" v="51775"/>
          <ac:spMkLst>
            <pc:docMk/>
            <pc:sldMk cId="3093897313" sldId="286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36:26.789" v="51784"/>
          <ac:spMkLst>
            <pc:docMk/>
            <pc:sldMk cId="3093897313" sldId="286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36:26.790" v="51785"/>
          <ac:spMkLst>
            <pc:docMk/>
            <pc:sldMk cId="3093897313" sldId="286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36:26.790" v="51786"/>
          <ac:spMkLst>
            <pc:docMk/>
            <pc:sldMk cId="3093897313" sldId="286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36:26.787" v="51776"/>
          <ac:spMkLst>
            <pc:docMk/>
            <pc:sldMk cId="3093897313" sldId="286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36:26.791" v="51788"/>
          <ac:spMkLst>
            <pc:docMk/>
            <pc:sldMk cId="3093897313" sldId="286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36:26.793" v="51793"/>
          <ac:spMkLst>
            <pc:docMk/>
            <pc:sldMk cId="3093897313" sldId="286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36:26.792" v="51791"/>
          <ac:spMkLst>
            <pc:docMk/>
            <pc:sldMk cId="3093897313" sldId="286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36:26.792" v="51792"/>
          <ac:spMkLst>
            <pc:docMk/>
            <pc:sldMk cId="3093897313" sldId="286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36:26.795" v="51797"/>
          <ac:spMkLst>
            <pc:docMk/>
            <pc:sldMk cId="3093897313" sldId="286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36:26.795" v="51796"/>
          <ac:spMkLst>
            <pc:docMk/>
            <pc:sldMk cId="3093897313" sldId="286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36:26.795" v="51795"/>
          <ac:spMkLst>
            <pc:docMk/>
            <pc:sldMk cId="3093897313" sldId="286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36:26.797" v="51799"/>
          <ac:spMkLst>
            <pc:docMk/>
            <pc:sldMk cId="3093897313" sldId="286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36:06.577" v="51036"/>
          <ac:spMkLst>
            <pc:docMk/>
            <pc:sldMk cId="3093897313" sldId="286"/>
            <ac:spMk id="31" creationId="{D74F390C-8EAC-8563-0D4D-5C8848394552}"/>
          </ac:spMkLst>
        </pc:spChg>
        <pc:spChg chg="mod">
          <ac:chgData name="Joelle Brehm" userId="a518f54c-6985-42c0-8041-2bb16a414839" providerId="ADAL" clId="{9E52C8A6-326C-473A-BC21-4CED010AFA79}" dt="2023-09-06T18:36:26.799" v="51806"/>
          <ac:spMkLst>
            <pc:docMk/>
            <pc:sldMk cId="3093897313" sldId="286"/>
            <ac:spMk id="32" creationId="{5F8F84C4-6A6C-C5DC-AE29-77E5B4E909D7}"/>
          </ac:spMkLst>
        </pc:spChg>
        <pc:spChg chg="mod">
          <ac:chgData name="Joelle Brehm" userId="a518f54c-6985-42c0-8041-2bb16a414839" providerId="ADAL" clId="{9E52C8A6-326C-473A-BC21-4CED010AFA79}" dt="2023-09-06T18:36:26.799" v="51804"/>
          <ac:spMkLst>
            <pc:docMk/>
            <pc:sldMk cId="3093897313" sldId="286"/>
            <ac:spMk id="33" creationId="{1334CF39-A6F8-7069-C022-3F7175A20401}"/>
          </ac:spMkLst>
        </pc:spChg>
        <pc:spChg chg="mod">
          <ac:chgData name="Joelle Brehm" userId="a518f54c-6985-42c0-8041-2bb16a414839" providerId="ADAL" clId="{9E52C8A6-326C-473A-BC21-4CED010AFA79}" dt="2023-09-06T18:36:26.799" v="51805"/>
          <ac:spMkLst>
            <pc:docMk/>
            <pc:sldMk cId="3093897313" sldId="286"/>
            <ac:spMk id="34" creationId="{99F86B53-3C14-F4B7-5920-953490F3E4CD}"/>
          </ac:spMkLst>
        </pc:spChg>
        <pc:spChg chg="mod">
          <ac:chgData name="Joelle Brehm" userId="a518f54c-6985-42c0-8041-2bb16a414839" providerId="ADAL" clId="{9E52C8A6-326C-473A-BC21-4CED010AFA79}" dt="2023-09-06T18:36:26.800" v="51808"/>
          <ac:spMkLst>
            <pc:docMk/>
            <pc:sldMk cId="3093897313" sldId="286"/>
            <ac:spMk id="36" creationId="{E6F42673-0733-469A-B8CA-C91CB3178FC4}"/>
          </ac:spMkLst>
        </pc:spChg>
        <pc:spChg chg="mod ord">
          <ac:chgData name="Joelle Brehm" userId="a518f54c-6985-42c0-8041-2bb16a414839" providerId="ADAL" clId="{9E52C8A6-326C-473A-BC21-4CED010AFA79}" dt="2023-09-06T18:36:26.791" v="51790"/>
          <ac:spMkLst>
            <pc:docMk/>
            <pc:sldMk cId="3093897313" sldId="286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36:26.801" v="51811"/>
          <ac:spMkLst>
            <pc:docMk/>
            <pc:sldMk cId="3093897313" sldId="286"/>
            <ac:spMk id="39" creationId="{148BD74F-B08A-D055-2827-72B7638D08C5}"/>
          </ac:spMkLst>
        </pc:spChg>
        <pc:spChg chg="mod">
          <ac:chgData name="Joelle Brehm" userId="a518f54c-6985-42c0-8041-2bb16a414839" providerId="ADAL" clId="{9E52C8A6-326C-473A-BC21-4CED010AFA79}" dt="2023-09-06T18:36:26.798" v="51803"/>
          <ac:spMkLst>
            <pc:docMk/>
            <pc:sldMk cId="3093897313" sldId="286"/>
            <ac:spMk id="40" creationId="{C9855917-BD95-0D5A-6B07-14EBAD7B2828}"/>
          </ac:spMkLst>
        </pc:spChg>
        <pc:spChg chg="mod">
          <ac:chgData name="Joelle Brehm" userId="a518f54c-6985-42c0-8041-2bb16a414839" providerId="ADAL" clId="{9E52C8A6-326C-473A-BC21-4CED010AFA79}" dt="2023-09-06T18:36:26.801" v="51812"/>
          <ac:spMkLst>
            <pc:docMk/>
            <pc:sldMk cId="3093897313" sldId="286"/>
            <ac:spMk id="41" creationId="{FA3F9D1B-56DF-7D88-3CCF-9C83CF37CE74}"/>
          </ac:spMkLst>
        </pc:spChg>
        <pc:spChg chg="mod">
          <ac:chgData name="Joelle Brehm" userId="a518f54c-6985-42c0-8041-2bb16a414839" providerId="ADAL" clId="{9E52C8A6-326C-473A-BC21-4CED010AFA79}" dt="2023-09-06T18:36:26.800" v="51809"/>
          <ac:spMkLst>
            <pc:docMk/>
            <pc:sldMk cId="3093897313" sldId="286"/>
            <ac:spMk id="42" creationId="{D859979A-C7CC-20E7-C4CA-F18D382485A8}"/>
          </ac:spMkLst>
        </pc:spChg>
        <pc:spChg chg="add mod replST">
          <ac:chgData name="Joelle Brehm" userId="a518f54c-6985-42c0-8041-2bb16a414839" providerId="ADAL" clId="{9E52C8A6-326C-473A-BC21-4CED010AFA79}" dt="2023-09-06T18:36:26.802" v="51813"/>
          <ac:spMkLst>
            <pc:docMk/>
            <pc:sldMk cId="3093897313" sldId="286"/>
            <ac:spMk id="43" creationId="{4123BF06-FBEE-9624-4928-4F1CA3AC4FBB}"/>
          </ac:spMkLst>
        </pc:spChg>
        <pc:spChg chg="mod">
          <ac:chgData name="Joelle Brehm" userId="a518f54c-6985-42c0-8041-2bb16a414839" providerId="ADAL" clId="{9E52C8A6-326C-473A-BC21-4CED010AFA79}" dt="2023-09-06T18:36:26.798" v="51802"/>
          <ac:spMkLst>
            <pc:docMk/>
            <pc:sldMk cId="3093897313" sldId="286"/>
            <ac:spMk id="44" creationId="{725B225B-D384-EFBB-722A-58317FBB47BF}"/>
          </ac:spMkLst>
        </pc:spChg>
        <pc:spChg chg="mod">
          <ac:chgData name="Joelle Brehm" userId="a518f54c-6985-42c0-8041-2bb16a414839" providerId="ADAL" clId="{9E52C8A6-326C-473A-BC21-4CED010AFA79}" dt="2023-09-06T18:36:26.801" v="51810"/>
          <ac:spMkLst>
            <pc:docMk/>
            <pc:sldMk cId="3093897313" sldId="286"/>
            <ac:spMk id="45" creationId="{0F9CEF9A-7834-B39E-CB12-DD7EDCF963B1}"/>
          </ac:spMkLst>
        </pc:spChg>
        <pc:spChg chg="add del mod modVis">
          <ac:chgData name="Joelle Brehm" userId="a518f54c-6985-42c0-8041-2bb16a414839" providerId="ADAL" clId="{9E52C8A6-326C-473A-BC21-4CED010AFA79}" dt="2023-09-06T18:36:01.362" v="50814"/>
          <ac:spMkLst>
            <pc:docMk/>
            <pc:sldMk cId="3093897313" sldId="286"/>
            <ac:spMk id="46" creationId="{566217AF-0DF2-92CE-0795-637F71B16AA0}"/>
          </ac:spMkLst>
        </pc:spChg>
        <pc:spChg chg="add del mod ord replST">
          <ac:chgData name="Joelle Brehm" userId="a518f54c-6985-42c0-8041-2bb16a414839" providerId="ADAL" clId="{9E52C8A6-326C-473A-BC21-4CED010AFA79}" dt="2023-09-06T18:36:26.751" v="51758"/>
          <ac:spMkLst>
            <pc:docMk/>
            <pc:sldMk cId="3093897313" sldId="286"/>
            <ac:spMk id="47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36:04.157" v="51033"/>
          <ac:spMkLst>
            <pc:docMk/>
            <pc:sldMk cId="3093897313" sldId="286"/>
            <ac:spMk id="49" creationId="{6B5E9699-EA4B-37AD-2AB9-1FB7ED79268F}"/>
          </ac:spMkLst>
        </pc:spChg>
        <pc:spChg chg="add del mod modVis">
          <ac:chgData name="Joelle Brehm" userId="a518f54c-6985-42c0-8041-2bb16a414839" providerId="ADAL" clId="{9E52C8A6-326C-473A-BC21-4CED010AFA79}" dt="2023-09-06T18:36:06.988" v="51244"/>
          <ac:spMkLst>
            <pc:docMk/>
            <pc:sldMk cId="3093897313" sldId="286"/>
            <ac:spMk id="51" creationId="{394FEB64-AE60-1563-33AE-0CC394CC9E0D}"/>
          </ac:spMkLst>
        </pc:spChg>
        <pc:spChg chg="add del mod modVis">
          <ac:chgData name="Joelle Brehm" userId="a518f54c-6985-42c0-8041-2bb16a414839" providerId="ADAL" clId="{9E52C8A6-326C-473A-BC21-4CED010AFA79}" dt="2023-09-06T18:36:14.498" v="51520"/>
          <ac:spMkLst>
            <pc:docMk/>
            <pc:sldMk cId="3093897313" sldId="286"/>
            <ac:spMk id="54" creationId="{CB3145B6-83EF-F2E9-726F-9DAF8E010045}"/>
          </ac:spMkLst>
        </pc:spChg>
        <pc:spChg chg="add del mod modVis">
          <ac:chgData name="Joelle Brehm" userId="a518f54c-6985-42c0-8041-2bb16a414839" providerId="ADAL" clId="{9E52C8A6-326C-473A-BC21-4CED010AFA79}" dt="2023-09-06T18:36:23.560" v="51681"/>
          <ac:spMkLst>
            <pc:docMk/>
            <pc:sldMk cId="3093897313" sldId="286"/>
            <ac:spMk id="57" creationId="{FE0E2EBA-89A3-3327-2855-2D989399B4FF}"/>
          </ac:spMkLst>
        </pc:spChg>
        <pc:spChg chg="add del mod modVis">
          <ac:chgData name="Joelle Brehm" userId="a518f54c-6985-42c0-8041-2bb16a414839" providerId="ADAL" clId="{9E52C8A6-326C-473A-BC21-4CED010AFA79}" dt="2023-09-06T18:36:26.815" v="51842"/>
          <ac:spMkLst>
            <pc:docMk/>
            <pc:sldMk cId="3093897313" sldId="286"/>
            <ac:spMk id="59" creationId="{BC5016E4-D269-F348-93D1-2E8D9A323B74}"/>
          </ac:spMkLst>
        </pc:spChg>
        <pc:spChg chg="mod">
          <ac:chgData name="Joelle Brehm" userId="a518f54c-6985-42c0-8041-2bb16a414839" providerId="ADAL" clId="{9E52C8A6-326C-473A-BC21-4CED010AFA79}" dt="2023-09-06T18:36:26.794" v="51794"/>
          <ac:spMkLst>
            <pc:docMk/>
            <pc:sldMk cId="3093897313" sldId="286"/>
            <ac:spMk id="74" creationId="{1E5392BC-349C-45B4-8F81-52F83DA74F43}"/>
          </ac:spMkLst>
        </pc:spChg>
        <pc:spChg chg="mod ord">
          <ac:chgData name="Joelle Brehm" userId="a518f54c-6985-42c0-8041-2bb16a414839" providerId="ADAL" clId="{9E52C8A6-326C-473A-BC21-4CED010AFA79}" dt="2023-09-06T18:36:26.802" v="51815"/>
          <ac:spMkLst>
            <pc:docMk/>
            <pc:sldMk cId="3093897313" sldId="286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36:26.803" v="51817"/>
          <ac:spMkLst>
            <pc:docMk/>
            <pc:sldMk cId="3093897313" sldId="286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36:26.812" v="51836"/>
          <ac:spMkLst>
            <pc:docMk/>
            <pc:sldMk cId="3093897313" sldId="286"/>
            <ac:spMk id="91" creationId="{6B373A51-2057-457B-9DC3-CB9DC534509E}"/>
          </ac:spMkLst>
        </pc:spChg>
        <pc:spChg chg="mod ord">
          <ac:chgData name="Joelle Brehm" userId="a518f54c-6985-42c0-8041-2bb16a414839" providerId="ADAL" clId="{9E52C8A6-326C-473A-BC21-4CED010AFA79}" dt="2023-09-06T18:36:26.804" v="51819"/>
          <ac:spMkLst>
            <pc:docMk/>
            <pc:sldMk cId="3093897313" sldId="286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36:26.805" v="51821"/>
          <ac:spMkLst>
            <pc:docMk/>
            <pc:sldMk cId="3093897313" sldId="286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36:26.806" v="51823"/>
          <ac:spMkLst>
            <pc:docMk/>
            <pc:sldMk cId="3093897313" sldId="286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36:26.807" v="51825"/>
          <ac:spMkLst>
            <pc:docMk/>
            <pc:sldMk cId="3093897313" sldId="286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36:26.810" v="51830"/>
          <ac:spMkLst>
            <pc:docMk/>
            <pc:sldMk cId="3093897313" sldId="286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6:26.810" v="51831"/>
          <ac:spMkLst>
            <pc:docMk/>
            <pc:sldMk cId="3093897313" sldId="286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6:26.809" v="51829"/>
          <ac:spMkLst>
            <pc:docMk/>
            <pc:sldMk cId="3093897313" sldId="286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36:26.808" v="51828"/>
          <ac:spMkLst>
            <pc:docMk/>
            <pc:sldMk cId="3093897313" sldId="286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36:26.811" v="51832"/>
          <ac:spMkLst>
            <pc:docMk/>
            <pc:sldMk cId="3093897313" sldId="286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36:26.834" v="51844"/>
          <ac:graphicFrameMkLst>
            <pc:docMk/>
            <pc:sldMk cId="3093897313" sldId="286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6:26.786" v="51774"/>
          <ac:graphicFrameMkLst>
            <pc:docMk/>
            <pc:sldMk cId="3093897313" sldId="286"/>
            <ac:graphicFrameMk id="8" creationId="{69F8B662-3A0B-BCBF-B72D-9E7F25634D6B}"/>
          </ac:graphicFrameMkLst>
        </pc:graphicFrameChg>
        <pc:graphicFrameChg chg="del">
          <ac:chgData name="Joelle Brehm" userId="a518f54c-6985-42c0-8041-2bb16a414839" providerId="ADAL" clId="{9E52C8A6-326C-473A-BC21-4CED010AFA79}" dt="2023-09-06T18:35:17.504" v="49978"/>
          <ac:graphicFrameMkLst>
            <pc:docMk/>
            <pc:sldMk cId="3093897313" sldId="286"/>
            <ac:graphicFrameMk id="35" creationId="{E65FFAA4-F718-A3BC-8F3E-CE712CC9072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6:03.963" v="50926"/>
          <ac:graphicFrameMkLst>
            <pc:docMk/>
            <pc:sldMk cId="3093897313" sldId="286"/>
            <ac:graphicFrameMk id="48" creationId="{F9F09D79-8E95-D557-8F4D-7BFE4A2F9C4E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6:06.855" v="51160"/>
          <ac:graphicFrameMkLst>
            <pc:docMk/>
            <pc:sldMk cId="3093897313" sldId="286"/>
            <ac:graphicFrameMk id="50" creationId="{0A3D88D9-66FA-CB20-B2F6-6ADAA086A0C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6:23.461" v="51597"/>
          <ac:graphicFrameMkLst>
            <pc:docMk/>
            <pc:sldMk cId="3093897313" sldId="286"/>
            <ac:graphicFrameMk id="52" creationId="{42D1D9F2-B086-F0FB-E798-3F320E0B2D74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6:01.269" v="50721"/>
          <ac:graphicFrameMkLst>
            <pc:docMk/>
            <pc:sldMk cId="3093897313" sldId="286"/>
            <ac:graphicFrameMk id="53" creationId="{F89075C2-9D79-14CB-22DA-3E84C5C88774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6:26.808" v="51827"/>
          <ac:graphicFrameMkLst>
            <pc:docMk/>
            <pc:sldMk cId="3093897313" sldId="286"/>
            <ac:graphicFrameMk id="55" creationId="{4B665DCA-A8F5-9A06-2446-A31921967DFB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6:14.396" v="51436"/>
          <ac:graphicFrameMkLst>
            <pc:docMk/>
            <pc:sldMk cId="3093897313" sldId="286"/>
            <ac:graphicFrameMk id="56" creationId="{CDFA42C4-F1B7-2567-046C-21E0127A23C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6:26.753" v="51760"/>
          <ac:graphicFrameMkLst>
            <pc:docMk/>
            <pc:sldMk cId="3093897313" sldId="286"/>
            <ac:graphicFrameMk id="58" creationId="{B1B6CF7B-30B7-DFB0-C4D2-933CF4D09523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6:26.797" v="51801"/>
          <ac:graphicFrameMkLst>
            <pc:docMk/>
            <pc:sldMk cId="3093897313" sldId="286"/>
            <ac:graphicFrameMk id="60" creationId="{060087B4-26FD-BA14-4ECC-AC924A0C5995}"/>
          </ac:graphicFrameMkLst>
        </pc:graphicFrameChg>
        <pc:picChg chg="add mod ord">
          <ac:chgData name="Joelle Brehm" userId="a518f54c-6985-42c0-8041-2bb16a414839" providerId="ADAL" clId="{9E52C8A6-326C-473A-BC21-4CED010AFA79}" dt="2023-09-06T18:36:26.784" v="51768"/>
          <ac:picMkLst>
            <pc:docMk/>
            <pc:sldMk cId="3093897313" sldId="286"/>
            <ac:picMk id="9" creationId="{BFC2F445-CB2B-F3E6-8FEE-9941AF698E15}"/>
          </ac:picMkLst>
        </pc:picChg>
        <pc:picChg chg="del mod ord">
          <ac:chgData name="Joelle Brehm" userId="a518f54c-6985-42c0-8041-2bb16a414839" providerId="ADAL" clId="{9E52C8A6-326C-473A-BC21-4CED010AFA79}" dt="2023-09-06T18:35:43.590" v="50164" actId="478"/>
          <ac:picMkLst>
            <pc:docMk/>
            <pc:sldMk cId="3093897313" sldId="286"/>
            <ac:picMk id="38" creationId="{D1A4ED94-63E9-02EC-111A-4727F454DF7A}"/>
          </ac:picMkLst>
        </pc:picChg>
        <pc:picChg chg="mod ord">
          <ac:chgData name="Joelle Brehm" userId="a518f54c-6985-42c0-8041-2bb16a414839" providerId="ADAL" clId="{9E52C8A6-326C-473A-BC21-4CED010AFA79}" dt="2023-09-06T18:36:26.812" v="51834"/>
          <ac:picMkLst>
            <pc:docMk/>
            <pc:sldMk cId="3093897313" sldId="286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36:26.785" v="51772"/>
          <ac:cxnSpMkLst>
            <pc:docMk/>
            <pc:sldMk cId="3093897313" sldId="286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39:13.009" v="54314"/>
        <pc:sldMkLst>
          <pc:docMk/>
          <pc:sldMk cId="1459118046" sldId="288"/>
        </pc:sldMkLst>
        <pc:spChg chg="mod ord">
          <ac:chgData name="Joelle Brehm" userId="a518f54c-6985-42c0-8041-2bb16a414839" providerId="ADAL" clId="{9E52C8A6-326C-473A-BC21-4CED010AFA79}" dt="2023-09-06T18:39:12.983" v="54278"/>
          <ac:spMkLst>
            <pc:docMk/>
            <pc:sldMk cId="1459118046" sldId="288"/>
            <ac:spMk id="2" creationId="{845E990D-F1AA-419F-97F0-12FFB2CEF6D1}"/>
          </ac:spMkLst>
        </pc:spChg>
        <pc:spChg chg="add del mod ord">
          <ac:chgData name="Joelle Brehm" userId="a518f54c-6985-42c0-8041-2bb16a414839" providerId="ADAL" clId="{9E52C8A6-326C-473A-BC21-4CED010AFA79}" dt="2023-09-06T18:38:46.245" v="52215" actId="478"/>
          <ac:spMkLst>
            <pc:docMk/>
            <pc:sldMk cId="1459118046" sldId="288"/>
            <ac:spMk id="3" creationId="{03478A08-D22D-C8F7-0695-7935236D8EBE}"/>
          </ac:spMkLst>
        </pc:spChg>
        <pc:spChg chg="add del mod modVis">
          <ac:chgData name="Joelle Brehm" userId="a518f54c-6985-42c0-8041-2bb16a414839" providerId="ADAL" clId="{9E52C8A6-326C-473A-BC21-4CED010AFA79}" dt="2023-09-06T18:38:26.536" v="52121"/>
          <ac:spMkLst>
            <pc:docMk/>
            <pc:sldMk cId="1459118046" sldId="288"/>
            <ac:spMk id="5" creationId="{1F44128D-1296-9102-E5EB-7FD19B47688D}"/>
          </ac:spMkLst>
        </pc:spChg>
        <pc:spChg chg="mod ord">
          <ac:chgData name="Joelle Brehm" userId="a518f54c-6985-42c0-8041-2bb16a414839" providerId="ADAL" clId="{9E52C8A6-326C-473A-BC21-4CED010AFA79}" dt="2023-09-06T18:39:12.971" v="54240"/>
          <ac:spMkLst>
            <pc:docMk/>
            <pc:sldMk cId="1459118046" sldId="288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39:12.974" v="54250"/>
          <ac:spMkLst>
            <pc:docMk/>
            <pc:sldMk cId="1459118046" sldId="288"/>
            <ac:spMk id="8" creationId="{76022A0B-4CC0-BD01-B601-16975F52FDC8}"/>
          </ac:spMkLst>
        </pc:spChg>
        <pc:spChg chg="del mod">
          <ac:chgData name="Joelle Brehm" userId="a518f54c-6985-42c0-8041-2bb16a414839" providerId="ADAL" clId="{9E52C8A6-326C-473A-BC21-4CED010AFA79}" dt="2023-09-06T18:38:59.514" v="53237"/>
          <ac:spMkLst>
            <pc:docMk/>
            <pc:sldMk cId="1459118046" sldId="288"/>
            <ac:spMk id="11" creationId="{DC53A836-E5C3-0006-CBB8-57FCA1C2DBA6}"/>
          </ac:spMkLst>
        </pc:spChg>
        <pc:spChg chg="mod">
          <ac:chgData name="Joelle Brehm" userId="a518f54c-6985-42c0-8041-2bb16a414839" providerId="ADAL" clId="{9E52C8A6-326C-473A-BC21-4CED010AFA79}" dt="2023-09-06T18:39:12.974" v="54249"/>
          <ac:spMkLst>
            <pc:docMk/>
            <pc:sldMk cId="1459118046" sldId="288"/>
            <ac:spMk id="13" creationId="{3F6C20EF-E32A-5D01-E3DC-3079317054CC}"/>
          </ac:spMkLst>
        </pc:spChg>
        <pc:spChg chg="mod">
          <ac:chgData name="Joelle Brehm" userId="a518f54c-6985-42c0-8041-2bb16a414839" providerId="ADAL" clId="{9E52C8A6-326C-473A-BC21-4CED010AFA79}" dt="2023-09-06T18:39:12.975" v="54253"/>
          <ac:spMkLst>
            <pc:docMk/>
            <pc:sldMk cId="1459118046" sldId="288"/>
            <ac:spMk id="14" creationId="{25D946D5-9986-579D-41E4-6C10E6C340A5}"/>
          </ac:spMkLst>
        </pc:spChg>
        <pc:spChg chg="mod">
          <ac:chgData name="Joelle Brehm" userId="a518f54c-6985-42c0-8041-2bb16a414839" providerId="ADAL" clId="{9E52C8A6-326C-473A-BC21-4CED010AFA79}" dt="2023-09-06T18:39:12.975" v="54254"/>
          <ac:spMkLst>
            <pc:docMk/>
            <pc:sldMk cId="1459118046" sldId="288"/>
            <ac:spMk id="16" creationId="{E786FDCD-6056-755C-3E9C-F6856B555A83}"/>
          </ac:spMkLst>
        </pc:spChg>
        <pc:spChg chg="mod">
          <ac:chgData name="Joelle Brehm" userId="a518f54c-6985-42c0-8041-2bb16a414839" providerId="ADAL" clId="{9E52C8A6-326C-473A-BC21-4CED010AFA79}" dt="2023-09-06T18:39:12.975" v="54252"/>
          <ac:spMkLst>
            <pc:docMk/>
            <pc:sldMk cId="1459118046" sldId="288"/>
            <ac:spMk id="17" creationId="{DBE0A1F6-A1CF-2057-B929-F159E2F0790D}"/>
          </ac:spMkLst>
        </pc:spChg>
        <pc:spChg chg="mod">
          <ac:chgData name="Joelle Brehm" userId="a518f54c-6985-42c0-8041-2bb16a414839" providerId="ADAL" clId="{9E52C8A6-326C-473A-BC21-4CED010AFA79}" dt="2023-09-06T18:39:12.977" v="54258"/>
          <ac:spMkLst>
            <pc:docMk/>
            <pc:sldMk cId="1459118046" sldId="288"/>
            <ac:spMk id="18" creationId="{626AA8C5-BA76-80F7-9C08-4738249D8EC3}"/>
          </ac:spMkLst>
        </pc:spChg>
        <pc:spChg chg="mod">
          <ac:chgData name="Joelle Brehm" userId="a518f54c-6985-42c0-8041-2bb16a414839" providerId="ADAL" clId="{9E52C8A6-326C-473A-BC21-4CED010AFA79}" dt="2023-09-06T18:39:12.974" v="54251"/>
          <ac:spMkLst>
            <pc:docMk/>
            <pc:sldMk cId="1459118046" sldId="288"/>
            <ac:spMk id="19" creationId="{DB3F3EB9-B7F2-D75A-D1DE-540B3423B405}"/>
          </ac:spMkLst>
        </pc:spChg>
        <pc:spChg chg="add mod replST">
          <ac:chgData name="Joelle Brehm" userId="a518f54c-6985-42c0-8041-2bb16a414839" providerId="ADAL" clId="{9E52C8A6-326C-473A-BC21-4CED010AFA79}" dt="2023-09-06T18:39:12.977" v="54260"/>
          <ac:spMkLst>
            <pc:docMk/>
            <pc:sldMk cId="1459118046" sldId="288"/>
            <ac:spMk id="20" creationId="{1E04F6C7-C5CE-0639-E6EE-4EA6F2501082}"/>
          </ac:spMkLst>
        </pc:spChg>
        <pc:spChg chg="mod">
          <ac:chgData name="Joelle Brehm" userId="a518f54c-6985-42c0-8041-2bb16a414839" providerId="ADAL" clId="{9E52C8A6-326C-473A-BC21-4CED010AFA79}" dt="2023-09-06T18:39:12.976" v="54255"/>
          <ac:spMkLst>
            <pc:docMk/>
            <pc:sldMk cId="1459118046" sldId="288"/>
            <ac:spMk id="21" creationId="{693CD003-5CC2-D30E-1431-FA729AD817E1}"/>
          </ac:spMkLst>
        </pc:spChg>
        <pc:spChg chg="mod">
          <ac:chgData name="Joelle Brehm" userId="a518f54c-6985-42c0-8041-2bb16a414839" providerId="ADAL" clId="{9E52C8A6-326C-473A-BC21-4CED010AFA79}" dt="2023-09-06T18:39:12.977" v="54259"/>
          <ac:spMkLst>
            <pc:docMk/>
            <pc:sldMk cId="1459118046" sldId="288"/>
            <ac:spMk id="22" creationId="{541BBFA4-37B5-50C0-7E64-394A960C175B}"/>
          </ac:spMkLst>
        </pc:spChg>
        <pc:spChg chg="mod ord">
          <ac:chgData name="Joelle Brehm" userId="a518f54c-6985-42c0-8041-2bb16a414839" providerId="ADAL" clId="{9E52C8A6-326C-473A-BC21-4CED010AFA79}" dt="2023-09-06T18:39:12.972" v="54244"/>
          <ac:spMkLst>
            <pc:docMk/>
            <pc:sldMk cId="1459118046" sldId="288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39:12.976" v="54256"/>
          <ac:spMkLst>
            <pc:docMk/>
            <pc:sldMk cId="1459118046" sldId="288"/>
            <ac:spMk id="24" creationId="{C635EC53-592F-A2D5-EF91-370516B08014}"/>
          </ac:spMkLst>
        </pc:spChg>
        <pc:spChg chg="add del mod modVis">
          <ac:chgData name="Joelle Brehm" userId="a518f54c-6985-42c0-8041-2bb16a414839" providerId="ADAL" clId="{9E52C8A6-326C-473A-BC21-4CED010AFA79}" dt="2023-09-06T18:38:56.257" v="53016"/>
          <ac:spMkLst>
            <pc:docMk/>
            <pc:sldMk cId="1459118046" sldId="288"/>
            <ac:spMk id="25" creationId="{950307D1-B624-FDED-5CF2-72C01DBFAA66}"/>
          </ac:spMkLst>
        </pc:spChg>
        <pc:spChg chg="add del mod ord replST">
          <ac:chgData name="Joelle Brehm" userId="a518f54c-6985-42c0-8041-2bb16a414839" providerId="ADAL" clId="{9E52C8A6-326C-473A-BC21-4CED010AFA79}" dt="2023-09-06T18:39:10.720" v="54067"/>
          <ac:spMkLst>
            <pc:docMk/>
            <pc:sldMk cId="1459118046" sldId="288"/>
            <ac:spMk id="26" creationId="{7CAA3B95-4C78-4122-BECA-B5FB0F3F3764}"/>
          </ac:spMkLst>
        </pc:spChg>
        <pc:spChg chg="add del mod ord replST">
          <ac:chgData name="Joelle Brehm" userId="a518f54c-6985-42c0-8041-2bb16a414839" providerId="ADAL" clId="{9E52C8A6-326C-473A-BC21-4CED010AFA79}" dt="2023-09-06T18:39:08.230" v="53903"/>
          <ac:spMkLst>
            <pc:docMk/>
            <pc:sldMk cId="1459118046" sldId="288"/>
            <ac:spMk id="27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38:57.348" v="53234"/>
          <ac:spMkLst>
            <pc:docMk/>
            <pc:sldMk cId="1459118046" sldId="288"/>
            <ac:spMk id="29" creationId="{F1AB622F-87D5-CF6C-4AD7-3BEAFA85A9B9}"/>
          </ac:spMkLst>
        </pc:spChg>
        <pc:spChg chg="mod ord">
          <ac:chgData name="Joelle Brehm" userId="a518f54c-6985-42c0-8041-2bb16a414839" providerId="ADAL" clId="{9E52C8A6-326C-473A-BC21-4CED010AFA79}" dt="2023-09-06T18:39:12.973" v="54246"/>
          <ac:spMkLst>
            <pc:docMk/>
            <pc:sldMk cId="1459118046" sldId="288"/>
            <ac:spMk id="30" creationId="{121A2A89-FB4E-4B9A-840D-28523B0B457F}"/>
          </ac:spMkLst>
        </pc:spChg>
        <pc:spChg chg="mod">
          <ac:chgData name="Joelle Brehm" userId="a518f54c-6985-42c0-8041-2bb16a414839" providerId="ADAL" clId="{9E52C8A6-326C-473A-BC21-4CED010AFA79}" dt="2023-09-06T18:39:12.976" v="54257"/>
          <ac:spMkLst>
            <pc:docMk/>
            <pc:sldMk cId="1459118046" sldId="288"/>
            <ac:spMk id="32" creationId="{B550E4F3-9753-AC19-5B37-AFDADA6A889D}"/>
          </ac:spMkLst>
        </pc:spChg>
        <pc:spChg chg="add del mod modVis">
          <ac:chgData name="Joelle Brehm" userId="a518f54c-6985-42c0-8041-2bb16a414839" providerId="ADAL" clId="{9E52C8A6-326C-473A-BC21-4CED010AFA79}" dt="2023-09-06T18:38:59.904" v="53559"/>
          <ac:spMkLst>
            <pc:docMk/>
            <pc:sldMk cId="1459118046" sldId="288"/>
            <ac:spMk id="33" creationId="{A2D8BFD3-61B9-B9C0-8FEB-BF91C1614660}"/>
          </ac:spMkLst>
        </pc:spChg>
        <pc:spChg chg="add del mod ord replST">
          <ac:chgData name="Joelle Brehm" userId="a518f54c-6985-42c0-8041-2bb16a414839" providerId="ADAL" clId="{9E52C8A6-326C-473A-BC21-4CED010AFA79}" dt="2023-09-06T18:39:12.943" v="54228"/>
          <ac:spMkLst>
            <pc:docMk/>
            <pc:sldMk cId="1459118046" sldId="288"/>
            <ac:spMk id="34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39:04.324" v="53826"/>
          <ac:spMkLst>
            <pc:docMk/>
            <pc:sldMk cId="1459118046" sldId="288"/>
            <ac:spMk id="37" creationId="{C266429D-02A5-68B9-FFF4-3159A2633E4C}"/>
          </ac:spMkLst>
        </pc:spChg>
        <pc:spChg chg="add del mod modVis">
          <ac:chgData name="Joelle Brehm" userId="a518f54c-6985-42c0-8041-2bb16a414839" providerId="ADAL" clId="{9E52C8A6-326C-473A-BC21-4CED010AFA79}" dt="2023-09-06T18:39:08.306" v="53991"/>
          <ac:spMkLst>
            <pc:docMk/>
            <pc:sldMk cId="1459118046" sldId="288"/>
            <ac:spMk id="40" creationId="{836F1686-BFB5-4492-D6C9-A581888E3643}"/>
          </ac:spMkLst>
        </pc:spChg>
        <pc:spChg chg="add del mod modVis">
          <ac:chgData name="Joelle Brehm" userId="a518f54c-6985-42c0-8041-2bb16a414839" providerId="ADAL" clId="{9E52C8A6-326C-473A-BC21-4CED010AFA79}" dt="2023-09-06T18:39:10.775" v="54153"/>
          <ac:spMkLst>
            <pc:docMk/>
            <pc:sldMk cId="1459118046" sldId="288"/>
            <ac:spMk id="42" creationId="{FB91D0E9-AEFD-8EEB-3764-08B220BF826F}"/>
          </ac:spMkLst>
        </pc:spChg>
        <pc:spChg chg="add del mod modVis">
          <ac:chgData name="Joelle Brehm" userId="a518f54c-6985-42c0-8041-2bb16a414839" providerId="ADAL" clId="{9E52C8A6-326C-473A-BC21-4CED010AFA79}" dt="2023-09-06T18:39:12.996" v="54312"/>
          <ac:spMkLst>
            <pc:docMk/>
            <pc:sldMk cId="1459118046" sldId="288"/>
            <ac:spMk id="44" creationId="{FE6773C4-32BD-9DE3-0381-FBCF6DF32A87}"/>
          </ac:spMkLst>
        </pc:spChg>
        <pc:spChg chg="mod ord">
          <ac:chgData name="Joelle Brehm" userId="a518f54c-6985-42c0-8041-2bb16a414839" providerId="ADAL" clId="{9E52C8A6-326C-473A-BC21-4CED010AFA79}" dt="2023-09-06T18:39:12.978" v="54262"/>
          <ac:spMkLst>
            <pc:docMk/>
            <pc:sldMk cId="1459118046" sldId="288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39:12.979" v="54264"/>
          <ac:spMkLst>
            <pc:docMk/>
            <pc:sldMk cId="1459118046" sldId="288"/>
            <ac:spMk id="79" creationId="{F1476AC4-694B-4D83-BFD8-8DCAA4BB1923}"/>
          </ac:spMkLst>
        </pc:spChg>
        <pc:spChg chg="mod">
          <ac:chgData name="Joelle Brehm" userId="a518f54c-6985-42c0-8041-2bb16a414839" providerId="ADAL" clId="{9E52C8A6-326C-473A-BC21-4CED010AFA79}" dt="2023-09-06T18:39:12.987" v="54291"/>
          <ac:spMkLst>
            <pc:docMk/>
            <pc:sldMk cId="1459118046" sldId="288"/>
            <ac:spMk id="86" creationId="{B7EE4BB1-D20B-4AB8-AA7E-B782FE2C9A1D}"/>
          </ac:spMkLst>
        </pc:spChg>
        <pc:spChg chg="mod">
          <ac:chgData name="Joelle Brehm" userId="a518f54c-6985-42c0-8041-2bb16a414839" providerId="ADAL" clId="{9E52C8A6-326C-473A-BC21-4CED010AFA79}" dt="2023-09-06T18:39:12.984" v="54281"/>
          <ac:spMkLst>
            <pc:docMk/>
            <pc:sldMk cId="1459118046" sldId="288"/>
            <ac:spMk id="88" creationId="{E7AC3B77-DEC7-4E18-AAB8-9A5436AB6B89}"/>
          </ac:spMkLst>
        </pc:spChg>
        <pc:spChg chg="mod ord">
          <ac:chgData name="Joelle Brehm" userId="a518f54c-6985-42c0-8041-2bb16a414839" providerId="ADAL" clId="{9E52C8A6-326C-473A-BC21-4CED010AFA79}" dt="2023-09-06T18:39:12.983" v="54276"/>
          <ac:spMkLst>
            <pc:docMk/>
            <pc:sldMk cId="1459118046" sldId="288"/>
            <ac:spMk id="89" creationId="{D0A6BF63-64F9-45B0-B547-257360C71255}"/>
          </ac:spMkLst>
        </pc:spChg>
        <pc:spChg chg="mod">
          <ac:chgData name="Joelle Brehm" userId="a518f54c-6985-42c0-8041-2bb16a414839" providerId="ADAL" clId="{9E52C8A6-326C-473A-BC21-4CED010AFA79}" dt="2023-09-06T18:39:12.986" v="54286"/>
          <ac:spMkLst>
            <pc:docMk/>
            <pc:sldMk cId="1459118046" sldId="288"/>
            <ac:spMk id="91" creationId="{C3CAADDE-3858-486E-911E-DCB18905D258}"/>
          </ac:spMkLst>
        </pc:spChg>
        <pc:spChg chg="mod">
          <ac:chgData name="Joelle Brehm" userId="a518f54c-6985-42c0-8041-2bb16a414839" providerId="ADAL" clId="{9E52C8A6-326C-473A-BC21-4CED010AFA79}" dt="2023-09-06T18:39:12.984" v="54282"/>
          <ac:spMkLst>
            <pc:docMk/>
            <pc:sldMk cId="1459118046" sldId="288"/>
            <ac:spMk id="98" creationId="{D4F1A5AC-B3A9-4F00-AC98-F63B3C21CF70}"/>
          </ac:spMkLst>
        </pc:spChg>
        <pc:spChg chg="mod">
          <ac:chgData name="Joelle Brehm" userId="a518f54c-6985-42c0-8041-2bb16a414839" providerId="ADAL" clId="{9E52C8A6-326C-473A-BC21-4CED010AFA79}" dt="2023-09-06T18:39:12.987" v="54290"/>
          <ac:spMkLst>
            <pc:docMk/>
            <pc:sldMk cId="1459118046" sldId="288"/>
            <ac:spMk id="99" creationId="{6AA284CF-0282-4D8B-B029-064AD508DE06}"/>
          </ac:spMkLst>
        </pc:spChg>
        <pc:spChg chg="mod ord">
          <ac:chgData name="Joelle Brehm" userId="a518f54c-6985-42c0-8041-2bb16a414839" providerId="ADAL" clId="{9E52C8A6-326C-473A-BC21-4CED010AFA79}" dt="2023-09-06T18:39:12.980" v="54266"/>
          <ac:spMkLst>
            <pc:docMk/>
            <pc:sldMk cId="1459118046" sldId="288"/>
            <ac:spMk id="100" creationId="{8B5667AB-609C-4AEA-83B3-24E395C8F420}"/>
          </ac:spMkLst>
        </pc:spChg>
        <pc:spChg chg="mod">
          <ac:chgData name="Joelle Brehm" userId="a518f54c-6985-42c0-8041-2bb16a414839" providerId="ADAL" clId="{9E52C8A6-326C-473A-BC21-4CED010AFA79}" dt="2023-09-06T18:39:12.985" v="54284"/>
          <ac:spMkLst>
            <pc:docMk/>
            <pc:sldMk cId="1459118046" sldId="288"/>
            <ac:spMk id="101" creationId="{0F3B2B8B-8F2F-421D-8D81-783AA5B791BE}"/>
          </ac:spMkLst>
        </pc:spChg>
        <pc:spChg chg="mod">
          <ac:chgData name="Joelle Brehm" userId="a518f54c-6985-42c0-8041-2bb16a414839" providerId="ADAL" clId="{9E52C8A6-326C-473A-BC21-4CED010AFA79}" dt="2023-09-06T18:39:12.986" v="54288"/>
          <ac:spMkLst>
            <pc:docMk/>
            <pc:sldMk cId="1459118046" sldId="288"/>
            <ac:spMk id="102" creationId="{70266BA0-19CD-40A4-95DB-01B71DEABA5D}"/>
          </ac:spMkLst>
        </pc:spChg>
        <pc:spChg chg="mod">
          <ac:chgData name="Joelle Brehm" userId="a518f54c-6985-42c0-8041-2bb16a414839" providerId="ADAL" clId="{9E52C8A6-326C-473A-BC21-4CED010AFA79}" dt="2023-09-06T18:39:12.985" v="54285"/>
          <ac:spMkLst>
            <pc:docMk/>
            <pc:sldMk cId="1459118046" sldId="288"/>
            <ac:spMk id="103" creationId="{935131D3-F05D-40BC-A20B-0358CA08F6C8}"/>
          </ac:spMkLst>
        </pc:spChg>
        <pc:spChg chg="mod">
          <ac:chgData name="Joelle Brehm" userId="a518f54c-6985-42c0-8041-2bb16a414839" providerId="ADAL" clId="{9E52C8A6-326C-473A-BC21-4CED010AFA79}" dt="2023-09-06T18:39:12.985" v="54283"/>
          <ac:spMkLst>
            <pc:docMk/>
            <pc:sldMk cId="1459118046" sldId="288"/>
            <ac:spMk id="104" creationId="{D7CEF9A4-9996-46F3-8CB8-3E77B3D0BC1A}"/>
          </ac:spMkLst>
        </pc:spChg>
        <pc:spChg chg="mod">
          <ac:chgData name="Joelle Brehm" userId="a518f54c-6985-42c0-8041-2bb16a414839" providerId="ADAL" clId="{9E52C8A6-326C-473A-BC21-4CED010AFA79}" dt="2023-09-06T18:39:12.987" v="54289"/>
          <ac:spMkLst>
            <pc:docMk/>
            <pc:sldMk cId="1459118046" sldId="288"/>
            <ac:spMk id="105" creationId="{0A2A077A-A8FE-47B7-9E12-8E647ED37DB3}"/>
          </ac:spMkLst>
        </pc:spChg>
        <pc:spChg chg="mod">
          <ac:chgData name="Joelle Brehm" userId="a518f54c-6985-42c0-8041-2bb16a414839" providerId="ADAL" clId="{9E52C8A6-326C-473A-BC21-4CED010AFA79}" dt="2023-09-06T18:39:12.986" v="54287"/>
          <ac:spMkLst>
            <pc:docMk/>
            <pc:sldMk cId="1459118046" sldId="288"/>
            <ac:spMk id="106" creationId="{BDBD99D1-A235-47B5-8A21-F9CC4F9A4B0C}"/>
          </ac:spMkLst>
        </pc:spChg>
        <pc:spChg chg="mod">
          <ac:chgData name="Joelle Brehm" userId="a518f54c-6985-42c0-8041-2bb16a414839" providerId="ADAL" clId="{9E52C8A6-326C-473A-BC21-4CED010AFA79}" dt="2023-09-06T18:39:12.988" v="54292"/>
          <ac:spMkLst>
            <pc:docMk/>
            <pc:sldMk cId="1459118046" sldId="288"/>
            <ac:spMk id="107" creationId="{79676A25-E50A-483D-A287-CDCA7A029E52}"/>
          </ac:spMkLst>
        </pc:spChg>
        <pc:spChg chg="mod ord">
          <ac:chgData name="Joelle Brehm" userId="a518f54c-6985-42c0-8041-2bb16a414839" providerId="ADAL" clId="{9E52C8A6-326C-473A-BC21-4CED010AFA79}" dt="2023-09-06T18:39:12.980" v="54268"/>
          <ac:spMkLst>
            <pc:docMk/>
            <pc:sldMk cId="1459118046" sldId="288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39:12.981" v="54270"/>
          <ac:spMkLst>
            <pc:docMk/>
            <pc:sldMk cId="1459118046" sldId="288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39:12.982" v="54272"/>
          <ac:spMkLst>
            <pc:docMk/>
            <pc:sldMk cId="1459118046" sldId="288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39:12.988" v="54293"/>
          <ac:spMkLst>
            <pc:docMk/>
            <pc:sldMk cId="1459118046" sldId="288"/>
            <ac:spMk id="111" creationId="{E58A8385-8851-472D-B638-54A37A252E06}"/>
          </ac:spMkLst>
        </pc:spChg>
        <pc:spChg chg="mod">
          <ac:chgData name="Joelle Brehm" userId="a518f54c-6985-42c0-8041-2bb16a414839" providerId="ADAL" clId="{9E52C8A6-326C-473A-BC21-4CED010AFA79}" dt="2023-09-06T18:39:12.989" v="54294"/>
          <ac:spMkLst>
            <pc:docMk/>
            <pc:sldMk cId="1459118046" sldId="288"/>
            <ac:spMk id="112" creationId="{4936BC83-6729-452E-B08D-157ACDA2B579}"/>
          </ac:spMkLst>
        </pc:spChg>
        <pc:spChg chg="mod">
          <ac:chgData name="Joelle Brehm" userId="a518f54c-6985-42c0-8041-2bb16a414839" providerId="ADAL" clId="{9E52C8A6-326C-473A-BC21-4CED010AFA79}" dt="2023-09-06T18:39:12.990" v="54297"/>
          <ac:spMkLst>
            <pc:docMk/>
            <pc:sldMk cId="1459118046" sldId="288"/>
            <ac:spMk id="113" creationId="{EAF4AC5C-F874-4426-BE14-143AA63D150E}"/>
          </ac:spMkLst>
        </pc:spChg>
        <pc:spChg chg="mod ord">
          <ac:chgData name="Joelle Brehm" userId="a518f54c-6985-42c0-8041-2bb16a414839" providerId="ADAL" clId="{9E52C8A6-326C-473A-BC21-4CED010AFA79}" dt="2023-09-06T18:39:12.989" v="54296"/>
          <ac:spMkLst>
            <pc:docMk/>
            <pc:sldMk cId="1459118046" sldId="288"/>
            <ac:spMk id="114" creationId="{C90AE4E4-983F-4C34-BE3C-415314803BF6}"/>
          </ac:spMkLst>
        </pc:spChg>
        <pc:spChg chg="mod">
          <ac:chgData name="Joelle Brehm" userId="a518f54c-6985-42c0-8041-2bb16a414839" providerId="ADAL" clId="{9E52C8A6-326C-473A-BC21-4CED010AFA79}" dt="2023-09-06T18:39:12.990" v="54299"/>
          <ac:spMkLst>
            <pc:docMk/>
            <pc:sldMk cId="1459118046" sldId="288"/>
            <ac:spMk id="115" creationId="{4AD9CF3C-C95B-4684-8516-425F54BD0550}"/>
          </ac:spMkLst>
        </pc:spChg>
        <pc:spChg chg="mod">
          <ac:chgData name="Joelle Brehm" userId="a518f54c-6985-42c0-8041-2bb16a414839" providerId="ADAL" clId="{9E52C8A6-326C-473A-BC21-4CED010AFA79}" dt="2023-09-06T18:39:12.991" v="54300"/>
          <ac:spMkLst>
            <pc:docMk/>
            <pc:sldMk cId="1459118046" sldId="288"/>
            <ac:spMk id="116" creationId="{2865A40A-D0E7-4753-8984-3776B5D1C30B}"/>
          </ac:spMkLst>
        </pc:spChg>
        <pc:spChg chg="mod">
          <ac:chgData name="Joelle Brehm" userId="a518f54c-6985-42c0-8041-2bb16a414839" providerId="ADAL" clId="{9E52C8A6-326C-473A-BC21-4CED010AFA79}" dt="2023-09-06T18:39:12.991" v="54301"/>
          <ac:spMkLst>
            <pc:docMk/>
            <pc:sldMk cId="1459118046" sldId="288"/>
            <ac:spMk id="117" creationId="{950BFF17-7A2A-46EE-89AB-0EB0F81EF516}"/>
          </ac:spMkLst>
        </pc:spChg>
        <pc:spChg chg="mod">
          <ac:chgData name="Joelle Brehm" userId="a518f54c-6985-42c0-8041-2bb16a414839" providerId="ADAL" clId="{9E52C8A6-326C-473A-BC21-4CED010AFA79}" dt="2023-09-06T18:39:12.990" v="54298"/>
          <ac:spMkLst>
            <pc:docMk/>
            <pc:sldMk cId="1459118046" sldId="288"/>
            <ac:spMk id="118" creationId="{56A02B5D-933F-47C9-B56F-095B14124B0B}"/>
          </ac:spMkLst>
        </pc:spChg>
        <pc:spChg chg="mod">
          <ac:chgData name="Joelle Brehm" userId="a518f54c-6985-42c0-8041-2bb16a414839" providerId="ADAL" clId="{9E52C8A6-326C-473A-BC21-4CED010AFA79}" dt="2023-09-06T18:39:12.992" v="54306"/>
          <ac:spMkLst>
            <pc:docMk/>
            <pc:sldMk cId="1459118046" sldId="288"/>
            <ac:spMk id="176" creationId="{231D5690-DFCE-4FDE-B26A-9807DB989A70}"/>
          </ac:spMkLst>
        </pc:spChg>
        <pc:spChg chg="mod">
          <ac:chgData name="Joelle Brehm" userId="a518f54c-6985-42c0-8041-2bb16a414839" providerId="ADAL" clId="{9E52C8A6-326C-473A-BC21-4CED010AFA79}" dt="2023-09-06T18:39:12.993" v="54307"/>
          <ac:spMkLst>
            <pc:docMk/>
            <pc:sldMk cId="1459118046" sldId="288"/>
            <ac:spMk id="177" creationId="{770D0A7B-1ABE-4525-B2F4-B4BC5EC87F48}"/>
          </ac:spMkLst>
        </pc:spChg>
        <pc:spChg chg="mod">
          <ac:chgData name="Joelle Brehm" userId="a518f54c-6985-42c0-8041-2bb16a414839" providerId="ADAL" clId="{9E52C8A6-326C-473A-BC21-4CED010AFA79}" dt="2023-09-06T18:39:12.992" v="54305"/>
          <ac:spMkLst>
            <pc:docMk/>
            <pc:sldMk cId="1459118046" sldId="288"/>
            <ac:spMk id="178" creationId="{8195421C-852E-4A90-A9C0-840AF9823B82}"/>
          </ac:spMkLst>
        </pc:spChg>
        <pc:spChg chg="mod">
          <ac:chgData name="Joelle Brehm" userId="a518f54c-6985-42c0-8041-2bb16a414839" providerId="ADAL" clId="{9E52C8A6-326C-473A-BC21-4CED010AFA79}" dt="2023-09-06T18:39:12.992" v="54304"/>
          <ac:spMkLst>
            <pc:docMk/>
            <pc:sldMk cId="1459118046" sldId="288"/>
            <ac:spMk id="179" creationId="{2DB7AD78-1CB7-4520-A137-CDF9BD645C94}"/>
          </ac:spMkLst>
        </pc:spChg>
        <pc:spChg chg="mod">
          <ac:chgData name="Joelle Brehm" userId="a518f54c-6985-42c0-8041-2bb16a414839" providerId="ADAL" clId="{9E52C8A6-326C-473A-BC21-4CED010AFA79}" dt="2023-09-06T18:39:12.993" v="54308"/>
          <ac:spMkLst>
            <pc:docMk/>
            <pc:sldMk cId="1459118046" sldId="288"/>
            <ac:spMk id="180" creationId="{5D1B034F-BD55-41CE-97C1-239CAC2C91CF}"/>
          </ac:spMkLst>
        </pc:spChg>
        <pc:graphicFrameChg chg="mod">
          <ac:chgData name="Joelle Brehm" userId="a518f54c-6985-42c0-8041-2bb16a414839" providerId="ADAL" clId="{9E52C8A6-326C-473A-BC21-4CED010AFA79}" dt="2023-09-06T18:39:13.009" v="54314"/>
          <ac:graphicFrameMkLst>
            <pc:docMk/>
            <pc:sldMk cId="1459118046" sldId="288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38:26.456" v="52035"/>
          <ac:graphicFrameMkLst>
            <pc:docMk/>
            <pc:sldMk cId="1459118046" sldId="288"/>
            <ac:graphicFrameMk id="9" creationId="{B9C2F945-21ED-861E-36DE-609601E0329F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9:12.984" v="54280"/>
          <ac:graphicFrameMkLst>
            <pc:docMk/>
            <pc:sldMk cId="1459118046" sldId="288"/>
            <ac:graphicFrameMk id="10" creationId="{1BD707C1-FACD-F2E2-F0AD-FDADAA3482C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8:57.229" v="53127"/>
          <ac:graphicFrameMkLst>
            <pc:docMk/>
            <pc:sldMk cId="1459118046" sldId="288"/>
            <ac:graphicFrameMk id="28" creationId="{2C0767CA-AF86-8AE4-CD4F-3E995AA79D7E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8:59.805" v="53451"/>
          <ac:graphicFrameMkLst>
            <pc:docMk/>
            <pc:sldMk cId="1459118046" sldId="288"/>
            <ac:graphicFrameMk id="31" creationId="{8F96B3ED-7765-B8A1-A70C-8A7AC2A8AC0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9:08.232" v="53905"/>
          <ac:graphicFrameMkLst>
            <pc:docMk/>
            <pc:sldMk cId="1459118046" sldId="288"/>
            <ac:graphicFrameMk id="35" creationId="{67715C73-10D3-B3C0-7A44-449C9D1AAFCD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8:56.175" v="52923"/>
          <ac:graphicFrameMkLst>
            <pc:docMk/>
            <pc:sldMk cId="1459118046" sldId="288"/>
            <ac:graphicFrameMk id="36" creationId="{903E99EA-82B6-A0E3-6DB6-9F82712F8E76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39:04.197" v="53738"/>
          <ac:graphicFrameMkLst>
            <pc:docMk/>
            <pc:sldMk cId="1459118046" sldId="288"/>
            <ac:graphicFrameMk id="38" creationId="{AC9BD649-DEAB-7B5A-6FEE-4971D9C40939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9:12.992" v="54303"/>
          <ac:graphicFrameMkLst>
            <pc:docMk/>
            <pc:sldMk cId="1459118046" sldId="288"/>
            <ac:graphicFrameMk id="39" creationId="{BBE324AA-7362-099B-E393-ACAC667DC43E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9:10.722" v="54069"/>
          <ac:graphicFrameMkLst>
            <pc:docMk/>
            <pc:sldMk cId="1459118046" sldId="288"/>
            <ac:graphicFrameMk id="41" creationId="{320559E6-DA47-286C-30B7-8723C19F63BB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39:12.945" v="54230"/>
          <ac:graphicFrameMkLst>
            <pc:docMk/>
            <pc:sldMk cId="1459118046" sldId="288"/>
            <ac:graphicFrameMk id="43" creationId="{06A41156-0F19-CBA1-105B-8120C8EC7412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39:12.973" v="54248"/>
          <ac:graphicFrameMkLst>
            <pc:docMk/>
            <pc:sldMk cId="1459118046" sldId="288"/>
            <ac:graphicFrameMk id="45" creationId="{B70582DC-7EB1-5E40-077F-6FDBBC7FC434}"/>
          </ac:graphicFrameMkLst>
        </pc:graphicFrameChg>
        <pc:picChg chg="add mod ord">
          <ac:chgData name="Joelle Brehm" userId="a518f54c-6985-42c0-8041-2bb16a414839" providerId="ADAL" clId="{9E52C8A6-326C-473A-BC21-4CED010AFA79}" dt="2023-09-06T18:39:12.970" v="54238"/>
          <ac:picMkLst>
            <pc:docMk/>
            <pc:sldMk cId="1459118046" sldId="288"/>
            <ac:picMk id="12" creationId="{3F2492A2-B9A5-7C59-6A98-15D71B6959B6}"/>
          </ac:picMkLst>
        </pc:picChg>
        <pc:picChg chg="del mod ord">
          <ac:chgData name="Joelle Brehm" userId="a518f54c-6985-42c0-8041-2bb16a414839" providerId="ADAL" clId="{9E52C8A6-326C-473A-BC21-4CED010AFA79}" dt="2023-09-06T18:38:44.605" v="52214" actId="478"/>
          <ac:picMkLst>
            <pc:docMk/>
            <pc:sldMk cId="1459118046" sldId="288"/>
            <ac:picMk id="15" creationId="{A9605862-389D-E25D-72CB-6BAF8F60BBC6}"/>
          </ac:picMkLst>
        </pc:picChg>
        <pc:picChg chg="mod ord">
          <ac:chgData name="Joelle Brehm" userId="a518f54c-6985-42c0-8041-2bb16a414839" providerId="ADAL" clId="{9E52C8A6-326C-473A-BC21-4CED010AFA79}" dt="2023-09-06T18:39:12.982" v="54274"/>
          <ac:picMkLst>
            <pc:docMk/>
            <pc:sldMk cId="1459118046" sldId="288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39:12.971" v="54242"/>
          <ac:cxnSpMkLst>
            <pc:docMk/>
            <pc:sldMk cId="1459118046" sldId="288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41:08.923" v="57149"/>
        <pc:sldMkLst>
          <pc:docMk/>
          <pc:sldMk cId="10849840" sldId="290"/>
        </pc:sldMkLst>
        <pc:spChg chg="add del mod ord">
          <ac:chgData name="Joelle Brehm" userId="a518f54c-6985-42c0-8041-2bb16a414839" providerId="ADAL" clId="{9E52C8A6-326C-473A-BC21-4CED010AFA79}" dt="2023-09-06T18:40:14.323" v="54686" actId="478"/>
          <ac:spMkLst>
            <pc:docMk/>
            <pc:sldMk cId="10849840" sldId="290"/>
            <ac:spMk id="2" creationId="{F5EFB55B-EEC3-71C5-FC3B-55F2AA8F2ADD}"/>
          </ac:spMkLst>
        </pc:spChg>
        <pc:spChg chg="mod ord">
          <ac:chgData name="Joelle Brehm" userId="a518f54c-6985-42c0-8041-2bb16a414839" providerId="ADAL" clId="{9E52C8A6-326C-473A-BC21-4CED010AFA79}" dt="2023-09-06T18:41:08.894" v="57143"/>
          <ac:spMkLst>
            <pc:docMk/>
            <pc:sldMk cId="10849840" sldId="290"/>
            <ac:spMk id="3" creationId="{FEC2577F-AB16-4713-8FC2-F4589EF3DD34}"/>
          </ac:spMkLst>
        </pc:spChg>
        <pc:spChg chg="mod">
          <ac:chgData name="Joelle Brehm" userId="a518f54c-6985-42c0-8041-2bb16a414839" providerId="ADAL" clId="{9E52C8A6-326C-473A-BC21-4CED010AFA79}" dt="2023-09-06T18:41:08.874" v="57115"/>
          <ac:spMkLst>
            <pc:docMk/>
            <pc:sldMk cId="10849840" sldId="290"/>
            <ac:spMk id="5" creationId="{718AF6EF-2351-2312-DDE9-7D78FE151719}"/>
          </ac:spMkLst>
        </pc:spChg>
        <pc:spChg chg="mod ord">
          <ac:chgData name="Joelle Brehm" userId="a518f54c-6985-42c0-8041-2bb16a414839" providerId="ADAL" clId="{9E52C8A6-326C-473A-BC21-4CED010AFA79}" dt="2023-09-06T18:41:08.842" v="57075"/>
          <ac:spMkLst>
            <pc:docMk/>
            <pc:sldMk cId="10849840" sldId="290"/>
            <ac:spMk id="6" creationId="{B47CE71D-7819-4857-B121-737A3BD39B4D}"/>
          </ac:spMkLst>
        </pc:spChg>
        <pc:spChg chg="add del mod modVis">
          <ac:chgData name="Joelle Brehm" userId="a518f54c-6985-42c0-8041-2bb16a414839" providerId="ADAL" clId="{9E52C8A6-326C-473A-BC21-4CED010AFA79}" dt="2023-09-06T18:39:48.113" v="54591"/>
          <ac:spMkLst>
            <pc:docMk/>
            <pc:sldMk cId="10849840" sldId="290"/>
            <ac:spMk id="8" creationId="{3BDA802F-F32A-8B22-D43B-9F24289E7F68}"/>
          </ac:spMkLst>
        </pc:spChg>
        <pc:spChg chg="mod">
          <ac:chgData name="Joelle Brehm" userId="a518f54c-6985-42c0-8041-2bb16a414839" providerId="ADAL" clId="{9E52C8A6-326C-473A-BC21-4CED010AFA79}" dt="2023-09-06T18:41:08.848" v="57082"/>
          <ac:spMkLst>
            <pc:docMk/>
            <pc:sldMk cId="10849840" sldId="290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41:08.852" v="57086"/>
          <ac:spMkLst>
            <pc:docMk/>
            <pc:sldMk cId="10849840" sldId="290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41:08.849" v="57083"/>
          <ac:spMkLst>
            <pc:docMk/>
            <pc:sldMk cId="10849840" sldId="290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41:08.847" v="57081"/>
          <ac:spMkLst>
            <pc:docMk/>
            <pc:sldMk cId="10849840" sldId="290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41:08.850" v="57084"/>
          <ac:spMkLst>
            <pc:docMk/>
            <pc:sldMk cId="10849840" sldId="290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41:08.852" v="57087"/>
          <ac:spMkLst>
            <pc:docMk/>
            <pc:sldMk cId="10849840" sldId="290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41:08.846" v="57080"/>
          <ac:spMkLst>
            <pc:docMk/>
            <pc:sldMk cId="10849840" sldId="290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41:08.851" v="57085"/>
          <ac:spMkLst>
            <pc:docMk/>
            <pc:sldMk cId="10849840" sldId="290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41:08.853" v="57088"/>
          <ac:spMkLst>
            <pc:docMk/>
            <pc:sldMk cId="10849840" sldId="290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41:08.854" v="57089"/>
          <ac:spMkLst>
            <pc:docMk/>
            <pc:sldMk cId="10849840" sldId="290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41:08.854" v="57090"/>
          <ac:spMkLst>
            <pc:docMk/>
            <pc:sldMk cId="10849840" sldId="290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41:08.855" v="57091"/>
          <ac:spMkLst>
            <pc:docMk/>
            <pc:sldMk cId="10849840" sldId="290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41:08.856" v="57093"/>
          <ac:spMkLst>
            <pc:docMk/>
            <pc:sldMk cId="10849840" sldId="290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41:08.858" v="57096"/>
          <ac:spMkLst>
            <pc:docMk/>
            <pc:sldMk cId="10849840" sldId="290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41:08.857" v="57094"/>
          <ac:spMkLst>
            <pc:docMk/>
            <pc:sldMk cId="10849840" sldId="290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41:08.858" v="57095"/>
          <ac:spMkLst>
            <pc:docMk/>
            <pc:sldMk cId="10849840" sldId="290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41:08.862" v="57101"/>
          <ac:spMkLst>
            <pc:docMk/>
            <pc:sldMk cId="10849840" sldId="290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41:08.860" v="57099"/>
          <ac:spMkLst>
            <pc:docMk/>
            <pc:sldMk cId="10849840" sldId="290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41:08.861" v="57100"/>
          <ac:spMkLst>
            <pc:docMk/>
            <pc:sldMk cId="10849840" sldId="290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41:08.864" v="57104"/>
          <ac:spMkLst>
            <pc:docMk/>
            <pc:sldMk cId="10849840" sldId="290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40:30.092" v="55455"/>
          <ac:spMkLst>
            <pc:docMk/>
            <pc:sldMk cId="10849840" sldId="290"/>
            <ac:spMk id="31" creationId="{7AB81A3E-9DE7-CB71-14B7-5B53FD3178AE}"/>
          </ac:spMkLst>
        </pc:spChg>
        <pc:spChg chg="mod">
          <ac:chgData name="Joelle Brehm" userId="a518f54c-6985-42c0-8041-2bb16a414839" providerId="ADAL" clId="{9E52C8A6-326C-473A-BC21-4CED010AFA79}" dt="2023-09-06T18:41:08.867" v="57108"/>
          <ac:spMkLst>
            <pc:docMk/>
            <pc:sldMk cId="10849840" sldId="290"/>
            <ac:spMk id="32" creationId="{47DE593B-1A30-2341-AF40-57CA8B07E1EE}"/>
          </ac:spMkLst>
        </pc:spChg>
        <pc:spChg chg="mod">
          <ac:chgData name="Joelle Brehm" userId="a518f54c-6985-42c0-8041-2bb16a414839" providerId="ADAL" clId="{9E52C8A6-326C-473A-BC21-4CED010AFA79}" dt="2023-09-06T18:41:08.874" v="57116"/>
          <ac:spMkLst>
            <pc:docMk/>
            <pc:sldMk cId="10849840" sldId="290"/>
            <ac:spMk id="33" creationId="{A55B1EF4-73C4-D584-0203-A74707EA08E2}"/>
          </ac:spMkLst>
        </pc:spChg>
        <pc:spChg chg="mod">
          <ac:chgData name="Joelle Brehm" userId="a518f54c-6985-42c0-8041-2bb16a414839" providerId="ADAL" clId="{9E52C8A6-326C-473A-BC21-4CED010AFA79}" dt="2023-09-06T18:41:08.869" v="57110"/>
          <ac:spMkLst>
            <pc:docMk/>
            <pc:sldMk cId="10849840" sldId="290"/>
            <ac:spMk id="34" creationId="{2324DD3B-E106-01D1-4B12-42A8E001839F}"/>
          </ac:spMkLst>
        </pc:spChg>
        <pc:spChg chg="mod">
          <ac:chgData name="Joelle Brehm" userId="a518f54c-6985-42c0-8041-2bb16a414839" providerId="ADAL" clId="{9E52C8A6-326C-473A-BC21-4CED010AFA79}" dt="2023-09-06T18:41:08.870" v="57111"/>
          <ac:spMkLst>
            <pc:docMk/>
            <pc:sldMk cId="10849840" sldId="290"/>
            <ac:spMk id="35" creationId="{5C5DFB85-DEF7-4B61-E64C-5B286B12F7C4}"/>
          </ac:spMkLst>
        </pc:spChg>
        <pc:spChg chg="mod">
          <ac:chgData name="Joelle Brehm" userId="a518f54c-6985-42c0-8041-2bb16a414839" providerId="ADAL" clId="{9E52C8A6-326C-473A-BC21-4CED010AFA79}" dt="2023-09-06T18:41:08.868" v="57109"/>
          <ac:spMkLst>
            <pc:docMk/>
            <pc:sldMk cId="10849840" sldId="290"/>
            <ac:spMk id="36" creationId="{7FA8E133-8529-98BE-765D-2D79C18B7F0C}"/>
          </ac:spMkLst>
        </pc:spChg>
        <pc:spChg chg="mod ord">
          <ac:chgData name="Joelle Brehm" userId="a518f54c-6985-42c0-8041-2bb16a414839" providerId="ADAL" clId="{9E52C8A6-326C-473A-BC21-4CED010AFA79}" dt="2023-09-06T18:41:08.859" v="57098"/>
          <ac:spMkLst>
            <pc:docMk/>
            <pc:sldMk cId="10849840" sldId="290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41:08.872" v="57113"/>
          <ac:spMkLst>
            <pc:docMk/>
            <pc:sldMk cId="10849840" sldId="290"/>
            <ac:spMk id="38" creationId="{8CC336E3-D199-7B80-FD7A-3C2C3AEA2639}"/>
          </ac:spMkLst>
        </pc:spChg>
        <pc:spChg chg="mod">
          <ac:chgData name="Joelle Brehm" userId="a518f54c-6985-42c0-8041-2bb16a414839" providerId="ADAL" clId="{9E52C8A6-326C-473A-BC21-4CED010AFA79}" dt="2023-09-06T18:41:08.867" v="57107"/>
          <ac:spMkLst>
            <pc:docMk/>
            <pc:sldMk cId="10849840" sldId="290"/>
            <ac:spMk id="39" creationId="{810C784D-B902-D4A3-E0DE-5483A97F9C49}"/>
          </ac:spMkLst>
        </pc:spChg>
        <pc:spChg chg="mod">
          <ac:chgData name="Joelle Brehm" userId="a518f54c-6985-42c0-8041-2bb16a414839" providerId="ADAL" clId="{9E52C8A6-326C-473A-BC21-4CED010AFA79}" dt="2023-09-06T18:41:08.875" v="57117"/>
          <ac:spMkLst>
            <pc:docMk/>
            <pc:sldMk cId="10849840" sldId="290"/>
            <ac:spMk id="42" creationId="{FFCC1BC0-06CA-CDAD-EEFE-FE2FB52A38E0}"/>
          </ac:spMkLst>
        </pc:spChg>
        <pc:spChg chg="add mod replST">
          <ac:chgData name="Joelle Brehm" userId="a518f54c-6985-42c0-8041-2bb16a414839" providerId="ADAL" clId="{9E52C8A6-326C-473A-BC21-4CED010AFA79}" dt="2023-09-06T18:41:08.877" v="57118"/>
          <ac:spMkLst>
            <pc:docMk/>
            <pc:sldMk cId="10849840" sldId="290"/>
            <ac:spMk id="43" creationId="{B4549873-B512-7DDE-B1A6-410BF7445AA4}"/>
          </ac:spMkLst>
        </pc:spChg>
        <pc:spChg chg="mod">
          <ac:chgData name="Joelle Brehm" userId="a518f54c-6985-42c0-8041-2bb16a414839" providerId="ADAL" clId="{9E52C8A6-326C-473A-BC21-4CED010AFA79}" dt="2023-09-06T18:41:08.871" v="57112"/>
          <ac:spMkLst>
            <pc:docMk/>
            <pc:sldMk cId="10849840" sldId="290"/>
            <ac:spMk id="44" creationId="{16E8BB2B-0284-4130-9494-7152E71E09E4}"/>
          </ac:spMkLst>
        </pc:spChg>
        <pc:spChg chg="del mod ord">
          <ac:chgData name="Joelle Brehm" userId="a518f54c-6985-42c0-8041-2bb16a414839" providerId="ADAL" clId="{9E52C8A6-326C-473A-BC21-4CED010AFA79}" dt="2023-09-06T18:40:50.030" v="56143"/>
          <ac:spMkLst>
            <pc:docMk/>
            <pc:sldMk cId="10849840" sldId="290"/>
            <ac:spMk id="4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1:08.873" v="57114"/>
          <ac:spMkLst>
            <pc:docMk/>
            <pc:sldMk cId="10849840" sldId="290"/>
            <ac:spMk id="46" creationId="{3E1C433A-5376-E641-B9A1-4367058A9B7F}"/>
          </ac:spMkLst>
        </pc:spChg>
        <pc:spChg chg="add del mod modVis">
          <ac:chgData name="Joelle Brehm" userId="a518f54c-6985-42c0-8041-2bb16a414839" providerId="ADAL" clId="{9E52C8A6-326C-473A-BC21-4CED010AFA79}" dt="2023-09-06T18:40:27.774" v="55222"/>
          <ac:spMkLst>
            <pc:docMk/>
            <pc:sldMk cId="10849840" sldId="290"/>
            <ac:spMk id="47" creationId="{C3F60CCF-77F8-5871-FAB5-49377203AE5E}"/>
          </ac:spMkLst>
        </pc:spChg>
        <pc:spChg chg="add del mod ord replST">
          <ac:chgData name="Joelle Brehm" userId="a518f54c-6985-42c0-8041-2bb16a414839" providerId="ADAL" clId="{9E52C8A6-326C-473A-BC21-4CED010AFA79}" dt="2023-09-06T18:40:55.093" v="56455"/>
          <ac:spMkLst>
            <pc:docMk/>
            <pc:sldMk cId="10849840" sldId="290"/>
            <ac:spMk id="49" creationId="{583797B9-CFE8-1F28-DC75-F5C8B0C9CACC}"/>
          </ac:spMkLst>
        </pc:spChg>
        <pc:spChg chg="add del mod modVis">
          <ac:chgData name="Joelle Brehm" userId="a518f54c-6985-42c0-8041-2bb16a414839" providerId="ADAL" clId="{9E52C8A6-326C-473A-BC21-4CED010AFA79}" dt="2023-09-06T18:40:28.699" v="55452"/>
          <ac:spMkLst>
            <pc:docMk/>
            <pc:sldMk cId="10849840" sldId="290"/>
            <ac:spMk id="50" creationId="{0C04DEC9-46D2-D71D-4F2B-545543178771}"/>
          </ac:spMkLst>
        </pc:spChg>
        <pc:spChg chg="add del mod modVis">
          <ac:chgData name="Joelle Brehm" userId="a518f54c-6985-42c0-8041-2bb16a414839" providerId="ADAL" clId="{9E52C8A6-326C-473A-BC21-4CED010AFA79}" dt="2023-09-06T18:40:30.438" v="55660"/>
          <ac:spMkLst>
            <pc:docMk/>
            <pc:sldMk cId="10849840" sldId="290"/>
            <ac:spMk id="52" creationId="{EB1049F2-CBF4-5FE7-08EA-7234F838EFC8}"/>
          </ac:spMkLst>
        </pc:spChg>
        <pc:spChg chg="add del mod modVis">
          <ac:chgData name="Joelle Brehm" userId="a518f54c-6985-42c0-8041-2bb16a414839" providerId="ADAL" clId="{9E52C8A6-326C-473A-BC21-4CED010AFA79}" dt="2023-09-06T18:40:35.194" v="55921"/>
          <ac:spMkLst>
            <pc:docMk/>
            <pc:sldMk cId="10849840" sldId="290"/>
            <ac:spMk id="54" creationId="{63F7FA7D-45B6-C347-0EA3-95A8A796CFBE}"/>
          </ac:spMkLst>
        </pc:spChg>
        <pc:spChg chg="add del mod modVis">
          <ac:chgData name="Joelle Brehm" userId="a518f54c-6985-42c0-8041-2bb16a414839" providerId="ADAL" clId="{9E52C8A6-326C-473A-BC21-4CED010AFA79}" dt="2023-09-06T18:40:41.781" v="56071"/>
          <ac:spMkLst>
            <pc:docMk/>
            <pc:sldMk cId="10849840" sldId="290"/>
            <ac:spMk id="57" creationId="{2DE92851-38CE-EDF0-EA99-4E5C71C9625D}"/>
          </ac:spMkLst>
        </pc:spChg>
        <pc:spChg chg="mod ord">
          <ac:chgData name="Joelle Brehm" userId="a518f54c-6985-42c0-8041-2bb16a414839" providerId="ADAL" clId="{9E52C8A6-326C-473A-BC21-4CED010AFA79}" dt="2023-09-06T18:41:08.893" v="57141"/>
          <ac:spMkLst>
            <pc:docMk/>
            <pc:sldMk cId="10849840" sldId="290"/>
            <ac:spMk id="60" creationId="{AB5689A7-20F6-4DF1-88AE-FB8557333BFB}"/>
          </ac:spMkLst>
        </pc:spChg>
        <pc:spChg chg="add del mod modVis">
          <ac:chgData name="Joelle Brehm" userId="a518f54c-6985-42c0-8041-2bb16a414839" providerId="ADAL" clId="{9E52C8A6-326C-473A-BC21-4CED010AFA79}" dt="2023-09-06T18:40:50.075" v="56229"/>
          <ac:spMkLst>
            <pc:docMk/>
            <pc:sldMk cId="10849840" sldId="290"/>
            <ac:spMk id="61" creationId="{836137F7-94B6-3DB8-3D8C-16B87058BBED}"/>
          </ac:spMkLst>
        </pc:spChg>
        <pc:spChg chg="add del mod modVis">
          <ac:chgData name="Joelle Brehm" userId="a518f54c-6985-42c0-8041-2bb16a414839" providerId="ADAL" clId="{9E52C8A6-326C-473A-BC21-4CED010AFA79}" dt="2023-09-06T18:40:52.388" v="56384"/>
          <ac:spMkLst>
            <pc:docMk/>
            <pc:sldMk cId="10849840" sldId="290"/>
            <ac:spMk id="63" creationId="{BDCBB443-0D1E-1F77-6F68-DE46DEE15ADB}"/>
          </ac:spMkLst>
        </pc:spChg>
        <pc:spChg chg="add del mod modVis">
          <ac:chgData name="Joelle Brehm" userId="a518f54c-6985-42c0-8041-2bb16a414839" providerId="ADAL" clId="{9E52C8A6-326C-473A-BC21-4CED010AFA79}" dt="2023-09-06T18:40:55.199" v="56539"/>
          <ac:spMkLst>
            <pc:docMk/>
            <pc:sldMk cId="10849840" sldId="290"/>
            <ac:spMk id="65" creationId="{92A9762A-C3EB-E716-1154-7D6BB5EF111E}"/>
          </ac:spMkLst>
        </pc:spChg>
        <pc:spChg chg="add del mod modVis">
          <ac:chgData name="Joelle Brehm" userId="a518f54c-6985-42c0-8041-2bb16a414839" providerId="ADAL" clId="{9E52C8A6-326C-473A-BC21-4CED010AFA79}" dt="2023-09-06T18:40:58.099" v="56691"/>
          <ac:spMkLst>
            <pc:docMk/>
            <pc:sldMk cId="10849840" sldId="290"/>
            <ac:spMk id="67" creationId="{62E4DF1A-6139-FD83-0BE0-75E3204822F4}"/>
          </ac:spMkLst>
        </pc:spChg>
        <pc:spChg chg="add del mod modVis">
          <ac:chgData name="Joelle Brehm" userId="a518f54c-6985-42c0-8041-2bb16a414839" providerId="ADAL" clId="{9E52C8A6-326C-473A-BC21-4CED010AFA79}" dt="2023-09-06T18:41:01.688" v="56843"/>
          <ac:spMkLst>
            <pc:docMk/>
            <pc:sldMk cId="10849840" sldId="290"/>
            <ac:spMk id="69" creationId="{BAFF8C6D-1E77-52B7-4E92-CBC66CB9FB15}"/>
          </ac:spMkLst>
        </pc:spChg>
        <pc:spChg chg="add del mod modVis">
          <ac:chgData name="Joelle Brehm" userId="a518f54c-6985-42c0-8041-2bb16a414839" providerId="ADAL" clId="{9E52C8A6-326C-473A-BC21-4CED010AFA79}" dt="2023-09-06T18:41:05.545" v="56995"/>
          <ac:spMkLst>
            <pc:docMk/>
            <pc:sldMk cId="10849840" sldId="290"/>
            <ac:spMk id="71" creationId="{52EA7634-6A2B-7626-48D0-8692FB728371}"/>
          </ac:spMkLst>
        </pc:spChg>
        <pc:spChg chg="add del mod modVis">
          <ac:chgData name="Joelle Brehm" userId="a518f54c-6985-42c0-8041-2bb16a414839" providerId="ADAL" clId="{9E52C8A6-326C-473A-BC21-4CED010AFA79}" dt="2023-09-06T18:41:08.898" v="57147"/>
          <ac:spMkLst>
            <pc:docMk/>
            <pc:sldMk cId="10849840" sldId="290"/>
            <ac:spMk id="73" creationId="{9B48BF91-5B29-10A4-3502-75FFC241EF5B}"/>
          </ac:spMkLst>
        </pc:spChg>
        <pc:spChg chg="mod">
          <ac:chgData name="Joelle Brehm" userId="a518f54c-6985-42c0-8041-2bb16a414839" providerId="ADAL" clId="{9E52C8A6-326C-473A-BC21-4CED010AFA79}" dt="2023-09-06T18:41:08.863" v="57102"/>
          <ac:spMkLst>
            <pc:docMk/>
            <pc:sldMk cId="10849840" sldId="290"/>
            <ac:spMk id="74" creationId="{1E5392BC-349C-45B4-8F81-52F83DA74F43}"/>
          </ac:spMkLst>
        </pc:spChg>
        <pc:spChg chg="mod ord">
          <ac:chgData name="Joelle Brehm" userId="a518f54c-6985-42c0-8041-2bb16a414839" providerId="ADAL" clId="{9E52C8A6-326C-473A-BC21-4CED010AFA79}" dt="2023-09-06T18:41:08.878" v="57120"/>
          <ac:spMkLst>
            <pc:docMk/>
            <pc:sldMk cId="10849840" sldId="290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41:08.879" v="57122"/>
          <ac:spMkLst>
            <pc:docMk/>
            <pc:sldMk cId="10849840" sldId="290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41:08.881" v="57124"/>
          <ac:spMkLst>
            <pc:docMk/>
            <pc:sldMk cId="10849840" sldId="290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41:08.882" v="57126"/>
          <ac:spMkLst>
            <pc:docMk/>
            <pc:sldMk cId="10849840" sldId="290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41:08.883" v="57128"/>
          <ac:spMkLst>
            <pc:docMk/>
            <pc:sldMk cId="10849840" sldId="290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41:08.886" v="57130"/>
          <ac:spMkLst>
            <pc:docMk/>
            <pc:sldMk cId="10849840" sldId="290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41:08.888" v="57133"/>
          <ac:spMkLst>
            <pc:docMk/>
            <pc:sldMk cId="10849840" sldId="290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1:08.889" v="57134"/>
          <ac:spMkLst>
            <pc:docMk/>
            <pc:sldMk cId="10849840" sldId="290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1:08.889" v="57135"/>
          <ac:spMkLst>
            <pc:docMk/>
            <pc:sldMk cId="10849840" sldId="290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1:08.889" v="57136"/>
          <ac:spMkLst>
            <pc:docMk/>
            <pc:sldMk cId="10849840" sldId="290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41:08.890" v="57137"/>
          <ac:spMkLst>
            <pc:docMk/>
            <pc:sldMk cId="10849840" sldId="290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41:08.923" v="57149"/>
          <ac:graphicFrameMkLst>
            <pc:docMk/>
            <pc:sldMk cId="10849840" sldId="290"/>
            <ac:graphicFrameMk id="4" creationId="{86B547BD-D5B0-4162-8AC1-23C66C4D550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1:08.846" v="57079"/>
          <ac:graphicFrameMkLst>
            <pc:docMk/>
            <pc:sldMk cId="10849840" sldId="290"/>
            <ac:graphicFrameMk id="9" creationId="{A1FF68BF-566B-A74D-7050-71DA60025D9D}"/>
          </ac:graphicFrameMkLst>
        </pc:graphicFrameChg>
        <pc:graphicFrameChg chg="del">
          <ac:chgData name="Joelle Brehm" userId="a518f54c-6985-42c0-8041-2bb16a414839" providerId="ADAL" clId="{9E52C8A6-326C-473A-BC21-4CED010AFA79}" dt="2023-09-06T18:39:47.971" v="54499"/>
          <ac:graphicFrameMkLst>
            <pc:docMk/>
            <pc:sldMk cId="10849840" sldId="290"/>
            <ac:graphicFrameMk id="40" creationId="{99BD0220-95BB-0465-FD99-2C64540E511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0:28.518" v="55345"/>
          <ac:graphicFrameMkLst>
            <pc:docMk/>
            <pc:sldMk cId="10849840" sldId="290"/>
            <ac:graphicFrameMk id="48" creationId="{32E7A428-84BD-4EC2-294B-20F6749DBD65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0:30.317" v="55574"/>
          <ac:graphicFrameMkLst>
            <pc:docMk/>
            <pc:sldMk cId="10849840" sldId="290"/>
            <ac:graphicFrameMk id="51" creationId="{54D940CE-6EE8-19A7-5743-D5091C44961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0:50.031" v="56145"/>
          <ac:graphicFrameMkLst>
            <pc:docMk/>
            <pc:sldMk cId="10849840" sldId="290"/>
            <ac:graphicFrameMk id="53" creationId="{D517D38A-C578-BE19-F086-11B3E0676967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40:27.636" v="55131"/>
          <ac:graphicFrameMkLst>
            <pc:docMk/>
            <pc:sldMk cId="10849840" sldId="290"/>
            <ac:graphicFrameMk id="55" creationId="{9372F34C-8305-33BF-E2C7-E0DF26633D4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0:41.664" v="55985"/>
          <ac:graphicFrameMkLst>
            <pc:docMk/>
            <pc:sldMk cId="10849840" sldId="290"/>
            <ac:graphicFrameMk id="56" creationId="{3B3841FE-0ADF-37CA-4D74-F254C2F71CF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1:08.887" v="57132"/>
          <ac:graphicFrameMkLst>
            <pc:docMk/>
            <pc:sldMk cId="10849840" sldId="290"/>
            <ac:graphicFrameMk id="58" creationId="{83A9DE8F-1E25-D10B-B3CB-D54C3E016C94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40:35.084" v="55835"/>
          <ac:graphicFrameMkLst>
            <pc:docMk/>
            <pc:sldMk cId="10849840" sldId="290"/>
            <ac:graphicFrameMk id="59" creationId="{26B49780-5413-2D59-9240-B8A7C103BD6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0:52.344" v="56300"/>
          <ac:graphicFrameMkLst>
            <pc:docMk/>
            <pc:sldMk cId="10849840" sldId="290"/>
            <ac:graphicFrameMk id="62" creationId="{A0CB53D5-3C45-C820-225F-F154B536D25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0:55.096" v="56457"/>
          <ac:graphicFrameMkLst>
            <pc:docMk/>
            <pc:sldMk cId="10849840" sldId="290"/>
            <ac:graphicFrameMk id="64" creationId="{E40190D6-E6F4-84B9-9DA0-A69D4E2239B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0:58.016" v="56609"/>
          <ac:graphicFrameMkLst>
            <pc:docMk/>
            <pc:sldMk cId="10849840" sldId="290"/>
            <ac:graphicFrameMk id="66" creationId="{1858412E-A1EB-A721-A525-A512CC4D5BFB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1:01.644" v="56761"/>
          <ac:graphicFrameMkLst>
            <pc:docMk/>
            <pc:sldMk cId="10849840" sldId="290"/>
            <ac:graphicFrameMk id="68" creationId="{1FFDFFA8-B137-97C6-2C1F-3A1629DE18DE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1:05.504" v="56913"/>
          <ac:graphicFrameMkLst>
            <pc:docMk/>
            <pc:sldMk cId="10849840" sldId="290"/>
            <ac:graphicFrameMk id="70" creationId="{2654740C-70EB-A5F5-E61A-61E3BE322A0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1:08.786" v="57065"/>
          <ac:graphicFrameMkLst>
            <pc:docMk/>
            <pc:sldMk cId="10849840" sldId="290"/>
            <ac:graphicFrameMk id="72" creationId="{74A73368-CAC7-3A72-EE4A-05D1F7875A8B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1:08.866" v="57106"/>
          <ac:graphicFrameMkLst>
            <pc:docMk/>
            <pc:sldMk cId="10849840" sldId="290"/>
            <ac:graphicFrameMk id="75" creationId="{E7E108D3-6DF0-DAB2-7D73-1ECC440F117D}"/>
          </ac:graphicFrameMkLst>
        </pc:graphicFrameChg>
        <pc:picChg chg="add mod ord">
          <ac:chgData name="Joelle Brehm" userId="a518f54c-6985-42c0-8041-2bb16a414839" providerId="ADAL" clId="{9E52C8A6-326C-473A-BC21-4CED010AFA79}" dt="2023-09-06T18:41:08.840" v="57073"/>
          <ac:picMkLst>
            <pc:docMk/>
            <pc:sldMk cId="10849840" sldId="290"/>
            <ac:picMk id="10" creationId="{A631AB19-651A-3F6B-4140-9C0F82949BFB}"/>
          </ac:picMkLst>
        </pc:picChg>
        <pc:picChg chg="del mod ord">
          <ac:chgData name="Joelle Brehm" userId="a518f54c-6985-42c0-8041-2bb16a414839" providerId="ADAL" clId="{9E52C8A6-326C-473A-BC21-4CED010AFA79}" dt="2023-09-06T18:40:07.496" v="54683" actId="478"/>
          <ac:picMkLst>
            <pc:docMk/>
            <pc:sldMk cId="10849840" sldId="290"/>
            <ac:picMk id="41" creationId="{6C0B11AC-9F9E-05E0-C8CB-622ABA6C4EB4}"/>
          </ac:picMkLst>
        </pc:picChg>
        <pc:picChg chg="mod ord">
          <ac:chgData name="Joelle Brehm" userId="a518f54c-6985-42c0-8041-2bb16a414839" providerId="ADAL" clId="{9E52C8A6-326C-473A-BC21-4CED010AFA79}" dt="2023-09-06T18:41:08.892" v="57139"/>
          <ac:picMkLst>
            <pc:docMk/>
            <pc:sldMk cId="10849840" sldId="290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41:08.845" v="57077"/>
          <ac:cxnSpMkLst>
            <pc:docMk/>
            <pc:sldMk cId="10849840" sldId="290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43:52.767" v="61357"/>
        <pc:sldMkLst>
          <pc:docMk/>
          <pc:sldMk cId="996393659" sldId="291"/>
        </pc:sldMkLst>
        <pc:spChg chg="mod ord">
          <ac:chgData name="Joelle Brehm" userId="a518f54c-6985-42c0-8041-2bb16a414839" providerId="ADAL" clId="{9E52C8A6-326C-473A-BC21-4CED010AFA79}" dt="2023-09-06T18:43:52.754" v="61351"/>
          <ac:spMkLst>
            <pc:docMk/>
            <pc:sldMk cId="996393659" sldId="291"/>
            <ac:spMk id="2" creationId="{903BD9AC-C420-4F19-B1D1-731DE7D9A596}"/>
          </ac:spMkLst>
        </pc:spChg>
        <pc:spChg chg="add del mod ord">
          <ac:chgData name="Joelle Brehm" userId="a518f54c-6985-42c0-8041-2bb16a414839" providerId="ADAL" clId="{9E52C8A6-326C-473A-BC21-4CED010AFA79}" dt="2023-09-06T18:43:28.471" v="59729" actId="478"/>
          <ac:spMkLst>
            <pc:docMk/>
            <pc:sldMk cId="996393659" sldId="291"/>
            <ac:spMk id="3" creationId="{1D258B10-6F1D-AF2E-E3DA-727CEADD0C7A}"/>
          </ac:spMkLst>
        </pc:spChg>
        <pc:spChg chg="add del mod modVis">
          <ac:chgData name="Joelle Brehm" userId="a518f54c-6985-42c0-8041-2bb16a414839" providerId="ADAL" clId="{9E52C8A6-326C-473A-BC21-4CED010AFA79}" dt="2023-09-06T18:42:58.172" v="59637"/>
          <ac:spMkLst>
            <pc:docMk/>
            <pc:sldMk cId="996393659" sldId="291"/>
            <ac:spMk id="5" creationId="{E0EFE227-F366-4889-999E-0E891E3FFB34}"/>
          </ac:spMkLst>
        </pc:spChg>
        <pc:spChg chg="mod ord">
          <ac:chgData name="Joelle Brehm" userId="a518f54c-6985-42c0-8041-2bb16a414839" providerId="ADAL" clId="{9E52C8A6-326C-473A-BC21-4CED010AFA79}" dt="2023-09-06T18:43:52.736" v="61283"/>
          <ac:spMkLst>
            <pc:docMk/>
            <pc:sldMk cId="996393659" sldId="291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43:52.738" v="61293"/>
          <ac:spMkLst>
            <pc:docMk/>
            <pc:sldMk cId="996393659" sldId="291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43:52.737" v="61289"/>
          <ac:spMkLst>
            <pc:docMk/>
            <pc:sldMk cId="996393659" sldId="291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43:52.739" v="61294"/>
          <ac:spMkLst>
            <pc:docMk/>
            <pc:sldMk cId="996393659" sldId="291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43:52.738" v="61291"/>
          <ac:spMkLst>
            <pc:docMk/>
            <pc:sldMk cId="996393659" sldId="291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43:52.738" v="61290"/>
          <ac:spMkLst>
            <pc:docMk/>
            <pc:sldMk cId="996393659" sldId="291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43:52.739" v="61295"/>
          <ac:spMkLst>
            <pc:docMk/>
            <pc:sldMk cId="996393659" sldId="291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43:52.739" v="61296"/>
          <ac:spMkLst>
            <pc:docMk/>
            <pc:sldMk cId="996393659" sldId="291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43:52.737" v="61288"/>
          <ac:spMkLst>
            <pc:docMk/>
            <pc:sldMk cId="996393659" sldId="291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43:52.738" v="61292"/>
          <ac:spMkLst>
            <pc:docMk/>
            <pc:sldMk cId="996393659" sldId="291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43:52.739" v="61297"/>
          <ac:spMkLst>
            <pc:docMk/>
            <pc:sldMk cId="996393659" sldId="291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43:52.740" v="61298"/>
          <ac:spMkLst>
            <pc:docMk/>
            <pc:sldMk cId="996393659" sldId="291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43:52.740" v="61299"/>
          <ac:spMkLst>
            <pc:docMk/>
            <pc:sldMk cId="996393659" sldId="291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43:52.741" v="61301"/>
          <ac:spMkLst>
            <pc:docMk/>
            <pc:sldMk cId="996393659" sldId="291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43:52.742" v="61304"/>
          <ac:spMkLst>
            <pc:docMk/>
            <pc:sldMk cId="996393659" sldId="291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43:52.741" v="61302"/>
          <ac:spMkLst>
            <pc:docMk/>
            <pc:sldMk cId="996393659" sldId="291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43:52.741" v="61303"/>
          <ac:spMkLst>
            <pc:docMk/>
            <pc:sldMk cId="996393659" sldId="291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43:52.743" v="61308"/>
          <ac:spMkLst>
            <pc:docMk/>
            <pc:sldMk cId="996393659" sldId="291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43:52.743" v="61307"/>
          <ac:spMkLst>
            <pc:docMk/>
            <pc:sldMk cId="996393659" sldId="291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43:52.743" v="61309"/>
          <ac:spMkLst>
            <pc:docMk/>
            <pc:sldMk cId="996393659" sldId="291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43:52.744" v="61312"/>
          <ac:spMkLst>
            <pc:docMk/>
            <pc:sldMk cId="996393659" sldId="291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43:43.153" v="60748"/>
          <ac:spMkLst>
            <pc:docMk/>
            <pc:sldMk cId="996393659" sldId="291"/>
            <ac:spMk id="31" creationId="{18F84874-BF1C-CE57-E4F7-12A82924407E}"/>
          </ac:spMkLst>
        </pc:spChg>
        <pc:spChg chg="mod">
          <ac:chgData name="Joelle Brehm" userId="a518f54c-6985-42c0-8041-2bb16a414839" providerId="ADAL" clId="{9E52C8A6-326C-473A-BC21-4CED010AFA79}" dt="2023-09-06T18:43:52.746" v="61318"/>
          <ac:spMkLst>
            <pc:docMk/>
            <pc:sldMk cId="996393659" sldId="291"/>
            <ac:spMk id="33" creationId="{7F65E50F-0922-5AA2-A553-47A66BCD0434}"/>
          </ac:spMkLst>
        </pc:spChg>
        <pc:spChg chg="mod">
          <ac:chgData name="Joelle Brehm" userId="a518f54c-6985-42c0-8041-2bb16a414839" providerId="ADAL" clId="{9E52C8A6-326C-473A-BC21-4CED010AFA79}" dt="2023-09-06T18:43:52.745" v="61315"/>
          <ac:spMkLst>
            <pc:docMk/>
            <pc:sldMk cId="996393659" sldId="291"/>
            <ac:spMk id="34" creationId="{93CE5F4B-80AA-6CF5-D97D-0127CD5DB126}"/>
          </ac:spMkLst>
        </pc:spChg>
        <pc:spChg chg="mod">
          <ac:chgData name="Joelle Brehm" userId="a518f54c-6985-42c0-8041-2bb16a414839" providerId="ADAL" clId="{9E52C8A6-326C-473A-BC21-4CED010AFA79}" dt="2023-09-06T18:43:52.745" v="61317"/>
          <ac:spMkLst>
            <pc:docMk/>
            <pc:sldMk cId="996393659" sldId="291"/>
            <ac:spMk id="35" creationId="{D5488B40-E452-4E6D-CBF0-3ABECBF0A338}"/>
          </ac:spMkLst>
        </pc:spChg>
        <pc:spChg chg="mod">
          <ac:chgData name="Joelle Brehm" userId="a518f54c-6985-42c0-8041-2bb16a414839" providerId="ADAL" clId="{9E52C8A6-326C-473A-BC21-4CED010AFA79}" dt="2023-09-06T18:43:52.746" v="61319"/>
          <ac:spMkLst>
            <pc:docMk/>
            <pc:sldMk cId="996393659" sldId="291"/>
            <ac:spMk id="36" creationId="{03190FB8-7DF7-5E9E-1D90-A0296F77BBB4}"/>
          </ac:spMkLst>
        </pc:spChg>
        <pc:spChg chg="mod ord">
          <ac:chgData name="Joelle Brehm" userId="a518f54c-6985-42c0-8041-2bb16a414839" providerId="ADAL" clId="{9E52C8A6-326C-473A-BC21-4CED010AFA79}" dt="2023-09-06T18:43:52.742" v="61306"/>
          <ac:spMkLst>
            <pc:docMk/>
            <pc:sldMk cId="996393659" sldId="291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43:52.746" v="61320"/>
          <ac:spMkLst>
            <pc:docMk/>
            <pc:sldMk cId="996393659" sldId="291"/>
            <ac:spMk id="38" creationId="{4E5D661F-265B-3FC7-19B5-28C51CF844B4}"/>
          </ac:spMkLst>
        </pc:spChg>
        <pc:spChg chg="mod">
          <ac:chgData name="Joelle Brehm" userId="a518f54c-6985-42c0-8041-2bb16a414839" providerId="ADAL" clId="{9E52C8A6-326C-473A-BC21-4CED010AFA79}" dt="2023-09-06T18:43:52.746" v="61321"/>
          <ac:spMkLst>
            <pc:docMk/>
            <pc:sldMk cId="996393659" sldId="291"/>
            <ac:spMk id="39" creationId="{63684D46-546D-B41E-0863-73E06E68A018}"/>
          </ac:spMkLst>
        </pc:spChg>
        <pc:spChg chg="mod">
          <ac:chgData name="Joelle Brehm" userId="a518f54c-6985-42c0-8041-2bb16a414839" providerId="ADAL" clId="{9E52C8A6-326C-473A-BC21-4CED010AFA79}" dt="2023-09-06T18:43:52.747" v="61323"/>
          <ac:spMkLst>
            <pc:docMk/>
            <pc:sldMk cId="996393659" sldId="291"/>
            <ac:spMk id="40" creationId="{A8312A9A-B611-54E0-AD6D-1D2A98468FCC}"/>
          </ac:spMkLst>
        </pc:spChg>
        <pc:spChg chg="mod">
          <ac:chgData name="Joelle Brehm" userId="a518f54c-6985-42c0-8041-2bb16a414839" providerId="ADAL" clId="{9E52C8A6-326C-473A-BC21-4CED010AFA79}" dt="2023-09-06T18:43:52.747" v="61324"/>
          <ac:spMkLst>
            <pc:docMk/>
            <pc:sldMk cId="996393659" sldId="291"/>
            <ac:spMk id="41" creationId="{99EE3A94-95FB-03C1-2179-11BFF50F2502}"/>
          </ac:spMkLst>
        </pc:spChg>
        <pc:spChg chg="mod">
          <ac:chgData name="Joelle Brehm" userId="a518f54c-6985-42c0-8041-2bb16a414839" providerId="ADAL" clId="{9E52C8A6-326C-473A-BC21-4CED010AFA79}" dt="2023-09-06T18:43:52.745" v="61316"/>
          <ac:spMkLst>
            <pc:docMk/>
            <pc:sldMk cId="996393659" sldId="291"/>
            <ac:spMk id="42" creationId="{165CFD82-DBAB-71C3-50A2-9207D199C08E}"/>
          </ac:spMkLst>
        </pc:spChg>
        <pc:spChg chg="mod">
          <ac:chgData name="Joelle Brehm" userId="a518f54c-6985-42c0-8041-2bb16a414839" providerId="ADAL" clId="{9E52C8A6-326C-473A-BC21-4CED010AFA79}" dt="2023-09-06T18:43:52.747" v="61325"/>
          <ac:spMkLst>
            <pc:docMk/>
            <pc:sldMk cId="996393659" sldId="291"/>
            <ac:spMk id="43" creationId="{303C9E64-DDAA-B40A-C9BA-080A4CEAFB77}"/>
          </ac:spMkLst>
        </pc:spChg>
        <pc:spChg chg="mod">
          <ac:chgData name="Joelle Brehm" userId="a518f54c-6985-42c0-8041-2bb16a414839" providerId="ADAL" clId="{9E52C8A6-326C-473A-BC21-4CED010AFA79}" dt="2023-09-06T18:43:52.747" v="61322"/>
          <ac:spMkLst>
            <pc:docMk/>
            <pc:sldMk cId="996393659" sldId="291"/>
            <ac:spMk id="44" creationId="{DFD20995-23FA-9A59-8153-A2DE50612FF0}"/>
          </ac:spMkLst>
        </pc:spChg>
        <pc:spChg chg="add mod replST">
          <ac:chgData name="Joelle Brehm" userId="a518f54c-6985-42c0-8041-2bb16a414839" providerId="ADAL" clId="{9E52C8A6-326C-473A-BC21-4CED010AFA79}" dt="2023-09-06T18:43:52.748" v="61326"/>
          <ac:spMkLst>
            <pc:docMk/>
            <pc:sldMk cId="996393659" sldId="291"/>
            <ac:spMk id="45" creationId="{7A6869B6-C6F2-DDAD-D4B2-6D5DE21E6DC6}"/>
          </ac:spMkLst>
        </pc:spChg>
        <pc:spChg chg="add del mod modVis">
          <ac:chgData name="Joelle Brehm" userId="a518f54c-6985-42c0-8041-2bb16a414839" providerId="ADAL" clId="{9E52C8A6-326C-473A-BC21-4CED010AFA79}" dt="2023-09-06T18:43:39.810" v="60529"/>
          <ac:spMkLst>
            <pc:docMk/>
            <pc:sldMk cId="996393659" sldId="291"/>
            <ac:spMk id="46" creationId="{EF393BA5-5F6C-1E8E-416A-A6AA1AEFB1C1}"/>
          </ac:spMkLst>
        </pc:spChg>
        <pc:spChg chg="add del mod ord replST">
          <ac:chgData name="Joelle Brehm" userId="a518f54c-6985-42c0-8041-2bb16a414839" providerId="ADAL" clId="{9E52C8A6-326C-473A-BC21-4CED010AFA79}" dt="2023-09-06T18:43:43.338" v="60854"/>
          <ac:spMkLst>
            <pc:docMk/>
            <pc:sldMk cId="996393659" sldId="291"/>
            <ac:spMk id="47" creationId="{7CAA3B95-4C78-4122-BECA-B5FB0F3F3764}"/>
          </ac:spMkLst>
        </pc:spChg>
        <pc:spChg chg="add del mod ord replST">
          <ac:chgData name="Joelle Brehm" userId="a518f54c-6985-42c0-8041-2bb16a414839" providerId="ADAL" clId="{9E52C8A6-326C-473A-BC21-4CED010AFA79}" dt="2023-09-06T18:43:52.711" v="61271"/>
          <ac:spMkLst>
            <pc:docMk/>
            <pc:sldMk cId="996393659" sldId="291"/>
            <ac:spMk id="48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43:40.970" v="60745"/>
          <ac:spMkLst>
            <pc:docMk/>
            <pc:sldMk cId="996393659" sldId="291"/>
            <ac:spMk id="50" creationId="{0AACF167-9767-4E1D-DDD0-3C7714AD4F17}"/>
          </ac:spMkLst>
        </pc:spChg>
        <pc:spChg chg="add del mod modVis">
          <ac:chgData name="Joelle Brehm" userId="a518f54c-6985-42c0-8041-2bb16a414839" providerId="ADAL" clId="{9E52C8A6-326C-473A-BC21-4CED010AFA79}" dt="2023-09-06T18:43:43.448" v="60953"/>
          <ac:spMkLst>
            <pc:docMk/>
            <pc:sldMk cId="996393659" sldId="291"/>
            <ac:spMk id="52" creationId="{F00D767D-6DA1-415A-7EF8-542E85847A8A}"/>
          </ac:spMkLst>
        </pc:spChg>
        <pc:spChg chg="add del mod modVis">
          <ac:chgData name="Joelle Brehm" userId="a518f54c-6985-42c0-8041-2bb16a414839" providerId="ADAL" clId="{9E52C8A6-326C-473A-BC21-4CED010AFA79}" dt="2023-09-06T18:43:47.436" v="61200"/>
          <ac:spMkLst>
            <pc:docMk/>
            <pc:sldMk cId="996393659" sldId="291"/>
            <ac:spMk id="54" creationId="{2146C2CD-AA7B-A4E0-F5E9-1A2B51B44528}"/>
          </ac:spMkLst>
        </pc:spChg>
        <pc:spChg chg="add del mod modVis">
          <ac:chgData name="Joelle Brehm" userId="a518f54c-6985-42c0-8041-2bb16a414839" providerId="ADAL" clId="{9E52C8A6-326C-473A-BC21-4CED010AFA79}" dt="2023-09-06T18:43:52.756" v="61355"/>
          <ac:spMkLst>
            <pc:docMk/>
            <pc:sldMk cId="996393659" sldId="291"/>
            <ac:spMk id="57" creationId="{3ADAE3A9-6B42-7FF9-215E-1AF29E1AE6E5}"/>
          </ac:spMkLst>
        </pc:spChg>
        <pc:spChg chg="mod">
          <ac:chgData name="Joelle Brehm" userId="a518f54c-6985-42c0-8041-2bb16a414839" providerId="ADAL" clId="{9E52C8A6-326C-473A-BC21-4CED010AFA79}" dt="2023-09-06T18:43:52.743" v="61310"/>
          <ac:spMkLst>
            <pc:docMk/>
            <pc:sldMk cId="996393659" sldId="291"/>
            <ac:spMk id="74" creationId="{1E5392BC-349C-45B4-8F81-52F83DA74F43}"/>
          </ac:spMkLst>
        </pc:spChg>
        <pc:spChg chg="mod ord">
          <ac:chgData name="Joelle Brehm" userId="a518f54c-6985-42c0-8041-2bb16a414839" providerId="ADAL" clId="{9E52C8A6-326C-473A-BC21-4CED010AFA79}" dt="2023-09-06T18:43:52.748" v="61328"/>
          <ac:spMkLst>
            <pc:docMk/>
            <pc:sldMk cId="996393659" sldId="291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43:52.749" v="61330"/>
          <ac:spMkLst>
            <pc:docMk/>
            <pc:sldMk cId="996393659" sldId="291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43:52.754" v="61349"/>
          <ac:spMkLst>
            <pc:docMk/>
            <pc:sldMk cId="996393659" sldId="291"/>
            <ac:spMk id="97" creationId="{94FCD840-DE69-4964-9879-0FEDA2A47E0F}"/>
          </ac:spMkLst>
        </pc:spChg>
        <pc:spChg chg="mod ord">
          <ac:chgData name="Joelle Brehm" userId="a518f54c-6985-42c0-8041-2bb16a414839" providerId="ADAL" clId="{9E52C8A6-326C-473A-BC21-4CED010AFA79}" dt="2023-09-06T18:43:52.749" v="61332"/>
          <ac:spMkLst>
            <pc:docMk/>
            <pc:sldMk cId="996393659" sldId="291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43:52.750" v="61334"/>
          <ac:spMkLst>
            <pc:docMk/>
            <pc:sldMk cId="996393659" sldId="291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43:52.750" v="61336"/>
          <ac:spMkLst>
            <pc:docMk/>
            <pc:sldMk cId="996393659" sldId="291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43:52.751" v="61338"/>
          <ac:spMkLst>
            <pc:docMk/>
            <pc:sldMk cId="996393659" sldId="291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43:52.751" v="61341"/>
          <ac:spMkLst>
            <pc:docMk/>
            <pc:sldMk cId="996393659" sldId="291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3:52.752" v="61342"/>
          <ac:spMkLst>
            <pc:docMk/>
            <pc:sldMk cId="996393659" sldId="291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3:52.752" v="61343"/>
          <ac:spMkLst>
            <pc:docMk/>
            <pc:sldMk cId="996393659" sldId="291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3:52.752" v="61344"/>
          <ac:spMkLst>
            <pc:docMk/>
            <pc:sldMk cId="996393659" sldId="291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43:52.753" v="61345"/>
          <ac:spMkLst>
            <pc:docMk/>
            <pc:sldMk cId="996393659" sldId="291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43:52.767" v="61357"/>
          <ac:graphicFrameMkLst>
            <pc:docMk/>
            <pc:sldMk cId="996393659" sldId="291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42:58.087" v="59551"/>
          <ac:graphicFrameMkLst>
            <pc:docMk/>
            <pc:sldMk cId="996393659" sldId="291"/>
            <ac:graphicFrameMk id="8" creationId="{C566AE58-3460-1AE8-7EA4-14A74B589245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3:52.737" v="61287"/>
          <ac:graphicFrameMkLst>
            <pc:docMk/>
            <pc:sldMk cId="996393659" sldId="291"/>
            <ac:graphicFrameMk id="9" creationId="{A17686EA-0DBE-C62F-2750-D564C38954D2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3:40.868" v="60636"/>
          <ac:graphicFrameMkLst>
            <pc:docMk/>
            <pc:sldMk cId="996393659" sldId="291"/>
            <ac:graphicFrameMk id="49" creationId="{486F0BE4-53D3-4CA3-0469-59F3BFBD21F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3:43.352" v="60869"/>
          <ac:graphicFrameMkLst>
            <pc:docMk/>
            <pc:sldMk cId="996393659" sldId="291"/>
            <ac:graphicFrameMk id="51" creationId="{7CDD5CBA-300C-44DC-ABC2-62E11A423B8B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3:52.712" v="61273"/>
          <ac:graphicFrameMkLst>
            <pc:docMk/>
            <pc:sldMk cId="996393659" sldId="291"/>
            <ac:graphicFrameMk id="53" creationId="{86A90799-65F7-1877-2248-544CB7285DA3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3:52.751" v="61340"/>
          <ac:graphicFrameMkLst>
            <pc:docMk/>
            <pc:sldMk cId="996393659" sldId="291"/>
            <ac:graphicFrameMk id="55" creationId="{F3E0486D-909A-F8B3-B59F-2DFFE44779B4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43:47.323" v="61116"/>
          <ac:graphicFrameMkLst>
            <pc:docMk/>
            <pc:sldMk cId="996393659" sldId="291"/>
            <ac:graphicFrameMk id="56" creationId="{65B7D10E-B63E-86F4-A73D-7AB31EC2BC7A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43:39.705" v="60420"/>
          <ac:graphicFrameMkLst>
            <pc:docMk/>
            <pc:sldMk cId="996393659" sldId="291"/>
            <ac:graphicFrameMk id="58" creationId="{8F1D8708-EC4C-EE9D-98BD-70F4097A78A8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3:52.744" v="61314"/>
          <ac:graphicFrameMkLst>
            <pc:docMk/>
            <pc:sldMk cId="996393659" sldId="291"/>
            <ac:graphicFrameMk id="59" creationId="{B19A6DC5-8078-F074-1FA6-B2E501405000}"/>
          </ac:graphicFrameMkLst>
        </pc:graphicFrameChg>
        <pc:picChg chg="add mod ord">
          <ac:chgData name="Joelle Brehm" userId="a518f54c-6985-42c0-8041-2bb16a414839" providerId="ADAL" clId="{9E52C8A6-326C-473A-BC21-4CED010AFA79}" dt="2023-09-06T18:43:52.735" v="61281"/>
          <ac:picMkLst>
            <pc:docMk/>
            <pc:sldMk cId="996393659" sldId="291"/>
            <ac:picMk id="10" creationId="{0DF2991A-D76A-25E1-13F6-97AE946AE688}"/>
          </ac:picMkLst>
        </pc:picChg>
        <pc:picChg chg="del mod ord">
          <ac:chgData name="Joelle Brehm" userId="a518f54c-6985-42c0-8041-2bb16a414839" providerId="ADAL" clId="{9E52C8A6-326C-473A-BC21-4CED010AFA79}" dt="2023-09-06T18:43:22.042" v="59727" actId="478"/>
          <ac:picMkLst>
            <pc:docMk/>
            <pc:sldMk cId="996393659" sldId="291"/>
            <ac:picMk id="32" creationId="{D714BEF2-33D3-898D-D4B4-73CC8CE6924A}"/>
          </ac:picMkLst>
        </pc:picChg>
        <pc:picChg chg="mod ord">
          <ac:chgData name="Joelle Brehm" userId="a518f54c-6985-42c0-8041-2bb16a414839" providerId="ADAL" clId="{9E52C8A6-326C-473A-BC21-4CED010AFA79}" dt="2023-09-06T18:43:52.753" v="61347"/>
          <ac:picMkLst>
            <pc:docMk/>
            <pc:sldMk cId="996393659" sldId="291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43:52.736" v="61285"/>
          <ac:cxnSpMkLst>
            <pc:docMk/>
            <pc:sldMk cId="996393659" sldId="291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8:42:34.582" v="59371"/>
        <pc:sldMkLst>
          <pc:docMk/>
          <pc:sldMk cId="3635637425" sldId="292"/>
        </pc:sldMkLst>
        <pc:spChg chg="mod ord">
          <ac:chgData name="Joelle Brehm" userId="a518f54c-6985-42c0-8041-2bb16a414839" providerId="ADAL" clId="{9E52C8A6-326C-473A-BC21-4CED010AFA79}" dt="2023-09-06T18:42:34.567" v="59365"/>
          <ac:spMkLst>
            <pc:docMk/>
            <pc:sldMk cId="3635637425" sldId="292"/>
            <ac:spMk id="2" creationId="{9445A78E-5217-4459-B540-57B5B2359A2E}"/>
          </ac:spMkLst>
        </pc:spChg>
        <pc:spChg chg="add del mod ord">
          <ac:chgData name="Joelle Brehm" userId="a518f54c-6985-42c0-8041-2bb16a414839" providerId="ADAL" clId="{9E52C8A6-326C-473A-BC21-4CED010AFA79}" dt="2023-09-06T18:42:06.502" v="57516" actId="478"/>
          <ac:spMkLst>
            <pc:docMk/>
            <pc:sldMk cId="3635637425" sldId="292"/>
            <ac:spMk id="3" creationId="{80849251-45FD-2E0C-60E9-9BC75F58133F}"/>
          </ac:spMkLst>
        </pc:spChg>
        <pc:spChg chg="add del mod modVis">
          <ac:chgData name="Joelle Brehm" userId="a518f54c-6985-42c0-8041-2bb16a414839" providerId="ADAL" clId="{9E52C8A6-326C-473A-BC21-4CED010AFA79}" dt="2023-09-06T18:41:47.754" v="57426"/>
          <ac:spMkLst>
            <pc:docMk/>
            <pc:sldMk cId="3635637425" sldId="292"/>
            <ac:spMk id="5" creationId="{FC30C44F-3629-85DE-BB5B-17918FE3E429}"/>
          </ac:spMkLst>
        </pc:spChg>
        <pc:spChg chg="mod ord">
          <ac:chgData name="Joelle Brehm" userId="a518f54c-6985-42c0-8041-2bb16a414839" providerId="ADAL" clId="{9E52C8A6-326C-473A-BC21-4CED010AFA79}" dt="2023-09-06T18:42:34.542" v="59297"/>
          <ac:spMkLst>
            <pc:docMk/>
            <pc:sldMk cId="3635637425" sldId="292"/>
            <ac:spMk id="6" creationId="{B47CE71D-7819-4857-B121-737A3BD39B4D}"/>
          </ac:spMkLst>
        </pc:spChg>
        <pc:spChg chg="mod">
          <ac:chgData name="Joelle Brehm" userId="a518f54c-6985-42c0-8041-2bb16a414839" providerId="ADAL" clId="{9E52C8A6-326C-473A-BC21-4CED010AFA79}" dt="2023-09-06T18:42:34.546" v="59309"/>
          <ac:spMkLst>
            <pc:docMk/>
            <pc:sldMk cId="3635637425" sldId="292"/>
            <ac:spMk id="11" creationId="{AF2E4BE3-825E-4943-AF85-F410BBE02D93}"/>
          </ac:spMkLst>
        </pc:spChg>
        <pc:spChg chg="mod">
          <ac:chgData name="Joelle Brehm" userId="a518f54c-6985-42c0-8041-2bb16a414839" providerId="ADAL" clId="{9E52C8A6-326C-473A-BC21-4CED010AFA79}" dt="2023-09-06T18:42:34.545" v="59305"/>
          <ac:spMkLst>
            <pc:docMk/>
            <pc:sldMk cId="3635637425" sldId="292"/>
            <ac:spMk id="12" creationId="{8F57F73A-899F-4994-9FFE-52D028C366A7}"/>
          </ac:spMkLst>
        </pc:spChg>
        <pc:spChg chg="mod">
          <ac:chgData name="Joelle Brehm" userId="a518f54c-6985-42c0-8041-2bb16a414839" providerId="ADAL" clId="{9E52C8A6-326C-473A-BC21-4CED010AFA79}" dt="2023-09-06T18:42:34.545" v="59304"/>
          <ac:spMkLst>
            <pc:docMk/>
            <pc:sldMk cId="3635637425" sldId="292"/>
            <ac:spMk id="13" creationId="{510CBB17-3761-4288-BCC5-43E8A3E9B8A6}"/>
          </ac:spMkLst>
        </pc:spChg>
        <pc:spChg chg="mod">
          <ac:chgData name="Joelle Brehm" userId="a518f54c-6985-42c0-8041-2bb16a414839" providerId="ADAL" clId="{9E52C8A6-326C-473A-BC21-4CED010AFA79}" dt="2023-09-06T18:42:34.544" v="59302"/>
          <ac:spMkLst>
            <pc:docMk/>
            <pc:sldMk cId="3635637425" sldId="292"/>
            <ac:spMk id="14" creationId="{125AC75A-3DBA-4ABE-AC86-1CE5256F61BE}"/>
          </ac:spMkLst>
        </pc:spChg>
        <pc:spChg chg="mod">
          <ac:chgData name="Joelle Brehm" userId="a518f54c-6985-42c0-8041-2bb16a414839" providerId="ADAL" clId="{9E52C8A6-326C-473A-BC21-4CED010AFA79}" dt="2023-09-06T18:42:34.544" v="59303"/>
          <ac:spMkLst>
            <pc:docMk/>
            <pc:sldMk cId="3635637425" sldId="292"/>
            <ac:spMk id="15" creationId="{2ADF3224-EFE6-477E-A4FE-BC72536000D5}"/>
          </ac:spMkLst>
        </pc:spChg>
        <pc:spChg chg="mod">
          <ac:chgData name="Joelle Brehm" userId="a518f54c-6985-42c0-8041-2bb16a414839" providerId="ADAL" clId="{9E52C8A6-326C-473A-BC21-4CED010AFA79}" dt="2023-09-06T18:42:34.546" v="59307"/>
          <ac:spMkLst>
            <pc:docMk/>
            <pc:sldMk cId="3635637425" sldId="292"/>
            <ac:spMk id="16" creationId="{86D1D7DB-75DF-4EB5-BF12-3B0F914F060A}"/>
          </ac:spMkLst>
        </pc:spChg>
        <pc:spChg chg="mod">
          <ac:chgData name="Joelle Brehm" userId="a518f54c-6985-42c0-8041-2bb16a414839" providerId="ADAL" clId="{9E52C8A6-326C-473A-BC21-4CED010AFA79}" dt="2023-09-06T18:42:34.545" v="59306"/>
          <ac:spMkLst>
            <pc:docMk/>
            <pc:sldMk cId="3635637425" sldId="292"/>
            <ac:spMk id="17" creationId="{88BD6F20-E5C6-442A-81AC-2DDF2B0EA25F}"/>
          </ac:spMkLst>
        </pc:spChg>
        <pc:spChg chg="mod">
          <ac:chgData name="Joelle Brehm" userId="a518f54c-6985-42c0-8041-2bb16a414839" providerId="ADAL" clId="{9E52C8A6-326C-473A-BC21-4CED010AFA79}" dt="2023-09-06T18:42:34.546" v="59308"/>
          <ac:spMkLst>
            <pc:docMk/>
            <pc:sldMk cId="3635637425" sldId="292"/>
            <ac:spMk id="18" creationId="{F82C3FA9-B102-49A3-9ABE-767C053A5608}"/>
          </ac:spMkLst>
        </pc:spChg>
        <pc:spChg chg="mod">
          <ac:chgData name="Joelle Brehm" userId="a518f54c-6985-42c0-8041-2bb16a414839" providerId="ADAL" clId="{9E52C8A6-326C-473A-BC21-4CED010AFA79}" dt="2023-09-06T18:42:34.547" v="59310"/>
          <ac:spMkLst>
            <pc:docMk/>
            <pc:sldMk cId="3635637425" sldId="292"/>
            <ac:spMk id="19" creationId="{1F21DD55-4A60-49A9-A66B-FDD64EEF9241}"/>
          </ac:spMkLst>
        </pc:spChg>
        <pc:spChg chg="mod">
          <ac:chgData name="Joelle Brehm" userId="a518f54c-6985-42c0-8041-2bb16a414839" providerId="ADAL" clId="{9E52C8A6-326C-473A-BC21-4CED010AFA79}" dt="2023-09-06T18:42:34.547" v="59311"/>
          <ac:spMkLst>
            <pc:docMk/>
            <pc:sldMk cId="3635637425" sldId="292"/>
            <ac:spMk id="20" creationId="{AEEE7103-5AE1-47C4-9BB2-5692F40A0C74}"/>
          </ac:spMkLst>
        </pc:spChg>
        <pc:spChg chg="mod">
          <ac:chgData name="Joelle Brehm" userId="a518f54c-6985-42c0-8041-2bb16a414839" providerId="ADAL" clId="{9E52C8A6-326C-473A-BC21-4CED010AFA79}" dt="2023-09-06T18:42:34.547" v="59312"/>
          <ac:spMkLst>
            <pc:docMk/>
            <pc:sldMk cId="3635637425" sldId="292"/>
            <ac:spMk id="21" creationId="{5B9D02C9-95E6-498A-95D4-E2FC18135BCE}"/>
          </ac:spMkLst>
        </pc:spChg>
        <pc:spChg chg="mod">
          <ac:chgData name="Joelle Brehm" userId="a518f54c-6985-42c0-8041-2bb16a414839" providerId="ADAL" clId="{9E52C8A6-326C-473A-BC21-4CED010AFA79}" dt="2023-09-06T18:42:34.548" v="59313"/>
          <ac:spMkLst>
            <pc:docMk/>
            <pc:sldMk cId="3635637425" sldId="292"/>
            <ac:spMk id="22" creationId="{F076BF07-A2E5-4626-88CC-FB14E1A0A722}"/>
          </ac:spMkLst>
        </pc:spChg>
        <pc:spChg chg="mod ord">
          <ac:chgData name="Joelle Brehm" userId="a518f54c-6985-42c0-8041-2bb16a414839" providerId="ADAL" clId="{9E52C8A6-326C-473A-BC21-4CED010AFA79}" dt="2023-09-06T18:42:34.548" v="59315"/>
          <ac:spMkLst>
            <pc:docMk/>
            <pc:sldMk cId="3635637425" sldId="292"/>
            <ac:spMk id="23" creationId="{4F66D543-1212-4042-AA81-691C8D2FF42C}"/>
          </ac:spMkLst>
        </pc:spChg>
        <pc:spChg chg="mod">
          <ac:chgData name="Joelle Brehm" userId="a518f54c-6985-42c0-8041-2bb16a414839" providerId="ADAL" clId="{9E52C8A6-326C-473A-BC21-4CED010AFA79}" dt="2023-09-06T18:42:34.551" v="59319"/>
          <ac:spMkLst>
            <pc:docMk/>
            <pc:sldMk cId="3635637425" sldId="292"/>
            <ac:spMk id="24" creationId="{F266CB46-9FEF-4BCD-8922-A745A5B58C13}"/>
          </ac:spMkLst>
        </pc:spChg>
        <pc:spChg chg="mod">
          <ac:chgData name="Joelle Brehm" userId="a518f54c-6985-42c0-8041-2bb16a414839" providerId="ADAL" clId="{9E52C8A6-326C-473A-BC21-4CED010AFA79}" dt="2023-09-06T18:42:34.551" v="59318"/>
          <ac:spMkLst>
            <pc:docMk/>
            <pc:sldMk cId="3635637425" sldId="292"/>
            <ac:spMk id="25" creationId="{58412C1A-18FA-4771-9810-3062F008A625}"/>
          </ac:spMkLst>
        </pc:spChg>
        <pc:spChg chg="mod">
          <ac:chgData name="Joelle Brehm" userId="a518f54c-6985-42c0-8041-2bb16a414839" providerId="ADAL" clId="{9E52C8A6-326C-473A-BC21-4CED010AFA79}" dt="2023-09-06T18:42:34.552" v="59320"/>
          <ac:spMkLst>
            <pc:docMk/>
            <pc:sldMk cId="3635637425" sldId="292"/>
            <ac:spMk id="26" creationId="{2C9484DF-536D-4C88-9E3B-A9F578479DAC}"/>
          </ac:spMkLst>
        </pc:spChg>
        <pc:spChg chg="mod">
          <ac:chgData name="Joelle Brehm" userId="a518f54c-6985-42c0-8041-2bb16a414839" providerId="ADAL" clId="{9E52C8A6-326C-473A-BC21-4CED010AFA79}" dt="2023-09-06T18:42:34.553" v="59324"/>
          <ac:spMkLst>
            <pc:docMk/>
            <pc:sldMk cId="3635637425" sldId="292"/>
            <ac:spMk id="27" creationId="{6B043A74-191B-4682-B7D2-B6CF3A3E1A62}"/>
          </ac:spMkLst>
        </pc:spChg>
        <pc:spChg chg="mod">
          <ac:chgData name="Joelle Brehm" userId="a518f54c-6985-42c0-8041-2bb16a414839" providerId="ADAL" clId="{9E52C8A6-326C-473A-BC21-4CED010AFA79}" dt="2023-09-06T18:42:34.552" v="59321"/>
          <ac:spMkLst>
            <pc:docMk/>
            <pc:sldMk cId="3635637425" sldId="292"/>
            <ac:spMk id="28" creationId="{D9C87F4B-14A5-4B23-A3FF-70EC9F35E941}"/>
          </ac:spMkLst>
        </pc:spChg>
        <pc:spChg chg="mod">
          <ac:chgData name="Joelle Brehm" userId="a518f54c-6985-42c0-8041-2bb16a414839" providerId="ADAL" clId="{9E52C8A6-326C-473A-BC21-4CED010AFA79}" dt="2023-09-06T18:42:34.552" v="59322"/>
          <ac:spMkLst>
            <pc:docMk/>
            <pc:sldMk cId="3635637425" sldId="292"/>
            <ac:spMk id="29" creationId="{BC3CB169-FB0F-4DFA-B618-5D28FED99FDA}"/>
          </ac:spMkLst>
        </pc:spChg>
        <pc:spChg chg="mod ord">
          <ac:chgData name="Joelle Brehm" userId="a518f54c-6985-42c0-8041-2bb16a414839" providerId="ADAL" clId="{9E52C8A6-326C-473A-BC21-4CED010AFA79}" dt="2023-09-06T18:42:34.554" v="59326"/>
          <ac:spMkLst>
            <pc:docMk/>
            <pc:sldMk cId="3635637425" sldId="292"/>
            <ac:spMk id="30" creationId="{121A2A89-FB4E-4B9A-840D-28523B0B457F}"/>
          </ac:spMkLst>
        </pc:spChg>
        <pc:spChg chg="del mod">
          <ac:chgData name="Joelle Brehm" userId="a518f54c-6985-42c0-8041-2bb16a414839" providerId="ADAL" clId="{9E52C8A6-326C-473A-BC21-4CED010AFA79}" dt="2023-09-06T18:42:19.571" v="58288"/>
          <ac:spMkLst>
            <pc:docMk/>
            <pc:sldMk cId="3635637425" sldId="292"/>
            <ac:spMk id="31" creationId="{75814527-E466-B01B-1983-40ECB343B6BF}"/>
          </ac:spMkLst>
        </pc:spChg>
        <pc:spChg chg="mod">
          <ac:chgData name="Joelle Brehm" userId="a518f54c-6985-42c0-8041-2bb16a414839" providerId="ADAL" clId="{9E52C8A6-326C-473A-BC21-4CED010AFA79}" dt="2023-09-06T18:42:34.557" v="59336"/>
          <ac:spMkLst>
            <pc:docMk/>
            <pc:sldMk cId="3635637425" sldId="292"/>
            <ac:spMk id="32" creationId="{BD3A93E6-9730-3243-EF77-4E3AEAA78672}"/>
          </ac:spMkLst>
        </pc:spChg>
        <pc:spChg chg="mod">
          <ac:chgData name="Joelle Brehm" userId="a518f54c-6985-42c0-8041-2bb16a414839" providerId="ADAL" clId="{9E52C8A6-326C-473A-BC21-4CED010AFA79}" dt="2023-09-06T18:42:34.555" v="59329"/>
          <ac:spMkLst>
            <pc:docMk/>
            <pc:sldMk cId="3635637425" sldId="292"/>
            <ac:spMk id="33" creationId="{3D97C813-EA7E-2516-68C7-9A8F0022EEB9}"/>
          </ac:spMkLst>
        </pc:spChg>
        <pc:spChg chg="mod">
          <ac:chgData name="Joelle Brehm" userId="a518f54c-6985-42c0-8041-2bb16a414839" providerId="ADAL" clId="{9E52C8A6-326C-473A-BC21-4CED010AFA79}" dt="2023-09-06T18:42:34.556" v="59333"/>
          <ac:spMkLst>
            <pc:docMk/>
            <pc:sldMk cId="3635637425" sldId="292"/>
            <ac:spMk id="34" creationId="{2D56DCBB-CAC0-D3CA-B5B2-D6B7B1E4A4D6}"/>
          </ac:spMkLst>
        </pc:spChg>
        <pc:spChg chg="mod">
          <ac:chgData name="Joelle Brehm" userId="a518f54c-6985-42c0-8041-2bb16a414839" providerId="ADAL" clId="{9E52C8A6-326C-473A-BC21-4CED010AFA79}" dt="2023-09-06T18:42:34.557" v="59335"/>
          <ac:spMkLst>
            <pc:docMk/>
            <pc:sldMk cId="3635637425" sldId="292"/>
            <ac:spMk id="36" creationId="{E87E0EF8-1C6D-AE33-9F6A-545F15B72CAF}"/>
          </ac:spMkLst>
        </pc:spChg>
        <pc:spChg chg="mod ord">
          <ac:chgData name="Joelle Brehm" userId="a518f54c-6985-42c0-8041-2bb16a414839" providerId="ADAL" clId="{9E52C8A6-326C-473A-BC21-4CED010AFA79}" dt="2023-09-06T18:42:34.550" v="59317"/>
          <ac:spMkLst>
            <pc:docMk/>
            <pc:sldMk cId="3635637425" sldId="292"/>
            <ac:spMk id="37" creationId="{6E6D97FF-E2E0-42EA-A83A-C3DF9F3514AE}"/>
          </ac:spMkLst>
        </pc:spChg>
        <pc:spChg chg="mod">
          <ac:chgData name="Joelle Brehm" userId="a518f54c-6985-42c0-8041-2bb16a414839" providerId="ADAL" clId="{9E52C8A6-326C-473A-BC21-4CED010AFA79}" dt="2023-09-06T18:42:34.557" v="59334"/>
          <ac:spMkLst>
            <pc:docMk/>
            <pc:sldMk cId="3635637425" sldId="292"/>
            <ac:spMk id="38" creationId="{3FFCD1FD-A1E7-E0E9-3B0A-272DB96B6E85}"/>
          </ac:spMkLst>
        </pc:spChg>
        <pc:spChg chg="mod">
          <ac:chgData name="Joelle Brehm" userId="a518f54c-6985-42c0-8041-2bb16a414839" providerId="ADAL" clId="{9E52C8A6-326C-473A-BC21-4CED010AFA79}" dt="2023-09-06T18:42:34.558" v="59338"/>
          <ac:spMkLst>
            <pc:docMk/>
            <pc:sldMk cId="3635637425" sldId="292"/>
            <ac:spMk id="39" creationId="{5BC6A367-B4D4-6E5E-2078-D86D8BF0E50F}"/>
          </ac:spMkLst>
        </pc:spChg>
        <pc:spChg chg="mod">
          <ac:chgData name="Joelle Brehm" userId="a518f54c-6985-42c0-8041-2bb16a414839" providerId="ADAL" clId="{9E52C8A6-326C-473A-BC21-4CED010AFA79}" dt="2023-09-06T18:42:34.556" v="59332"/>
          <ac:spMkLst>
            <pc:docMk/>
            <pc:sldMk cId="3635637425" sldId="292"/>
            <ac:spMk id="40" creationId="{320B27A3-949F-FEDA-9F13-4419FD0BBD63}"/>
          </ac:spMkLst>
        </pc:spChg>
        <pc:spChg chg="mod">
          <ac:chgData name="Joelle Brehm" userId="a518f54c-6985-42c0-8041-2bb16a414839" providerId="ADAL" clId="{9E52C8A6-326C-473A-BC21-4CED010AFA79}" dt="2023-09-06T18:42:34.558" v="59339"/>
          <ac:spMkLst>
            <pc:docMk/>
            <pc:sldMk cId="3635637425" sldId="292"/>
            <ac:spMk id="41" creationId="{CAD662BE-DA77-C496-2C1F-D8B2218DD0E5}"/>
          </ac:spMkLst>
        </pc:spChg>
        <pc:spChg chg="mod">
          <ac:chgData name="Joelle Brehm" userId="a518f54c-6985-42c0-8041-2bb16a414839" providerId="ADAL" clId="{9E52C8A6-326C-473A-BC21-4CED010AFA79}" dt="2023-09-06T18:42:34.556" v="59331"/>
          <ac:spMkLst>
            <pc:docMk/>
            <pc:sldMk cId="3635637425" sldId="292"/>
            <ac:spMk id="42" creationId="{668AF5D9-4E8D-2E4B-2079-072182484759}"/>
          </ac:spMkLst>
        </pc:spChg>
        <pc:spChg chg="add mod replST">
          <ac:chgData name="Joelle Brehm" userId="a518f54c-6985-42c0-8041-2bb16a414839" providerId="ADAL" clId="{9E52C8A6-326C-473A-BC21-4CED010AFA79}" dt="2023-09-06T18:42:34.559" v="59340"/>
          <ac:spMkLst>
            <pc:docMk/>
            <pc:sldMk cId="3635637425" sldId="292"/>
            <ac:spMk id="43" creationId="{0678EC5A-40D8-D6EA-5861-4AE5E575DE63}"/>
          </ac:spMkLst>
        </pc:spChg>
        <pc:spChg chg="mod">
          <ac:chgData name="Joelle Brehm" userId="a518f54c-6985-42c0-8041-2bb16a414839" providerId="ADAL" clId="{9E52C8A6-326C-473A-BC21-4CED010AFA79}" dt="2023-09-06T18:42:34.555" v="59330"/>
          <ac:spMkLst>
            <pc:docMk/>
            <pc:sldMk cId="3635637425" sldId="292"/>
            <ac:spMk id="44" creationId="{97D91EEA-F173-6276-F6D8-9287A845E3A2}"/>
          </ac:spMkLst>
        </pc:spChg>
        <pc:spChg chg="add del mod modVis">
          <ac:chgData name="Joelle Brehm" userId="a518f54c-6985-42c0-8041-2bb16a414839" providerId="ADAL" clId="{9E52C8A6-326C-473A-BC21-4CED010AFA79}" dt="2023-09-06T18:42:16.283" v="58077"/>
          <ac:spMkLst>
            <pc:docMk/>
            <pc:sldMk cId="3635637425" sldId="292"/>
            <ac:spMk id="45" creationId="{4B498DBB-F175-862D-8B12-3C59EC523F5F}"/>
          </ac:spMkLst>
        </pc:spChg>
        <pc:spChg chg="mod">
          <ac:chgData name="Joelle Brehm" userId="a518f54c-6985-42c0-8041-2bb16a414839" providerId="ADAL" clId="{9E52C8A6-326C-473A-BC21-4CED010AFA79}" dt="2023-09-06T18:42:34.558" v="59337"/>
          <ac:spMkLst>
            <pc:docMk/>
            <pc:sldMk cId="3635637425" sldId="292"/>
            <ac:spMk id="46" creationId="{38D3D6F2-A854-D543-7C6D-CB3894DB11AC}"/>
          </ac:spMkLst>
        </pc:spChg>
        <pc:spChg chg="add del mod modVis">
          <ac:chgData name="Joelle Brehm" userId="a518f54c-6985-42c0-8041-2bb16a414839" providerId="ADAL" clId="{9E52C8A6-326C-473A-BC21-4CED010AFA79}" dt="2023-09-06T18:42:17.788" v="58285"/>
          <ac:spMkLst>
            <pc:docMk/>
            <pc:sldMk cId="3635637425" sldId="292"/>
            <ac:spMk id="48" creationId="{1BAAA27C-6FAA-2650-344C-788778EFCA6E}"/>
          </ac:spMkLst>
        </pc:spChg>
        <pc:spChg chg="add del mod modVis">
          <ac:chgData name="Joelle Brehm" userId="a518f54c-6985-42c0-8041-2bb16a414839" providerId="ADAL" clId="{9E52C8A6-326C-473A-BC21-4CED010AFA79}" dt="2023-09-06T18:42:20.280" v="58684"/>
          <ac:spMkLst>
            <pc:docMk/>
            <pc:sldMk cId="3635637425" sldId="292"/>
            <ac:spMk id="50" creationId="{9BC1B18B-912F-F48C-1864-3F4AB6FF2246}"/>
          </ac:spMkLst>
        </pc:spChg>
        <pc:spChg chg="add del mod ord replST">
          <ac:chgData name="Joelle Brehm" userId="a518f54c-6985-42c0-8041-2bb16a414839" providerId="ADAL" clId="{9E52C8A6-326C-473A-BC21-4CED010AFA79}" dt="2023-09-06T18:42:34.512" v="59285"/>
          <ac:spMkLst>
            <pc:docMk/>
            <pc:sldMk cId="3635637425" sldId="292"/>
            <ac:spMk id="52" creationId="{7CAA3B95-4C78-4122-BECA-B5FB0F3F3764}"/>
          </ac:spMkLst>
        </pc:spChg>
        <pc:spChg chg="add del mod ord replST">
          <ac:chgData name="Joelle Brehm" userId="a518f54c-6985-42c0-8041-2bb16a414839" providerId="ADAL" clId="{9E52C8A6-326C-473A-BC21-4CED010AFA79}" dt="2023-09-06T18:42:32.181" v="59128"/>
          <ac:spMkLst>
            <pc:docMk/>
            <pc:sldMk cId="3635637425" sldId="292"/>
            <ac:spMk id="53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8:42:25.047" v="58949"/>
          <ac:spMkLst>
            <pc:docMk/>
            <pc:sldMk cId="3635637425" sldId="292"/>
            <ac:spMk id="56" creationId="{90FE4C98-C850-C07A-49CE-12FA6F8CC4DF}"/>
          </ac:spMkLst>
        </pc:spChg>
        <pc:spChg chg="add del mod modVis">
          <ac:chgData name="Joelle Brehm" userId="a518f54c-6985-42c0-8041-2bb16a414839" providerId="ADAL" clId="{9E52C8A6-326C-473A-BC21-4CED010AFA79}" dt="2023-09-06T18:42:32.247" v="59214"/>
          <ac:spMkLst>
            <pc:docMk/>
            <pc:sldMk cId="3635637425" sldId="292"/>
            <ac:spMk id="59" creationId="{4934ED17-54D2-802D-2BD4-4CC872C32DCA}"/>
          </ac:spMkLst>
        </pc:spChg>
        <pc:spChg chg="mod ord">
          <ac:chgData name="Joelle Brehm" userId="a518f54c-6985-42c0-8041-2bb16a414839" providerId="ADAL" clId="{9E52C8A6-326C-473A-BC21-4CED010AFA79}" dt="2023-09-06T18:42:34.566" v="59363"/>
          <ac:spMkLst>
            <pc:docMk/>
            <pc:sldMk cId="3635637425" sldId="292"/>
            <ac:spMk id="60" creationId="{8AFF754E-1785-41DB-892C-A30765DCA565}"/>
          </ac:spMkLst>
        </pc:spChg>
        <pc:spChg chg="add del mod modVis">
          <ac:chgData name="Joelle Brehm" userId="a518f54c-6985-42c0-8041-2bb16a414839" providerId="ADAL" clId="{9E52C8A6-326C-473A-BC21-4CED010AFA79}" dt="2023-09-06T18:42:34.569" v="59369"/>
          <ac:spMkLst>
            <pc:docMk/>
            <pc:sldMk cId="3635637425" sldId="292"/>
            <ac:spMk id="62" creationId="{529A1E05-1CD0-FC59-45BB-DF0C880B07C1}"/>
          </ac:spMkLst>
        </pc:spChg>
        <pc:spChg chg="mod">
          <ac:chgData name="Joelle Brehm" userId="a518f54c-6985-42c0-8041-2bb16a414839" providerId="ADAL" clId="{9E52C8A6-326C-473A-BC21-4CED010AFA79}" dt="2023-09-06T18:42:34.553" v="59323"/>
          <ac:spMkLst>
            <pc:docMk/>
            <pc:sldMk cId="3635637425" sldId="292"/>
            <ac:spMk id="74" creationId="{1E5392BC-349C-45B4-8F81-52F83DA74F43}"/>
          </ac:spMkLst>
        </pc:spChg>
        <pc:spChg chg="mod ord">
          <ac:chgData name="Joelle Brehm" userId="a518f54c-6985-42c0-8041-2bb16a414839" providerId="ADAL" clId="{9E52C8A6-326C-473A-BC21-4CED010AFA79}" dt="2023-09-06T18:42:34.559" v="59342"/>
          <ac:spMkLst>
            <pc:docMk/>
            <pc:sldMk cId="3635637425" sldId="292"/>
            <ac:spMk id="78" creationId="{4C71B650-5C52-48B0-85D7-82C22FA4B22B}"/>
          </ac:spMkLst>
        </pc:spChg>
        <pc:spChg chg="mod ord">
          <ac:chgData name="Joelle Brehm" userId="a518f54c-6985-42c0-8041-2bb16a414839" providerId="ADAL" clId="{9E52C8A6-326C-473A-BC21-4CED010AFA79}" dt="2023-09-06T18:42:34.560" v="59344"/>
          <ac:spMkLst>
            <pc:docMk/>
            <pc:sldMk cId="3635637425" sldId="292"/>
            <ac:spMk id="79" creationId="{F1476AC4-694B-4D83-BFD8-8DCAA4BB1923}"/>
          </ac:spMkLst>
        </pc:spChg>
        <pc:spChg chg="mod ord">
          <ac:chgData name="Joelle Brehm" userId="a518f54c-6985-42c0-8041-2bb16a414839" providerId="ADAL" clId="{9E52C8A6-326C-473A-BC21-4CED010AFA79}" dt="2023-09-06T18:42:34.561" v="59346"/>
          <ac:spMkLst>
            <pc:docMk/>
            <pc:sldMk cId="3635637425" sldId="292"/>
            <ac:spMk id="100" creationId="{8B5667AB-609C-4AEA-83B3-24E395C8F420}"/>
          </ac:spMkLst>
        </pc:spChg>
        <pc:spChg chg="mod ord">
          <ac:chgData name="Joelle Brehm" userId="a518f54c-6985-42c0-8041-2bb16a414839" providerId="ADAL" clId="{9E52C8A6-326C-473A-BC21-4CED010AFA79}" dt="2023-09-06T18:42:34.561" v="59348"/>
          <ac:spMkLst>
            <pc:docMk/>
            <pc:sldMk cId="3635637425" sldId="292"/>
            <ac:spMk id="108" creationId="{A8A86972-DB82-4414-B38B-651BFA59AAA2}"/>
          </ac:spMkLst>
        </pc:spChg>
        <pc:spChg chg="mod ord">
          <ac:chgData name="Joelle Brehm" userId="a518f54c-6985-42c0-8041-2bb16a414839" providerId="ADAL" clId="{9E52C8A6-326C-473A-BC21-4CED010AFA79}" dt="2023-09-06T18:42:34.562" v="59350"/>
          <ac:spMkLst>
            <pc:docMk/>
            <pc:sldMk cId="3635637425" sldId="292"/>
            <ac:spMk id="109" creationId="{E37BCFFE-2E8D-4926-BEE8-0720DF26B068}"/>
          </ac:spMkLst>
        </pc:spChg>
        <pc:spChg chg="mod ord">
          <ac:chgData name="Joelle Brehm" userId="a518f54c-6985-42c0-8041-2bb16a414839" providerId="ADAL" clId="{9E52C8A6-326C-473A-BC21-4CED010AFA79}" dt="2023-09-06T18:42:34.562" v="59352"/>
          <ac:spMkLst>
            <pc:docMk/>
            <pc:sldMk cId="3635637425" sldId="292"/>
            <ac:spMk id="110" creationId="{76D5A471-E342-4112-9B61-678EA0C3F282}"/>
          </ac:spMkLst>
        </pc:spChg>
        <pc:spChg chg="mod">
          <ac:chgData name="Joelle Brehm" userId="a518f54c-6985-42c0-8041-2bb16a414839" providerId="ADAL" clId="{9E52C8A6-326C-473A-BC21-4CED010AFA79}" dt="2023-09-06T18:42:34.563" v="59355"/>
          <ac:spMkLst>
            <pc:docMk/>
            <pc:sldMk cId="3635637425" sldId="292"/>
            <ac:spMk id="13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2:34.564" v="59357"/>
          <ac:spMkLst>
            <pc:docMk/>
            <pc:sldMk cId="3635637425" sldId="292"/>
            <ac:spMk id="13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2:34.565" v="59359"/>
          <ac:spMkLst>
            <pc:docMk/>
            <pc:sldMk cId="3635637425" sldId="292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8:42:34.564" v="59356"/>
          <ac:spMkLst>
            <pc:docMk/>
            <pc:sldMk cId="3635637425" sldId="292"/>
            <ac:spMk id="157" creationId="{04F9902D-9DA4-4582-A398-B08CDE8E08EE}"/>
          </ac:spMkLst>
        </pc:spChg>
        <pc:spChg chg="mod">
          <ac:chgData name="Joelle Brehm" userId="a518f54c-6985-42c0-8041-2bb16a414839" providerId="ADAL" clId="{9E52C8A6-326C-473A-BC21-4CED010AFA79}" dt="2023-09-06T18:42:34.564" v="59358"/>
          <ac:spMkLst>
            <pc:docMk/>
            <pc:sldMk cId="3635637425" sldId="292"/>
            <ac:spMk id="158" creationId="{B1AC5405-1559-48F8-921F-C742186F4456}"/>
          </ac:spMkLst>
        </pc:spChg>
        <pc:graphicFrameChg chg="mod">
          <ac:chgData name="Joelle Brehm" userId="a518f54c-6985-42c0-8041-2bb16a414839" providerId="ADAL" clId="{9E52C8A6-326C-473A-BC21-4CED010AFA79}" dt="2023-09-06T18:42:34.582" v="59371"/>
          <ac:graphicFrameMkLst>
            <pc:docMk/>
            <pc:sldMk cId="3635637425" sldId="292"/>
            <ac:graphicFrameMk id="4" creationId="{86B547BD-D5B0-4162-8AC1-23C66C4D5501}"/>
          </ac:graphicFrameMkLst>
        </pc:graphicFrameChg>
        <pc:graphicFrameChg chg="del">
          <ac:chgData name="Joelle Brehm" userId="a518f54c-6985-42c0-8041-2bb16a414839" providerId="ADAL" clId="{9E52C8A6-326C-473A-BC21-4CED010AFA79}" dt="2023-09-06T18:41:47.618" v="57338"/>
          <ac:graphicFrameMkLst>
            <pc:docMk/>
            <pc:sldMk cId="3635637425" sldId="292"/>
            <ac:graphicFrameMk id="8" creationId="{3BB65A73-970A-2CF2-8C91-676EBE921D61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2:34.543" v="59301"/>
          <ac:graphicFrameMkLst>
            <pc:docMk/>
            <pc:sldMk cId="3635637425" sldId="292"/>
            <ac:graphicFrameMk id="9" creationId="{CD6BC159-48EB-70DC-3BED-348664F90AA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2:17.630" v="58182"/>
          <ac:graphicFrameMkLst>
            <pc:docMk/>
            <pc:sldMk cId="3635637425" sldId="292"/>
            <ac:graphicFrameMk id="47" creationId="{D27D2DD9-278D-54E4-E1C5-49A6AEF230E0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2:20.160" v="58590"/>
          <ac:graphicFrameMkLst>
            <pc:docMk/>
            <pc:sldMk cId="3635637425" sldId="292"/>
            <ac:graphicFrameMk id="49" creationId="{45D40003-72C7-7488-B3D1-50D6C00DF7B6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42:16.208" v="57988"/>
          <ac:graphicFrameMkLst>
            <pc:docMk/>
            <pc:sldMk cId="3635637425" sldId="292"/>
            <ac:graphicFrameMk id="51" creationId="{870FF888-7137-5D3E-D90F-1F3251D4A29C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2:32.184" v="59130"/>
          <ac:graphicFrameMkLst>
            <pc:docMk/>
            <pc:sldMk cId="3635637425" sldId="292"/>
            <ac:graphicFrameMk id="54" creationId="{0EAFFF5D-0B4D-CDE3-0B09-678E634422EA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8:42:24.966" v="58863"/>
          <ac:graphicFrameMkLst>
            <pc:docMk/>
            <pc:sldMk cId="3635637425" sldId="292"/>
            <ac:graphicFrameMk id="55" creationId="{1D18DDEC-9784-125E-42E8-F7F79FD6605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2:28.580" v="58972"/>
          <ac:graphicFrameMkLst>
            <pc:docMk/>
            <pc:sldMk cId="3635637425" sldId="292"/>
            <ac:graphicFrameMk id="57" creationId="{D3B00D8E-A405-99E0-6942-043AF5F19B1C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2:34.563" v="59354"/>
          <ac:graphicFrameMkLst>
            <pc:docMk/>
            <pc:sldMk cId="3635637425" sldId="292"/>
            <ac:graphicFrameMk id="58" creationId="{32B5BF30-89F9-ACC2-4BA0-DAC586B4BE24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8:42:34.514" v="59287"/>
          <ac:graphicFrameMkLst>
            <pc:docMk/>
            <pc:sldMk cId="3635637425" sldId="292"/>
            <ac:graphicFrameMk id="61" creationId="{1415AB2D-28CD-3985-9526-D66EE28A9478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8:42:34.554" v="59328"/>
          <ac:graphicFrameMkLst>
            <pc:docMk/>
            <pc:sldMk cId="3635637425" sldId="292"/>
            <ac:graphicFrameMk id="63" creationId="{9E4E8C5B-4C55-7A9A-DE6E-39EBD6C78553}"/>
          </ac:graphicFrameMkLst>
        </pc:graphicFrameChg>
        <pc:picChg chg="del mod ord">
          <ac:chgData name="Joelle Brehm" userId="a518f54c-6985-42c0-8041-2bb16a414839" providerId="ADAL" clId="{9E52C8A6-326C-473A-BC21-4CED010AFA79}" dt="2023-09-06T18:42:02.729" v="57515" actId="478"/>
          <ac:picMkLst>
            <pc:docMk/>
            <pc:sldMk cId="3635637425" sldId="292"/>
            <ac:picMk id="10" creationId="{B22B2A5F-9F48-564E-8B73-A4377A1A7811}"/>
          </ac:picMkLst>
        </pc:picChg>
        <pc:picChg chg="add mod ord">
          <ac:chgData name="Joelle Brehm" userId="a518f54c-6985-42c0-8041-2bb16a414839" providerId="ADAL" clId="{9E52C8A6-326C-473A-BC21-4CED010AFA79}" dt="2023-09-06T18:42:34.541" v="59295"/>
          <ac:picMkLst>
            <pc:docMk/>
            <pc:sldMk cId="3635637425" sldId="292"/>
            <ac:picMk id="35" creationId="{5FF22927-2627-4FDF-5397-4DABBDC9523D}"/>
          </ac:picMkLst>
        </pc:picChg>
        <pc:picChg chg="mod ord">
          <ac:chgData name="Joelle Brehm" userId="a518f54c-6985-42c0-8041-2bb16a414839" providerId="ADAL" clId="{9E52C8A6-326C-473A-BC21-4CED010AFA79}" dt="2023-09-06T18:42:34.565" v="59361"/>
          <ac:picMkLst>
            <pc:docMk/>
            <pc:sldMk cId="3635637425" sldId="292"/>
            <ac:picMk id="185" creationId="{521BCF3D-3304-4E84-9641-6001CEF0FB52}"/>
          </ac:picMkLst>
        </pc:picChg>
        <pc:cxnChg chg="mod ord">
          <ac:chgData name="Joelle Brehm" userId="a518f54c-6985-42c0-8041-2bb16a414839" providerId="ADAL" clId="{9E52C8A6-326C-473A-BC21-4CED010AFA79}" dt="2023-09-06T18:42:34.542" v="59299"/>
          <ac:cxnSpMkLst>
            <pc:docMk/>
            <pc:sldMk cId="3635637425" sldId="292"/>
            <ac:cxnSpMk id="7" creationId="{81C3ADD2-FBA2-4990-9325-1C3084F656B8}"/>
          </ac:cxnSpMkLst>
        </pc:cxnChg>
      </pc:sldChg>
      <pc:sldChg chg="addSp delSp modSp mod">
        <pc:chgData name="Joelle Brehm" userId="a518f54c-6985-42c0-8041-2bb16a414839" providerId="ADAL" clId="{9E52C8A6-326C-473A-BC21-4CED010AFA79}" dt="2023-09-06T15:19:30.821" v="1174" actId="478"/>
        <pc:sldMkLst>
          <pc:docMk/>
          <pc:sldMk cId="4143996880" sldId="293"/>
        </pc:sldMkLst>
        <pc:spChg chg="mod ord">
          <ac:chgData name="Joelle Brehm" userId="a518f54c-6985-42c0-8041-2bb16a414839" providerId="ADAL" clId="{9E52C8A6-326C-473A-BC21-4CED010AFA79}" dt="2023-09-06T15:19:18.120" v="1165"/>
          <ac:spMkLst>
            <pc:docMk/>
            <pc:sldMk cId="4143996880" sldId="293"/>
            <ac:spMk id="2" creationId="{01E014B2-1FBF-48C6-9093-6CFE20AFFCCE}"/>
          </ac:spMkLst>
        </pc:spChg>
        <pc:spChg chg="mod ord">
          <ac:chgData name="Joelle Brehm" userId="a518f54c-6985-42c0-8041-2bb16a414839" providerId="ADAL" clId="{9E52C8A6-326C-473A-BC21-4CED010AFA79}" dt="2023-09-06T15:19:18.112" v="1140"/>
          <ac:spMkLst>
            <pc:docMk/>
            <pc:sldMk cId="4143996880" sldId="293"/>
            <ac:spMk id="5" creationId="{7B827F87-784E-46DA-B4AC-26C5F16C015D}"/>
          </ac:spMkLst>
        </pc:spChg>
        <pc:spChg chg="add del mod">
          <ac:chgData name="Joelle Brehm" userId="a518f54c-6985-42c0-8041-2bb16a414839" providerId="ADAL" clId="{9E52C8A6-326C-473A-BC21-4CED010AFA79}" dt="2023-09-06T15:18:18.258" v="605" actId="478"/>
          <ac:spMkLst>
            <pc:docMk/>
            <pc:sldMk cId="4143996880" sldId="293"/>
            <ac:spMk id="7" creationId="{E64B305F-D8C2-51FC-5E9B-C3AE8C42B9DB}"/>
          </ac:spMkLst>
        </pc:spChg>
        <pc:spChg chg="mod">
          <ac:chgData name="Joelle Brehm" userId="a518f54c-6985-42c0-8041-2bb16a414839" providerId="ADAL" clId="{9E52C8A6-326C-473A-BC21-4CED010AFA79}" dt="2023-09-06T15:19:18.117" v="1152"/>
          <ac:spMkLst>
            <pc:docMk/>
            <pc:sldMk cId="4143996880" sldId="293"/>
            <ac:spMk id="8" creationId="{91C36372-DE31-4EA3-A34A-B3486B1AA500}"/>
          </ac:spMkLst>
        </pc:spChg>
        <pc:spChg chg="mod">
          <ac:chgData name="Joelle Brehm" userId="a518f54c-6985-42c0-8041-2bb16a414839" providerId="ADAL" clId="{9E52C8A6-326C-473A-BC21-4CED010AFA79}" dt="2023-09-06T15:19:18.115" v="1146"/>
          <ac:spMkLst>
            <pc:docMk/>
            <pc:sldMk cId="4143996880" sldId="293"/>
            <ac:spMk id="9" creationId="{E3626333-7B89-471A-A9C4-6F324CB5B4B1}"/>
          </ac:spMkLst>
        </pc:spChg>
        <pc:spChg chg="mod">
          <ac:chgData name="Joelle Brehm" userId="a518f54c-6985-42c0-8041-2bb16a414839" providerId="ADAL" clId="{9E52C8A6-326C-473A-BC21-4CED010AFA79}" dt="2023-09-06T15:19:18.116" v="1148"/>
          <ac:spMkLst>
            <pc:docMk/>
            <pc:sldMk cId="4143996880" sldId="293"/>
            <ac:spMk id="10" creationId="{536C341E-36F9-4264-B2D7-4F682FB8508D}"/>
          </ac:spMkLst>
        </pc:spChg>
        <pc:spChg chg="mod">
          <ac:chgData name="Joelle Brehm" userId="a518f54c-6985-42c0-8041-2bb16a414839" providerId="ADAL" clId="{9E52C8A6-326C-473A-BC21-4CED010AFA79}" dt="2023-09-06T15:19:18.115" v="1147"/>
          <ac:spMkLst>
            <pc:docMk/>
            <pc:sldMk cId="4143996880" sldId="293"/>
            <ac:spMk id="11" creationId="{8BCA5092-341C-4B30-A4BC-FE6ECD7FB7CE}"/>
          </ac:spMkLst>
        </pc:spChg>
        <pc:spChg chg="mod">
          <ac:chgData name="Joelle Brehm" userId="a518f54c-6985-42c0-8041-2bb16a414839" providerId="ADAL" clId="{9E52C8A6-326C-473A-BC21-4CED010AFA79}" dt="2023-09-06T15:19:18.114" v="1143"/>
          <ac:spMkLst>
            <pc:docMk/>
            <pc:sldMk cId="4143996880" sldId="293"/>
            <ac:spMk id="12" creationId="{1C13A223-89D1-473F-AD55-639525653BB3}"/>
          </ac:spMkLst>
        </pc:spChg>
        <pc:spChg chg="mod">
          <ac:chgData name="Joelle Brehm" userId="a518f54c-6985-42c0-8041-2bb16a414839" providerId="ADAL" clId="{9E52C8A6-326C-473A-BC21-4CED010AFA79}" dt="2023-09-06T15:19:18.117" v="1154"/>
          <ac:spMkLst>
            <pc:docMk/>
            <pc:sldMk cId="4143996880" sldId="293"/>
            <ac:spMk id="13" creationId="{99969F97-EA3B-4F01-9E1C-9A45CF4B2546}"/>
          </ac:spMkLst>
        </pc:spChg>
        <pc:spChg chg="mod">
          <ac:chgData name="Joelle Brehm" userId="a518f54c-6985-42c0-8041-2bb16a414839" providerId="ADAL" clId="{9E52C8A6-326C-473A-BC21-4CED010AFA79}" dt="2023-09-06T15:19:18.116" v="1149"/>
          <ac:spMkLst>
            <pc:docMk/>
            <pc:sldMk cId="4143996880" sldId="293"/>
            <ac:spMk id="14" creationId="{FF38C3DA-DE57-482B-BB0F-35E06A017D69}"/>
          </ac:spMkLst>
        </pc:spChg>
        <pc:spChg chg="mod">
          <ac:chgData name="Joelle Brehm" userId="a518f54c-6985-42c0-8041-2bb16a414839" providerId="ADAL" clId="{9E52C8A6-326C-473A-BC21-4CED010AFA79}" dt="2023-09-06T15:19:18.115" v="1144"/>
          <ac:spMkLst>
            <pc:docMk/>
            <pc:sldMk cId="4143996880" sldId="293"/>
            <ac:spMk id="15" creationId="{465CFDDD-969A-4CA1-A801-863CDBA35FFC}"/>
          </ac:spMkLst>
        </pc:spChg>
        <pc:spChg chg="mod">
          <ac:chgData name="Joelle Brehm" userId="a518f54c-6985-42c0-8041-2bb16a414839" providerId="ADAL" clId="{9E52C8A6-326C-473A-BC21-4CED010AFA79}" dt="2023-09-06T15:19:18.116" v="1150"/>
          <ac:spMkLst>
            <pc:docMk/>
            <pc:sldMk cId="4143996880" sldId="293"/>
            <ac:spMk id="16" creationId="{E284D4CD-EDF4-493D-A0EC-1942070AAF30}"/>
          </ac:spMkLst>
        </pc:spChg>
        <pc:spChg chg="mod">
          <ac:chgData name="Joelle Brehm" userId="a518f54c-6985-42c0-8041-2bb16a414839" providerId="ADAL" clId="{9E52C8A6-326C-473A-BC21-4CED010AFA79}" dt="2023-09-06T15:19:18.117" v="1153"/>
          <ac:spMkLst>
            <pc:docMk/>
            <pc:sldMk cId="4143996880" sldId="293"/>
            <ac:spMk id="17" creationId="{238E2651-26AD-42B7-94DE-FBB956D36E21}"/>
          </ac:spMkLst>
        </pc:spChg>
        <pc:spChg chg="mod">
          <ac:chgData name="Joelle Brehm" userId="a518f54c-6985-42c0-8041-2bb16a414839" providerId="ADAL" clId="{9E52C8A6-326C-473A-BC21-4CED010AFA79}" dt="2023-09-06T15:19:18.116" v="1151"/>
          <ac:spMkLst>
            <pc:docMk/>
            <pc:sldMk cId="4143996880" sldId="293"/>
            <ac:spMk id="18" creationId="{115AEADC-1253-4633-974F-DCA7C2AB53EC}"/>
          </ac:spMkLst>
        </pc:spChg>
        <pc:spChg chg="mod">
          <ac:chgData name="Joelle Brehm" userId="a518f54c-6985-42c0-8041-2bb16a414839" providerId="ADAL" clId="{9E52C8A6-326C-473A-BC21-4CED010AFA79}" dt="2023-09-06T15:19:18.115" v="1145"/>
          <ac:spMkLst>
            <pc:docMk/>
            <pc:sldMk cId="4143996880" sldId="293"/>
            <ac:spMk id="19" creationId="{14F80A12-8328-4C76-B1AA-3A6F5F05569E}"/>
          </ac:spMkLst>
        </pc:spChg>
        <pc:spChg chg="mod ord">
          <ac:chgData name="Joelle Brehm" userId="a518f54c-6985-42c0-8041-2bb16a414839" providerId="ADAL" clId="{9E52C8A6-326C-473A-BC21-4CED010AFA79}" dt="2023-09-06T15:19:18.118" v="1156"/>
          <ac:spMkLst>
            <pc:docMk/>
            <pc:sldMk cId="4143996880" sldId="293"/>
            <ac:spMk id="20" creationId="{652C4211-5F55-4C7B-9C2D-6A96F2218602}"/>
          </ac:spMkLst>
        </pc:spChg>
        <pc:spChg chg="mod ord">
          <ac:chgData name="Joelle Brehm" userId="a518f54c-6985-42c0-8041-2bb16a414839" providerId="ADAL" clId="{9E52C8A6-326C-473A-BC21-4CED010AFA79}" dt="2023-09-06T15:19:18.118" v="1158"/>
          <ac:spMkLst>
            <pc:docMk/>
            <pc:sldMk cId="4143996880" sldId="293"/>
            <ac:spMk id="21" creationId="{B5AE4010-508F-4A3F-85C7-752A1F15F54F}"/>
          </ac:spMkLst>
        </pc:spChg>
        <pc:spChg chg="add del mod modVis">
          <ac:chgData name="Joelle Brehm" userId="a518f54c-6985-42c0-8041-2bb16a414839" providerId="ADAL" clId="{9E52C8A6-326C-473A-BC21-4CED010AFA79}" dt="2023-09-06T15:19:03.019" v="1130"/>
          <ac:spMkLst>
            <pc:docMk/>
            <pc:sldMk cId="4143996880" sldId="293"/>
            <ac:spMk id="23" creationId="{ADF4DAF4-9CA6-1ACA-2A9D-8D98A95569D1}"/>
          </ac:spMkLst>
        </pc:spChg>
        <pc:spChg chg="mod ord">
          <ac:chgData name="Joelle Brehm" userId="a518f54c-6985-42c0-8041-2bb16a414839" providerId="ADAL" clId="{9E52C8A6-326C-473A-BC21-4CED010AFA79}" dt="2023-09-06T15:19:18.121" v="1167"/>
          <ac:spMkLst>
            <pc:docMk/>
            <pc:sldMk cId="4143996880" sldId="293"/>
            <ac:spMk id="31" creationId="{79B1ECD6-7167-42D1-9D7A-BCFE0ECCF899}"/>
          </ac:spMkLst>
        </pc:spChg>
        <pc:spChg chg="mod ord">
          <ac:chgData name="Joelle Brehm" userId="a518f54c-6985-42c0-8041-2bb16a414839" providerId="ADAL" clId="{9E52C8A6-326C-473A-BC21-4CED010AFA79}" dt="2023-09-06T15:19:18.119" v="1160"/>
          <ac:spMkLst>
            <pc:docMk/>
            <pc:sldMk cId="4143996880" sldId="293"/>
            <ac:spMk id="38" creationId="{50DD0C29-43A9-4273-AEB4-F38CBF1A87EB}"/>
          </ac:spMkLst>
        </pc:spChg>
        <pc:spChg chg="mod ord">
          <ac:chgData name="Joelle Brehm" userId="a518f54c-6985-42c0-8041-2bb16a414839" providerId="ADAL" clId="{9E52C8A6-326C-473A-BC21-4CED010AFA79}" dt="2023-09-06T15:19:18.119" v="1162"/>
          <ac:spMkLst>
            <pc:docMk/>
            <pc:sldMk cId="4143996880" sldId="293"/>
            <ac:spMk id="42" creationId="{CA9B9B17-F2C5-49D5-8AD7-354733D35B07}"/>
          </ac:spMkLst>
        </pc:spChg>
        <pc:graphicFrameChg chg="mod">
          <ac:chgData name="Joelle Brehm" userId="a518f54c-6985-42c0-8041-2bb16a414839" providerId="ADAL" clId="{9E52C8A6-326C-473A-BC21-4CED010AFA79}" dt="2023-09-06T15:19:18.129" v="1173"/>
          <ac:graphicFrameMkLst>
            <pc:docMk/>
            <pc:sldMk cId="4143996880" sldId="293"/>
            <ac:graphicFrameMk id="4" creationId="{13A0D37E-AFD5-48BA-904D-A699E76C02E6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19:02.939" v="1087"/>
          <ac:graphicFrameMkLst>
            <pc:docMk/>
            <pc:sldMk cId="4143996880" sldId="293"/>
            <ac:graphicFrameMk id="24" creationId="{55788BA3-C91A-675D-0756-FECBA54E7912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19:18.114" v="1142"/>
          <ac:graphicFrameMkLst>
            <pc:docMk/>
            <pc:sldMk cId="4143996880" sldId="293"/>
            <ac:graphicFrameMk id="25" creationId="{B38FD0D0-48F0-E7E0-F3F1-88DAF75741D7}"/>
          </ac:graphicFrameMkLst>
        </pc:graphicFrameChg>
        <pc:picChg chg="del mod ord">
          <ac:chgData name="Joelle Brehm" userId="a518f54c-6985-42c0-8041-2bb16a414839" providerId="ADAL" clId="{9E52C8A6-326C-473A-BC21-4CED010AFA79}" dt="2023-09-06T15:19:30.821" v="1174" actId="478"/>
          <ac:picMkLst>
            <pc:docMk/>
            <pc:sldMk cId="4143996880" sldId="293"/>
            <ac:picMk id="3" creationId="{DBEA5D42-A659-FF17-AA1D-8DC91AF6612C}"/>
          </ac:picMkLst>
        </pc:picChg>
        <pc:picChg chg="del mod ord">
          <ac:chgData name="Joelle Brehm" userId="a518f54c-6985-42c0-8041-2bb16a414839" providerId="ADAL" clId="{9E52C8A6-326C-473A-BC21-4CED010AFA79}" dt="2023-09-06T15:18:28.183" v="647" actId="478"/>
          <ac:picMkLst>
            <pc:docMk/>
            <pc:sldMk cId="4143996880" sldId="293"/>
            <ac:picMk id="6" creationId="{7034BB77-89CE-D302-A994-5638821A2A72}"/>
          </ac:picMkLst>
        </pc:picChg>
        <pc:picChg chg="add mod ord">
          <ac:chgData name="Joelle Brehm" userId="a518f54c-6985-42c0-8041-2bb16a414839" providerId="ADAL" clId="{9E52C8A6-326C-473A-BC21-4CED010AFA79}" dt="2023-09-06T15:19:18.111" v="1138"/>
          <ac:picMkLst>
            <pc:docMk/>
            <pc:sldMk cId="4143996880" sldId="293"/>
            <ac:picMk id="22" creationId="{05F1D619-DC1F-3497-6867-1D6572257994}"/>
          </ac:picMkLst>
        </pc:picChg>
        <pc:picChg chg="add mod ord">
          <ac:chgData name="Joelle Brehm" userId="a518f54c-6985-42c0-8041-2bb16a414839" providerId="ADAL" clId="{9E52C8A6-326C-473A-BC21-4CED010AFA79}" dt="2023-09-06T15:19:18.110" v="1136"/>
          <ac:picMkLst>
            <pc:docMk/>
            <pc:sldMk cId="4143996880" sldId="293"/>
            <ac:picMk id="26" creationId="{2FB4CBAC-9D8D-A46D-E324-5C3228E8CEF0}"/>
          </ac:picMkLst>
        </pc:picChg>
        <pc:picChg chg="mod">
          <ac:chgData name="Joelle Brehm" userId="a518f54c-6985-42c0-8041-2bb16a414839" providerId="ADAL" clId="{9E52C8A6-326C-473A-BC21-4CED010AFA79}" dt="2023-09-06T15:19:18.120" v="1163"/>
          <ac:picMkLst>
            <pc:docMk/>
            <pc:sldMk cId="4143996880" sldId="293"/>
            <ac:picMk id="4102" creationId="{F65C5540-5DEB-43C2-92ED-6CE11E7350FD}"/>
          </ac:picMkLst>
        </pc:picChg>
      </pc:sldChg>
      <pc:sldChg chg="addSp delSp modSp mod">
        <pc:chgData name="Joelle Brehm" userId="a518f54c-6985-42c0-8041-2bb16a414839" providerId="ADAL" clId="{9E52C8A6-326C-473A-BC21-4CED010AFA79}" dt="2023-09-06T15:42:53.023" v="12072"/>
        <pc:sldMkLst>
          <pc:docMk/>
          <pc:sldMk cId="77660323" sldId="295"/>
        </pc:sldMkLst>
        <pc:spChg chg="add del mod">
          <ac:chgData name="Joelle Brehm" userId="a518f54c-6985-42c0-8041-2bb16a414839" providerId="ADAL" clId="{9E52C8A6-326C-473A-BC21-4CED010AFA79}" dt="2023-09-06T15:19:53.591" v="1175" actId="478"/>
          <ac:spMkLst>
            <pc:docMk/>
            <pc:sldMk cId="77660323" sldId="295"/>
            <ac:spMk id="2" creationId="{48817B13-0D36-95B2-45B2-136BE201609F}"/>
          </ac:spMkLst>
        </pc:spChg>
        <pc:spChg chg="mod ord">
          <ac:chgData name="Joelle Brehm" userId="a518f54c-6985-42c0-8041-2bb16a414839" providerId="ADAL" clId="{9E52C8A6-326C-473A-BC21-4CED010AFA79}" dt="2023-09-06T15:42:52.921" v="11967"/>
          <ac:spMkLst>
            <pc:docMk/>
            <pc:sldMk cId="77660323" sldId="295"/>
            <ac:spMk id="5" creationId="{7B827F87-784E-46DA-B4AC-26C5F16C015D}"/>
          </ac:spMkLst>
        </pc:spChg>
        <pc:spChg chg="mod">
          <ac:chgData name="Joelle Brehm" userId="a518f54c-6985-42c0-8041-2bb16a414839" providerId="ADAL" clId="{9E52C8A6-326C-473A-BC21-4CED010AFA79}" dt="2023-09-06T15:42:52.937" v="11991"/>
          <ac:spMkLst>
            <pc:docMk/>
            <pc:sldMk cId="77660323" sldId="295"/>
            <ac:spMk id="6" creationId="{16B77BC2-AAA9-8E81-BA99-9CC4E4A186E7}"/>
          </ac:spMkLst>
        </pc:spChg>
        <pc:spChg chg="mod">
          <ac:chgData name="Joelle Brehm" userId="a518f54c-6985-42c0-8041-2bb16a414839" providerId="ADAL" clId="{9E52C8A6-326C-473A-BC21-4CED010AFA79}" dt="2023-09-06T15:42:52.941" v="11998"/>
          <ac:spMkLst>
            <pc:docMk/>
            <pc:sldMk cId="77660323" sldId="295"/>
            <ac:spMk id="7" creationId="{AC248985-01B4-CD8C-E025-DF4D35603919}"/>
          </ac:spMkLst>
        </pc:spChg>
        <pc:spChg chg="add mod replST">
          <ac:chgData name="Joelle Brehm" userId="a518f54c-6985-42c0-8041-2bb16a414839" providerId="ADAL" clId="{9E52C8A6-326C-473A-BC21-4CED010AFA79}" dt="2023-09-06T15:42:52.941" v="11999"/>
          <ac:spMkLst>
            <pc:docMk/>
            <pc:sldMk cId="77660323" sldId="295"/>
            <ac:spMk id="9" creationId="{5B920F75-31B6-8B4B-7E2C-665E8C04F047}"/>
          </ac:spMkLst>
        </pc:spChg>
        <pc:spChg chg="add del mod modVis">
          <ac:chgData name="Joelle Brehm" userId="a518f54c-6985-42c0-8041-2bb16a414839" providerId="ADAL" clId="{9E52C8A6-326C-473A-BC21-4CED010AFA79}" dt="2023-09-06T15:20:12.601" v="1598"/>
          <ac:spMkLst>
            <pc:docMk/>
            <pc:sldMk cId="77660323" sldId="295"/>
            <ac:spMk id="10" creationId="{D7E28B5D-2080-2CB2-041E-07A25B1BD605}"/>
          </ac:spMkLst>
        </pc:spChg>
        <pc:spChg chg="mod">
          <ac:chgData name="Joelle Brehm" userId="a518f54c-6985-42c0-8041-2bb16a414839" providerId="ADAL" clId="{9E52C8A6-326C-473A-BC21-4CED010AFA79}" dt="2023-09-06T15:42:52.942" v="12000"/>
          <ac:spMkLst>
            <pc:docMk/>
            <pc:sldMk cId="77660323" sldId="295"/>
            <ac:spMk id="11" creationId="{4D142ECA-E2D8-9285-6C24-1D82A2038821}"/>
          </ac:spMkLst>
        </pc:spChg>
        <pc:spChg chg="add del mod modVis">
          <ac:chgData name="Joelle Brehm" userId="a518f54c-6985-42c0-8041-2bb16a414839" providerId="ADAL" clId="{9E52C8A6-326C-473A-BC21-4CED010AFA79}" dt="2023-09-06T15:20:13.861" v="1874"/>
          <ac:spMkLst>
            <pc:docMk/>
            <pc:sldMk cId="77660323" sldId="295"/>
            <ac:spMk id="13" creationId="{99DCAAD2-5602-2AAC-8B4B-69EAD0CF2E3E}"/>
          </ac:spMkLst>
        </pc:spChg>
        <pc:spChg chg="mod">
          <ac:chgData name="Joelle Brehm" userId="a518f54c-6985-42c0-8041-2bb16a414839" providerId="ADAL" clId="{9E52C8A6-326C-473A-BC21-4CED010AFA79}" dt="2023-09-06T15:42:52.963" v="12033"/>
          <ac:spMkLst>
            <pc:docMk/>
            <pc:sldMk cId="77660323" sldId="295"/>
            <ac:spMk id="15" creationId="{27258EE9-1FF7-FE0C-8AAD-1E026430A115}"/>
          </ac:spMkLst>
        </pc:spChg>
        <pc:spChg chg="mod">
          <ac:chgData name="Joelle Brehm" userId="a518f54c-6985-42c0-8041-2bb16a414839" providerId="ADAL" clId="{9E52C8A6-326C-473A-BC21-4CED010AFA79}" dt="2023-09-06T15:42:52.960" v="12027"/>
          <ac:spMkLst>
            <pc:docMk/>
            <pc:sldMk cId="77660323" sldId="295"/>
            <ac:spMk id="16" creationId="{0C8CCB69-36B4-CA42-0B21-8F9AC080BAE4}"/>
          </ac:spMkLst>
        </pc:spChg>
        <pc:spChg chg="mod">
          <ac:chgData name="Joelle Brehm" userId="a518f54c-6985-42c0-8041-2bb16a414839" providerId="ADAL" clId="{9E52C8A6-326C-473A-BC21-4CED010AFA79}" dt="2023-09-06T15:42:52.936" v="11990"/>
          <ac:spMkLst>
            <pc:docMk/>
            <pc:sldMk cId="77660323" sldId="295"/>
            <ac:spMk id="17" creationId="{521229FB-0801-C7EF-5E13-8F0309A61A17}"/>
          </ac:spMkLst>
        </pc:spChg>
        <pc:spChg chg="add del mod modVis">
          <ac:chgData name="Joelle Brehm" userId="a518f54c-6985-42c0-8041-2bb16a414839" providerId="ADAL" clId="{9E52C8A6-326C-473A-BC21-4CED010AFA79}" dt="2023-09-06T15:20:21.389" v="2150"/>
          <ac:spMkLst>
            <pc:docMk/>
            <pc:sldMk cId="77660323" sldId="295"/>
            <ac:spMk id="18" creationId="{CB8E9B44-7D5E-84B8-99BE-4319B2755B14}"/>
          </ac:spMkLst>
        </pc:spChg>
        <pc:spChg chg="add del mod modVis">
          <ac:chgData name="Joelle Brehm" userId="a518f54c-6985-42c0-8041-2bb16a414839" providerId="ADAL" clId="{9E52C8A6-326C-473A-BC21-4CED010AFA79}" dt="2023-09-06T15:20:25.664" v="2421"/>
          <ac:spMkLst>
            <pc:docMk/>
            <pc:sldMk cId="77660323" sldId="295"/>
            <ac:spMk id="20" creationId="{083B16E1-D086-5C71-F6FF-9318C0557A86}"/>
          </ac:spMkLst>
        </pc:spChg>
        <pc:spChg chg="mod">
          <ac:chgData name="Joelle Brehm" userId="a518f54c-6985-42c0-8041-2bb16a414839" providerId="ADAL" clId="{9E52C8A6-326C-473A-BC21-4CED010AFA79}" dt="2023-09-06T15:42:52.932" v="11983"/>
          <ac:spMkLst>
            <pc:docMk/>
            <pc:sldMk cId="77660323" sldId="295"/>
            <ac:spMk id="2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3" v="11985"/>
          <ac:spMkLst>
            <pc:docMk/>
            <pc:sldMk cId="77660323" sldId="295"/>
            <ac:spMk id="2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7" v="12055"/>
          <ac:spMkLst>
            <pc:docMk/>
            <pc:sldMk cId="77660323" sldId="295"/>
            <ac:spMk id="25" creationId="{6DC07032-6758-7576-40F7-7ED141F5C6D9}"/>
          </ac:spMkLst>
        </pc:spChg>
        <pc:spChg chg="mod">
          <ac:chgData name="Joelle Brehm" userId="a518f54c-6985-42c0-8041-2bb16a414839" providerId="ADAL" clId="{9E52C8A6-326C-473A-BC21-4CED010AFA79}" dt="2023-09-06T15:42:52.964" v="12034"/>
          <ac:spMkLst>
            <pc:docMk/>
            <pc:sldMk cId="77660323" sldId="295"/>
            <ac:spMk id="26" creationId="{229D53A9-9359-D14F-5FFD-DB340E8A2769}"/>
          </ac:spMkLst>
        </pc:spChg>
        <pc:spChg chg="mod">
          <ac:chgData name="Joelle Brehm" userId="a518f54c-6985-42c0-8041-2bb16a414839" providerId="ADAL" clId="{9E52C8A6-326C-473A-BC21-4CED010AFA79}" dt="2023-09-06T15:42:52.934" v="11986"/>
          <ac:spMkLst>
            <pc:docMk/>
            <pc:sldMk cId="77660323" sldId="295"/>
            <ac:spMk id="2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4" v="11987"/>
          <ac:spMkLst>
            <pc:docMk/>
            <pc:sldMk cId="77660323" sldId="295"/>
            <ac:spMk id="28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65" v="12035"/>
          <ac:spMkLst>
            <pc:docMk/>
            <pc:sldMk cId="77660323" sldId="295"/>
            <ac:spMk id="30" creationId="{A51E1434-A103-26BA-6426-AE0EC5404834}"/>
          </ac:spMkLst>
        </pc:spChg>
        <pc:spChg chg="mod">
          <ac:chgData name="Joelle Brehm" userId="a518f54c-6985-42c0-8041-2bb16a414839" providerId="ADAL" clId="{9E52C8A6-326C-473A-BC21-4CED010AFA79}" dt="2023-09-06T15:42:52.955" v="12019"/>
          <ac:spMkLst>
            <pc:docMk/>
            <pc:sldMk cId="77660323" sldId="295"/>
            <ac:spMk id="31" creationId="{7CAA3B95-4C78-4122-BECA-B5FB0F3F3764}"/>
          </ac:spMkLst>
        </pc:spChg>
        <pc:spChg chg="add mod replST">
          <ac:chgData name="Joelle Brehm" userId="a518f54c-6985-42c0-8041-2bb16a414839" providerId="ADAL" clId="{9E52C8A6-326C-473A-BC21-4CED010AFA79}" dt="2023-09-06T15:42:52.966" v="12036"/>
          <ac:spMkLst>
            <pc:docMk/>
            <pc:sldMk cId="77660323" sldId="295"/>
            <ac:spMk id="32" creationId="{D9E7866D-0168-C218-2EA9-90542E39B4D1}"/>
          </ac:spMkLst>
        </pc:spChg>
        <pc:spChg chg="mod">
          <ac:chgData name="Joelle Brehm" userId="a518f54c-6985-42c0-8041-2bb16a414839" providerId="ADAL" clId="{9E52C8A6-326C-473A-BC21-4CED010AFA79}" dt="2023-09-06T15:42:52.955" v="12018"/>
          <ac:spMkLst>
            <pc:docMk/>
            <pc:sldMk cId="77660323" sldId="295"/>
            <ac:spMk id="33" creationId="{7CAA3B95-4C78-4122-BECA-B5FB0F3F3764}"/>
          </ac:spMkLst>
        </pc:spChg>
        <pc:spChg chg="add del mod modVis">
          <ac:chgData name="Joelle Brehm" userId="a518f54c-6985-42c0-8041-2bb16a414839" providerId="ADAL" clId="{9E52C8A6-326C-473A-BC21-4CED010AFA79}" dt="2023-09-06T15:22:29.415" v="3233"/>
          <ac:spMkLst>
            <pc:docMk/>
            <pc:sldMk cId="77660323" sldId="295"/>
            <ac:spMk id="34" creationId="{FBB92F4E-71D1-C354-D723-38DCE60A6F7D}"/>
          </ac:spMkLst>
        </pc:spChg>
        <pc:spChg chg="add del mod modVis">
          <ac:chgData name="Joelle Brehm" userId="a518f54c-6985-42c0-8041-2bb16a414839" providerId="ADAL" clId="{9E52C8A6-326C-473A-BC21-4CED010AFA79}" dt="2023-09-06T15:22:30.763" v="3473"/>
          <ac:spMkLst>
            <pc:docMk/>
            <pc:sldMk cId="77660323" sldId="295"/>
            <ac:spMk id="36" creationId="{AB681D16-1CE6-BC9A-2D53-BB2ACBEBFD60}"/>
          </ac:spMkLst>
        </pc:spChg>
        <pc:spChg chg="add del mod modVis">
          <ac:chgData name="Joelle Brehm" userId="a518f54c-6985-42c0-8041-2bb16a414839" providerId="ADAL" clId="{9E52C8A6-326C-473A-BC21-4CED010AFA79}" dt="2023-09-06T15:22:33.783" v="3687"/>
          <ac:spMkLst>
            <pc:docMk/>
            <pc:sldMk cId="77660323" sldId="295"/>
            <ac:spMk id="38" creationId="{D6351B89-1A8E-741E-D14E-9B69A62353B5}"/>
          </ac:spMkLst>
        </pc:spChg>
        <pc:spChg chg="add del mod modVis">
          <ac:chgData name="Joelle Brehm" userId="a518f54c-6985-42c0-8041-2bb16a414839" providerId="ADAL" clId="{9E52C8A6-326C-473A-BC21-4CED010AFA79}" dt="2023-09-06T15:22:36.665" v="3903"/>
          <ac:spMkLst>
            <pc:docMk/>
            <pc:sldMk cId="77660323" sldId="295"/>
            <ac:spMk id="40" creationId="{C87F1E05-7B31-4B99-505E-4FE53CB27148}"/>
          </ac:spMkLst>
        </pc:spChg>
        <pc:spChg chg="mod">
          <ac:chgData name="Joelle Brehm" userId="a518f54c-6985-42c0-8041-2bb16a414839" providerId="ADAL" clId="{9E52C8A6-326C-473A-BC21-4CED010AFA79}" dt="2023-09-06T15:42:52.954" v="12017"/>
          <ac:spMkLst>
            <pc:docMk/>
            <pc:sldMk cId="77660323" sldId="295"/>
            <ac:spMk id="42" creationId="{A32B7D8C-DAE5-D336-7D31-9ECFB1F6E20C}"/>
          </ac:spMkLst>
        </pc:spChg>
        <pc:spChg chg="add mod replST">
          <ac:chgData name="Joelle Brehm" userId="a518f54c-6985-42c0-8041-2bb16a414839" providerId="ADAL" clId="{9E52C8A6-326C-473A-BC21-4CED010AFA79}" dt="2023-09-06T15:42:52.979" v="12058"/>
          <ac:spMkLst>
            <pc:docMk/>
            <pc:sldMk cId="77660323" sldId="295"/>
            <ac:spMk id="43" creationId="{CB71E880-BE37-7B61-FE93-B2CADB32B81F}"/>
          </ac:spMkLst>
        </pc:spChg>
        <pc:spChg chg="add del mod modVis">
          <ac:chgData name="Joelle Brehm" userId="a518f54c-6985-42c0-8041-2bb16a414839" providerId="ADAL" clId="{9E52C8A6-326C-473A-BC21-4CED010AFA79}" dt="2023-09-06T15:22:45.735" v="4604"/>
          <ac:spMkLst>
            <pc:docMk/>
            <pc:sldMk cId="77660323" sldId="295"/>
            <ac:spMk id="44" creationId="{6FBFEBF4-462C-7A68-E816-404C4DB9ADC9}"/>
          </ac:spMkLst>
        </pc:spChg>
        <pc:spChg chg="mod">
          <ac:chgData name="Joelle Brehm" userId="a518f54c-6985-42c0-8041-2bb16a414839" providerId="ADAL" clId="{9E52C8A6-326C-473A-BC21-4CED010AFA79}" dt="2023-09-06T15:42:52.977" v="12056"/>
          <ac:spMkLst>
            <pc:docMk/>
            <pc:sldMk cId="77660323" sldId="295"/>
            <ac:spMk id="45" creationId="{7B959589-9B04-0960-03A9-FE10F7C63094}"/>
          </ac:spMkLst>
        </pc:spChg>
        <pc:spChg chg="add del mod modVis">
          <ac:chgData name="Joelle Brehm" userId="a518f54c-6985-42c0-8041-2bb16a414839" providerId="ADAL" clId="{9E52C8A6-326C-473A-BC21-4CED010AFA79}" dt="2023-09-06T15:22:48.033" v="4879"/>
          <ac:spMkLst>
            <pc:docMk/>
            <pc:sldMk cId="77660323" sldId="295"/>
            <ac:spMk id="47" creationId="{5B7A1E4C-B657-59C5-218D-54B75B9D4902}"/>
          </ac:spMkLst>
        </pc:spChg>
        <pc:spChg chg="mod">
          <ac:chgData name="Joelle Brehm" userId="a518f54c-6985-42c0-8041-2bb16a414839" providerId="ADAL" clId="{9E52C8A6-326C-473A-BC21-4CED010AFA79}" dt="2023-09-06T15:42:52.977" v="12054"/>
          <ac:spMkLst>
            <pc:docMk/>
            <pc:sldMk cId="77660323" sldId="295"/>
            <ac:spMk id="48" creationId="{4728F697-F070-C96F-B941-0750AF77863D}"/>
          </ac:spMkLst>
        </pc:spChg>
        <pc:spChg chg="mod">
          <ac:chgData name="Joelle Brehm" userId="a518f54c-6985-42c0-8041-2bb16a414839" providerId="ADAL" clId="{9E52C8A6-326C-473A-BC21-4CED010AFA79}" dt="2023-09-06T15:42:52.978" v="12057"/>
          <ac:spMkLst>
            <pc:docMk/>
            <pc:sldMk cId="77660323" sldId="295"/>
            <ac:spMk id="50" creationId="{9C4E0A27-B851-CA4B-F20B-9C8B969774DC}"/>
          </ac:spMkLst>
        </pc:spChg>
        <pc:spChg chg="add del mod modVis">
          <ac:chgData name="Joelle Brehm" userId="a518f54c-6985-42c0-8041-2bb16a414839" providerId="ADAL" clId="{9E52C8A6-326C-473A-BC21-4CED010AFA79}" dt="2023-09-06T15:22:50.756" v="5125"/>
          <ac:spMkLst>
            <pc:docMk/>
            <pc:sldMk cId="77660323" sldId="295"/>
            <ac:spMk id="52" creationId="{D31277BA-CD24-F456-291E-282ABF050FFE}"/>
          </ac:spMkLst>
        </pc:spChg>
        <pc:spChg chg="add del mod modVis">
          <ac:chgData name="Joelle Brehm" userId="a518f54c-6985-42c0-8041-2bb16a414839" providerId="ADAL" clId="{9E52C8A6-326C-473A-BC21-4CED010AFA79}" dt="2023-09-06T15:22:55.140" v="5345"/>
          <ac:spMkLst>
            <pc:docMk/>
            <pc:sldMk cId="77660323" sldId="295"/>
            <ac:spMk id="54" creationId="{EEA50E70-51AB-3D4A-E379-FF9CBA30E909}"/>
          </ac:spMkLst>
        </pc:spChg>
        <pc:spChg chg="add del mod modVis">
          <ac:chgData name="Joelle Brehm" userId="a518f54c-6985-42c0-8041-2bb16a414839" providerId="ADAL" clId="{9E52C8A6-326C-473A-BC21-4CED010AFA79}" dt="2023-09-06T15:42:52.987" v="12070"/>
          <ac:spMkLst>
            <pc:docMk/>
            <pc:sldMk cId="77660323" sldId="295"/>
            <ac:spMk id="56" creationId="{63D745A4-C511-4A0E-5F6E-4E3C41DC8A60}"/>
          </ac:spMkLst>
        </pc:spChg>
        <pc:spChg chg="del mod ord">
          <ac:chgData name="Joelle Brehm" userId="a518f54c-6985-42c0-8041-2bb16a414839" providerId="ADAL" clId="{9E52C8A6-326C-473A-BC21-4CED010AFA79}" dt="2023-09-06T15:22:50.270" v="4883"/>
          <ac:spMkLst>
            <pc:docMk/>
            <pc:sldMk cId="77660323" sldId="295"/>
            <ac:spMk id="59" creationId="{7CAA3B95-4C78-4122-BECA-B5FB0F3F3764}"/>
          </ac:spMkLst>
        </pc:spChg>
        <pc:spChg chg="del mod">
          <ac:chgData name="Joelle Brehm" userId="a518f54c-6985-42c0-8041-2bb16a414839" providerId="ADAL" clId="{9E52C8A6-326C-473A-BC21-4CED010AFA79}" dt="2023-09-06T15:22:50.275" v="4884"/>
          <ac:spMkLst>
            <pc:docMk/>
            <pc:sldMk cId="77660323" sldId="295"/>
            <ac:spMk id="79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3" v="12047"/>
          <ac:spMkLst>
            <pc:docMk/>
            <pc:sldMk cId="77660323" sldId="295"/>
            <ac:spMk id="8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3" v="12048"/>
          <ac:spMkLst>
            <pc:docMk/>
            <pc:sldMk cId="77660323" sldId="295"/>
            <ac:spMk id="8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4" v="12050"/>
          <ac:spMkLst>
            <pc:docMk/>
            <pc:sldMk cId="77660323" sldId="295"/>
            <ac:spMk id="8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4" v="12049"/>
          <ac:spMkLst>
            <pc:docMk/>
            <pc:sldMk cId="77660323" sldId="295"/>
            <ac:spMk id="8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5" v="12051"/>
          <ac:spMkLst>
            <pc:docMk/>
            <pc:sldMk cId="77660323" sldId="295"/>
            <ac:spMk id="8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6" v="12052"/>
          <ac:spMkLst>
            <pc:docMk/>
            <pc:sldMk cId="77660323" sldId="295"/>
            <ac:spMk id="8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77" v="12053"/>
          <ac:spMkLst>
            <pc:docMk/>
            <pc:sldMk cId="77660323" sldId="295"/>
            <ac:spMk id="87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5:42:52.925" v="11973"/>
          <ac:spMkLst>
            <pc:docMk/>
            <pc:sldMk cId="77660323" sldId="295"/>
            <ac:spMk id="96" creationId="{13AC7CFA-23AF-445A-96F6-EA0D2FF657A3}"/>
          </ac:spMkLst>
        </pc:spChg>
        <pc:spChg chg="mod ord">
          <ac:chgData name="Joelle Brehm" userId="a518f54c-6985-42c0-8041-2bb16a414839" providerId="ADAL" clId="{9E52C8A6-326C-473A-BC21-4CED010AFA79}" dt="2023-09-06T15:42:52.926" v="11975"/>
          <ac:spMkLst>
            <pc:docMk/>
            <pc:sldMk cId="77660323" sldId="295"/>
            <ac:spMk id="97" creationId="{64B2B8D7-E8A8-4757-99A4-69F1EAA48321}"/>
          </ac:spMkLst>
        </pc:spChg>
        <pc:spChg chg="del mod">
          <ac:chgData name="Joelle Brehm" userId="a518f54c-6985-42c0-8041-2bb16a414839" providerId="ADAL" clId="{9E52C8A6-326C-473A-BC21-4CED010AFA79}" dt="2023-09-06T15:20:25.161" v="2153"/>
          <ac:spMkLst>
            <pc:docMk/>
            <pc:sldMk cId="77660323" sldId="295"/>
            <ac:spMk id="98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7" v="11992"/>
          <ac:spMkLst>
            <pc:docMk/>
            <pc:sldMk cId="77660323" sldId="295"/>
            <ac:spMk id="99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0" v="11981"/>
          <ac:spMkLst>
            <pc:docMk/>
            <pc:sldMk cId="77660323" sldId="295"/>
            <ac:spMk id="100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8" v="11993"/>
          <ac:spMkLst>
            <pc:docMk/>
            <pc:sldMk cId="77660323" sldId="295"/>
            <ac:spMk id="10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9" v="11994"/>
          <ac:spMkLst>
            <pc:docMk/>
            <pc:sldMk cId="77660323" sldId="295"/>
            <ac:spMk id="102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5:42:52.922" v="11969"/>
          <ac:spMkLst>
            <pc:docMk/>
            <pc:sldMk cId="77660323" sldId="295"/>
            <ac:spMk id="106" creationId="{58013157-8B72-4777-A1DA-B9BACD5A28D4}"/>
          </ac:spMkLst>
        </pc:spChg>
        <pc:spChg chg="mod">
          <ac:chgData name="Joelle Brehm" userId="a518f54c-6985-42c0-8041-2bb16a414839" providerId="ADAL" clId="{9E52C8A6-326C-473A-BC21-4CED010AFA79}" dt="2023-09-06T15:42:52.931" v="11982"/>
          <ac:spMkLst>
            <pc:docMk/>
            <pc:sldMk cId="77660323" sldId="295"/>
            <ac:spMk id="11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9" v="11995"/>
          <ac:spMkLst>
            <pc:docMk/>
            <pc:sldMk cId="77660323" sldId="295"/>
            <ac:spMk id="12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40" v="11996"/>
          <ac:spMkLst>
            <pc:docMk/>
            <pc:sldMk cId="77660323" sldId="295"/>
            <ac:spMk id="12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40" v="11997"/>
          <ac:spMkLst>
            <pc:docMk/>
            <pc:sldMk cId="77660323" sldId="295"/>
            <ac:spMk id="12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6" v="11989"/>
          <ac:spMkLst>
            <pc:docMk/>
            <pc:sldMk cId="77660323" sldId="295"/>
            <ac:spMk id="12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29" v="11980"/>
          <ac:spMkLst>
            <pc:docMk/>
            <pc:sldMk cId="77660323" sldId="295"/>
            <ac:spMk id="12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2" v="11984"/>
          <ac:spMkLst>
            <pc:docMk/>
            <pc:sldMk cId="77660323" sldId="295"/>
            <ac:spMk id="136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35" v="11988"/>
          <ac:spMkLst>
            <pc:docMk/>
            <pc:sldMk cId="77660323" sldId="295"/>
            <ac:spMk id="154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5:42:52.927" v="11977"/>
          <ac:spMkLst>
            <pc:docMk/>
            <pc:sldMk cId="77660323" sldId="295"/>
            <ac:spMk id="210" creationId="{2DBE4665-8B4A-4508-AC03-BDBC6AA30475}"/>
          </ac:spMkLst>
        </pc:spChg>
        <pc:spChg chg="mod ord">
          <ac:chgData name="Joelle Brehm" userId="a518f54c-6985-42c0-8041-2bb16a414839" providerId="ADAL" clId="{9E52C8A6-326C-473A-BC21-4CED010AFA79}" dt="2023-09-06T15:42:52.957" v="12022"/>
          <ac:spMkLst>
            <pc:docMk/>
            <pc:sldMk cId="77660323" sldId="295"/>
            <ac:spMk id="268" creationId="{FEB4A815-DBE2-D6C5-F756-F5E3A343D865}"/>
          </ac:spMkLst>
        </pc:spChg>
        <pc:spChg chg="mod">
          <ac:chgData name="Joelle Brehm" userId="a518f54c-6985-42c0-8041-2bb16a414839" providerId="ADAL" clId="{9E52C8A6-326C-473A-BC21-4CED010AFA79}" dt="2023-09-06T15:42:52.970" v="12043"/>
          <ac:spMkLst>
            <pc:docMk/>
            <pc:sldMk cId="77660323" sldId="295"/>
            <ac:spMk id="293" creationId="{D09F60A6-F070-7F83-ACD1-22C8C2C85F16}"/>
          </ac:spMkLst>
        </pc:spChg>
        <pc:spChg chg="mod">
          <ac:chgData name="Joelle Brehm" userId="a518f54c-6985-42c0-8041-2bb16a414839" providerId="ADAL" clId="{9E52C8A6-326C-473A-BC21-4CED010AFA79}" dt="2023-09-06T15:42:52.971" v="12044"/>
          <ac:spMkLst>
            <pc:docMk/>
            <pc:sldMk cId="77660323" sldId="295"/>
            <ac:spMk id="335" creationId="{8BFA9EE3-5E75-1256-F784-A4C8394BE524}"/>
          </ac:spMkLst>
        </pc:spChg>
        <pc:spChg chg="mod">
          <ac:chgData name="Joelle Brehm" userId="a518f54c-6985-42c0-8041-2bb16a414839" providerId="ADAL" clId="{9E52C8A6-326C-473A-BC21-4CED010AFA79}" dt="2023-09-06T15:42:52.983" v="12065"/>
          <ac:spMkLst>
            <pc:docMk/>
            <pc:sldMk cId="77660323" sldId="295"/>
            <ac:spMk id="401" creationId="{937504AD-2806-B8F4-5782-910F20FF8B22}"/>
          </ac:spMkLst>
        </pc:spChg>
        <pc:spChg chg="mod">
          <ac:chgData name="Joelle Brehm" userId="a518f54c-6985-42c0-8041-2bb16a414839" providerId="ADAL" clId="{9E52C8A6-326C-473A-BC21-4CED010AFA79}" dt="2023-09-06T15:42:52.984" v="12066"/>
          <ac:spMkLst>
            <pc:docMk/>
            <pc:sldMk cId="77660323" sldId="295"/>
            <ac:spMk id="402" creationId="{54A50511-8137-91F0-6AA8-1D657EEE3E68}"/>
          </ac:spMkLst>
        </pc:spChg>
        <pc:spChg chg="mod ord">
          <ac:chgData name="Joelle Brehm" userId="a518f54c-6985-42c0-8041-2bb16a414839" providerId="ADAL" clId="{9E52C8A6-326C-473A-BC21-4CED010AFA79}" dt="2023-09-06T15:42:52.952" v="12014"/>
          <ac:spMkLst>
            <pc:docMk/>
            <pc:sldMk cId="77660323" sldId="295"/>
            <ac:spMk id="482" creationId="{854873FF-C6BF-E63E-44B3-C219F3458EB4}"/>
          </ac:spMkLst>
        </pc:spChg>
        <pc:spChg chg="mod ord">
          <ac:chgData name="Joelle Brehm" userId="a518f54c-6985-42c0-8041-2bb16a414839" providerId="ADAL" clId="{9E52C8A6-326C-473A-BC21-4CED010AFA79}" dt="2023-09-06T15:42:52.949" v="12010"/>
          <ac:spMkLst>
            <pc:docMk/>
            <pc:sldMk cId="77660323" sldId="295"/>
            <ac:spMk id="485" creationId="{0E817BE1-E587-06E4-D9FC-07EC7C45C787}"/>
          </ac:spMkLst>
        </pc:spChg>
        <pc:spChg chg="del mod">
          <ac:chgData name="Joelle Brehm" userId="a518f54c-6985-42c0-8041-2bb16a414839" providerId="ADAL" clId="{9E52C8A6-326C-473A-BC21-4CED010AFA79}" dt="2023-09-06T15:22:30.327" v="3236"/>
          <ac:spMkLst>
            <pc:docMk/>
            <pc:sldMk cId="77660323" sldId="295"/>
            <ac:spMk id="489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5:42:52.953" v="12016"/>
          <ac:spMkLst>
            <pc:docMk/>
            <pc:sldMk cId="77660323" sldId="295"/>
            <ac:spMk id="490" creationId="{9C81118A-E471-58E2-D54E-14C43A3A7D15}"/>
          </ac:spMkLst>
        </pc:spChg>
        <pc:spChg chg="mod">
          <ac:chgData name="Joelle Brehm" userId="a518f54c-6985-42c0-8041-2bb16a414839" providerId="ADAL" clId="{9E52C8A6-326C-473A-BC21-4CED010AFA79}" dt="2023-09-06T15:42:52.960" v="12026"/>
          <ac:spMkLst>
            <pc:docMk/>
            <pc:sldMk cId="77660323" sldId="295"/>
            <ac:spMk id="491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60" v="12028"/>
          <ac:spMkLst>
            <pc:docMk/>
            <pc:sldMk cId="77660323" sldId="295"/>
            <ac:spMk id="492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61" v="12030"/>
          <ac:spMkLst>
            <pc:docMk/>
            <pc:sldMk cId="77660323" sldId="295"/>
            <ac:spMk id="493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61" v="12029"/>
          <ac:spMkLst>
            <pc:docMk/>
            <pc:sldMk cId="77660323" sldId="295"/>
            <ac:spMk id="494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59" v="12025"/>
          <ac:spMkLst>
            <pc:docMk/>
            <pc:sldMk cId="77660323" sldId="295"/>
            <ac:spMk id="495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56" v="12020"/>
          <ac:spMkLst>
            <pc:docMk/>
            <pc:sldMk cId="77660323" sldId="295"/>
            <ac:spMk id="496" creationId="{FB24F7D5-26C6-DCA1-D822-BCC9573069E9}"/>
          </ac:spMkLst>
        </pc:spChg>
        <pc:spChg chg="mod">
          <ac:chgData name="Joelle Brehm" userId="a518f54c-6985-42c0-8041-2bb16a414839" providerId="ADAL" clId="{9E52C8A6-326C-473A-BC21-4CED010AFA79}" dt="2023-09-06T15:42:52.962" v="12031"/>
          <ac:spMkLst>
            <pc:docMk/>
            <pc:sldMk cId="77660323" sldId="295"/>
            <ac:spMk id="497" creationId="{7CAA3B95-4C78-4122-BECA-B5FB0F3F3764}"/>
          </ac:spMkLst>
        </pc:spChg>
        <pc:spChg chg="mod">
          <ac:chgData name="Joelle Brehm" userId="a518f54c-6985-42c0-8041-2bb16a414839" providerId="ADAL" clId="{9E52C8A6-326C-473A-BC21-4CED010AFA79}" dt="2023-09-06T15:42:52.963" v="12032"/>
          <ac:spMkLst>
            <pc:docMk/>
            <pc:sldMk cId="77660323" sldId="295"/>
            <ac:spMk id="498" creationId="{7CAA3B95-4C78-4122-BECA-B5FB0F3F3764}"/>
          </ac:spMkLst>
        </pc:spChg>
        <pc:spChg chg="mod ord">
          <ac:chgData name="Joelle Brehm" userId="a518f54c-6985-42c0-8041-2bb16a414839" providerId="ADAL" clId="{9E52C8A6-326C-473A-BC21-4CED010AFA79}" dt="2023-09-06T15:42:52.951" v="12012"/>
          <ac:spMkLst>
            <pc:docMk/>
            <pc:sldMk cId="77660323" sldId="295"/>
            <ac:spMk id="500" creationId="{EB9BAD37-7BDE-5D6A-2B4E-2B5A74E8D6D7}"/>
          </ac:spMkLst>
        </pc:spChg>
        <pc:spChg chg="mod ord">
          <ac:chgData name="Joelle Brehm" userId="a518f54c-6985-42c0-8041-2bb16a414839" providerId="ADAL" clId="{9E52C8A6-326C-473A-BC21-4CED010AFA79}" dt="2023-09-06T15:42:52.969" v="12042"/>
          <ac:spMkLst>
            <pc:docMk/>
            <pc:sldMk cId="77660323" sldId="295"/>
            <ac:spMk id="504" creationId="{C36E8BD6-8022-E319-F497-214FADCFA676}"/>
          </ac:spMkLst>
        </pc:spChg>
        <pc:spChg chg="mod ord">
          <ac:chgData name="Joelle Brehm" userId="a518f54c-6985-42c0-8041-2bb16a414839" providerId="ADAL" clId="{9E52C8A6-326C-473A-BC21-4CED010AFA79}" dt="2023-09-06T15:42:52.982" v="12064"/>
          <ac:spMkLst>
            <pc:docMk/>
            <pc:sldMk cId="77660323" sldId="295"/>
            <ac:spMk id="508" creationId="{1A0CE076-C63A-CB72-E6B9-5523E3C2C4DF}"/>
          </ac:spMkLst>
        </pc:spChg>
        <pc:graphicFrameChg chg="mod">
          <ac:chgData name="Joelle Brehm" userId="a518f54c-6985-42c0-8041-2bb16a414839" providerId="ADAL" clId="{9E52C8A6-326C-473A-BC21-4CED010AFA79}" dt="2023-09-06T15:42:53.023" v="12072"/>
          <ac:graphicFrameMkLst>
            <pc:docMk/>
            <pc:sldMk cId="77660323" sldId="295"/>
            <ac:graphicFrameMk id="4" creationId="{13A0D37E-AFD5-48BA-904D-A699E76C02E6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0:13.616" v="1710"/>
          <ac:graphicFrameMkLst>
            <pc:docMk/>
            <pc:sldMk cId="77660323" sldId="295"/>
            <ac:graphicFrameMk id="12" creationId="{68293385-340B-A1B5-3BF6-8E15FBEA5188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0:21.264" v="1986"/>
          <ac:graphicFrameMkLst>
            <pc:docMk/>
            <pc:sldMk cId="77660323" sldId="295"/>
            <ac:graphicFrameMk id="14" creationId="{F0AD06C9-79EB-6C4E-557D-DD5E109DBD9A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0:25.419" v="2258"/>
          <ac:graphicFrameMkLst>
            <pc:docMk/>
            <pc:sldMk cId="77660323" sldId="295"/>
            <ac:graphicFrameMk id="19" creationId="{477AC537-F69C-9580-A9C7-5B11DC496A38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42:52.928" v="11979"/>
          <ac:graphicFrameMkLst>
            <pc:docMk/>
            <pc:sldMk cId="77660323" sldId="295"/>
            <ac:graphicFrameMk id="21" creationId="{40C263CC-43E5-4B9B-EC97-38A9DCC8CF7B}"/>
          </ac:graphicFrameMkLst>
        </pc:graphicFrameChg>
        <pc:graphicFrameChg chg="del">
          <ac:chgData name="Joelle Brehm" userId="a518f54c-6985-42c0-8041-2bb16a414839" providerId="ADAL" clId="{9E52C8A6-326C-473A-BC21-4CED010AFA79}" dt="2023-09-06T15:20:12.362" v="1434"/>
          <ac:graphicFrameMkLst>
            <pc:docMk/>
            <pc:sldMk cId="77660323" sldId="295"/>
            <ac:graphicFrameMk id="29" creationId="{79B1290B-1F2A-3978-DD3B-246B0F5A113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2:30.552" v="3334"/>
          <ac:graphicFrameMkLst>
            <pc:docMk/>
            <pc:sldMk cId="77660323" sldId="295"/>
            <ac:graphicFrameMk id="35" creationId="{3E94C1B9-D7EF-7F4C-D08F-E8AF194ECFFE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2:33.549" v="3548"/>
          <ac:graphicFrameMkLst>
            <pc:docMk/>
            <pc:sldMk cId="77660323" sldId="295"/>
            <ac:graphicFrameMk id="37" creationId="{01DE87E9-42EC-5818-6E0A-FF2FD895E719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2:36.486" v="3764"/>
          <ac:graphicFrameMkLst>
            <pc:docMk/>
            <pc:sldMk cId="77660323" sldId="295"/>
            <ac:graphicFrameMk id="39" creationId="{1C9ACEB2-976F-8902-03F9-DE240AD80F6F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42:52.959" v="12024"/>
          <ac:graphicFrameMkLst>
            <pc:docMk/>
            <pc:sldMk cId="77660323" sldId="295"/>
            <ac:graphicFrameMk id="41" creationId="{713DECD9-D495-262C-1DD2-5B61A18ED19D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2:47.809" v="4716"/>
          <ac:graphicFrameMkLst>
            <pc:docMk/>
            <pc:sldMk cId="77660323" sldId="295"/>
            <ac:graphicFrameMk id="46" creationId="{4F905A32-5EA0-1CFA-98F2-EDB63A613190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22:29.206" v="3083"/>
          <ac:graphicFrameMkLst>
            <pc:docMk/>
            <pc:sldMk cId="77660323" sldId="295"/>
            <ac:graphicFrameMk id="49" creationId="{DBDE81FA-7CEB-884A-99B6-E9DF9871E695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2:50.559" v="4988"/>
          <ac:graphicFrameMkLst>
            <pc:docMk/>
            <pc:sldMk cId="77660323" sldId="295"/>
            <ac:graphicFrameMk id="51" creationId="{DE444010-9CD4-CE00-F535-C04884FDAB3F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22:54.954" v="5208"/>
          <ac:graphicFrameMkLst>
            <pc:docMk/>
            <pc:sldMk cId="77660323" sldId="295"/>
            <ac:graphicFrameMk id="53" creationId="{34597972-6EDC-ECC6-5AF7-FCF40F4CC8CE}"/>
          </ac:graphicFrameMkLst>
        </pc:graphicFrameChg>
        <pc:graphicFrameChg chg="add del mod ord replST">
          <ac:chgData name="Joelle Brehm" userId="a518f54c-6985-42c0-8041-2bb16a414839" providerId="ADAL" clId="{9E52C8A6-326C-473A-BC21-4CED010AFA79}" dt="2023-09-06T15:42:52.824" v="11933"/>
          <ac:graphicFrameMkLst>
            <pc:docMk/>
            <pc:sldMk cId="77660323" sldId="295"/>
            <ac:graphicFrameMk id="55" creationId="{7C469A13-E9C3-93A6-902C-46235A8F14CC}"/>
          </ac:graphicFrameMkLst>
        </pc:graphicFrameChg>
        <pc:graphicFrameChg chg="add mod ord replST">
          <ac:chgData name="Joelle Brehm" userId="a518f54c-6985-42c0-8041-2bb16a414839" providerId="ADAL" clId="{9E52C8A6-326C-473A-BC21-4CED010AFA79}" dt="2023-09-06T15:42:52.972" v="12046"/>
          <ac:graphicFrameMkLst>
            <pc:docMk/>
            <pc:sldMk cId="77660323" sldId="295"/>
            <ac:graphicFrameMk id="57" creationId="{0E2E7E33-18BB-5370-FE67-950801EED289}"/>
          </ac:graphicFrameMkLst>
        </pc:graphicFrameChg>
        <pc:graphicFrameChg chg="del mod ord">
          <ac:chgData name="Joelle Brehm" userId="a518f54c-6985-42c0-8041-2bb16a414839" providerId="ADAL" clId="{9E52C8A6-326C-473A-BC21-4CED010AFA79}" dt="2023-09-06T15:22:45.543" v="4454"/>
          <ac:graphicFrameMkLst>
            <pc:docMk/>
            <pc:sldMk cId="77660323" sldId="295"/>
            <ac:graphicFrameMk id="63" creationId="{3E5EDD94-E6E7-305D-F4DD-E3AE89A1C8BF}"/>
          </ac:graphicFrameMkLst>
        </pc:graphicFrameChg>
        <pc:picChg chg="mod ord">
          <ac:chgData name="Joelle Brehm" userId="a518f54c-6985-42c0-8041-2bb16a414839" providerId="ADAL" clId="{9E52C8A6-326C-473A-BC21-4CED010AFA79}" dt="2023-09-06T15:42:52.924" v="11971"/>
          <ac:picMkLst>
            <pc:docMk/>
            <pc:sldMk cId="77660323" sldId="295"/>
            <ac:picMk id="3" creationId="{2D4B0DAF-6DD7-4B10-8D9C-0B8AAD6563B0}"/>
          </ac:picMkLst>
        </pc:picChg>
        <pc:picChg chg="del mod ord">
          <ac:chgData name="Joelle Brehm" userId="a518f54c-6985-42c0-8041-2bb16a414839" providerId="ADAL" clId="{9E52C8A6-326C-473A-BC21-4CED010AFA79}" dt="2023-09-06T15:21:38.373" v="2545" actId="478"/>
          <ac:picMkLst>
            <pc:docMk/>
            <pc:sldMk cId="77660323" sldId="295"/>
            <ac:picMk id="8" creationId="{549C50B8-DC98-9828-57CE-24D96851D8DF}"/>
          </ac:picMkLst>
        </pc:picChg>
        <pc:picChg chg="add mod ord">
          <ac:chgData name="Joelle Brehm" userId="a518f54c-6985-42c0-8041-2bb16a414839" providerId="ADAL" clId="{9E52C8A6-326C-473A-BC21-4CED010AFA79}" dt="2023-09-06T15:42:52.921" v="11965"/>
          <ac:picMkLst>
            <pc:docMk/>
            <pc:sldMk cId="77660323" sldId="295"/>
            <ac:picMk id="23" creationId="{54B6CAB3-C95E-592E-7129-6B5DA116EF35}"/>
          </ac:picMkLst>
        </pc:picChg>
        <pc:cxnChg chg="mod ord">
          <ac:chgData name="Joelle Brehm" userId="a518f54c-6985-42c0-8041-2bb16a414839" providerId="ADAL" clId="{9E52C8A6-326C-473A-BC21-4CED010AFA79}" dt="2023-09-06T15:42:52.943" v="12002"/>
          <ac:cxnSpMkLst>
            <pc:docMk/>
            <pc:sldMk cId="77660323" sldId="295"/>
            <ac:cxnSpMk id="218" creationId="{3D3296BC-9AB3-234C-0AE4-6544791C5AF4}"/>
          </ac:cxnSpMkLst>
        </pc:cxnChg>
        <pc:cxnChg chg="mod ord">
          <ac:chgData name="Joelle Brehm" userId="a518f54c-6985-42c0-8041-2bb16a414839" providerId="ADAL" clId="{9E52C8A6-326C-473A-BC21-4CED010AFA79}" dt="2023-09-06T15:42:52.946" v="12006"/>
          <ac:cxnSpMkLst>
            <pc:docMk/>
            <pc:sldMk cId="77660323" sldId="295"/>
            <ac:cxnSpMk id="219" creationId="{B0242375-DCF5-EEB1-36F4-886FE8DA8384}"/>
          </ac:cxnSpMkLst>
        </pc:cxnChg>
        <pc:cxnChg chg="mod ord">
          <ac:chgData name="Joelle Brehm" userId="a518f54c-6985-42c0-8041-2bb16a414839" providerId="ADAL" clId="{9E52C8A6-326C-473A-BC21-4CED010AFA79}" dt="2023-09-06T15:42:52.945" v="12004"/>
          <ac:cxnSpMkLst>
            <pc:docMk/>
            <pc:sldMk cId="77660323" sldId="295"/>
            <ac:cxnSpMk id="220" creationId="{51922AE3-06CB-0402-685E-85DCC99B0D2A}"/>
          </ac:cxnSpMkLst>
        </pc:cxnChg>
        <pc:cxnChg chg="mod ord">
          <ac:chgData name="Joelle Brehm" userId="a518f54c-6985-42c0-8041-2bb16a414839" providerId="ADAL" clId="{9E52C8A6-326C-473A-BC21-4CED010AFA79}" dt="2023-09-06T15:42:52.967" v="12038"/>
          <ac:cxnSpMkLst>
            <pc:docMk/>
            <pc:sldMk cId="77660323" sldId="295"/>
            <ac:cxnSpMk id="290" creationId="{C6EB0D86-DE8B-D318-63C1-FA851B007481}"/>
          </ac:cxnSpMkLst>
        </pc:cxnChg>
        <pc:cxnChg chg="mod ord">
          <ac:chgData name="Joelle Brehm" userId="a518f54c-6985-42c0-8041-2bb16a414839" providerId="ADAL" clId="{9E52C8A6-326C-473A-BC21-4CED010AFA79}" dt="2023-09-06T15:42:52.968" v="12040"/>
          <ac:cxnSpMkLst>
            <pc:docMk/>
            <pc:sldMk cId="77660323" sldId="295"/>
            <ac:cxnSpMk id="338" creationId="{BB9010BF-82D1-0D9E-544E-63F704C535EB}"/>
          </ac:cxnSpMkLst>
        </pc:cxnChg>
        <pc:cxnChg chg="mod ord">
          <ac:chgData name="Joelle Brehm" userId="a518f54c-6985-42c0-8041-2bb16a414839" providerId="ADAL" clId="{9E52C8A6-326C-473A-BC21-4CED010AFA79}" dt="2023-09-06T15:42:52.981" v="12062"/>
          <ac:cxnSpMkLst>
            <pc:docMk/>
            <pc:sldMk cId="77660323" sldId="295"/>
            <ac:cxnSpMk id="399" creationId="{7FFC5505-D3B9-CE59-A4CE-70DDF1463E8D}"/>
          </ac:cxnSpMkLst>
        </pc:cxnChg>
        <pc:cxnChg chg="mod ord">
          <ac:chgData name="Joelle Brehm" userId="a518f54c-6985-42c0-8041-2bb16a414839" providerId="ADAL" clId="{9E52C8A6-326C-473A-BC21-4CED010AFA79}" dt="2023-09-06T15:42:52.980" v="12060"/>
          <ac:cxnSpMkLst>
            <pc:docMk/>
            <pc:sldMk cId="77660323" sldId="295"/>
            <ac:cxnSpMk id="400" creationId="{104028CF-B0A1-3776-0A9E-B2FBBA4E10EC}"/>
          </ac:cxnSpMkLst>
        </pc:cxnChg>
        <pc:cxnChg chg="mod ord">
          <ac:chgData name="Joelle Brehm" userId="a518f54c-6985-42c0-8041-2bb16a414839" providerId="ADAL" clId="{9E52C8A6-326C-473A-BC21-4CED010AFA79}" dt="2023-09-06T15:42:52.947" v="12008"/>
          <ac:cxnSpMkLst>
            <pc:docMk/>
            <pc:sldMk cId="77660323" sldId="295"/>
            <ac:cxnSpMk id="499" creationId="{03F78B4F-B1A0-4DEB-C1BE-2365D8B94D05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0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9.xlsb"/></Relationships>
</file>

<file path=ppt/charts/_rels/chart10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0.xlsb"/></Relationships>
</file>

<file path=ppt/charts/_rels/chart10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1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3.xlsb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4.xlsb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5.xlsb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6.xlsb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7.xlsb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8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9.xlsb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0.xlsb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1.xlsb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2.xlsb"/></Relationships>
</file>

<file path=ppt/charts/_rels/chart4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3.xlsb"/></Relationships>
</file>

<file path=ppt/charts/_rels/chart4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4.xlsb"/></Relationships>
</file>

<file path=ppt/charts/_rels/chart4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5.xlsb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6.xlsb"/></Relationships>
</file>

<file path=ppt/charts/_rels/chart4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7.xlsb"/></Relationships>
</file>

<file path=ppt/charts/_rels/chart4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8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5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9.xlsb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0.xlsb"/></Relationships>
</file>

<file path=ppt/charts/_rels/chart5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1.xlsb"/></Relationships>
</file>

<file path=ppt/charts/_rels/chart5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2.xlsb"/></Relationships>
</file>

<file path=ppt/charts/_rels/chart5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3.xlsb"/></Relationships>
</file>

<file path=ppt/charts/_rels/chart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4.xlsb"/></Relationships>
</file>

<file path=ppt/charts/_rels/chart5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5.xlsb"/></Relationships>
</file>

<file path=ppt/charts/_rels/chart5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6.xlsb"/></Relationships>
</file>

<file path=ppt/charts/_rels/chart5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7.xlsb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8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6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9.xlsb"/></Relationships>
</file>

<file path=ppt/charts/_rels/chart6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0.xlsb"/></Relationships>
</file>

<file path=ppt/charts/_rels/chart6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1.xlsb"/></Relationships>
</file>

<file path=ppt/charts/_rels/chart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2.xlsb"/></Relationships>
</file>

<file path=ppt/charts/_rels/chart6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3.xlsb"/></Relationships>
</file>

<file path=ppt/charts/_rels/chart6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4.xlsb"/></Relationships>
</file>

<file path=ppt/charts/_rels/chart6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5.xlsb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6.xlsb"/></Relationships>
</file>

<file path=ppt/charts/_rels/chart6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7.xlsb"/></Relationships>
</file>

<file path=ppt/charts/_rels/chart6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8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7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9.xlsb"/></Relationships>
</file>

<file path=ppt/charts/_rels/chart7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0.xlsb"/></Relationships>
</file>

<file path=ppt/charts/_rels/chart7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1.xlsb"/></Relationships>
</file>

<file path=ppt/charts/_rels/chart7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2.xlsb"/></Relationships>
</file>

<file path=ppt/charts/_rels/chart7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3.xlsb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4.xlsb"/></Relationships>
</file>

<file path=ppt/charts/_rels/chart7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5.xlsb"/></Relationships>
</file>

<file path=ppt/charts/_rels/chart7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6.xlsb"/></Relationships>
</file>

<file path=ppt/charts/_rels/chart7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7.xlsb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8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8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9.xlsb"/></Relationships>
</file>

<file path=ppt/charts/_rels/chart8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0.xlsb"/></Relationships>
</file>

<file path=ppt/charts/_rels/chart8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1.xlsb"/></Relationships>
</file>

<file path=ppt/charts/_rels/chart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2.xlsb"/></Relationships>
</file>

<file path=ppt/charts/_rels/chart8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3.xlsb"/></Relationships>
</file>

<file path=ppt/charts/_rels/chart8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4.xlsb"/></Relationships>
</file>

<file path=ppt/charts/_rels/chart8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5.xlsb"/></Relationships>
</file>

<file path=ppt/charts/_rels/chart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6.xlsb"/></Relationships>
</file>

<file path=ppt/charts/_rels/chart8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7.xlsb"/></Relationships>
</file>

<file path=ppt/charts/_rels/chart8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8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9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9.xlsb"/></Relationships>
</file>

<file path=ppt/charts/_rels/chart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0.xlsb"/></Relationships>
</file>

<file path=ppt/charts/_rels/chart9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1.xlsb"/></Relationships>
</file>

<file path=ppt/charts/_rels/chart9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2.xlsb"/></Relationships>
</file>

<file path=ppt/charts/_rels/chart9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3.xlsb"/></Relationships>
</file>

<file path=ppt/charts/_rels/chart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4.xlsb"/></Relationships>
</file>

<file path=ppt/charts/_rels/chart9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5.xlsb"/></Relationships>
</file>

<file path=ppt/charts/_rels/chart9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6.xlsb"/></Relationships>
</file>

<file path=ppt/charts/_rels/chart9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7.xlsb"/></Relationships>
</file>

<file path=ppt/charts/_rels/chart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727560718057022E-2"/>
          <c:y val="0.16929460580912864"/>
          <c:w val="0.97254487856388594"/>
          <c:h val="0.7128630705394191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85062240663900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D87-4540-99F4-8FE9BE0179A4}"/>
                </c:ext>
              </c:extLst>
            </c:dLbl>
            <c:dLbl>
              <c:idx val="1"/>
              <c:layout>
                <c:manualLayout>
                  <c:x val="0"/>
                  <c:y val="-0.138589211618257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D87-4540-99F4-8FE9BE0179A4}"/>
                </c:ext>
              </c:extLst>
            </c:dLbl>
            <c:dLbl>
              <c:idx val="2"/>
              <c:layout>
                <c:manualLayout>
                  <c:x val="0"/>
                  <c:y val="-0.1145228215767634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D87-4540-99F4-8FE9BE0179A4}"/>
                </c:ext>
              </c:extLst>
            </c:dLbl>
            <c:dLbl>
              <c:idx val="3"/>
              <c:layout>
                <c:manualLayout>
                  <c:x val="0"/>
                  <c:y val="-0.1925311203319502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D87-4540-99F4-8FE9BE0179A4}"/>
                </c:ext>
              </c:extLst>
            </c:dLbl>
            <c:dLbl>
              <c:idx val="4"/>
              <c:layout>
                <c:manualLayout>
                  <c:x val="0"/>
                  <c:y val="-0.32116182572614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D87-4540-99F4-8FE9BE0179A4}"/>
                </c:ext>
              </c:extLst>
            </c:dLbl>
            <c:dLbl>
              <c:idx val="5"/>
              <c:layout>
                <c:manualLayout>
                  <c:x val="0"/>
                  <c:y val="-0.360995850622406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D87-4540-99F4-8FE9BE0179A4}"/>
                </c:ext>
              </c:extLst>
            </c:dLbl>
            <c:dLbl>
              <c:idx val="6"/>
              <c:layout>
                <c:manualLayout>
                  <c:x val="0"/>
                  <c:y val="-0.367634854771784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D87-4540-99F4-8FE9BE0179A4}"/>
                </c:ext>
              </c:extLst>
            </c:dLbl>
            <c:dLbl>
              <c:idx val="7"/>
              <c:layout>
                <c:manualLayout>
                  <c:x val="0"/>
                  <c:y val="-0.3983402489626555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D87-4540-99F4-8FE9BE0179A4}"/>
                </c:ext>
              </c:extLst>
            </c:dLbl>
            <c:dLbl>
              <c:idx val="8"/>
              <c:layout>
                <c:manualLayout>
                  <c:x val="0"/>
                  <c:y val="-0.408298755186721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D87-4540-99F4-8FE9BE0179A4}"/>
                </c:ext>
              </c:extLst>
            </c:dLbl>
            <c:dLbl>
              <c:idx val="9"/>
              <c:layout>
                <c:manualLayout>
                  <c:x val="0"/>
                  <c:y val="-0.338589211618257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D87-4540-99F4-8FE9BE0179A4}"/>
                </c:ext>
              </c:extLst>
            </c:dLbl>
            <c:dLbl>
              <c:idx val="10"/>
              <c:layout>
                <c:manualLayout>
                  <c:x val="0"/>
                  <c:y val="-0.305394190871369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D87-4540-99F4-8FE9BE0179A4}"/>
                </c:ext>
              </c:extLst>
            </c:dLbl>
            <c:dLbl>
              <c:idx val="11"/>
              <c:layout>
                <c:manualLayout>
                  <c:x val="0"/>
                  <c:y val="-0.249792531120331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D87-4540-99F4-8FE9BE0179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2.2</c:v>
                </c:pt>
                <c:pt idx="1">
                  <c:v>14.333333333333334</c:v>
                </c:pt>
                <c:pt idx="2">
                  <c:v>10.466666666666667</c:v>
                </c:pt>
                <c:pt idx="3">
                  <c:v>23.366666666666667</c:v>
                </c:pt>
                <c:pt idx="4">
                  <c:v>44.733333333333334</c:v>
                </c:pt>
                <c:pt idx="5">
                  <c:v>51.266666666666666</c:v>
                </c:pt>
                <c:pt idx="6">
                  <c:v>52.43333333333333</c:v>
                </c:pt>
                <c:pt idx="7">
                  <c:v>57.4</c:v>
                </c:pt>
                <c:pt idx="8">
                  <c:v>59</c:v>
                </c:pt>
                <c:pt idx="9">
                  <c:v>47.533333333333331</c:v>
                </c:pt>
                <c:pt idx="10">
                  <c:v>41.93333333333333</c:v>
                </c:pt>
                <c:pt idx="11">
                  <c:v>32.833333333333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5D87-4540-99F4-8FE9BE0179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91561055"/>
        <c:axId val="1"/>
      </c:barChart>
      <c:catAx>
        <c:axId val="15915610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915610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6.5573770491803282E-2"/>
          <c:w val="0.94381415451107509"/>
          <c:h val="0.868852459016393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32404</c:v>
                </c:pt>
                <c:pt idx="1">
                  <c:v>33475</c:v>
                </c:pt>
                <c:pt idx="2">
                  <c:v>33654</c:v>
                </c:pt>
                <c:pt idx="3">
                  <c:v>32359</c:v>
                </c:pt>
                <c:pt idx="4">
                  <c:v>29939</c:v>
                </c:pt>
                <c:pt idx="5">
                  <c:v>29296</c:v>
                </c:pt>
                <c:pt idx="6">
                  <c:v>25151</c:v>
                </c:pt>
                <c:pt idx="7">
                  <c:v>24201</c:v>
                </c:pt>
                <c:pt idx="8">
                  <c:v>23904</c:v>
                </c:pt>
                <c:pt idx="9">
                  <c:v>25436</c:v>
                </c:pt>
                <c:pt idx="10">
                  <c:v>27533</c:v>
                </c:pt>
                <c:pt idx="11">
                  <c:v>291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03-472E-BC5A-27DAF2D82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48976479"/>
        <c:axId val="1"/>
      </c:barChart>
      <c:catAx>
        <c:axId val="5489764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365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489764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598667776852624E-2"/>
          <c:w val="0.92590324556031844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B5-49F3-B196-62F2AF2229BE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B5-49F3-B196-62F2AF2229BE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B5-49F3-B196-62F2AF2229BE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3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B5-49F3-B196-62F2AF2229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0844591"/>
        <c:axId val="1"/>
      </c:areaChart>
      <c:catAx>
        <c:axId val="20508445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2050844591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23244552058115E-2"/>
          <c:y val="0.15099925980754997"/>
          <c:w val="0.91343825665859568"/>
          <c:h val="0.743893412287194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9.918578830495929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438-4B5E-A9E9-05BB1CDFB028}"/>
                </c:ext>
              </c:extLst>
            </c:dLbl>
            <c:dLbl>
              <c:idx val="2"/>
              <c:layout>
                <c:manualLayout>
                  <c:x val="0"/>
                  <c:y val="-0.418208734270910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438-4B5E-A9E9-05BB1CDFB0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0</c:v>
                </c:pt>
                <c:pt idx="1">
                  <c:v>2</c:v>
                </c:pt>
                <c:pt idx="2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38-4B5E-A9E9-05BB1CDFB0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53697887"/>
        <c:axId val="1"/>
      </c:barChart>
      <c:catAx>
        <c:axId val="12536978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253697887"/>
        <c:crosses val="min"/>
        <c:crossBetween val="between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39130434782608E-2"/>
          <c:y val="0.10128388017118402"/>
          <c:w val="0.9364548494983278"/>
          <c:h val="0.797432239657631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1237458193978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D21-4D78-B638-A5FD418A6578}"/>
                </c:ext>
              </c:extLst>
            </c:dLbl>
            <c:dLbl>
              <c:idx val="1"/>
              <c:layout>
                <c:manualLayout>
                  <c:x val="0.48871237458193978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D21-4D78-B638-A5FD418A6578}"/>
                </c:ext>
              </c:extLst>
            </c:dLbl>
            <c:dLbl>
              <c:idx val="2"/>
              <c:layout>
                <c:manualLayout>
                  <c:x val="0.25459866220735788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D21-4D78-B638-A5FD418A6578}"/>
                </c:ext>
              </c:extLst>
            </c:dLbl>
            <c:dLbl>
              <c:idx val="3"/>
              <c:layout>
                <c:manualLayout>
                  <c:x val="0.25459866220735788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D21-4D78-B638-A5FD418A6578}"/>
                </c:ext>
              </c:extLst>
            </c:dLbl>
            <c:dLbl>
              <c:idx val="4"/>
              <c:layout>
                <c:manualLayout>
                  <c:x val="0.25459866220735788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D21-4D78-B638-A5FD418A657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D21-4D78-B638-A5FD418A65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20074895"/>
        <c:axId val="1"/>
      </c:barChart>
      <c:catAx>
        <c:axId val="192007489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20074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60883690708251"/>
          <c:y val="0.14697060587882424"/>
          <c:w val="0.76478232618583497"/>
          <c:h val="0.7060587882423515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993-4BEB-A731-8764D62330A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993-4BEB-A731-8764D62330AD}"/>
              </c:ext>
            </c:extLst>
          </c:dPt>
          <c:dLbls>
            <c:dLbl>
              <c:idx val="0"/>
              <c:layout>
                <c:manualLayout>
                  <c:x val="9.9415204678362568E-2"/>
                  <c:y val="-5.038992201559688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993-4BEB-A731-8764D62330AD}"/>
                </c:ext>
              </c:extLst>
            </c:dLbl>
            <c:dLbl>
              <c:idx val="1"/>
              <c:layout>
                <c:manualLayout>
                  <c:x val="-9.8765432098765427E-2"/>
                  <c:y val="4.679064187162567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993-4BEB-A731-8764D62330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34.459036898061292</c:v>
                </c:pt>
                <c:pt idx="1">
                  <c:v>65.540963101938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93-4BEB-A731-8764D62330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3202966958867E-2"/>
          <c:y val="0.13005390835579514"/>
          <c:w val="0.96493594066082267"/>
          <c:h val="0.7398921832884096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2.021563342318059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E80-4971-BEFB-B181D558993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84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80-4971-BEFB-B181D558993E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2.021563342318059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E80-4971-BEFB-B181D558993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15.05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80-4971-BEFB-B181D55899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19974911"/>
        <c:axId val="1"/>
      </c:barChart>
      <c:catAx>
        <c:axId val="19199749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199749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886106141920102E-2"/>
          <c:y val="8.1598667776852624E-2"/>
          <c:w val="0.9016100178890876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4</c:v>
                </c:pt>
                <c:pt idx="1">
                  <c:v>3</c:v>
                </c:pt>
                <c:pt idx="2">
                  <c:v>1</c:v>
                </c:pt>
                <c:pt idx="3">
                  <c:v>10</c:v>
                </c:pt>
                <c:pt idx="4">
                  <c:v>5</c:v>
                </c:pt>
                <c:pt idx="5">
                  <c:v>8</c:v>
                </c:pt>
                <c:pt idx="6">
                  <c:v>7</c:v>
                </c:pt>
                <c:pt idx="7">
                  <c:v>7</c:v>
                </c:pt>
                <c:pt idx="8">
                  <c:v>10</c:v>
                </c:pt>
                <c:pt idx="9">
                  <c:v>7</c:v>
                </c:pt>
                <c:pt idx="10">
                  <c:v>6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F8-45A2-8F93-85097D7A7246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117</c:v>
                </c:pt>
                <c:pt idx="1">
                  <c:v>90</c:v>
                </c:pt>
                <c:pt idx="2">
                  <c:v>70</c:v>
                </c:pt>
                <c:pt idx="3">
                  <c:v>101</c:v>
                </c:pt>
                <c:pt idx="4">
                  <c:v>167</c:v>
                </c:pt>
                <c:pt idx="5">
                  <c:v>213</c:v>
                </c:pt>
                <c:pt idx="6">
                  <c:v>217</c:v>
                </c:pt>
                <c:pt idx="7">
                  <c:v>190</c:v>
                </c:pt>
                <c:pt idx="8">
                  <c:v>245</c:v>
                </c:pt>
                <c:pt idx="9">
                  <c:v>201</c:v>
                </c:pt>
                <c:pt idx="10">
                  <c:v>203</c:v>
                </c:pt>
                <c:pt idx="11">
                  <c:v>1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F8-45A2-8F93-85097D7A7246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49</c:v>
                </c:pt>
                <c:pt idx="1">
                  <c:v>38</c:v>
                </c:pt>
                <c:pt idx="2">
                  <c:v>37</c:v>
                </c:pt>
                <c:pt idx="3">
                  <c:v>80</c:v>
                </c:pt>
                <c:pt idx="4">
                  <c:v>107</c:v>
                </c:pt>
                <c:pt idx="5">
                  <c:v>128</c:v>
                </c:pt>
                <c:pt idx="6">
                  <c:v>136</c:v>
                </c:pt>
                <c:pt idx="7">
                  <c:v>105</c:v>
                </c:pt>
                <c:pt idx="8">
                  <c:v>119</c:v>
                </c:pt>
                <c:pt idx="9">
                  <c:v>116</c:v>
                </c:pt>
                <c:pt idx="10">
                  <c:v>106</c:v>
                </c:pt>
                <c:pt idx="11">
                  <c:v>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F8-45A2-8F93-85097D7A72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1750063"/>
        <c:axId val="1"/>
      </c:areaChart>
      <c:catAx>
        <c:axId val="6717500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671750063"/>
        <c:crosses val="min"/>
        <c:crossBetween val="midCat"/>
        <c:majorUnit val="5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55989750160152E-2"/>
          <c:y val="4.6889089269612265E-2"/>
          <c:w val="0.96668802049967972"/>
          <c:h val="0.9062218214607754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3117</c:v>
                </c:pt>
                <c:pt idx="1">
                  <c:v>3035</c:v>
                </c:pt>
                <c:pt idx="2">
                  <c:v>3348</c:v>
                </c:pt>
                <c:pt idx="3">
                  <c:v>3312</c:v>
                </c:pt>
                <c:pt idx="4">
                  <c:v>3219</c:v>
                </c:pt>
                <c:pt idx="5">
                  <c:v>3294</c:v>
                </c:pt>
                <c:pt idx="6">
                  <c:v>3126</c:v>
                </c:pt>
                <c:pt idx="7">
                  <c:v>3045</c:v>
                </c:pt>
                <c:pt idx="8">
                  <c:v>3277</c:v>
                </c:pt>
                <c:pt idx="9">
                  <c:v>2913</c:v>
                </c:pt>
                <c:pt idx="10">
                  <c:v>3126</c:v>
                </c:pt>
                <c:pt idx="11">
                  <c:v>31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88C-4417-959D-8ADF2FCAF6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61115328"/>
        <c:axId val="1"/>
      </c:lineChart>
      <c:catAx>
        <c:axId val="16611153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00"/>
          <c:min val="25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61115328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66666666666667E-2"/>
          <c:y val="9.5238095238095233E-2"/>
          <c:w val="0.9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500000000000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69E-4B2B-8747-2C9C3283D537}"/>
                </c:ext>
              </c:extLst>
            </c:dLbl>
            <c:dLbl>
              <c:idx val="1"/>
              <c:layout>
                <c:manualLayout>
                  <c:x val="0.4724999999999999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69E-4B2B-8747-2C9C3283D537}"/>
                </c:ext>
              </c:extLst>
            </c:dLbl>
            <c:dLbl>
              <c:idx val="2"/>
              <c:layout>
                <c:manualLayout>
                  <c:x val="0.3404166666666666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69E-4B2B-8747-2C9C3283D537}"/>
                </c:ext>
              </c:extLst>
            </c:dLbl>
            <c:dLbl>
              <c:idx val="3"/>
              <c:layout>
                <c:manualLayout>
                  <c:x val="0.2620833333333333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69E-4B2B-8747-2C9C3283D537}"/>
                </c:ext>
              </c:extLst>
            </c:dLbl>
            <c:dLbl>
              <c:idx val="4"/>
              <c:layout>
                <c:manualLayout>
                  <c:x val="0.2608333333333333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69E-4B2B-8747-2C9C3283D53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91</c:v>
                </c:pt>
                <c:pt idx="1">
                  <c:v>377</c:v>
                </c:pt>
                <c:pt idx="2">
                  <c:v>262</c:v>
                </c:pt>
                <c:pt idx="3">
                  <c:v>194</c:v>
                </c:pt>
                <c:pt idx="4">
                  <c:v>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69E-4B2B-8747-2C9C3283D5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71751023"/>
        <c:axId val="1"/>
      </c:barChart>
      <c:catAx>
        <c:axId val="6717510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717510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886106141920102E-2"/>
          <c:y val="8.1598667776852624E-2"/>
          <c:w val="0.9016100178890876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1</c:v>
                </c:pt>
                <c:pt idx="1">
                  <c:v>3</c:v>
                </c:pt>
                <c:pt idx="2">
                  <c:v>0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4</c:v>
                </c:pt>
                <c:pt idx="7">
                  <c:v>4</c:v>
                </c:pt>
                <c:pt idx="8">
                  <c:v>2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9B-4D98-BE42-4AA88D8881B8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45</c:v>
                </c:pt>
                <c:pt idx="1">
                  <c:v>42</c:v>
                </c:pt>
                <c:pt idx="2">
                  <c:v>29</c:v>
                </c:pt>
                <c:pt idx="3">
                  <c:v>42</c:v>
                </c:pt>
                <c:pt idx="4">
                  <c:v>69</c:v>
                </c:pt>
                <c:pt idx="5">
                  <c:v>96</c:v>
                </c:pt>
                <c:pt idx="6">
                  <c:v>82</c:v>
                </c:pt>
                <c:pt idx="7">
                  <c:v>90</c:v>
                </c:pt>
                <c:pt idx="8">
                  <c:v>78</c:v>
                </c:pt>
                <c:pt idx="9">
                  <c:v>92</c:v>
                </c:pt>
                <c:pt idx="10">
                  <c:v>92</c:v>
                </c:pt>
                <c:pt idx="11">
                  <c:v>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9B-4D98-BE42-4AA88D8881B8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7</c:v>
                </c:pt>
                <c:pt idx="1">
                  <c:v>27</c:v>
                </c:pt>
                <c:pt idx="2">
                  <c:v>17</c:v>
                </c:pt>
                <c:pt idx="3">
                  <c:v>23</c:v>
                </c:pt>
                <c:pt idx="4">
                  <c:v>44</c:v>
                </c:pt>
                <c:pt idx="5">
                  <c:v>70</c:v>
                </c:pt>
                <c:pt idx="6">
                  <c:v>43</c:v>
                </c:pt>
                <c:pt idx="7">
                  <c:v>44</c:v>
                </c:pt>
                <c:pt idx="8">
                  <c:v>52</c:v>
                </c:pt>
                <c:pt idx="9">
                  <c:v>63</c:v>
                </c:pt>
                <c:pt idx="10">
                  <c:v>34</c:v>
                </c:pt>
                <c:pt idx="11">
                  <c:v>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99B-4D98-BE42-4AA88D8881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2913247"/>
        <c:axId val="1"/>
      </c:areaChart>
      <c:catAx>
        <c:axId val="4329132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432913247"/>
        <c:crosses val="min"/>
        <c:crossBetween val="midCat"/>
        <c:majorUnit val="2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55989750160152E-2"/>
          <c:y val="4.6889089269612265E-2"/>
          <c:w val="0.96668802049967972"/>
          <c:h val="0.9062218214607754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1263</c:v>
                </c:pt>
                <c:pt idx="1">
                  <c:v>1305</c:v>
                </c:pt>
                <c:pt idx="2">
                  <c:v>1449</c:v>
                </c:pt>
                <c:pt idx="3">
                  <c:v>1415</c:v>
                </c:pt>
                <c:pt idx="4">
                  <c:v>1407</c:v>
                </c:pt>
                <c:pt idx="5">
                  <c:v>1496</c:v>
                </c:pt>
                <c:pt idx="6">
                  <c:v>1333</c:v>
                </c:pt>
                <c:pt idx="7">
                  <c:v>1425</c:v>
                </c:pt>
                <c:pt idx="8">
                  <c:v>1408</c:v>
                </c:pt>
                <c:pt idx="9">
                  <c:v>1266</c:v>
                </c:pt>
                <c:pt idx="10">
                  <c:v>1263</c:v>
                </c:pt>
                <c:pt idx="11">
                  <c:v>13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098-41D9-86AA-F99E9ED22D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18036031"/>
        <c:axId val="1"/>
      </c:lineChart>
      <c:catAx>
        <c:axId val="16180360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"/>
          <c:min val="11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18036031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666666666666667E-2"/>
          <c:y val="9.5238095238095233E-2"/>
          <c:w val="0.9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500000000000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494-4145-B6E8-0406262C4086}"/>
                </c:ext>
              </c:extLst>
            </c:dLbl>
            <c:dLbl>
              <c:idx val="1"/>
              <c:layout>
                <c:manualLayout>
                  <c:x val="0.4520833333333333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494-4145-B6E8-0406262C4086}"/>
                </c:ext>
              </c:extLst>
            </c:dLbl>
            <c:dLbl>
              <c:idx val="2"/>
              <c:layout>
                <c:manualLayout>
                  <c:x val="0.2337500000000000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494-4145-B6E8-0406262C4086}"/>
                </c:ext>
              </c:extLst>
            </c:dLbl>
            <c:dLbl>
              <c:idx val="3"/>
              <c:layout>
                <c:manualLayout>
                  <c:x val="0.2245833333333333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494-4145-B6E8-0406262C4086}"/>
                </c:ext>
              </c:extLst>
            </c:dLbl>
            <c:dLbl>
              <c:idx val="4"/>
              <c:layout>
                <c:manualLayout>
                  <c:x val="0.20166666666666666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494-4145-B6E8-0406262C40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96</c:v>
                </c:pt>
                <c:pt idx="1">
                  <c:v>180</c:v>
                </c:pt>
                <c:pt idx="2">
                  <c:v>89</c:v>
                </c:pt>
                <c:pt idx="3">
                  <c:v>85</c:v>
                </c:pt>
                <c:pt idx="4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494-4145-B6E8-0406262C40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71725567"/>
        <c:axId val="1"/>
      </c:barChart>
      <c:catAx>
        <c:axId val="157172556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717255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26-4C02-A2B3-F6B1AEA71F99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7</c:v>
                </c:pt>
                <c:pt idx="1">
                  <c:v>12</c:v>
                </c:pt>
                <c:pt idx="2">
                  <c:v>8</c:v>
                </c:pt>
                <c:pt idx="3">
                  <c:v>8</c:v>
                </c:pt>
                <c:pt idx="4">
                  <c:v>13</c:v>
                </c:pt>
                <c:pt idx="5">
                  <c:v>14</c:v>
                </c:pt>
                <c:pt idx="6">
                  <c:v>24</c:v>
                </c:pt>
                <c:pt idx="7">
                  <c:v>17</c:v>
                </c:pt>
                <c:pt idx="8">
                  <c:v>15</c:v>
                </c:pt>
                <c:pt idx="9">
                  <c:v>17</c:v>
                </c:pt>
                <c:pt idx="10">
                  <c:v>20</c:v>
                </c:pt>
                <c:pt idx="1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26-4C02-A2B3-F6B1AEA71F99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3</c:v>
                </c:pt>
                <c:pt idx="1">
                  <c:v>2</c:v>
                </c:pt>
                <c:pt idx="2">
                  <c:v>4</c:v>
                </c:pt>
                <c:pt idx="3">
                  <c:v>4</c:v>
                </c:pt>
                <c:pt idx="4">
                  <c:v>6</c:v>
                </c:pt>
                <c:pt idx="5">
                  <c:v>9</c:v>
                </c:pt>
                <c:pt idx="6">
                  <c:v>10</c:v>
                </c:pt>
                <c:pt idx="7">
                  <c:v>9</c:v>
                </c:pt>
                <c:pt idx="8">
                  <c:v>7</c:v>
                </c:pt>
                <c:pt idx="9">
                  <c:v>5</c:v>
                </c:pt>
                <c:pt idx="10">
                  <c:v>8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726-4C02-A2B3-F6B1AEA71F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4276527"/>
        <c:axId val="1"/>
      </c:areaChart>
      <c:catAx>
        <c:axId val="242765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24276527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37147418839808E-2"/>
          <c:y val="0.18836565096952909"/>
          <c:w val="0.97232570516232042"/>
          <c:h val="0.680517082179132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04986149584487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28D-4844-AF03-153199DAC0F5}"/>
                </c:ext>
              </c:extLst>
            </c:dLbl>
            <c:dLbl>
              <c:idx val="1"/>
              <c:layout>
                <c:manualLayout>
                  <c:x val="0"/>
                  <c:y val="-0.1791320406278855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28D-4844-AF03-153199DAC0F5}"/>
                </c:ext>
              </c:extLst>
            </c:dLbl>
            <c:dLbl>
              <c:idx val="2"/>
              <c:layout>
                <c:manualLayout>
                  <c:x val="0"/>
                  <c:y val="-0.155124653739612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28D-4844-AF03-153199DAC0F5}"/>
                </c:ext>
              </c:extLst>
            </c:dLbl>
            <c:dLbl>
              <c:idx val="3"/>
              <c:layout>
                <c:manualLayout>
                  <c:x val="0"/>
                  <c:y val="-0.225300092336103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28D-4844-AF03-153199DAC0F5}"/>
                </c:ext>
              </c:extLst>
            </c:dLbl>
            <c:dLbl>
              <c:idx val="4"/>
              <c:layout>
                <c:manualLayout>
                  <c:x val="0"/>
                  <c:y val="-0.324099722991689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28D-4844-AF03-153199DAC0F5}"/>
                </c:ext>
              </c:extLst>
            </c:dLbl>
            <c:dLbl>
              <c:idx val="5"/>
              <c:layout>
                <c:manualLayout>
                  <c:x val="0"/>
                  <c:y val="-0.397968605724838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28D-4844-AF03-153199DAC0F5}"/>
                </c:ext>
              </c:extLst>
            </c:dLbl>
            <c:dLbl>
              <c:idx val="6"/>
              <c:layout>
                <c:manualLayout>
                  <c:x val="0"/>
                  <c:y val="-0.371191135734072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28D-4844-AF03-153199DAC0F5}"/>
                </c:ext>
              </c:extLst>
            </c:dLbl>
            <c:dLbl>
              <c:idx val="7"/>
              <c:layout>
                <c:manualLayout>
                  <c:x val="0"/>
                  <c:y val="-0.3453370267774699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28D-4844-AF03-153199DAC0F5}"/>
                </c:ext>
              </c:extLst>
            </c:dLbl>
            <c:dLbl>
              <c:idx val="8"/>
              <c:layout>
                <c:manualLayout>
                  <c:x val="0"/>
                  <c:y val="-0.385041551246537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28D-4844-AF03-153199DAC0F5}"/>
                </c:ext>
              </c:extLst>
            </c:dLbl>
            <c:dLbl>
              <c:idx val="9"/>
              <c:layout>
                <c:manualLayout>
                  <c:x val="0"/>
                  <c:y val="-0.373037857802400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28D-4844-AF03-153199DAC0F5}"/>
                </c:ext>
              </c:extLst>
            </c:dLbl>
            <c:dLbl>
              <c:idx val="10"/>
              <c:layout>
                <c:manualLayout>
                  <c:x val="0"/>
                  <c:y val="-0.349953831948291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28D-4844-AF03-153199DAC0F5}"/>
                </c:ext>
              </c:extLst>
            </c:dLbl>
            <c:dLbl>
              <c:idx val="11"/>
              <c:layout>
                <c:manualLayout>
                  <c:x val="0"/>
                  <c:y val="-0.26962142197599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28D-4844-AF03-153199DAC0F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.6</c:v>
                </c:pt>
                <c:pt idx="1">
                  <c:v>7.9666666666666668</c:v>
                </c:pt>
                <c:pt idx="2">
                  <c:v>6.3666666666666663</c:v>
                </c:pt>
                <c:pt idx="3">
                  <c:v>10.933333333333334</c:v>
                </c:pt>
                <c:pt idx="4">
                  <c:v>17.399999999999999</c:v>
                </c:pt>
                <c:pt idx="5">
                  <c:v>22.133333333333333</c:v>
                </c:pt>
                <c:pt idx="6">
                  <c:v>20.433333333333334</c:v>
                </c:pt>
                <c:pt idx="7">
                  <c:v>18.733333333333334</c:v>
                </c:pt>
                <c:pt idx="8">
                  <c:v>21.366666666666667</c:v>
                </c:pt>
                <c:pt idx="9">
                  <c:v>20.533333333333335</c:v>
                </c:pt>
                <c:pt idx="10">
                  <c:v>19.033333333333335</c:v>
                </c:pt>
                <c:pt idx="11">
                  <c:v>1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28D-4844-AF03-153199DAC0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8290335"/>
        <c:axId val="1"/>
      </c:barChart>
      <c:catAx>
        <c:axId val="19382903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.13333333333333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82903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981716307873778E-2"/>
          <c:y val="0.11016291698991466"/>
          <c:w val="0.89000294898260102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605131229725744E-2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064-469B-A9B6-6D9FA45E4FAE}"/>
                </c:ext>
              </c:extLst>
            </c:dLbl>
            <c:dLbl>
              <c:idx val="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064-469B-A9B6-6D9FA45E4FAE}"/>
                </c:ext>
              </c:extLst>
            </c:dLbl>
            <c:dLbl>
              <c:idx val="2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064-469B-A9B6-6D9FA45E4FAE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064-469B-A9B6-6D9FA45E4FAE}"/>
                </c:ext>
              </c:extLst>
            </c:dLbl>
            <c:dLbl>
              <c:idx val="4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064-469B-A9B6-6D9FA45E4FAE}"/>
                </c:ext>
              </c:extLst>
            </c:dLbl>
            <c:dLbl>
              <c:idx val="5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064-469B-A9B6-6D9FA45E4FAE}"/>
                </c:ext>
              </c:extLst>
            </c:dLbl>
            <c:dLbl>
              <c:idx val="6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064-469B-A9B6-6D9FA45E4FAE}"/>
                </c:ext>
              </c:extLst>
            </c:dLbl>
            <c:dLbl>
              <c:idx val="7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064-469B-A9B6-6D9FA45E4FAE}"/>
                </c:ext>
              </c:extLst>
            </c:dLbl>
            <c:dLbl>
              <c:idx val="8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064-469B-A9B6-6D9FA45E4FAE}"/>
                </c:ext>
              </c:extLst>
            </c:dLbl>
            <c:dLbl>
              <c:idx val="9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064-469B-A9B6-6D9FA45E4FAE}"/>
                </c:ext>
              </c:extLst>
            </c:dLbl>
            <c:dLbl>
              <c:idx val="10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064-469B-A9B6-6D9FA45E4FAE}"/>
                </c:ext>
              </c:extLst>
            </c:dLbl>
            <c:dLbl>
              <c:idx val="11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064-469B-A9B6-6D9FA45E4FA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15</c:v>
                </c:pt>
                <c:pt idx="1">
                  <c:v>256</c:v>
                </c:pt>
                <c:pt idx="2">
                  <c:v>271</c:v>
                </c:pt>
                <c:pt idx="3">
                  <c:v>266</c:v>
                </c:pt>
                <c:pt idx="4">
                  <c:v>257</c:v>
                </c:pt>
                <c:pt idx="5">
                  <c:v>245</c:v>
                </c:pt>
                <c:pt idx="6">
                  <c:v>238</c:v>
                </c:pt>
                <c:pt idx="7">
                  <c:v>230</c:v>
                </c:pt>
                <c:pt idx="8">
                  <c:v>233</c:v>
                </c:pt>
                <c:pt idx="9">
                  <c:v>211</c:v>
                </c:pt>
                <c:pt idx="10">
                  <c:v>228</c:v>
                </c:pt>
                <c:pt idx="11">
                  <c:v>2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064-469B-A9B6-6D9FA45E4F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65097967"/>
        <c:axId val="1"/>
      </c:lineChart>
      <c:catAx>
        <c:axId val="16650979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0"/>
          <c:min val="18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65097967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46469622331693E-2"/>
          <c:y val="9.5238095238095233E-2"/>
          <c:w val="0.9195402298850574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9162561576354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0AF-44B7-B23F-C19FCE2AB372}"/>
                </c:ext>
              </c:extLst>
            </c:dLbl>
            <c:dLbl>
              <c:idx val="1"/>
              <c:layout>
                <c:manualLayout>
                  <c:x val="0.4429392446633825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0AF-44B7-B23F-C19FCE2AB372}"/>
                </c:ext>
              </c:extLst>
            </c:dLbl>
            <c:dLbl>
              <c:idx val="2"/>
              <c:layout>
                <c:manualLayout>
                  <c:x val="0.3661740558292282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0AF-44B7-B23F-C19FCE2AB372}"/>
                </c:ext>
              </c:extLst>
            </c:dLbl>
            <c:dLbl>
              <c:idx val="3"/>
              <c:layout>
                <c:manualLayout>
                  <c:x val="0.2894088669950739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0AF-44B7-B23F-C19FCE2AB372}"/>
                </c:ext>
              </c:extLst>
            </c:dLbl>
            <c:dLbl>
              <c:idx val="4"/>
              <c:layout>
                <c:manualLayout>
                  <c:x val="0.2894088669950739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0AF-44B7-B23F-C19FCE2AB37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0</c:v>
                </c:pt>
                <c:pt idx="1">
                  <c:v>27</c:v>
                </c:pt>
                <c:pt idx="2">
                  <c:v>22</c:v>
                </c:pt>
                <c:pt idx="3">
                  <c:v>17</c:v>
                </c:pt>
                <c:pt idx="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0AF-44B7-B23F-C19FCE2AB3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94355023"/>
        <c:axId val="1"/>
      </c:barChart>
      <c:catAx>
        <c:axId val="14943550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943550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12-4997-8514-831F04A30A05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7</c:v>
                </c:pt>
                <c:pt idx="7">
                  <c:v>5</c:v>
                </c:pt>
                <c:pt idx="8">
                  <c:v>6</c:v>
                </c:pt>
                <c:pt idx="9">
                  <c:v>5</c:v>
                </c:pt>
                <c:pt idx="10">
                  <c:v>2</c:v>
                </c:pt>
                <c:pt idx="1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12-4997-8514-831F04A30A05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0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5</c:v>
                </c:pt>
                <c:pt idx="8">
                  <c:v>2</c:v>
                </c:pt>
                <c:pt idx="9">
                  <c:v>3</c:v>
                </c:pt>
                <c:pt idx="10">
                  <c:v>1</c:v>
                </c:pt>
                <c:pt idx="1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12-4997-8514-831F04A30A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3761743"/>
        <c:axId val="1"/>
      </c:areaChart>
      <c:catAx>
        <c:axId val="14937617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493761743"/>
        <c:crosses val="min"/>
        <c:crossBetween val="midCat"/>
        <c:majorUnit val="2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75939849624064E-2"/>
          <c:y val="0.11016291698991466"/>
          <c:w val="0.90766917293233085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556390977443608E-2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44-4BE2-83B3-42D792EB2C30}"/>
                </c:ext>
              </c:extLst>
            </c:dLbl>
            <c:dLbl>
              <c:idx val="1"/>
              <c:layout>
                <c:manualLayout>
                  <c:x val="-9.0225563909774441E-3"/>
                  <c:y val="-8.92164468580294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44-4BE2-83B3-42D792EB2C30}"/>
                </c:ext>
              </c:extLst>
            </c:dLbl>
            <c:dLbl>
              <c:idx val="2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44-4BE2-83B3-42D792EB2C30}"/>
                </c:ext>
              </c:extLst>
            </c:dLbl>
            <c:dLbl>
              <c:idx val="3"/>
              <c:layout>
                <c:manualLayout>
                  <c:x val="2.6766917293233081E-2"/>
                  <c:y val="-2.3273855702094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44-4BE2-83B3-42D792EB2C30}"/>
                </c:ext>
              </c:extLst>
            </c:dLbl>
            <c:dLbl>
              <c:idx val="4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844-4BE2-83B3-42D792EB2C30}"/>
                </c:ext>
              </c:extLst>
            </c:dLbl>
            <c:dLbl>
              <c:idx val="5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44-4BE2-83B3-42D792EB2C30}"/>
                </c:ext>
              </c:extLst>
            </c:dLbl>
            <c:dLbl>
              <c:idx val="6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844-4BE2-83B3-42D792EB2C30}"/>
                </c:ext>
              </c:extLst>
            </c:dLbl>
            <c:dLbl>
              <c:idx val="7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44-4BE2-83B3-42D792EB2C30}"/>
                </c:ext>
              </c:extLst>
            </c:dLbl>
            <c:dLbl>
              <c:idx val="8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844-4BE2-83B3-42D792EB2C30}"/>
                </c:ext>
              </c:extLst>
            </c:dLbl>
            <c:dLbl>
              <c:idx val="9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844-4BE2-83B3-42D792EB2C30}"/>
                </c:ext>
              </c:extLst>
            </c:dLbl>
            <c:dLbl>
              <c:idx val="10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44-4BE2-83B3-42D792EB2C30}"/>
                </c:ext>
              </c:extLst>
            </c:dLbl>
            <c:dLbl>
              <c:idx val="11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44-4BE2-83B3-42D792EB2C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62</c:v>
                </c:pt>
                <c:pt idx="1">
                  <c:v>58</c:v>
                </c:pt>
                <c:pt idx="2">
                  <c:v>70</c:v>
                </c:pt>
                <c:pt idx="3">
                  <c:v>58</c:v>
                </c:pt>
                <c:pt idx="4">
                  <c:v>40</c:v>
                </c:pt>
                <c:pt idx="5">
                  <c:v>84</c:v>
                </c:pt>
                <c:pt idx="6">
                  <c:v>67</c:v>
                </c:pt>
                <c:pt idx="7">
                  <c:v>72</c:v>
                </c:pt>
                <c:pt idx="8">
                  <c:v>60</c:v>
                </c:pt>
                <c:pt idx="9">
                  <c:v>49</c:v>
                </c:pt>
                <c:pt idx="10">
                  <c:v>65</c:v>
                </c:pt>
                <c:pt idx="11">
                  <c:v>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A844-4BE2-83B3-42D792EB2C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76120223"/>
        <c:axId val="1"/>
      </c:lineChart>
      <c:catAx>
        <c:axId val="776120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3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776120223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71307300509338E-2"/>
          <c:y val="9.5238095238095233E-2"/>
          <c:w val="0.91680814940577249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5398981324278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9A8-4533-B685-54523E82BB28}"/>
                </c:ext>
              </c:extLst>
            </c:dLbl>
            <c:dLbl>
              <c:idx val="1"/>
              <c:layout>
                <c:manualLayout>
                  <c:x val="0.3875212224108659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9A8-4533-B685-54523E82BB28}"/>
                </c:ext>
              </c:extLst>
            </c:dLbl>
            <c:dLbl>
              <c:idx val="2"/>
              <c:layout>
                <c:manualLayout>
                  <c:x val="0.2958404074702886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9A8-4533-B685-54523E82BB28}"/>
                </c:ext>
              </c:extLst>
            </c:dLbl>
            <c:dLbl>
              <c:idx val="3"/>
              <c:layout>
                <c:manualLayout>
                  <c:x val="0.2958404074702886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9A8-4533-B685-54523E82BB28}"/>
                </c:ext>
              </c:extLst>
            </c:dLbl>
            <c:dLbl>
              <c:idx val="4"/>
              <c:layout>
                <c:manualLayout>
                  <c:x val="0.2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9A8-4533-B685-54523E82BB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0</c:v>
                </c:pt>
                <c:pt idx="1">
                  <c:v>8</c:v>
                </c:pt>
                <c:pt idx="2">
                  <c:v>6</c:v>
                </c:pt>
                <c:pt idx="3">
                  <c:v>6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9A8-4533-B685-54523E82BB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78139167"/>
        <c:axId val="1"/>
      </c:barChart>
      <c:catAx>
        <c:axId val="157813916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781391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29D-4E43-8623-04D7AA073067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6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6</c:v>
                </c:pt>
                <c:pt idx="5">
                  <c:v>5</c:v>
                </c:pt>
                <c:pt idx="6">
                  <c:v>3</c:v>
                </c:pt>
                <c:pt idx="7">
                  <c:v>5</c:v>
                </c:pt>
                <c:pt idx="8">
                  <c:v>6</c:v>
                </c:pt>
                <c:pt idx="9">
                  <c:v>2</c:v>
                </c:pt>
                <c:pt idx="10">
                  <c:v>3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9D-4E43-8623-04D7AA073067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1</c:v>
                </c:pt>
                <c:pt idx="3">
                  <c:v>2</c:v>
                </c:pt>
                <c:pt idx="4">
                  <c:v>4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1</c:v>
                </c:pt>
                <c:pt idx="10">
                  <c:v>2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29D-4E43-8623-04D7AA0730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93850719"/>
        <c:axId val="1"/>
      </c:areaChart>
      <c:catAx>
        <c:axId val="1493850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493850719"/>
        <c:crosses val="min"/>
        <c:crossBetween val="midCat"/>
        <c:majorUnit val="2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75939849624064E-2"/>
          <c:y val="0.14339058999253174"/>
          <c:w val="0.90766917293233085"/>
          <c:h val="0.75056011949215828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6240601503759399E-2"/>
                  <c:y val="3.51008215085885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310-4B5A-8419-1FE518278FF4}"/>
                </c:ext>
              </c:extLst>
            </c:dLbl>
            <c:dLbl>
              <c:idx val="1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310-4B5A-8419-1FE518278FF4}"/>
                </c:ext>
              </c:extLst>
            </c:dLbl>
            <c:dLbl>
              <c:idx val="2"/>
              <c:layout>
                <c:manualLayout>
                  <c:x val="0"/>
                  <c:y val="5.52651232262882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310-4B5A-8419-1FE518278FF4}"/>
                </c:ext>
              </c:extLst>
            </c:dLbl>
            <c:dLbl>
              <c:idx val="3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310-4B5A-8419-1FE518278FF4}"/>
                </c:ext>
              </c:extLst>
            </c:dLbl>
            <c:dLbl>
              <c:idx val="4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310-4B5A-8419-1FE518278FF4}"/>
                </c:ext>
              </c:extLst>
            </c:dLbl>
            <c:dLbl>
              <c:idx val="5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310-4B5A-8419-1FE518278FF4}"/>
                </c:ext>
              </c:extLst>
            </c:dLbl>
            <c:dLbl>
              <c:idx val="6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310-4B5A-8419-1FE518278FF4}"/>
                </c:ext>
              </c:extLst>
            </c:dLbl>
            <c:dLbl>
              <c:idx val="7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310-4B5A-8419-1FE518278FF4}"/>
                </c:ext>
              </c:extLst>
            </c:dLbl>
            <c:dLbl>
              <c:idx val="8"/>
              <c:layout>
                <c:manualLayout>
                  <c:x val="-1.2030075187969926E-2"/>
                  <c:y val="-9.260642270351007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310-4B5A-8419-1FE518278FF4}"/>
                </c:ext>
              </c:extLst>
            </c:dLbl>
            <c:dLbl>
              <c:idx val="9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310-4B5A-8419-1FE518278FF4}"/>
                </c:ext>
              </c:extLst>
            </c:dLbl>
            <c:dLbl>
              <c:idx val="10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310-4B5A-8419-1FE518278FF4}"/>
                </c:ext>
              </c:extLst>
            </c:dLbl>
            <c:dLbl>
              <c:idx val="11"/>
              <c:layout>
                <c:manualLayout>
                  <c:x val="0"/>
                  <c:y val="-5.89992531740104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310-4B5A-8419-1FE518278FF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39</c:v>
                </c:pt>
                <c:pt idx="1">
                  <c:v>69</c:v>
                </c:pt>
                <c:pt idx="2">
                  <c:v>51</c:v>
                </c:pt>
                <c:pt idx="3">
                  <c:v>61</c:v>
                </c:pt>
                <c:pt idx="4">
                  <c:v>57</c:v>
                </c:pt>
                <c:pt idx="5">
                  <c:v>53</c:v>
                </c:pt>
                <c:pt idx="6">
                  <c:v>50</c:v>
                </c:pt>
                <c:pt idx="7">
                  <c:v>42</c:v>
                </c:pt>
                <c:pt idx="8">
                  <c:v>48</c:v>
                </c:pt>
                <c:pt idx="9">
                  <c:v>59</c:v>
                </c:pt>
                <c:pt idx="10">
                  <c:v>59</c:v>
                </c:pt>
                <c:pt idx="11">
                  <c:v>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9310-4B5A-8419-1FE518278F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28623071"/>
        <c:axId val="1"/>
      </c:lineChart>
      <c:catAx>
        <c:axId val="9286230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35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928623071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797018851380975E-2"/>
          <c:y val="9.5238095238095233E-2"/>
          <c:w val="0.93336256028057873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3822884699693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C57-4F7D-ABE3-FB4BC12E1EBB}"/>
                </c:ext>
              </c:extLst>
            </c:dLbl>
            <c:dLbl>
              <c:idx val="1"/>
              <c:layout>
                <c:manualLayout>
                  <c:x val="0.3323103901797457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C57-4F7D-ABE3-FB4BC12E1EBB}"/>
                </c:ext>
              </c:extLst>
            </c:dLbl>
            <c:dLbl>
              <c:idx val="2"/>
              <c:layout>
                <c:manualLayout>
                  <c:x val="0.3323103901797457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C57-4F7D-ABE3-FB4BC12E1EBB}"/>
                </c:ext>
              </c:extLst>
            </c:dLbl>
            <c:dLbl>
              <c:idx val="3"/>
              <c:layout>
                <c:manualLayout>
                  <c:x val="0.2810170977641385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C57-4F7D-ABE3-FB4BC12E1EBB}"/>
                </c:ext>
              </c:extLst>
            </c:dLbl>
            <c:dLbl>
              <c:idx val="4"/>
              <c:layout>
                <c:manualLayout>
                  <c:x val="0.2810170977641385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C57-4F7D-ABE3-FB4BC12E1E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9</c:v>
                </c:pt>
                <c:pt idx="1">
                  <c:v>6</c:v>
                </c:pt>
                <c:pt idx="2">
                  <c:v>6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C57-4F7D-ABE3-FB4BC12E1E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05993535"/>
        <c:axId val="1"/>
      </c:barChart>
      <c:catAx>
        <c:axId val="10059935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059935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384523095380922E-2"/>
          <c:y val="8.1598667776852624E-2"/>
          <c:w val="0.9070185962807438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6B-4B30-B22E-88E2872EC7F8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6B-4B30-B22E-88E2872EC7F8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6B-4B30-B22E-88E2872EC7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05987295"/>
        <c:axId val="1"/>
      </c:areaChart>
      <c:catAx>
        <c:axId val="10059872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005987295"/>
        <c:crosses val="min"/>
        <c:crossBetween val="midCat"/>
        <c:majorUnit val="0.2"/>
      </c:valAx>
    </c:plotArea>
    <c:plotVisOnly val="0"/>
    <c:dispBlanksAs val="zero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44686648501368E-2"/>
          <c:y val="0.16154970760233919"/>
          <c:w val="0.91341204965183165"/>
          <c:h val="0.7346491228070175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6046018770814411E-2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51A-4F66-98A6-44294944B099}"/>
                </c:ext>
              </c:extLst>
            </c:dLbl>
            <c:dLbl>
              <c:idx val="1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51A-4F66-98A6-44294944B099}"/>
                </c:ext>
              </c:extLst>
            </c:dLbl>
            <c:dLbl>
              <c:idx val="2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51A-4F66-98A6-44294944B099}"/>
                </c:ext>
              </c:extLst>
            </c:dLbl>
            <c:dLbl>
              <c:idx val="3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51A-4F66-98A6-44294944B099}"/>
                </c:ext>
              </c:extLst>
            </c:dLbl>
            <c:dLbl>
              <c:idx val="4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51A-4F66-98A6-44294944B099}"/>
                </c:ext>
              </c:extLst>
            </c:dLbl>
            <c:dLbl>
              <c:idx val="5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51A-4F66-98A6-44294944B099}"/>
                </c:ext>
              </c:extLst>
            </c:dLbl>
            <c:dLbl>
              <c:idx val="6"/>
              <c:layout>
                <c:manualLayout>
                  <c:x val="3.9358159249167426E-3"/>
                  <c:y val="-0.100877192982456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51A-4F66-98A6-44294944B099}"/>
                </c:ext>
              </c:extLst>
            </c:dLbl>
            <c:dLbl>
              <c:idx val="7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451A-4F66-98A6-44294944B099}"/>
                </c:ext>
              </c:extLst>
            </c:dLbl>
            <c:dLbl>
              <c:idx val="8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51A-4F66-98A6-44294944B099}"/>
                </c:ext>
              </c:extLst>
            </c:dLbl>
            <c:dLbl>
              <c:idx val="9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51A-4F66-98A6-44294944B099}"/>
                </c:ext>
              </c:extLst>
            </c:dLbl>
            <c:dLbl>
              <c:idx val="10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51A-4F66-98A6-44294944B099}"/>
                </c:ext>
              </c:extLst>
            </c:dLbl>
            <c:dLbl>
              <c:idx val="11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51A-4F66-98A6-44294944B09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</c:v>
                </c:pt>
                <c:pt idx="1">
                  <c:v>5</c:v>
                </c:pt>
                <c:pt idx="2">
                  <c:v>9</c:v>
                </c:pt>
                <c:pt idx="3">
                  <c:v>7</c:v>
                </c:pt>
                <c:pt idx="4">
                  <c:v>4</c:v>
                </c:pt>
                <c:pt idx="5">
                  <c:v>16</c:v>
                </c:pt>
                <c:pt idx="6">
                  <c:v>1</c:v>
                </c:pt>
                <c:pt idx="7">
                  <c:v>8</c:v>
                </c:pt>
                <c:pt idx="8">
                  <c:v>7</c:v>
                </c:pt>
                <c:pt idx="9">
                  <c:v>3</c:v>
                </c:pt>
                <c:pt idx="10">
                  <c:v>3</c:v>
                </c:pt>
                <c:pt idx="11">
                  <c:v>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451A-4F66-98A6-44294944B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42031535"/>
        <c:axId val="1"/>
      </c:lineChart>
      <c:catAx>
        <c:axId val="14420315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442031535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50490351154697E-2"/>
          <c:y val="4.3697478991596636E-2"/>
          <c:w val="0.9670990192976906"/>
          <c:h val="0.912605042016806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C000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0824-4F36-B60D-BAA869D8F409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0824-4F36-B60D-BAA869D8F409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0824-4F36-B60D-BAA869D8F409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824-4F36-B60D-BAA869D8F409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824-4F36-B60D-BAA869D8F409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824-4F36-B60D-BAA869D8F409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824-4F36-B60D-BAA869D8F409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824-4F36-B60D-BAA869D8F409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824-4F36-B60D-BAA869D8F409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824-4F36-B60D-BAA869D8F409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824-4F36-B60D-BAA869D8F409}"/>
              </c:ext>
            </c:extLst>
          </c:dPt>
          <c:dPt>
            <c:idx val="11"/>
            <c:marker>
              <c:symbol val="diamond"/>
              <c:size val="6"/>
              <c:spPr>
                <a:solidFill>
                  <a:srgbClr val="C00000"/>
                </a:solidFill>
                <a:ln w="9525" cmpd="sng" algn="ctr">
                  <a:solidFill>
                    <a:srgbClr val="C0000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824-4F36-B60D-BAA869D8F409}"/>
              </c:ext>
            </c:extLst>
          </c:dPt>
          <c:val>
            <c:numRef>
              <c:f>Sheet1!$A$1:$L$1</c:f>
              <c:numCache>
                <c:formatCode>General</c:formatCode>
                <c:ptCount val="12"/>
                <c:pt idx="0">
                  <c:v>23594</c:v>
                </c:pt>
                <c:pt idx="1">
                  <c:v>25050</c:v>
                </c:pt>
                <c:pt idx="2">
                  <c:v>26258</c:v>
                </c:pt>
                <c:pt idx="3">
                  <c:v>21716</c:v>
                </c:pt>
                <c:pt idx="4">
                  <c:v>19666</c:v>
                </c:pt>
                <c:pt idx="5">
                  <c:v>19999</c:v>
                </c:pt>
                <c:pt idx="6">
                  <c:v>18601</c:v>
                </c:pt>
                <c:pt idx="7">
                  <c:v>17711</c:v>
                </c:pt>
                <c:pt idx="8">
                  <c:v>16999</c:v>
                </c:pt>
                <c:pt idx="9">
                  <c:v>16657</c:v>
                </c:pt>
                <c:pt idx="10">
                  <c:v>18979</c:v>
                </c:pt>
                <c:pt idx="11">
                  <c:v>19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0824-4F36-B60D-BAA869D8F409}"/>
            </c:ext>
          </c:extLst>
        </c:ser>
        <c:ser>
          <c:idx val="1"/>
          <c:order val="1"/>
          <c:spPr>
            <a:ln w="1905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824-4F36-B60D-BAA869D8F409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824-4F36-B60D-BAA869D8F409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0824-4F36-B60D-BAA869D8F409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824-4F36-B60D-BAA869D8F409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824-4F36-B60D-BAA869D8F409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824-4F36-B60D-BAA869D8F409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0824-4F36-B60D-BAA869D8F409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824-4F36-B60D-BAA869D8F409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0824-4F36-B60D-BAA869D8F409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0824-4F36-B60D-BAA869D8F409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0824-4F36-B60D-BAA869D8F409}"/>
              </c:ext>
            </c:extLst>
          </c:dPt>
          <c:dPt>
            <c:idx val="11"/>
            <c:marker>
              <c:symbol val="diamond"/>
              <c:size val="6"/>
              <c:spPr>
                <a:solidFill>
                  <a:schemeClr val="accent2"/>
                </a:solidFill>
                <a:ln w="9525" cmpd="sng" algn="ctr">
                  <a:solidFill>
                    <a:schemeClr val="accent2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0824-4F36-B60D-BAA869D8F409}"/>
              </c:ext>
            </c:extLst>
          </c:dPt>
          <c:val>
            <c:numRef>
              <c:f>Sheet1!$A$2:$L$2</c:f>
              <c:numCache>
                <c:formatCode>General</c:formatCode>
                <c:ptCount val="12"/>
                <c:pt idx="0">
                  <c:v>25040</c:v>
                </c:pt>
                <c:pt idx="1">
                  <c:v>26228</c:v>
                </c:pt>
                <c:pt idx="2">
                  <c:v>27612</c:v>
                </c:pt>
                <c:pt idx="3">
                  <c:v>25851</c:v>
                </c:pt>
                <c:pt idx="4">
                  <c:v>24046</c:v>
                </c:pt>
                <c:pt idx="5">
                  <c:v>23354</c:v>
                </c:pt>
                <c:pt idx="6">
                  <c:v>20709</c:v>
                </c:pt>
                <c:pt idx="7">
                  <c:v>20130</c:v>
                </c:pt>
                <c:pt idx="8">
                  <c:v>21551</c:v>
                </c:pt>
                <c:pt idx="9">
                  <c:v>21633</c:v>
                </c:pt>
                <c:pt idx="10">
                  <c:v>22451</c:v>
                </c:pt>
                <c:pt idx="11">
                  <c:v>23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9-0824-4F36-B60D-BAA869D8F409}"/>
            </c:ext>
          </c:extLst>
        </c:ser>
        <c:ser>
          <c:idx val="2"/>
          <c:order val="2"/>
          <c:spPr>
            <a:ln w="19050" cmpd="sng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0824-4F36-B60D-BAA869D8F409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0824-4F36-B60D-BAA869D8F409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C-0824-4F36-B60D-BAA869D8F409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D-0824-4F36-B60D-BAA869D8F409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E-0824-4F36-B60D-BAA869D8F409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F-0824-4F36-B60D-BAA869D8F409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0-0824-4F36-B60D-BAA869D8F409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1-0824-4F36-B60D-BAA869D8F409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2-0824-4F36-B60D-BAA869D8F409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3-0824-4F36-B60D-BAA869D8F409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4-0824-4F36-B60D-BAA869D8F409}"/>
              </c:ext>
            </c:extLst>
          </c:dPt>
          <c:dPt>
            <c:idx val="11"/>
            <c:marker>
              <c:symbol val="diamond"/>
              <c:size val="6"/>
              <c:spPr>
                <a:solidFill>
                  <a:schemeClr val="accent3"/>
                </a:solidFill>
                <a:ln w="9525" cmpd="sng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5-0824-4F36-B60D-BAA869D8F409}"/>
              </c:ext>
            </c:extLst>
          </c:dPt>
          <c:val>
            <c:numRef>
              <c:f>Sheet1!$A$3:$L$3</c:f>
              <c:numCache>
                <c:formatCode>General</c:formatCode>
                <c:ptCount val="12"/>
                <c:pt idx="0">
                  <c:v>20717</c:v>
                </c:pt>
                <c:pt idx="1">
                  <c:v>21187</c:v>
                </c:pt>
                <c:pt idx="2">
                  <c:v>22184</c:v>
                </c:pt>
                <c:pt idx="3">
                  <c:v>17242</c:v>
                </c:pt>
                <c:pt idx="4">
                  <c:v>16354</c:v>
                </c:pt>
                <c:pt idx="5">
                  <c:v>16311</c:v>
                </c:pt>
                <c:pt idx="6">
                  <c:v>14654</c:v>
                </c:pt>
                <c:pt idx="7">
                  <c:v>14572</c:v>
                </c:pt>
                <c:pt idx="8">
                  <c:v>14658</c:v>
                </c:pt>
                <c:pt idx="9">
                  <c:v>14666</c:v>
                </c:pt>
                <c:pt idx="10">
                  <c:v>16972</c:v>
                </c:pt>
                <c:pt idx="11">
                  <c:v>173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6-0824-4F36-B60D-BAA869D8F409}"/>
            </c:ext>
          </c:extLst>
        </c:ser>
        <c:ser>
          <c:idx val="3"/>
          <c:order val="3"/>
          <c:spPr>
            <a:ln w="19050" cmpd="sng" algn="ctr">
              <a:solidFill>
                <a:schemeClr val="accent4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7-0824-4F36-B60D-BAA869D8F409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8-0824-4F36-B60D-BAA869D8F409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9-0824-4F36-B60D-BAA869D8F409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A-0824-4F36-B60D-BAA869D8F409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B-0824-4F36-B60D-BAA869D8F409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C-0824-4F36-B60D-BAA869D8F409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D-0824-4F36-B60D-BAA869D8F409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E-0824-4F36-B60D-BAA869D8F409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2F-0824-4F36-B60D-BAA869D8F409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0-0824-4F36-B60D-BAA869D8F409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1-0824-4F36-B60D-BAA869D8F409}"/>
              </c:ext>
            </c:extLst>
          </c:dPt>
          <c:dPt>
            <c:idx val="11"/>
            <c:marker>
              <c:symbol val="diamond"/>
              <c:size val="6"/>
              <c:spPr>
                <a:solidFill>
                  <a:schemeClr val="accent4"/>
                </a:solidFill>
                <a:ln w="9525" cmpd="sng" algn="ctr">
                  <a:solidFill>
                    <a:schemeClr val="accent4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32-0824-4F36-B60D-BAA869D8F409}"/>
              </c:ext>
            </c:extLst>
          </c:dPt>
          <c:val>
            <c:numRef>
              <c:f>Sheet1!$A$4:$L$4</c:f>
              <c:numCache>
                <c:formatCode>General</c:formatCode>
                <c:ptCount val="12"/>
                <c:pt idx="0">
                  <c:v>32404</c:v>
                </c:pt>
                <c:pt idx="1">
                  <c:v>33475</c:v>
                </c:pt>
                <c:pt idx="2">
                  <c:v>33654</c:v>
                </c:pt>
                <c:pt idx="3">
                  <c:v>32359</c:v>
                </c:pt>
                <c:pt idx="4">
                  <c:v>29939</c:v>
                </c:pt>
                <c:pt idx="5">
                  <c:v>29296</c:v>
                </c:pt>
                <c:pt idx="6">
                  <c:v>25151</c:v>
                </c:pt>
                <c:pt idx="7">
                  <c:v>24201</c:v>
                </c:pt>
                <c:pt idx="8">
                  <c:v>23904</c:v>
                </c:pt>
                <c:pt idx="9">
                  <c:v>25436</c:v>
                </c:pt>
                <c:pt idx="10">
                  <c:v>27533</c:v>
                </c:pt>
                <c:pt idx="11">
                  <c:v>291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3-0824-4F36-B60D-BAA869D8F4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96890528"/>
        <c:axId val="1"/>
      </c:lineChart>
      <c:catAx>
        <c:axId val="1396890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00"/>
          <c:min val="5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96890528"/>
        <c:crosses val="min"/>
        <c:crossBetween val="midCat"/>
        <c:majorUnit val="5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14828897338403E-2"/>
          <c:y val="0.10380116959064327"/>
          <c:w val="0.92775665399239549"/>
          <c:h val="0.7923976608187134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716730038022815"/>
                  <c:y val="2.192982456140350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84-49E3-8912-A26417A2EA8E}"/>
                </c:ext>
              </c:extLst>
            </c:dLbl>
            <c:dLbl>
              <c:idx val="1"/>
              <c:layout>
                <c:manualLayout>
                  <c:x val="0.48716730038022815"/>
                  <c:y val="2.192982456140350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84-49E3-8912-A26417A2EA8E}"/>
                </c:ext>
              </c:extLst>
            </c:dLbl>
            <c:dLbl>
              <c:idx val="2"/>
              <c:layout>
                <c:manualLayout>
                  <c:x val="0.48716730038022815"/>
                  <c:y val="2.192982456140350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84-49E3-8912-A26417A2EA8E}"/>
                </c:ext>
              </c:extLst>
            </c:dLbl>
            <c:dLbl>
              <c:idx val="3"/>
              <c:layout>
                <c:manualLayout>
                  <c:x val="0.48716730038022815"/>
                  <c:y val="2.192982456140350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84-49E3-8912-A26417A2EA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E84-49E3-8912-A26417A2E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28937103"/>
        <c:axId val="1"/>
      </c:barChart>
      <c:catAx>
        <c:axId val="42893710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289371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0</c:v>
                </c:pt>
                <c:pt idx="6">
                  <c:v>2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4D-4876-90A5-6935E92EEA03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7</c:v>
                </c:pt>
                <c:pt idx="4">
                  <c:v>13</c:v>
                </c:pt>
                <c:pt idx="5">
                  <c:v>13</c:v>
                </c:pt>
                <c:pt idx="6">
                  <c:v>12</c:v>
                </c:pt>
                <c:pt idx="7">
                  <c:v>13</c:v>
                </c:pt>
                <c:pt idx="8">
                  <c:v>16</c:v>
                </c:pt>
                <c:pt idx="9">
                  <c:v>15</c:v>
                </c:pt>
                <c:pt idx="10">
                  <c:v>12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4D-4876-90A5-6935E92EEA03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6</c:v>
                </c:pt>
                <c:pt idx="1">
                  <c:v>1</c:v>
                </c:pt>
                <c:pt idx="2">
                  <c:v>3</c:v>
                </c:pt>
                <c:pt idx="3">
                  <c:v>6</c:v>
                </c:pt>
                <c:pt idx="4">
                  <c:v>11</c:v>
                </c:pt>
                <c:pt idx="5">
                  <c:v>18</c:v>
                </c:pt>
                <c:pt idx="6">
                  <c:v>17</c:v>
                </c:pt>
                <c:pt idx="7">
                  <c:v>9</c:v>
                </c:pt>
                <c:pt idx="8">
                  <c:v>13</c:v>
                </c:pt>
                <c:pt idx="9">
                  <c:v>15</c:v>
                </c:pt>
                <c:pt idx="10">
                  <c:v>6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4D-4876-90A5-6935E92EEA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3941807"/>
        <c:axId val="1"/>
      </c:areaChart>
      <c:catAx>
        <c:axId val="163941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3941807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981716307873778E-2"/>
          <c:y val="0.13499245852187028"/>
          <c:w val="0.89000294898260102"/>
          <c:h val="0.757918552036199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605131229725744E-2"/>
                  <c:y val="5.58069381598793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B9A-4889-BBCD-C865A6696ED0}"/>
                </c:ext>
              </c:extLst>
            </c:dLbl>
            <c:dLbl>
              <c:idx val="1"/>
              <c:layout>
                <c:manualLayout>
                  <c:x val="-1.3860218224712475E-2"/>
                  <c:y val="-7.918552036199094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B9A-4889-BBCD-C865A6696ED0}"/>
                </c:ext>
              </c:extLst>
            </c:dLbl>
            <c:dLbl>
              <c:idx val="2"/>
              <c:layout>
                <c:manualLayout>
                  <c:x val="0"/>
                  <c:y val="-5.95776772247360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B9A-4889-BBCD-C865A6696ED0}"/>
                </c:ext>
              </c:extLst>
            </c:dLbl>
            <c:dLbl>
              <c:idx val="3"/>
              <c:layout>
                <c:manualLayout>
                  <c:x val="0"/>
                  <c:y val="-5.95776772247360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B9A-4889-BBCD-C865A6696ED0}"/>
                </c:ext>
              </c:extLst>
            </c:dLbl>
            <c:dLbl>
              <c:idx val="4"/>
              <c:layout>
                <c:manualLayout>
                  <c:x val="0"/>
                  <c:y val="-5.95776772247360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B9A-4889-BBCD-C865A6696ED0}"/>
                </c:ext>
              </c:extLst>
            </c:dLbl>
            <c:dLbl>
              <c:idx val="5"/>
              <c:layout>
                <c:manualLayout>
                  <c:x val="0"/>
                  <c:y val="-5.95776772247360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B9A-4889-BBCD-C865A6696ED0}"/>
                </c:ext>
              </c:extLst>
            </c:dLbl>
            <c:dLbl>
              <c:idx val="6"/>
              <c:layout>
                <c:manualLayout>
                  <c:x val="0"/>
                  <c:y val="5.58069381598793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B9A-4889-BBCD-C865A6696ED0}"/>
                </c:ext>
              </c:extLst>
            </c:dLbl>
            <c:dLbl>
              <c:idx val="7"/>
              <c:layout>
                <c:manualLayout>
                  <c:x val="0"/>
                  <c:y val="-5.95776772247360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B9A-4889-BBCD-C865A6696ED0}"/>
                </c:ext>
              </c:extLst>
            </c:dLbl>
            <c:dLbl>
              <c:idx val="8"/>
              <c:layout>
                <c:manualLayout>
                  <c:x val="0"/>
                  <c:y val="-5.95776772247360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B9A-4889-BBCD-C865A6696ED0}"/>
                </c:ext>
              </c:extLst>
            </c:dLbl>
            <c:dLbl>
              <c:idx val="9"/>
              <c:layout>
                <c:manualLayout>
                  <c:x val="0"/>
                  <c:y val="5.58069381598793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B9A-4889-BBCD-C865A6696ED0}"/>
                </c:ext>
              </c:extLst>
            </c:dLbl>
            <c:dLbl>
              <c:idx val="10"/>
              <c:layout>
                <c:manualLayout>
                  <c:x val="0"/>
                  <c:y val="5.580693815987933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B9A-4889-BBCD-C865A6696ED0}"/>
                </c:ext>
              </c:extLst>
            </c:dLbl>
            <c:dLbl>
              <c:idx val="11"/>
              <c:layout>
                <c:manualLayout>
                  <c:x val="0"/>
                  <c:y val="-5.95776772247360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B9A-4889-BBCD-C865A6696E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55</c:v>
                </c:pt>
                <c:pt idx="1">
                  <c:v>195</c:v>
                </c:pt>
                <c:pt idx="2">
                  <c:v>225</c:v>
                </c:pt>
                <c:pt idx="3">
                  <c:v>204</c:v>
                </c:pt>
                <c:pt idx="4">
                  <c:v>190</c:v>
                </c:pt>
                <c:pt idx="5">
                  <c:v>197</c:v>
                </c:pt>
                <c:pt idx="6">
                  <c:v>171</c:v>
                </c:pt>
                <c:pt idx="7">
                  <c:v>185</c:v>
                </c:pt>
                <c:pt idx="8">
                  <c:v>189</c:v>
                </c:pt>
                <c:pt idx="9">
                  <c:v>164</c:v>
                </c:pt>
                <c:pt idx="10">
                  <c:v>170</c:v>
                </c:pt>
                <c:pt idx="11">
                  <c:v>2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6B9A-4889-BBCD-C865A6696E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8187663"/>
        <c:axId val="1"/>
      </c:lineChart>
      <c:catAx>
        <c:axId val="12581876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"/>
          <c:min val="12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258187663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46469622331693E-2"/>
          <c:y val="9.5238095238095233E-2"/>
          <c:w val="0.9195402298850574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9162561576354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4E-48B3-9E66-ADCE256DB8A3}"/>
                </c:ext>
              </c:extLst>
            </c:dLbl>
            <c:dLbl>
              <c:idx val="1"/>
              <c:layout>
                <c:manualLayout>
                  <c:x val="0.35303776683087029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44E-48B3-9E66-ADCE256DB8A3}"/>
                </c:ext>
              </c:extLst>
            </c:dLbl>
            <c:dLbl>
              <c:idx val="2"/>
              <c:layout>
                <c:manualLayout>
                  <c:x val="0.3321018062397372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4E-48B3-9E66-ADCE256DB8A3}"/>
                </c:ext>
              </c:extLst>
            </c:dLbl>
            <c:dLbl>
              <c:idx val="3"/>
              <c:layout>
                <c:manualLayout>
                  <c:x val="0.2274220032840722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44E-48B3-9E66-ADCE256DB8A3}"/>
                </c:ext>
              </c:extLst>
            </c:dLbl>
            <c:dLbl>
              <c:idx val="4"/>
              <c:layout>
                <c:manualLayout>
                  <c:x val="0.1440886699507389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44E-48B3-9E66-ADCE256DB8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4</c:v>
                </c:pt>
                <c:pt idx="1">
                  <c:v>31</c:v>
                </c:pt>
                <c:pt idx="2">
                  <c:v>29</c:v>
                </c:pt>
                <c:pt idx="3">
                  <c:v>19</c:v>
                </c:pt>
                <c:pt idx="4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44E-48B3-9E66-ADCE256DB8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9026463"/>
        <c:axId val="1"/>
      </c:barChart>
      <c:catAx>
        <c:axId val="153902646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90264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E9-4017-9B21-EFDFB2CEBFBF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8</c:v>
                </c:pt>
                <c:pt idx="6">
                  <c:v>2</c:v>
                </c:pt>
                <c:pt idx="7">
                  <c:v>0</c:v>
                </c:pt>
                <c:pt idx="8">
                  <c:v>2</c:v>
                </c:pt>
                <c:pt idx="9">
                  <c:v>6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2E9-4017-9B21-EFDFB2CEBFBF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</c:v>
                </c:pt>
                <c:pt idx="4">
                  <c:v>1</c:v>
                </c:pt>
                <c:pt idx="5">
                  <c:v>1</c:v>
                </c:pt>
                <c:pt idx="6">
                  <c:v>4</c:v>
                </c:pt>
                <c:pt idx="7">
                  <c:v>1</c:v>
                </c:pt>
                <c:pt idx="8">
                  <c:v>0</c:v>
                </c:pt>
                <c:pt idx="9">
                  <c:v>5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2E9-4017-9B21-EFDFB2CEBF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9047023"/>
        <c:axId val="1"/>
      </c:areaChart>
      <c:catAx>
        <c:axId val="4290470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429047023"/>
        <c:crosses val="min"/>
        <c:crossBetween val="midCat"/>
        <c:majorUnit val="2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75939849624064E-2"/>
          <c:y val="0.11016291698991466"/>
          <c:w val="0.90766917293233085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556390977443608E-2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9F9-4132-9F89-36CE1A58E4CA}"/>
                </c:ext>
              </c:extLst>
            </c:dLbl>
            <c:dLbl>
              <c:idx val="1"/>
              <c:layout>
                <c:manualLayout>
                  <c:x val="-9.0225563909774441E-3"/>
                  <c:y val="-8.99922420480993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9F9-4132-9F89-36CE1A58E4CA}"/>
                </c:ext>
              </c:extLst>
            </c:dLbl>
            <c:dLbl>
              <c:idx val="2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9F9-4132-9F89-36CE1A58E4CA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9F9-4132-9F89-36CE1A58E4CA}"/>
                </c:ext>
              </c:extLst>
            </c:dLbl>
            <c:dLbl>
              <c:idx val="4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9F9-4132-9F89-36CE1A58E4CA}"/>
                </c:ext>
              </c:extLst>
            </c:dLbl>
            <c:dLbl>
              <c:idx val="5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9F9-4132-9F89-36CE1A58E4CA}"/>
                </c:ext>
              </c:extLst>
            </c:dLbl>
            <c:dLbl>
              <c:idx val="6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9F9-4132-9F89-36CE1A58E4CA}"/>
                </c:ext>
              </c:extLst>
            </c:dLbl>
            <c:dLbl>
              <c:idx val="7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9F9-4132-9F89-36CE1A58E4CA}"/>
                </c:ext>
              </c:extLst>
            </c:dLbl>
            <c:dLbl>
              <c:idx val="8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9F9-4132-9F89-36CE1A58E4CA}"/>
                </c:ext>
              </c:extLst>
            </c:dLbl>
            <c:dLbl>
              <c:idx val="9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9F9-4132-9F89-36CE1A58E4CA}"/>
                </c:ext>
              </c:extLst>
            </c:dLbl>
            <c:dLbl>
              <c:idx val="10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9F9-4132-9F89-36CE1A58E4CA}"/>
                </c:ext>
              </c:extLst>
            </c:dLbl>
            <c:dLbl>
              <c:idx val="1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9F9-4132-9F89-36CE1A58E4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4</c:v>
                </c:pt>
                <c:pt idx="1">
                  <c:v>30</c:v>
                </c:pt>
                <c:pt idx="2">
                  <c:v>39</c:v>
                </c:pt>
                <c:pt idx="3">
                  <c:v>39</c:v>
                </c:pt>
                <c:pt idx="4">
                  <c:v>26</c:v>
                </c:pt>
                <c:pt idx="5">
                  <c:v>23</c:v>
                </c:pt>
                <c:pt idx="6">
                  <c:v>32</c:v>
                </c:pt>
                <c:pt idx="7">
                  <c:v>24</c:v>
                </c:pt>
                <c:pt idx="8">
                  <c:v>22</c:v>
                </c:pt>
                <c:pt idx="9">
                  <c:v>23</c:v>
                </c:pt>
                <c:pt idx="10">
                  <c:v>28</c:v>
                </c:pt>
                <c:pt idx="11">
                  <c:v>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A9F9-4132-9F89-36CE1A58E4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2680016"/>
        <c:axId val="1"/>
      </c:lineChart>
      <c:catAx>
        <c:axId val="17826800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15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782680016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687609075043629E-2"/>
          <c:y val="9.5238095238095233E-2"/>
          <c:w val="0.9336823734729493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2198952879581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146-45E4-BFCC-6D6E06677593}"/>
                </c:ext>
              </c:extLst>
            </c:dLbl>
            <c:dLbl>
              <c:idx val="1"/>
              <c:layout>
                <c:manualLayout>
                  <c:x val="0.4882198952879581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146-45E4-BFCC-6D6E06677593}"/>
                </c:ext>
              </c:extLst>
            </c:dLbl>
            <c:dLbl>
              <c:idx val="2"/>
              <c:layout>
                <c:manualLayout>
                  <c:x val="0.2290575916230366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146-45E4-BFCC-6D6E06677593}"/>
                </c:ext>
              </c:extLst>
            </c:dLbl>
            <c:dLbl>
              <c:idx val="3"/>
              <c:layout>
                <c:manualLayout>
                  <c:x val="0.1767015706806282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146-45E4-BFCC-6D6E06677593}"/>
                </c:ext>
              </c:extLst>
            </c:dLbl>
            <c:dLbl>
              <c:idx val="4"/>
              <c:layout>
                <c:manualLayout>
                  <c:x val="0.1767015706806282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146-45E4-BFCC-6D6E0667759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9</c:v>
                </c:pt>
                <c:pt idx="1">
                  <c:v>9</c:v>
                </c:pt>
                <c:pt idx="2">
                  <c:v>4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146-45E4-BFCC-6D6E06677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4507199"/>
        <c:axId val="1"/>
      </c:barChart>
      <c:catAx>
        <c:axId val="153450719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345071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7735004476275733E-2"/>
          <c:w val="0.92590324556031844"/>
          <c:h val="0.8245299910474485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00-4804-AAE5-20D031E58D85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00-4804-AAE5-20D031E58D85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00-4804-AAE5-20D031E58D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32033551"/>
        <c:axId val="1"/>
      </c:areaChart>
      <c:catAx>
        <c:axId val="1132033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32033551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541300527240778E-2"/>
          <c:y val="0.11837048424289008"/>
          <c:w val="0.8840070298769771"/>
          <c:h val="0.7724827056110683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1968365553602813E-2"/>
                  <c:y val="5.68793235972328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713-4F0E-9B51-464C20061EF0}"/>
                </c:ext>
              </c:extLst>
            </c:dLbl>
            <c:dLbl>
              <c:idx val="1"/>
              <c:layout>
                <c:manualLayout>
                  <c:x val="0"/>
                  <c:y val="5.68793235972328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713-4F0E-9B51-464C20061EF0}"/>
                </c:ext>
              </c:extLst>
            </c:dLbl>
            <c:dLbl>
              <c:idx val="2"/>
              <c:layout>
                <c:manualLayout>
                  <c:x val="0"/>
                  <c:y val="-6.07225211375864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713-4F0E-9B51-464C20061EF0}"/>
                </c:ext>
              </c:extLst>
            </c:dLbl>
            <c:dLbl>
              <c:idx val="3"/>
              <c:layout>
                <c:manualLayout>
                  <c:x val="0"/>
                  <c:y val="-6.07225211375864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713-4F0E-9B51-464C20061EF0}"/>
                </c:ext>
              </c:extLst>
            </c:dLbl>
            <c:dLbl>
              <c:idx val="4"/>
              <c:layout>
                <c:manualLayout>
                  <c:x val="0"/>
                  <c:y val="-6.07225211375864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713-4F0E-9B51-464C20061EF0}"/>
                </c:ext>
              </c:extLst>
            </c:dLbl>
            <c:dLbl>
              <c:idx val="5"/>
              <c:layout>
                <c:manualLayout>
                  <c:x val="0"/>
                  <c:y val="5.68793235972328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713-4F0E-9B51-464C20061EF0}"/>
                </c:ext>
              </c:extLst>
            </c:dLbl>
            <c:dLbl>
              <c:idx val="6"/>
              <c:layout>
                <c:manualLayout>
                  <c:x val="0"/>
                  <c:y val="5.68793235972328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713-4F0E-9B51-464C20061EF0}"/>
                </c:ext>
              </c:extLst>
            </c:dLbl>
            <c:dLbl>
              <c:idx val="7"/>
              <c:layout>
                <c:manualLayout>
                  <c:x val="0"/>
                  <c:y val="5.687932359723289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713-4F0E-9B51-464C20061EF0}"/>
                </c:ext>
              </c:extLst>
            </c:dLbl>
            <c:dLbl>
              <c:idx val="8"/>
              <c:layout>
                <c:manualLayout>
                  <c:x val="1.9625073227885179E-2"/>
                  <c:y val="-2.30591852421214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713-4F0E-9B51-464C20061EF0}"/>
                </c:ext>
              </c:extLst>
            </c:dLbl>
            <c:dLbl>
              <c:idx val="9"/>
              <c:layout>
                <c:manualLayout>
                  <c:x val="0"/>
                  <c:y val="-6.07225211375864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713-4F0E-9B51-464C20061EF0}"/>
                </c:ext>
              </c:extLst>
            </c:dLbl>
            <c:dLbl>
              <c:idx val="10"/>
              <c:layout>
                <c:manualLayout>
                  <c:x val="2.6069127123608669E-2"/>
                  <c:y val="-2.30591852421214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713-4F0E-9B51-464C20061EF0}"/>
                </c:ext>
              </c:extLst>
            </c:dLbl>
            <c:dLbl>
              <c:idx val="11"/>
              <c:layout>
                <c:manualLayout>
                  <c:x val="2.6069127123608669E-2"/>
                  <c:y val="-2.305918524212144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713-4F0E-9B51-464C20061EF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4</c:v>
                </c:pt>
                <c:pt idx="1">
                  <c:v>13</c:v>
                </c:pt>
                <c:pt idx="2">
                  <c:v>17</c:v>
                </c:pt>
                <c:pt idx="3">
                  <c:v>17</c:v>
                </c:pt>
                <c:pt idx="4">
                  <c:v>19</c:v>
                </c:pt>
                <c:pt idx="5">
                  <c:v>14</c:v>
                </c:pt>
                <c:pt idx="6">
                  <c:v>12</c:v>
                </c:pt>
                <c:pt idx="7">
                  <c:v>10</c:v>
                </c:pt>
                <c:pt idx="8">
                  <c:v>6</c:v>
                </c:pt>
                <c:pt idx="9">
                  <c:v>16</c:v>
                </c:pt>
                <c:pt idx="10">
                  <c:v>14</c:v>
                </c:pt>
                <c:pt idx="11">
                  <c:v>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D713-4F0E-9B51-464C20061E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3665247"/>
        <c:axId val="1"/>
      </c:lineChart>
      <c:catAx>
        <c:axId val="12536652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5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253665247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65230166503428E-2"/>
          <c:y val="0.1"/>
          <c:w val="0.92556317335945149"/>
          <c:h val="0.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677766895200786"/>
                  <c:y val="2.11267605633802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BA8-41F4-B25E-7D891918CC08}"/>
                </c:ext>
              </c:extLst>
            </c:dLbl>
            <c:dLbl>
              <c:idx val="1"/>
              <c:layout>
                <c:manualLayout>
                  <c:x val="0.48677766895200786"/>
                  <c:y val="2.11267605633802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BA8-41F4-B25E-7D891918CC08}"/>
                </c:ext>
              </c:extLst>
            </c:dLbl>
            <c:dLbl>
              <c:idx val="2"/>
              <c:layout>
                <c:manualLayout>
                  <c:x val="0.25563173359451519"/>
                  <c:y val="2.11267605633802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BA8-41F4-B25E-7D891918CC08}"/>
                </c:ext>
              </c:extLst>
            </c:dLbl>
            <c:dLbl>
              <c:idx val="3"/>
              <c:layout>
                <c:manualLayout>
                  <c:x val="0.25563173359451519"/>
                  <c:y val="2.11267605633802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BA8-41F4-B25E-7D891918CC08}"/>
                </c:ext>
              </c:extLst>
            </c:dLbl>
            <c:dLbl>
              <c:idx val="4"/>
              <c:layout>
                <c:manualLayout>
                  <c:x val="0.25563173359451519"/>
                  <c:y val="2.11267605633802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BA8-41F4-B25E-7D891918CC0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BA8-41F4-B25E-7D891918CC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0460959"/>
        <c:axId val="1"/>
      </c:barChart>
      <c:catAx>
        <c:axId val="10404609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40460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0472706809229"/>
          <c:y val="0.14583333333333334"/>
          <c:w val="0.86015756893640971"/>
          <c:h val="0.7083333333333333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F255-4E72-A1E8-366601E04158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F255-4E72-A1E8-366601E04158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F255-4E72-A1E8-366601E04158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255-4E72-A1E8-366601E04158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F255-4E72-A1E8-366601E04158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F255-4E72-A1E8-366601E04158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F255-4E72-A1E8-366601E04158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F255-4E72-A1E8-366601E04158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F255-4E72-A1E8-366601E04158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F255-4E72-A1E8-366601E04158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F255-4E72-A1E8-366601E04158}"/>
              </c:ext>
            </c:extLst>
          </c:dPt>
          <c:dPt>
            <c:idx val="11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F255-4E72-A1E8-366601E04158}"/>
              </c:ext>
            </c:extLst>
          </c:dPt>
          <c:dLbls>
            <c:dLbl>
              <c:idx val="1"/>
              <c:layout>
                <c:manualLayout>
                  <c:x val="0"/>
                  <c:y val="9.635416666666667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255-4E72-A1E8-366601E04158}"/>
                </c:ext>
              </c:extLst>
            </c:dLbl>
            <c:dLbl>
              <c:idx val="2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255-4E72-A1E8-366601E04158}"/>
                </c:ext>
              </c:extLst>
            </c:dLbl>
            <c:dLbl>
              <c:idx val="3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255-4E72-A1E8-366601E04158}"/>
                </c:ext>
              </c:extLst>
            </c:dLbl>
            <c:dLbl>
              <c:idx val="4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255-4E72-A1E8-366601E04158}"/>
                </c:ext>
              </c:extLst>
            </c:dLbl>
            <c:dLbl>
              <c:idx val="5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255-4E72-A1E8-366601E04158}"/>
                </c:ext>
              </c:extLst>
            </c:dLbl>
            <c:dLbl>
              <c:idx val="6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255-4E72-A1E8-366601E04158}"/>
                </c:ext>
              </c:extLst>
            </c:dLbl>
            <c:dLbl>
              <c:idx val="7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255-4E72-A1E8-366601E04158}"/>
                </c:ext>
              </c:extLst>
            </c:dLbl>
            <c:dLbl>
              <c:idx val="8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255-4E72-A1E8-366601E04158}"/>
                </c:ext>
              </c:extLst>
            </c:dLbl>
            <c:dLbl>
              <c:idx val="9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255-4E72-A1E8-366601E04158}"/>
                </c:ext>
              </c:extLst>
            </c:dLbl>
            <c:dLbl>
              <c:idx val="10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255-4E72-A1E8-366601E04158}"/>
                </c:ext>
              </c:extLst>
            </c:dLbl>
            <c:dLbl>
              <c:idx val="11"/>
              <c:layout>
                <c:manualLayout>
                  <c:x val="0"/>
                  <c:y val="-0.101562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255-4E72-A1E8-366601E0415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2.1</c:v>
                </c:pt>
                <c:pt idx="1">
                  <c:v>87.4</c:v>
                </c:pt>
                <c:pt idx="2">
                  <c:v>92.3</c:v>
                </c:pt>
                <c:pt idx="3">
                  <c:v>90.1</c:v>
                </c:pt>
                <c:pt idx="4">
                  <c:v>94.5</c:v>
                </c:pt>
                <c:pt idx="5">
                  <c:v>94.8</c:v>
                </c:pt>
                <c:pt idx="6">
                  <c:v>96</c:v>
                </c:pt>
                <c:pt idx="7">
                  <c:v>96.5</c:v>
                </c:pt>
                <c:pt idx="8">
                  <c:v>96.1</c:v>
                </c:pt>
                <c:pt idx="9">
                  <c:v>94.5</c:v>
                </c:pt>
                <c:pt idx="10">
                  <c:v>92.1</c:v>
                </c:pt>
                <c:pt idx="11">
                  <c:v>89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255-4E72-A1E8-366601E04158}"/>
            </c:ext>
          </c:extLst>
        </c:ser>
        <c:ser>
          <c:idx val="1"/>
          <c:order val="1"/>
          <c:spPr>
            <a:ln w="19050" cmpd="sng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90</c:v>
                </c:pt>
                <c:pt idx="1">
                  <c:v>90</c:v>
                </c:pt>
                <c:pt idx="2">
                  <c:v>90</c:v>
                </c:pt>
                <c:pt idx="3">
                  <c:v>90</c:v>
                </c:pt>
                <c:pt idx="4">
                  <c:v>90</c:v>
                </c:pt>
                <c:pt idx="5">
                  <c:v>90</c:v>
                </c:pt>
                <c:pt idx="6">
                  <c:v>90</c:v>
                </c:pt>
                <c:pt idx="7">
                  <c:v>90</c:v>
                </c:pt>
                <c:pt idx="8">
                  <c:v>90</c:v>
                </c:pt>
                <c:pt idx="9">
                  <c:v>90</c:v>
                </c:pt>
                <c:pt idx="10">
                  <c:v>90</c:v>
                </c:pt>
                <c:pt idx="11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F255-4E72-A1E8-366601E041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79220943"/>
        <c:axId val="1"/>
      </c:lineChart>
      <c:catAx>
        <c:axId val="1779220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8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9220943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12-44A4-BDF3-D130077121E5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5</c:v>
                </c:pt>
                <c:pt idx="1">
                  <c:v>2</c:v>
                </c:pt>
                <c:pt idx="2">
                  <c:v>2</c:v>
                </c:pt>
                <c:pt idx="3">
                  <c:v>0</c:v>
                </c:pt>
                <c:pt idx="4">
                  <c:v>6</c:v>
                </c:pt>
                <c:pt idx="5">
                  <c:v>4</c:v>
                </c:pt>
                <c:pt idx="6">
                  <c:v>3</c:v>
                </c:pt>
                <c:pt idx="7">
                  <c:v>6</c:v>
                </c:pt>
                <c:pt idx="8">
                  <c:v>9</c:v>
                </c:pt>
                <c:pt idx="9">
                  <c:v>10</c:v>
                </c:pt>
                <c:pt idx="10">
                  <c:v>14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12-44A4-BDF3-D130077121E5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5</c:v>
                </c:pt>
                <c:pt idx="8">
                  <c:v>6</c:v>
                </c:pt>
                <c:pt idx="9">
                  <c:v>5</c:v>
                </c:pt>
                <c:pt idx="10">
                  <c:v>12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12-44A4-BDF3-D130077121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28002111"/>
        <c:axId val="1"/>
      </c:areaChart>
      <c:catAx>
        <c:axId val="1128002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28002111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981716307873778E-2"/>
          <c:y val="0.13433962264150942"/>
          <c:w val="0.89000294898260102"/>
          <c:h val="0.7584905660377359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117369507519906E-2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E53-4120-9C8E-4C1BB434D396}"/>
                </c:ext>
              </c:extLst>
            </c:dLbl>
            <c:dLbl>
              <c:idx val="1"/>
              <c:layout>
                <c:manualLayout>
                  <c:x val="-9.7316425833087576E-3"/>
                  <c:y val="-7.698113207547169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E53-4120-9C8E-4C1BB434D396}"/>
                </c:ext>
              </c:extLst>
            </c:dLbl>
            <c:dLbl>
              <c:idx val="2"/>
              <c:layout>
                <c:manualLayout>
                  <c:x val="0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E53-4120-9C8E-4C1BB434D396}"/>
                </c:ext>
              </c:extLst>
            </c:dLbl>
            <c:dLbl>
              <c:idx val="3"/>
              <c:layout>
                <c:manualLayout>
                  <c:x val="0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E53-4120-9C8E-4C1BB434D396}"/>
                </c:ext>
              </c:extLst>
            </c:dLbl>
            <c:dLbl>
              <c:idx val="4"/>
              <c:layout>
                <c:manualLayout>
                  <c:x val="0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E53-4120-9C8E-4C1BB434D396}"/>
                </c:ext>
              </c:extLst>
            </c:dLbl>
            <c:dLbl>
              <c:idx val="5"/>
              <c:layout>
                <c:manualLayout>
                  <c:x val="0"/>
                  <c:y val="5.584905660377358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E53-4120-9C8E-4C1BB434D396}"/>
                </c:ext>
              </c:extLst>
            </c:dLbl>
            <c:dLbl>
              <c:idx val="6"/>
              <c:layout>
                <c:manualLayout>
                  <c:x val="0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E53-4120-9C8E-4C1BB434D396}"/>
                </c:ext>
              </c:extLst>
            </c:dLbl>
            <c:dLbl>
              <c:idx val="7"/>
              <c:layout>
                <c:manualLayout>
                  <c:x val="0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2E53-4120-9C8E-4C1BB434D396}"/>
                </c:ext>
              </c:extLst>
            </c:dLbl>
            <c:dLbl>
              <c:idx val="8"/>
              <c:layout>
                <c:manualLayout>
                  <c:x val="-4.4234739015039815E-3"/>
                  <c:y val="-9.28301886792452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E53-4120-9C8E-4C1BB434D396}"/>
                </c:ext>
              </c:extLst>
            </c:dLbl>
            <c:dLbl>
              <c:idx val="9"/>
              <c:layout>
                <c:manualLayout>
                  <c:x val="0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2E53-4120-9C8E-4C1BB434D396}"/>
                </c:ext>
              </c:extLst>
            </c:dLbl>
            <c:dLbl>
              <c:idx val="10"/>
              <c:layout>
                <c:manualLayout>
                  <c:x val="0"/>
                  <c:y val="5.584905660377358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E53-4120-9C8E-4C1BB434D396}"/>
                </c:ext>
              </c:extLst>
            </c:dLbl>
            <c:dLbl>
              <c:idx val="11"/>
              <c:layout>
                <c:manualLayout>
                  <c:x val="0"/>
                  <c:y val="-5.962264150943396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2E53-4120-9C8E-4C1BB434D3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83</c:v>
                </c:pt>
                <c:pt idx="1">
                  <c:v>76</c:v>
                </c:pt>
                <c:pt idx="2">
                  <c:v>96</c:v>
                </c:pt>
                <c:pt idx="3">
                  <c:v>91</c:v>
                </c:pt>
                <c:pt idx="4">
                  <c:v>96</c:v>
                </c:pt>
                <c:pt idx="5">
                  <c:v>83</c:v>
                </c:pt>
                <c:pt idx="6">
                  <c:v>86</c:v>
                </c:pt>
                <c:pt idx="7">
                  <c:v>78</c:v>
                </c:pt>
                <c:pt idx="8">
                  <c:v>66</c:v>
                </c:pt>
                <c:pt idx="9">
                  <c:v>94</c:v>
                </c:pt>
                <c:pt idx="10">
                  <c:v>80</c:v>
                </c:pt>
                <c:pt idx="11">
                  <c:v>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2E53-4120-9C8E-4C1BB434D3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82697776"/>
        <c:axId val="1"/>
      </c:lineChart>
      <c:catAx>
        <c:axId val="17826977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"/>
          <c:min val="6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782697776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20969089390141E-2"/>
          <c:y val="9.5238095238095233E-2"/>
          <c:w val="0.91812865497076024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218045112781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1C4-4951-8DC4-2DFD7386B851}"/>
                </c:ext>
              </c:extLst>
            </c:dLbl>
            <c:dLbl>
              <c:idx val="1"/>
              <c:layout>
                <c:manualLayout>
                  <c:x val="0.3137009189640768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1C4-4951-8DC4-2DFD7386B851}"/>
                </c:ext>
              </c:extLst>
            </c:dLbl>
            <c:dLbl>
              <c:idx val="2"/>
              <c:layout>
                <c:manualLayout>
                  <c:x val="0.2919799498746867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1C4-4951-8DC4-2DFD7386B851}"/>
                </c:ext>
              </c:extLst>
            </c:dLbl>
            <c:dLbl>
              <c:idx val="3"/>
              <c:layout>
                <c:manualLayout>
                  <c:x val="0.2698412698412698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1C4-4951-8DC4-2DFD7386B851}"/>
                </c:ext>
              </c:extLst>
            </c:dLbl>
            <c:dLbl>
              <c:idx val="4"/>
              <c:layout>
                <c:manualLayout>
                  <c:x val="0.2172096908939014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1C4-4951-8DC4-2DFD7386B8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1</c:v>
                </c:pt>
                <c:pt idx="1">
                  <c:v>13</c:v>
                </c:pt>
                <c:pt idx="2">
                  <c:v>12</c:v>
                </c:pt>
                <c:pt idx="3">
                  <c:v>11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1C4-4951-8DC4-2DFD7386B8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10287039"/>
        <c:axId val="1"/>
      </c:barChart>
      <c:catAx>
        <c:axId val="161028703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102870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598667776852624E-2"/>
          <c:w val="0.92590324556031844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CB-44E1-A7C8-A45489ECAEBA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6CB-44E1-A7C8-A45489ECAEBA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6CB-44E1-A7C8-A45489ECAE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8887887"/>
        <c:axId val="1"/>
      </c:areaChart>
      <c:catAx>
        <c:axId val="16088878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08887887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23244552058115E-2"/>
          <c:y val="0.16154970760233919"/>
          <c:w val="0.91343825665859568"/>
          <c:h val="0.7346491228070175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699757869249396E-2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B01-48DC-B3E2-7D5333E8D6B6}"/>
                </c:ext>
              </c:extLst>
            </c:dLbl>
            <c:dLbl>
              <c:idx val="1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B01-48DC-B3E2-7D5333E8D6B6}"/>
                </c:ext>
              </c:extLst>
            </c:dLbl>
            <c:dLbl>
              <c:idx val="2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B01-48DC-B3E2-7D5333E8D6B6}"/>
                </c:ext>
              </c:extLst>
            </c:dLbl>
            <c:dLbl>
              <c:idx val="3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B01-48DC-B3E2-7D5333E8D6B6}"/>
                </c:ext>
              </c:extLst>
            </c:dLbl>
            <c:dLbl>
              <c:idx val="4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B01-48DC-B3E2-7D5333E8D6B6}"/>
                </c:ext>
              </c:extLst>
            </c:dLbl>
            <c:dLbl>
              <c:idx val="5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B01-48DC-B3E2-7D5333E8D6B6}"/>
                </c:ext>
              </c:extLst>
            </c:dLbl>
            <c:dLbl>
              <c:idx val="6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B01-48DC-B3E2-7D5333E8D6B6}"/>
                </c:ext>
              </c:extLst>
            </c:dLbl>
            <c:dLbl>
              <c:idx val="7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B01-48DC-B3E2-7D5333E8D6B6}"/>
                </c:ext>
              </c:extLst>
            </c:dLbl>
            <c:dLbl>
              <c:idx val="8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B01-48DC-B3E2-7D5333E8D6B6}"/>
                </c:ext>
              </c:extLst>
            </c:dLbl>
            <c:dLbl>
              <c:idx val="9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B01-48DC-B3E2-7D5333E8D6B6}"/>
                </c:ext>
              </c:extLst>
            </c:dLbl>
            <c:dLbl>
              <c:idx val="10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B01-48DC-B3E2-7D5333E8D6B6}"/>
                </c:ext>
              </c:extLst>
            </c:dLbl>
            <c:dLbl>
              <c:idx val="11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B01-48DC-B3E2-7D5333E8D6B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1</c:v>
                </c:pt>
                <c:pt idx="1">
                  <c:v>9</c:v>
                </c:pt>
                <c:pt idx="2">
                  <c:v>18</c:v>
                </c:pt>
                <c:pt idx="3">
                  <c:v>10</c:v>
                </c:pt>
                <c:pt idx="4">
                  <c:v>15</c:v>
                </c:pt>
                <c:pt idx="5">
                  <c:v>8</c:v>
                </c:pt>
                <c:pt idx="6">
                  <c:v>6</c:v>
                </c:pt>
                <c:pt idx="7">
                  <c:v>5</c:v>
                </c:pt>
                <c:pt idx="8">
                  <c:v>4</c:v>
                </c:pt>
                <c:pt idx="9">
                  <c:v>3</c:v>
                </c:pt>
                <c:pt idx="10">
                  <c:v>8</c:v>
                </c:pt>
                <c:pt idx="11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1B01-48DC-B3E2-7D5333E8D6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3690207"/>
        <c:axId val="1"/>
      </c:lineChart>
      <c:catAx>
        <c:axId val="12536902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253690207"/>
        <c:crosses val="min"/>
        <c:crossBetween val="midCat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820430600091615E-2"/>
          <c:y val="0.10128388017118402"/>
          <c:w val="0.9303710490151168"/>
          <c:h val="0.797432239657631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786074209803021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955-4AD9-9249-93E2FA535D45}"/>
                </c:ext>
              </c:extLst>
            </c:dLbl>
            <c:dLbl>
              <c:idx val="1"/>
              <c:layout>
                <c:manualLayout>
                  <c:x val="0.25469537333944114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955-4AD9-9249-93E2FA535D45}"/>
                </c:ext>
              </c:extLst>
            </c:dLbl>
            <c:dLbl>
              <c:idx val="2"/>
              <c:layout>
                <c:manualLayout>
                  <c:x val="0.25469537333944114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955-4AD9-9249-93E2FA535D45}"/>
                </c:ext>
              </c:extLst>
            </c:dLbl>
            <c:dLbl>
              <c:idx val="3"/>
              <c:layout>
                <c:manualLayout>
                  <c:x val="0.25469537333944114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955-4AD9-9249-93E2FA535D45}"/>
                </c:ext>
              </c:extLst>
            </c:dLbl>
            <c:dLbl>
              <c:idx val="4"/>
              <c:layout>
                <c:manualLayout>
                  <c:x val="0.25469537333944114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955-4AD9-9249-93E2FA535D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955-4AD9-9249-93E2FA535D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28983183"/>
        <c:axId val="1"/>
      </c:barChart>
      <c:catAx>
        <c:axId val="42898318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2898318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598667776852624E-2"/>
          <c:w val="0.92590324556031844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B6-4253-AE60-0F1F44431EFB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3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5</c:v>
                </c:pt>
                <c:pt idx="6">
                  <c:v>1</c:v>
                </c:pt>
                <c:pt idx="7">
                  <c:v>2</c:v>
                </c:pt>
                <c:pt idx="8">
                  <c:v>5</c:v>
                </c:pt>
                <c:pt idx="9">
                  <c:v>3</c:v>
                </c:pt>
                <c:pt idx="10">
                  <c:v>5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AB6-4253-AE60-0F1F44431EFB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3</c:v>
                </c:pt>
                <c:pt idx="5">
                  <c:v>1</c:v>
                </c:pt>
                <c:pt idx="6">
                  <c:v>0</c:v>
                </c:pt>
                <c:pt idx="7">
                  <c:v>3</c:v>
                </c:pt>
                <c:pt idx="8">
                  <c:v>3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AB6-4253-AE60-0F1F44431E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09193855"/>
        <c:axId val="1"/>
      </c:areaChart>
      <c:catAx>
        <c:axId val="16091938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09193855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97111913357402E-2"/>
          <c:y val="0.16154970760233919"/>
          <c:w val="0.90764139590854387"/>
          <c:h val="0.73464912280701755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895306859205776E-2"/>
                  <c:y val="3.216374269005847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643-4255-80B6-061F8FC46E7A}"/>
                </c:ext>
              </c:extLst>
            </c:dLbl>
            <c:dLbl>
              <c:idx val="1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643-4255-80B6-061F8FC46E7A}"/>
                </c:ext>
              </c:extLst>
            </c:dLbl>
            <c:dLbl>
              <c:idx val="2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643-4255-80B6-061F8FC46E7A}"/>
                </c:ext>
              </c:extLst>
            </c:dLbl>
            <c:dLbl>
              <c:idx val="3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643-4255-80B6-061F8FC46E7A}"/>
                </c:ext>
              </c:extLst>
            </c:dLbl>
            <c:dLbl>
              <c:idx val="4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643-4255-80B6-061F8FC46E7A}"/>
                </c:ext>
              </c:extLst>
            </c:dLbl>
            <c:dLbl>
              <c:idx val="5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643-4255-80B6-061F8FC46E7A}"/>
                </c:ext>
              </c:extLst>
            </c:dLbl>
            <c:dLbl>
              <c:idx val="6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643-4255-80B6-061F8FC46E7A}"/>
                </c:ext>
              </c:extLst>
            </c:dLbl>
            <c:dLbl>
              <c:idx val="7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643-4255-80B6-061F8FC46E7A}"/>
                </c:ext>
              </c:extLst>
            </c:dLbl>
            <c:dLbl>
              <c:idx val="8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643-4255-80B6-061F8FC46E7A}"/>
                </c:ext>
              </c:extLst>
            </c:dLbl>
            <c:dLbl>
              <c:idx val="9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643-4255-80B6-061F8FC46E7A}"/>
                </c:ext>
              </c:extLst>
            </c:dLbl>
            <c:dLbl>
              <c:idx val="10"/>
              <c:layout>
                <c:manualLayout>
                  <c:x val="0"/>
                  <c:y val="-5.7748538011695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643-4255-80B6-061F8FC46E7A}"/>
                </c:ext>
              </c:extLst>
            </c:dLbl>
            <c:dLbl>
              <c:idx val="11"/>
              <c:layout>
                <c:manualLayout>
                  <c:x val="0"/>
                  <c:y val="5.409356725146198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643-4255-80B6-061F8FC46E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47</c:v>
                </c:pt>
                <c:pt idx="1">
                  <c:v>54</c:v>
                </c:pt>
                <c:pt idx="2">
                  <c:v>80</c:v>
                </c:pt>
                <c:pt idx="3">
                  <c:v>67</c:v>
                </c:pt>
                <c:pt idx="4">
                  <c:v>70</c:v>
                </c:pt>
                <c:pt idx="5">
                  <c:v>61</c:v>
                </c:pt>
                <c:pt idx="6">
                  <c:v>54</c:v>
                </c:pt>
                <c:pt idx="7">
                  <c:v>47</c:v>
                </c:pt>
                <c:pt idx="8">
                  <c:v>63</c:v>
                </c:pt>
                <c:pt idx="9">
                  <c:v>46</c:v>
                </c:pt>
                <c:pt idx="10">
                  <c:v>78</c:v>
                </c:pt>
                <c:pt idx="11">
                  <c:v>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0643-4255-80B6-061F8FC46E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35108831"/>
        <c:axId val="1"/>
      </c:lineChart>
      <c:catAx>
        <c:axId val="14351088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3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435108831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76599634369287E-2"/>
          <c:y val="9.5238095238095233E-2"/>
          <c:w val="0.93053016453382087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765996343692869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20E-4CE0-B995-3990EBED953D}"/>
                </c:ext>
              </c:extLst>
            </c:dLbl>
            <c:dLbl>
              <c:idx val="1"/>
              <c:layout>
                <c:manualLayout>
                  <c:x val="0.48765996343692869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20E-4CE0-B995-3990EBED953D}"/>
                </c:ext>
              </c:extLst>
            </c:dLbl>
            <c:dLbl>
              <c:idx val="2"/>
              <c:layout>
                <c:manualLayout>
                  <c:x val="0.3322669104204753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20E-4CE0-B995-3990EBED953D}"/>
                </c:ext>
              </c:extLst>
            </c:dLbl>
            <c:dLbl>
              <c:idx val="3"/>
              <c:layout>
                <c:manualLayout>
                  <c:x val="0.1777879341864716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20E-4CE0-B995-3990EBED953D}"/>
                </c:ext>
              </c:extLst>
            </c:dLbl>
            <c:dLbl>
              <c:idx val="4"/>
              <c:layout>
                <c:manualLayout>
                  <c:x val="0.1777879341864716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20E-4CE0-B995-3990EBED953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6</c:v>
                </c:pt>
                <c:pt idx="1">
                  <c:v>6</c:v>
                </c:pt>
                <c:pt idx="2">
                  <c:v>4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20E-4CE0-B995-3990EBED9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7212336"/>
        <c:axId val="1"/>
      </c:barChart>
      <c:catAx>
        <c:axId val="16372123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37212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384523095380922E-2"/>
          <c:y val="8.1598667776852624E-2"/>
          <c:w val="0.9070185962807438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79-486B-BDF9-B683323398EB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79-486B-BDF9-B683323398EB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379-486B-BDF9-B683323398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23058559"/>
        <c:axId val="1"/>
      </c:areaChart>
      <c:catAx>
        <c:axId val="11230585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.0;&quot;-&quot;#,##0.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23058559"/>
        <c:crosses val="min"/>
        <c:crossBetween val="midCat"/>
        <c:majorUnit val="0.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80472706809229"/>
          <c:y val="0.16535433070866143"/>
          <c:w val="0.86015756893640971"/>
          <c:h val="0.7023622047244094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777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17C3-4A29-9550-C022993AB6C1}"/>
              </c:ext>
            </c:extLst>
          </c:dPt>
          <c:dPt>
            <c:idx val="1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17C3-4A29-9550-C022993AB6C1}"/>
              </c:ext>
            </c:extLst>
          </c:dPt>
          <c:dPt>
            <c:idx val="2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17C3-4A29-9550-C022993AB6C1}"/>
              </c:ext>
            </c:extLst>
          </c:dPt>
          <c:dPt>
            <c:idx val="3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17C3-4A29-9550-C022993AB6C1}"/>
              </c:ext>
            </c:extLst>
          </c:dPt>
          <c:dPt>
            <c:idx val="4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17C3-4A29-9550-C022993AB6C1}"/>
              </c:ext>
            </c:extLst>
          </c:dPt>
          <c:dPt>
            <c:idx val="5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7C3-4A29-9550-C022993AB6C1}"/>
              </c:ext>
            </c:extLst>
          </c:dPt>
          <c:dPt>
            <c:idx val="6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7C3-4A29-9550-C022993AB6C1}"/>
              </c:ext>
            </c:extLst>
          </c:dPt>
          <c:dPt>
            <c:idx val="7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7C3-4A29-9550-C022993AB6C1}"/>
              </c:ext>
            </c:extLst>
          </c:dPt>
          <c:dPt>
            <c:idx val="8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7C3-4A29-9550-C022993AB6C1}"/>
              </c:ext>
            </c:extLst>
          </c:dPt>
          <c:dPt>
            <c:idx val="9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7C3-4A29-9550-C022993AB6C1}"/>
              </c:ext>
            </c:extLst>
          </c:dPt>
          <c:dPt>
            <c:idx val="10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17C3-4A29-9550-C022993AB6C1}"/>
              </c:ext>
            </c:extLst>
          </c:dPt>
          <c:dPt>
            <c:idx val="11"/>
            <c:marker>
              <c:symbol val="diamond"/>
              <c:size val="6"/>
              <c:spPr>
                <a:solidFill>
                  <a:srgbClr val="007770"/>
                </a:solidFill>
                <a:ln w="9525" cmpd="sng" algn="ctr">
                  <a:solidFill>
                    <a:srgbClr val="007770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17C3-4A29-9550-C022993AB6C1}"/>
              </c:ext>
            </c:extLst>
          </c:dPt>
          <c:dLbls>
            <c:dLbl>
              <c:idx val="0"/>
              <c:layout>
                <c:manualLayout>
                  <c:x val="2.5042205965109737E-2"/>
                  <c:y val="0.1527559055118110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7C3-4A29-9550-C022993AB6C1}"/>
                </c:ext>
              </c:extLst>
            </c:dLbl>
            <c:dLbl>
              <c:idx val="1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7C3-4A29-9550-C022993AB6C1}"/>
                </c:ext>
              </c:extLst>
            </c:dLbl>
            <c:dLbl>
              <c:idx val="2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7C3-4A29-9550-C022993AB6C1}"/>
                </c:ext>
              </c:extLst>
            </c:dLbl>
            <c:dLbl>
              <c:idx val="3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7C3-4A29-9550-C022993AB6C1}"/>
                </c:ext>
              </c:extLst>
            </c:dLbl>
            <c:dLbl>
              <c:idx val="4"/>
              <c:layout>
                <c:manualLayout>
                  <c:x val="1.2099043331457513E-2"/>
                  <c:y val="8.897637795275591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7C3-4A29-9550-C022993AB6C1}"/>
                </c:ext>
              </c:extLst>
            </c:dLbl>
            <c:dLbl>
              <c:idx val="5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7C3-4A29-9550-C022993AB6C1}"/>
                </c:ext>
              </c:extLst>
            </c:dLbl>
            <c:dLbl>
              <c:idx val="6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7C3-4A29-9550-C022993AB6C1}"/>
                </c:ext>
              </c:extLst>
            </c:dLbl>
            <c:dLbl>
              <c:idx val="7"/>
              <c:layout>
                <c:manualLayout>
                  <c:x val="0"/>
                  <c:y val="-9.2125984251968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7C3-4A29-9550-C022993AB6C1}"/>
                </c:ext>
              </c:extLst>
            </c:dLbl>
            <c:dLbl>
              <c:idx val="8"/>
              <c:layout>
                <c:manualLayout>
                  <c:x val="0"/>
                  <c:y val="-9.21259842519685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7C3-4A29-9550-C022993AB6C1}"/>
                </c:ext>
              </c:extLst>
            </c:dLbl>
            <c:dLbl>
              <c:idx val="9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7C3-4A29-9550-C022993AB6C1}"/>
                </c:ext>
              </c:extLst>
            </c:dLbl>
            <c:dLbl>
              <c:idx val="10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7C3-4A29-9550-C022993AB6C1}"/>
                </c:ext>
              </c:extLst>
            </c:dLbl>
            <c:dLbl>
              <c:idx val="11"/>
              <c:layout>
                <c:manualLayout>
                  <c:x val="0"/>
                  <c:y val="8.74015748031496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7C3-4A29-9550-C022993AB6C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98.3</c:v>
                </c:pt>
                <c:pt idx="1">
                  <c:v>96.9</c:v>
                </c:pt>
                <c:pt idx="2">
                  <c:v>98.2</c:v>
                </c:pt>
                <c:pt idx="3">
                  <c:v>97.1</c:v>
                </c:pt>
                <c:pt idx="4">
                  <c:v>98.95</c:v>
                </c:pt>
                <c:pt idx="5">
                  <c:v>98.8</c:v>
                </c:pt>
                <c:pt idx="6">
                  <c:v>98.96</c:v>
                </c:pt>
                <c:pt idx="7">
                  <c:v>99.4</c:v>
                </c:pt>
                <c:pt idx="8">
                  <c:v>99.5</c:v>
                </c:pt>
                <c:pt idx="9">
                  <c:v>98.96</c:v>
                </c:pt>
                <c:pt idx="10">
                  <c:v>98.3</c:v>
                </c:pt>
                <c:pt idx="11">
                  <c:v>97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17C3-4A29-9550-C022993AB6C1}"/>
            </c:ext>
          </c:extLst>
        </c:ser>
        <c:ser>
          <c:idx val="1"/>
          <c:order val="1"/>
          <c:spPr>
            <a:ln w="19050" cmpd="sng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99</c:v>
                </c:pt>
                <c:pt idx="1">
                  <c:v>99</c:v>
                </c:pt>
                <c:pt idx="2">
                  <c:v>99</c:v>
                </c:pt>
                <c:pt idx="3">
                  <c:v>99</c:v>
                </c:pt>
                <c:pt idx="4">
                  <c:v>99</c:v>
                </c:pt>
                <c:pt idx="5">
                  <c:v>99</c:v>
                </c:pt>
                <c:pt idx="6">
                  <c:v>99</c:v>
                </c:pt>
                <c:pt idx="7">
                  <c:v>99</c:v>
                </c:pt>
                <c:pt idx="8">
                  <c:v>99</c:v>
                </c:pt>
                <c:pt idx="9">
                  <c:v>99</c:v>
                </c:pt>
                <c:pt idx="10">
                  <c:v>99</c:v>
                </c:pt>
                <c:pt idx="11">
                  <c:v>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17C3-4A29-9550-C022993AB6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48949119"/>
        <c:axId val="1"/>
      </c:lineChart>
      <c:catAx>
        <c:axId val="5489491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94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8949119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23244552058115E-2"/>
          <c:y val="0.11016291698991466"/>
          <c:w val="0.91343825665859568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699757869249396E-2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F1E-450E-A7B0-DEE8A5D8B22A}"/>
                </c:ext>
              </c:extLst>
            </c:dLbl>
            <c:dLbl>
              <c:idx val="1"/>
              <c:layout>
                <c:manualLayout>
                  <c:x val="3.2990314769975784E-2"/>
                  <c:y val="3.568657874321179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F1E-450E-A7B0-DEE8A5D8B22A}"/>
                </c:ext>
              </c:extLst>
            </c:dLbl>
            <c:dLbl>
              <c:idx val="2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F1E-450E-A7B0-DEE8A5D8B22A}"/>
                </c:ext>
              </c:extLst>
            </c:dLbl>
            <c:dLbl>
              <c:idx val="3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F1E-450E-A7B0-DEE8A5D8B22A}"/>
                </c:ext>
              </c:extLst>
            </c:dLbl>
            <c:dLbl>
              <c:idx val="4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F1E-450E-A7B0-DEE8A5D8B22A}"/>
                </c:ext>
              </c:extLst>
            </c:dLbl>
            <c:dLbl>
              <c:idx val="5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F1E-450E-A7B0-DEE8A5D8B22A}"/>
                </c:ext>
              </c:extLst>
            </c:dLbl>
            <c:dLbl>
              <c:idx val="6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F1E-450E-A7B0-DEE8A5D8B22A}"/>
                </c:ext>
              </c:extLst>
            </c:dLbl>
            <c:dLbl>
              <c:idx val="7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F1E-450E-A7B0-DEE8A5D8B22A}"/>
                </c:ext>
              </c:extLst>
            </c:dLbl>
            <c:dLbl>
              <c:idx val="8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F1E-450E-A7B0-DEE8A5D8B22A}"/>
                </c:ext>
              </c:extLst>
            </c:dLbl>
            <c:dLbl>
              <c:idx val="9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3F1E-450E-A7B0-DEE8A5D8B22A}"/>
                </c:ext>
              </c:extLst>
            </c:dLbl>
            <c:dLbl>
              <c:idx val="10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F1E-450E-A7B0-DEE8A5D8B22A}"/>
                </c:ext>
              </c:extLst>
            </c:dLbl>
            <c:dLbl>
              <c:idx val="11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F1E-450E-A7B0-DEE8A5D8B22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0</c:v>
                </c:pt>
                <c:pt idx="1">
                  <c:v>14</c:v>
                </c:pt>
                <c:pt idx="2">
                  <c:v>19</c:v>
                </c:pt>
                <c:pt idx="3">
                  <c:v>13</c:v>
                </c:pt>
                <c:pt idx="4">
                  <c:v>18</c:v>
                </c:pt>
                <c:pt idx="5">
                  <c:v>10</c:v>
                </c:pt>
                <c:pt idx="6">
                  <c:v>23</c:v>
                </c:pt>
                <c:pt idx="7">
                  <c:v>15</c:v>
                </c:pt>
                <c:pt idx="8">
                  <c:v>23</c:v>
                </c:pt>
                <c:pt idx="9">
                  <c:v>10</c:v>
                </c:pt>
                <c:pt idx="10">
                  <c:v>22</c:v>
                </c:pt>
                <c:pt idx="11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3F1E-450E-A7B0-DEE8A5D8B2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4885327"/>
        <c:axId val="1"/>
      </c:lineChart>
      <c:catAx>
        <c:axId val="12548853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5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254885327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50118990956686E-2"/>
          <c:y val="0.10128388017118402"/>
          <c:w val="0.92765349833412658"/>
          <c:h val="0.7974322396576319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738695859114706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44D-48CA-A23C-0C286282D287}"/>
                </c:ext>
              </c:extLst>
            </c:dLbl>
            <c:dLbl>
              <c:idx val="1"/>
              <c:layout>
                <c:manualLayout>
                  <c:x val="0.25511661113755357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44D-48CA-A23C-0C286282D287}"/>
                </c:ext>
              </c:extLst>
            </c:dLbl>
            <c:dLbl>
              <c:idx val="2"/>
              <c:layout>
                <c:manualLayout>
                  <c:x val="0.25511661113755357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44D-48CA-A23C-0C286282D287}"/>
                </c:ext>
              </c:extLst>
            </c:dLbl>
            <c:dLbl>
              <c:idx val="3"/>
              <c:layout>
                <c:manualLayout>
                  <c:x val="0.25511661113755357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44D-48CA-A23C-0C286282D287}"/>
                </c:ext>
              </c:extLst>
            </c:dLbl>
            <c:dLbl>
              <c:idx val="4"/>
              <c:layout>
                <c:manualLayout>
                  <c:x val="0.25511661113755357"/>
                  <c:y val="2.139800285306704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44D-48CA-A23C-0C286282D28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44D-48CA-A23C-0C286282D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26792959"/>
        <c:axId val="1"/>
      </c:barChart>
      <c:catAx>
        <c:axId val="4267929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26792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395348837209308E-2"/>
          <c:w val="0.92590324556031844"/>
          <c:h val="0.8372093023255814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E3-45AB-9354-54EE1E54677F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0</c:v>
                </c:pt>
                <c:pt idx="7">
                  <c:v>0</c:v>
                </c:pt>
                <c:pt idx="8">
                  <c:v>3</c:v>
                </c:pt>
                <c:pt idx="9">
                  <c:v>3</c:v>
                </c:pt>
                <c:pt idx="10">
                  <c:v>4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9E3-45AB-9354-54EE1E54677F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  <c:pt idx="7">
                  <c:v>4</c:v>
                </c:pt>
                <c:pt idx="8">
                  <c:v>2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9E3-45AB-9354-54EE1E546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435140511"/>
        <c:axId val="1"/>
      </c:areaChart>
      <c:catAx>
        <c:axId val="1435140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435140511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75939849624064E-2"/>
          <c:y val="0.11016291698991466"/>
          <c:w val="0.90766917293233085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556390977443608E-2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ED2-45DA-A774-4BD4FD241939}"/>
                </c:ext>
              </c:extLst>
            </c:dLbl>
            <c:dLbl>
              <c:idx val="1"/>
              <c:layout>
                <c:manualLayout>
                  <c:x val="-1.2030075187969926E-2"/>
                  <c:y val="-7.370054305663305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ED2-45DA-A774-4BD4FD241939}"/>
                </c:ext>
              </c:extLst>
            </c:dLbl>
            <c:dLbl>
              <c:idx val="2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ED2-45DA-A774-4BD4FD241939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ED2-45DA-A774-4BD4FD241939}"/>
                </c:ext>
              </c:extLst>
            </c:dLbl>
            <c:dLbl>
              <c:idx val="4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ED2-45DA-A774-4BD4FD241939}"/>
                </c:ext>
              </c:extLst>
            </c:dLbl>
            <c:dLbl>
              <c:idx val="5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ED2-45DA-A774-4BD4FD241939}"/>
                </c:ext>
              </c:extLst>
            </c:dLbl>
            <c:dLbl>
              <c:idx val="6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ED2-45DA-A774-4BD4FD241939}"/>
                </c:ext>
              </c:extLst>
            </c:dLbl>
            <c:dLbl>
              <c:idx val="7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ED2-45DA-A774-4BD4FD241939}"/>
                </c:ext>
              </c:extLst>
            </c:dLbl>
            <c:dLbl>
              <c:idx val="8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ED2-45DA-A774-4BD4FD241939}"/>
                </c:ext>
              </c:extLst>
            </c:dLbl>
            <c:dLbl>
              <c:idx val="9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ED2-45DA-A774-4BD4FD241939}"/>
                </c:ext>
              </c:extLst>
            </c:dLbl>
            <c:dLbl>
              <c:idx val="10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ED2-45DA-A774-4BD4FD241939}"/>
                </c:ext>
              </c:extLst>
            </c:dLbl>
            <c:dLbl>
              <c:idx val="11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ED2-45DA-A774-4BD4FD2419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8</c:v>
                </c:pt>
                <c:pt idx="1">
                  <c:v>42</c:v>
                </c:pt>
                <c:pt idx="2">
                  <c:v>61</c:v>
                </c:pt>
                <c:pt idx="3">
                  <c:v>50</c:v>
                </c:pt>
                <c:pt idx="4">
                  <c:v>48</c:v>
                </c:pt>
                <c:pt idx="5">
                  <c:v>44</c:v>
                </c:pt>
                <c:pt idx="6">
                  <c:v>25</c:v>
                </c:pt>
                <c:pt idx="7">
                  <c:v>28</c:v>
                </c:pt>
                <c:pt idx="8">
                  <c:v>35</c:v>
                </c:pt>
                <c:pt idx="9">
                  <c:v>32</c:v>
                </c:pt>
                <c:pt idx="10">
                  <c:v>55</c:v>
                </c:pt>
                <c:pt idx="11">
                  <c:v>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FED2-45DA-A774-4BD4FD2419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44959536"/>
        <c:axId val="1"/>
      </c:lineChart>
      <c:catAx>
        <c:axId val="16449595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1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44959536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853211009174313E-2"/>
          <c:y val="9.5238095238095233E-2"/>
          <c:w val="0.9302752293577981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76146788990825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C5A-4454-82F9-0D34D4A200DD}"/>
                </c:ext>
              </c:extLst>
            </c:dLbl>
            <c:dLbl>
              <c:idx val="1"/>
              <c:layout>
                <c:manualLayout>
                  <c:x val="0.4100917431192660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C5A-4454-82F9-0D34D4A200DD}"/>
                </c:ext>
              </c:extLst>
            </c:dLbl>
            <c:dLbl>
              <c:idx val="2"/>
              <c:layout>
                <c:manualLayout>
                  <c:x val="0.2550458715596330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C5A-4454-82F9-0D34D4A200DD}"/>
                </c:ext>
              </c:extLst>
            </c:dLbl>
            <c:dLbl>
              <c:idx val="3"/>
              <c:layout>
                <c:manualLayout>
                  <c:x val="0.1775229357798165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C5A-4454-82F9-0D34D4A200DD}"/>
                </c:ext>
              </c:extLst>
            </c:dLbl>
            <c:dLbl>
              <c:idx val="4"/>
              <c:layout>
                <c:manualLayout>
                  <c:x val="0.1775229357798165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C5A-4454-82F9-0D34D4A200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6</c:v>
                </c:pt>
                <c:pt idx="1">
                  <c:v>5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C5A-4454-82F9-0D34D4A200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23005759"/>
        <c:axId val="1"/>
      </c:barChart>
      <c:catAx>
        <c:axId val="112300575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230057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395348837209308E-2"/>
          <c:w val="0.91359516616314196"/>
          <c:h val="0.8372093023255814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CF-45AB-8A18-9252DC2B1574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7</c:v>
                </c:pt>
                <c:pt idx="4">
                  <c:v>14</c:v>
                </c:pt>
                <c:pt idx="5">
                  <c:v>15</c:v>
                </c:pt>
                <c:pt idx="6">
                  <c:v>5</c:v>
                </c:pt>
                <c:pt idx="7">
                  <c:v>5</c:v>
                </c:pt>
                <c:pt idx="8">
                  <c:v>8</c:v>
                </c:pt>
                <c:pt idx="9">
                  <c:v>10</c:v>
                </c:pt>
                <c:pt idx="10">
                  <c:v>6</c:v>
                </c:pt>
                <c:pt idx="1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F-45AB-8A18-9252DC2B1574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5</c:v>
                </c:pt>
                <c:pt idx="5">
                  <c:v>7</c:v>
                </c:pt>
                <c:pt idx="6">
                  <c:v>2</c:v>
                </c:pt>
                <c:pt idx="7">
                  <c:v>7</c:v>
                </c:pt>
                <c:pt idx="8">
                  <c:v>6</c:v>
                </c:pt>
                <c:pt idx="9">
                  <c:v>5</c:v>
                </c:pt>
                <c:pt idx="10">
                  <c:v>4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CF-45AB-8A18-9252DC2B15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2871503"/>
        <c:axId val="1"/>
      </c:areaChart>
      <c:catAx>
        <c:axId val="8128715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812871503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03464755077658E-2"/>
          <c:y val="0.11016291698991466"/>
          <c:w val="0.90143369175627241"/>
          <c:h val="0.77967416602017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59038013964313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C76-4046-ADC9-13C3533E791D}"/>
                </c:ext>
              </c:extLst>
            </c:dLbl>
            <c:dLbl>
              <c:idx val="1"/>
              <c:layout>
                <c:manualLayout>
                  <c:x val="0"/>
                  <c:y val="-0.409619860356865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C76-4046-ADC9-13C3533E791D}"/>
                </c:ext>
              </c:extLst>
            </c:dLbl>
            <c:dLbl>
              <c:idx val="2"/>
              <c:layout>
                <c:manualLayout>
                  <c:x val="0"/>
                  <c:y val="-0.314972847168347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C76-4046-ADC9-13C3533E79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51</c:v>
                </c:pt>
                <c:pt idx="1">
                  <c:v>167</c:v>
                </c:pt>
                <c:pt idx="2">
                  <c:v>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76-4046-ADC9-13C3533E79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70300079"/>
        <c:axId val="1"/>
      </c:barChart>
      <c:catAx>
        <c:axId val="15703000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570300079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307933662034961E-2"/>
          <c:y val="9.5238095238095233E-2"/>
          <c:w val="0.91214701927386821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1219184222321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E98-45C6-89DB-5EB65CB67111}"/>
                </c:ext>
              </c:extLst>
            </c:dLbl>
            <c:dLbl>
              <c:idx val="1"/>
              <c:layout>
                <c:manualLayout>
                  <c:x val="0.4114746750336172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E98-45C6-89DB-5EB65CB67111}"/>
                </c:ext>
              </c:extLst>
            </c:dLbl>
            <c:dLbl>
              <c:idx val="2"/>
              <c:layout>
                <c:manualLayout>
                  <c:x val="0.2496638278798744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E98-45C6-89DB-5EB65CB67111}"/>
                </c:ext>
              </c:extLst>
            </c:dLbl>
            <c:dLbl>
              <c:idx val="3"/>
              <c:layout>
                <c:manualLayout>
                  <c:x val="0.2496638278798744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E98-45C6-89DB-5EB65CB67111}"/>
                </c:ext>
              </c:extLst>
            </c:dLbl>
            <c:dLbl>
              <c:idx val="4"/>
              <c:layout>
                <c:manualLayout>
                  <c:x val="0.2245629762438368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E98-45C6-89DB-5EB65CB671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8</c:v>
                </c:pt>
                <c:pt idx="1">
                  <c:v>15</c:v>
                </c:pt>
                <c:pt idx="2">
                  <c:v>9</c:v>
                </c:pt>
                <c:pt idx="3">
                  <c:v>9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E98-45C6-89DB-5EB65CB671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63260751"/>
        <c:axId val="1"/>
      </c:barChart>
      <c:catAx>
        <c:axId val="15632607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5632607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395348837209308E-2"/>
          <c:w val="0.91359516616314196"/>
          <c:h val="0.83720930232558144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C00000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89-4D44-8339-BFEC0192E69E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4</c:v>
                </c:pt>
                <c:pt idx="1">
                  <c:v>2</c:v>
                </c:pt>
                <c:pt idx="2">
                  <c:v>2</c:v>
                </c:pt>
                <c:pt idx="3">
                  <c:v>4</c:v>
                </c:pt>
                <c:pt idx="4">
                  <c:v>12</c:v>
                </c:pt>
                <c:pt idx="5">
                  <c:v>13</c:v>
                </c:pt>
                <c:pt idx="6">
                  <c:v>6</c:v>
                </c:pt>
                <c:pt idx="7">
                  <c:v>7</c:v>
                </c:pt>
                <c:pt idx="8">
                  <c:v>11</c:v>
                </c:pt>
                <c:pt idx="9">
                  <c:v>9</c:v>
                </c:pt>
                <c:pt idx="10">
                  <c:v>7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89-4D44-8339-BFEC0192E69E}"/>
            </c:ext>
          </c:extLst>
        </c:ser>
        <c:ser>
          <c:idx val="2"/>
          <c:order val="2"/>
          <c:spPr>
            <a:solidFill>
              <a:srgbClr val="7F7F7F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2</c:v>
                </c:pt>
                <c:pt idx="4">
                  <c:v>4</c:v>
                </c:pt>
                <c:pt idx="5">
                  <c:v>7</c:v>
                </c:pt>
                <c:pt idx="6">
                  <c:v>1</c:v>
                </c:pt>
                <c:pt idx="7">
                  <c:v>5</c:v>
                </c:pt>
                <c:pt idx="8">
                  <c:v>4</c:v>
                </c:pt>
                <c:pt idx="9">
                  <c:v>2</c:v>
                </c:pt>
                <c:pt idx="10">
                  <c:v>4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89-4D44-8339-BFEC0192E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53666687"/>
        <c:axId val="1"/>
      </c:areaChart>
      <c:catAx>
        <c:axId val="12536666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253666687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03464755077658E-2"/>
          <c:y val="0.11016291698991466"/>
          <c:w val="0.90143369175627241"/>
          <c:h val="0.779674166020170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675717610550814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B57-4742-B9A4-109BBE074FC8}"/>
                </c:ext>
              </c:extLst>
            </c:dLbl>
            <c:dLbl>
              <c:idx val="1"/>
              <c:layout>
                <c:manualLayout>
                  <c:x val="0"/>
                  <c:y val="-0.401086113266097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B57-4742-B9A4-109BBE074FC8}"/>
                </c:ext>
              </c:extLst>
            </c:dLbl>
            <c:dLbl>
              <c:idx val="2"/>
              <c:layout>
                <c:manualLayout>
                  <c:x val="0"/>
                  <c:y val="-0.266873545384018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B57-4742-B9A4-109BBE074FC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61</c:v>
                </c:pt>
                <c:pt idx="1">
                  <c:v>181</c:v>
                </c:pt>
                <c:pt idx="2">
                  <c:v>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B57-4742-B9A4-109BBE074F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26743999"/>
        <c:axId val="1"/>
      </c:barChart>
      <c:catAx>
        <c:axId val="4267439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426743999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6.5573770491803282E-2"/>
          <c:w val="0.94381415451107509"/>
          <c:h val="0.868852459016393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5040</c:v>
                </c:pt>
                <c:pt idx="1">
                  <c:v>26228</c:v>
                </c:pt>
                <c:pt idx="2">
                  <c:v>27612</c:v>
                </c:pt>
                <c:pt idx="3">
                  <c:v>25851</c:v>
                </c:pt>
                <c:pt idx="4">
                  <c:v>24046</c:v>
                </c:pt>
                <c:pt idx="5">
                  <c:v>23354</c:v>
                </c:pt>
                <c:pt idx="6">
                  <c:v>20709</c:v>
                </c:pt>
                <c:pt idx="7">
                  <c:v>20130</c:v>
                </c:pt>
                <c:pt idx="8">
                  <c:v>21551</c:v>
                </c:pt>
                <c:pt idx="9">
                  <c:v>21633</c:v>
                </c:pt>
                <c:pt idx="10">
                  <c:v>22451</c:v>
                </c:pt>
                <c:pt idx="11">
                  <c:v>238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05-46F0-8F19-B087663FC5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32414511"/>
        <c:axId val="1"/>
      </c:barChart>
      <c:catAx>
        <c:axId val="1932414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61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32414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55943757988922E-2"/>
          <c:y val="9.5238095238095233E-2"/>
          <c:w val="0.91648913506604179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0899020025566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8FA-4CD7-A6EF-195B71B6E327}"/>
                </c:ext>
              </c:extLst>
            </c:dLbl>
            <c:dLbl>
              <c:idx val="1"/>
              <c:layout>
                <c:manualLayout>
                  <c:x val="0.4226672347677886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8FA-4CD7-A6EF-195B71B6E327}"/>
                </c:ext>
              </c:extLst>
            </c:dLbl>
            <c:dLbl>
              <c:idx val="2"/>
              <c:layout>
                <c:manualLayout>
                  <c:x val="0.2172986791648913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8FA-4CD7-A6EF-195B71B6E327}"/>
                </c:ext>
              </c:extLst>
            </c:dLbl>
            <c:dLbl>
              <c:idx val="3"/>
              <c:layout>
                <c:manualLayout>
                  <c:x val="0.1951427354069024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8FA-4CD7-A6EF-195B71B6E327}"/>
                </c:ext>
              </c:extLst>
            </c:dLbl>
            <c:dLbl>
              <c:idx val="4"/>
              <c:layout>
                <c:manualLayout>
                  <c:x val="0.1951427354069024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8FA-4CD7-A6EF-195B71B6E32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1</c:v>
                </c:pt>
                <c:pt idx="1">
                  <c:v>18</c:v>
                </c:pt>
                <c:pt idx="2">
                  <c:v>9</c:v>
                </c:pt>
                <c:pt idx="3">
                  <c:v>8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8FA-4CD7-A6EF-195B71B6E3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23025919"/>
        <c:axId val="1"/>
      </c:barChart>
      <c:catAx>
        <c:axId val="112302591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230259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886106141920102E-2"/>
          <c:y val="8.1598667776852624E-2"/>
          <c:w val="0.9016100178890876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BD-43D6-875A-2FC04680332C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9</c:v>
                </c:pt>
                <c:pt idx="1">
                  <c:v>9</c:v>
                </c:pt>
                <c:pt idx="2">
                  <c:v>5</c:v>
                </c:pt>
                <c:pt idx="3">
                  <c:v>5</c:v>
                </c:pt>
                <c:pt idx="4">
                  <c:v>9</c:v>
                </c:pt>
                <c:pt idx="5">
                  <c:v>13</c:v>
                </c:pt>
                <c:pt idx="6">
                  <c:v>12</c:v>
                </c:pt>
                <c:pt idx="7">
                  <c:v>22</c:v>
                </c:pt>
                <c:pt idx="8">
                  <c:v>31</c:v>
                </c:pt>
                <c:pt idx="9">
                  <c:v>29</c:v>
                </c:pt>
                <c:pt idx="10">
                  <c:v>27</c:v>
                </c:pt>
                <c:pt idx="11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4BD-43D6-875A-2FC04680332C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44</c:v>
                </c:pt>
                <c:pt idx="1">
                  <c:v>40</c:v>
                </c:pt>
                <c:pt idx="2">
                  <c:v>25</c:v>
                </c:pt>
                <c:pt idx="3">
                  <c:v>49</c:v>
                </c:pt>
                <c:pt idx="4">
                  <c:v>54</c:v>
                </c:pt>
                <c:pt idx="5">
                  <c:v>75</c:v>
                </c:pt>
                <c:pt idx="6">
                  <c:v>75</c:v>
                </c:pt>
                <c:pt idx="7">
                  <c:v>76</c:v>
                </c:pt>
                <c:pt idx="8">
                  <c:v>98</c:v>
                </c:pt>
                <c:pt idx="9">
                  <c:v>99</c:v>
                </c:pt>
                <c:pt idx="10">
                  <c:v>100</c:v>
                </c:pt>
                <c:pt idx="11">
                  <c:v>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BD-43D6-875A-2FC04680332C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23</c:v>
                </c:pt>
                <c:pt idx="1">
                  <c:v>14</c:v>
                </c:pt>
                <c:pt idx="2">
                  <c:v>12</c:v>
                </c:pt>
                <c:pt idx="3">
                  <c:v>29</c:v>
                </c:pt>
                <c:pt idx="4">
                  <c:v>81</c:v>
                </c:pt>
                <c:pt idx="5">
                  <c:v>88</c:v>
                </c:pt>
                <c:pt idx="6">
                  <c:v>87</c:v>
                </c:pt>
                <c:pt idx="7">
                  <c:v>83</c:v>
                </c:pt>
                <c:pt idx="8">
                  <c:v>103</c:v>
                </c:pt>
                <c:pt idx="9">
                  <c:v>80</c:v>
                </c:pt>
                <c:pt idx="10">
                  <c:v>61</c:v>
                </c:pt>
                <c:pt idx="11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4BD-43D6-875A-2FC0468033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45709423"/>
        <c:axId val="1"/>
      </c:areaChart>
      <c:catAx>
        <c:axId val="11457094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45709423"/>
        <c:crosses val="min"/>
        <c:crossBetween val="midCat"/>
        <c:majorUnit val="5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55989750160152E-2"/>
          <c:y val="4.6889089269612265E-2"/>
          <c:w val="0.96668802049967972"/>
          <c:h val="0.9062218214607754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3056</c:v>
                </c:pt>
                <c:pt idx="1">
                  <c:v>3093</c:v>
                </c:pt>
                <c:pt idx="2">
                  <c:v>3330</c:v>
                </c:pt>
                <c:pt idx="3">
                  <c:v>3056</c:v>
                </c:pt>
                <c:pt idx="4">
                  <c:v>2880</c:v>
                </c:pt>
                <c:pt idx="5">
                  <c:v>2826</c:v>
                </c:pt>
                <c:pt idx="6">
                  <c:v>2552</c:v>
                </c:pt>
                <c:pt idx="7">
                  <c:v>2371</c:v>
                </c:pt>
                <c:pt idx="8">
                  <c:v>2611</c:v>
                </c:pt>
                <c:pt idx="9">
                  <c:v>2431</c:v>
                </c:pt>
                <c:pt idx="10">
                  <c:v>2480</c:v>
                </c:pt>
                <c:pt idx="11">
                  <c:v>26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7F2-4850-A65A-25C748DC56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5732463"/>
        <c:axId val="1"/>
      </c:lineChart>
      <c:catAx>
        <c:axId val="11457324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00"/>
          <c:min val="20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45732463"/>
        <c:crosses val="min"/>
        <c:crossBetween val="midCat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967741935483872E-2"/>
          <c:y val="9.5238095238095233E-2"/>
          <c:w val="0.90322580645161288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91129032258064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A63-4BEF-95CC-72D05F0AA3B0}"/>
                </c:ext>
              </c:extLst>
            </c:dLbl>
            <c:dLbl>
              <c:idx val="1"/>
              <c:layout>
                <c:manualLayout>
                  <c:x val="0.44637096774193546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A63-4BEF-95CC-72D05F0AA3B0}"/>
                </c:ext>
              </c:extLst>
            </c:dLbl>
            <c:dLbl>
              <c:idx val="2"/>
              <c:layout>
                <c:manualLayout>
                  <c:x val="0.32137096774193546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A63-4BEF-95CC-72D05F0AA3B0}"/>
                </c:ext>
              </c:extLst>
            </c:dLbl>
            <c:dLbl>
              <c:idx val="3"/>
              <c:layout>
                <c:manualLayout>
                  <c:x val="0.3096774193548387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A63-4BEF-95CC-72D05F0AA3B0}"/>
                </c:ext>
              </c:extLst>
            </c:dLbl>
            <c:dLbl>
              <c:idx val="4"/>
              <c:layout>
                <c:manualLayout>
                  <c:x val="0.2504032258064516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A63-4BEF-95CC-72D05F0AA3B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42</c:v>
                </c:pt>
                <c:pt idx="1">
                  <c:v>219</c:v>
                </c:pt>
                <c:pt idx="2">
                  <c:v>152</c:v>
                </c:pt>
                <c:pt idx="3">
                  <c:v>146</c:v>
                </c:pt>
                <c:pt idx="4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A63-4BEF-95CC-72D05F0AA3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2060335"/>
        <c:axId val="1"/>
      </c:barChart>
      <c:catAx>
        <c:axId val="14420603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420603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886106141920102E-2"/>
          <c:y val="8.1598667776852624E-2"/>
          <c:w val="0.9016100178890876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6B-42FC-B7AF-A404F0BDAECE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50</c:v>
                </c:pt>
                <c:pt idx="1">
                  <c:v>35</c:v>
                </c:pt>
                <c:pt idx="2">
                  <c:v>13</c:v>
                </c:pt>
                <c:pt idx="3">
                  <c:v>21</c:v>
                </c:pt>
                <c:pt idx="4">
                  <c:v>36</c:v>
                </c:pt>
                <c:pt idx="5">
                  <c:v>46</c:v>
                </c:pt>
                <c:pt idx="6">
                  <c:v>42</c:v>
                </c:pt>
                <c:pt idx="7">
                  <c:v>57</c:v>
                </c:pt>
                <c:pt idx="8">
                  <c:v>52</c:v>
                </c:pt>
                <c:pt idx="9">
                  <c:v>64</c:v>
                </c:pt>
                <c:pt idx="10">
                  <c:v>67</c:v>
                </c:pt>
                <c:pt idx="1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6B-42FC-B7AF-A404F0BDAECE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12</c:v>
                </c:pt>
                <c:pt idx="1">
                  <c:v>72</c:v>
                </c:pt>
                <c:pt idx="2">
                  <c:v>42</c:v>
                </c:pt>
                <c:pt idx="3">
                  <c:v>94</c:v>
                </c:pt>
                <c:pt idx="4">
                  <c:v>118</c:v>
                </c:pt>
                <c:pt idx="5">
                  <c:v>131</c:v>
                </c:pt>
                <c:pt idx="6">
                  <c:v>156</c:v>
                </c:pt>
                <c:pt idx="7">
                  <c:v>149</c:v>
                </c:pt>
                <c:pt idx="8">
                  <c:v>182</c:v>
                </c:pt>
                <c:pt idx="9">
                  <c:v>149</c:v>
                </c:pt>
                <c:pt idx="10">
                  <c:v>168</c:v>
                </c:pt>
                <c:pt idx="11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E6B-42FC-B7AF-A404F0BDAECE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84</c:v>
                </c:pt>
                <c:pt idx="1">
                  <c:v>46</c:v>
                </c:pt>
                <c:pt idx="2">
                  <c:v>43</c:v>
                </c:pt>
                <c:pt idx="3">
                  <c:v>73</c:v>
                </c:pt>
                <c:pt idx="4">
                  <c:v>147</c:v>
                </c:pt>
                <c:pt idx="5">
                  <c:v>166</c:v>
                </c:pt>
                <c:pt idx="6">
                  <c:v>215</c:v>
                </c:pt>
                <c:pt idx="7">
                  <c:v>207</c:v>
                </c:pt>
                <c:pt idx="8">
                  <c:v>201</c:v>
                </c:pt>
                <c:pt idx="9">
                  <c:v>170</c:v>
                </c:pt>
                <c:pt idx="10">
                  <c:v>161</c:v>
                </c:pt>
                <c:pt idx="11">
                  <c:v>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E6B-42FC-B7AF-A404F0BDAE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5499871"/>
        <c:axId val="1"/>
      </c:areaChart>
      <c:catAx>
        <c:axId val="43549987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435499871"/>
        <c:crosses val="min"/>
        <c:crossBetween val="midCat"/>
        <c:majorUnit val="5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55989750160152E-2"/>
          <c:y val="4.6889089269612265E-2"/>
          <c:w val="0.96668802049967972"/>
          <c:h val="0.9062218214607754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5970</c:v>
                </c:pt>
                <c:pt idx="1">
                  <c:v>5866</c:v>
                </c:pt>
                <c:pt idx="2">
                  <c:v>5874</c:v>
                </c:pt>
                <c:pt idx="3">
                  <c:v>5668</c:v>
                </c:pt>
                <c:pt idx="4">
                  <c:v>5631</c:v>
                </c:pt>
                <c:pt idx="5">
                  <c:v>5683</c:v>
                </c:pt>
                <c:pt idx="6">
                  <c:v>4856</c:v>
                </c:pt>
                <c:pt idx="7">
                  <c:v>5131</c:v>
                </c:pt>
                <c:pt idx="8">
                  <c:v>5047</c:v>
                </c:pt>
                <c:pt idx="9">
                  <c:v>4907</c:v>
                </c:pt>
                <c:pt idx="10">
                  <c:v>5059</c:v>
                </c:pt>
                <c:pt idx="11">
                  <c:v>5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57-4156-A52E-A8B35DB55A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0499615"/>
        <c:axId val="1"/>
      </c:lineChart>
      <c:catAx>
        <c:axId val="20504996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"/>
          <c:min val="46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2050499615"/>
        <c:crosses val="min"/>
        <c:crossBetween val="midCat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967741935483872E-2"/>
          <c:y val="9.5238095238095233E-2"/>
          <c:w val="0.90322580645161288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91129032258064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000-4801-8EC5-FA77A74D6F86}"/>
                </c:ext>
              </c:extLst>
            </c:dLbl>
            <c:dLbl>
              <c:idx val="1"/>
              <c:layout>
                <c:manualLayout>
                  <c:x val="0.3778225806451612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000-4801-8EC5-FA77A74D6F86}"/>
                </c:ext>
              </c:extLst>
            </c:dLbl>
            <c:dLbl>
              <c:idx val="2"/>
              <c:layout>
                <c:manualLayout>
                  <c:x val="0.3709677419354838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000-4801-8EC5-FA77A74D6F86}"/>
                </c:ext>
              </c:extLst>
            </c:dLbl>
            <c:dLbl>
              <c:idx val="3"/>
              <c:layout>
                <c:manualLayout>
                  <c:x val="0.34233870967741936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000-4801-8EC5-FA77A74D6F86}"/>
                </c:ext>
              </c:extLst>
            </c:dLbl>
            <c:dLbl>
              <c:idx val="4"/>
              <c:layout>
                <c:manualLayout>
                  <c:x val="0.3314516129032258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00-4801-8EC5-FA77A74D6F8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64</c:v>
                </c:pt>
                <c:pt idx="1">
                  <c:v>350</c:v>
                </c:pt>
                <c:pt idx="2">
                  <c:v>343</c:v>
                </c:pt>
                <c:pt idx="3">
                  <c:v>313</c:v>
                </c:pt>
                <c:pt idx="4">
                  <c:v>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000-4801-8EC5-FA77A74D6F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0501055"/>
        <c:axId val="1"/>
      </c:barChart>
      <c:catAx>
        <c:axId val="205050105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505010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886106141920102E-2"/>
          <c:y val="8.1598667776852624E-2"/>
          <c:w val="0.9016100178890876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0A-4378-B5D8-95EF12EF5990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12</c:v>
                </c:pt>
                <c:pt idx="1">
                  <c:v>3</c:v>
                </c:pt>
                <c:pt idx="2">
                  <c:v>1</c:v>
                </c:pt>
                <c:pt idx="3">
                  <c:v>9</c:v>
                </c:pt>
                <c:pt idx="4">
                  <c:v>12</c:v>
                </c:pt>
                <c:pt idx="5">
                  <c:v>4</c:v>
                </c:pt>
                <c:pt idx="6">
                  <c:v>7</c:v>
                </c:pt>
                <c:pt idx="7">
                  <c:v>18</c:v>
                </c:pt>
                <c:pt idx="8">
                  <c:v>29</c:v>
                </c:pt>
                <c:pt idx="9">
                  <c:v>12</c:v>
                </c:pt>
                <c:pt idx="10">
                  <c:v>12</c:v>
                </c:pt>
                <c:pt idx="11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C0A-4378-B5D8-95EF12EF5990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37</c:v>
                </c:pt>
                <c:pt idx="1">
                  <c:v>21</c:v>
                </c:pt>
                <c:pt idx="2">
                  <c:v>19</c:v>
                </c:pt>
                <c:pt idx="3">
                  <c:v>30</c:v>
                </c:pt>
                <c:pt idx="4">
                  <c:v>37</c:v>
                </c:pt>
                <c:pt idx="5">
                  <c:v>45</c:v>
                </c:pt>
                <c:pt idx="6">
                  <c:v>46</c:v>
                </c:pt>
                <c:pt idx="7">
                  <c:v>48</c:v>
                </c:pt>
                <c:pt idx="8">
                  <c:v>61</c:v>
                </c:pt>
                <c:pt idx="9">
                  <c:v>43</c:v>
                </c:pt>
                <c:pt idx="10">
                  <c:v>41</c:v>
                </c:pt>
                <c:pt idx="11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C0A-4378-B5D8-95EF12EF5990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23</c:v>
                </c:pt>
                <c:pt idx="1">
                  <c:v>19</c:v>
                </c:pt>
                <c:pt idx="2">
                  <c:v>9</c:v>
                </c:pt>
                <c:pt idx="3">
                  <c:v>20</c:v>
                </c:pt>
                <c:pt idx="4">
                  <c:v>46</c:v>
                </c:pt>
                <c:pt idx="5">
                  <c:v>50</c:v>
                </c:pt>
                <c:pt idx="6">
                  <c:v>56</c:v>
                </c:pt>
                <c:pt idx="7">
                  <c:v>65</c:v>
                </c:pt>
                <c:pt idx="8">
                  <c:v>46</c:v>
                </c:pt>
                <c:pt idx="9">
                  <c:v>38</c:v>
                </c:pt>
                <c:pt idx="10">
                  <c:v>45</c:v>
                </c:pt>
                <c:pt idx="1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C0A-4378-B5D8-95EF12EF59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8984623"/>
        <c:axId val="1"/>
      </c:areaChart>
      <c:catAx>
        <c:axId val="4289846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428984623"/>
        <c:crosses val="min"/>
        <c:crossBetween val="midCat"/>
        <c:majorUnit val="2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39999999999999E-2"/>
          <c:y val="4.6889089269612265E-2"/>
          <c:w val="0.96672000000000002"/>
          <c:h val="0.9062218214607754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1689</c:v>
                </c:pt>
                <c:pt idx="1">
                  <c:v>1875</c:v>
                </c:pt>
                <c:pt idx="2">
                  <c:v>1867</c:v>
                </c:pt>
                <c:pt idx="3">
                  <c:v>1753</c:v>
                </c:pt>
                <c:pt idx="4">
                  <c:v>1682</c:v>
                </c:pt>
                <c:pt idx="5">
                  <c:v>1580</c:v>
                </c:pt>
                <c:pt idx="6">
                  <c:v>1458</c:v>
                </c:pt>
                <c:pt idx="7">
                  <c:v>1354</c:v>
                </c:pt>
                <c:pt idx="8">
                  <c:v>1392</c:v>
                </c:pt>
                <c:pt idx="9">
                  <c:v>1393</c:v>
                </c:pt>
                <c:pt idx="10">
                  <c:v>1426</c:v>
                </c:pt>
                <c:pt idx="11">
                  <c:v>14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9-4D7E-BB16-569E05F541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0478975"/>
        <c:axId val="1"/>
      </c:lineChart>
      <c:catAx>
        <c:axId val="20504789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00"/>
          <c:min val="13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2050478975"/>
        <c:crosses val="min"/>
        <c:crossBetween val="midCat"/>
        <c:majorUnit val="1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967741935483872E-2"/>
          <c:y val="9.5238095238095233E-2"/>
          <c:w val="0.90322580645161288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91129032258064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223-406C-A063-97A4CB7E37A4}"/>
                </c:ext>
              </c:extLst>
            </c:dLbl>
            <c:dLbl>
              <c:idx val="1"/>
              <c:layout>
                <c:manualLayout>
                  <c:x val="0.4774193548387096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223-406C-A063-97A4CB7E37A4}"/>
                </c:ext>
              </c:extLst>
            </c:dLbl>
            <c:dLbl>
              <c:idx val="2"/>
              <c:layout>
                <c:manualLayout>
                  <c:x val="0.46975806451612906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223-406C-A063-97A4CB7E37A4}"/>
                </c:ext>
              </c:extLst>
            </c:dLbl>
            <c:dLbl>
              <c:idx val="3"/>
              <c:layout>
                <c:manualLayout>
                  <c:x val="0.4032258064516128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223-406C-A063-97A4CB7E37A4}"/>
                </c:ext>
              </c:extLst>
            </c:dLbl>
            <c:dLbl>
              <c:idx val="4"/>
              <c:layout>
                <c:manualLayout>
                  <c:x val="0.3064516129032258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223-406C-A063-97A4CB7E37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7</c:v>
                </c:pt>
                <c:pt idx="1">
                  <c:v>114</c:v>
                </c:pt>
                <c:pt idx="2">
                  <c:v>112</c:v>
                </c:pt>
                <c:pt idx="3">
                  <c:v>97</c:v>
                </c:pt>
                <c:pt idx="4">
                  <c:v>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223-406C-A063-97A4CB7E37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5500351"/>
        <c:axId val="1"/>
      </c:barChart>
      <c:catAx>
        <c:axId val="43550035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3550035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6.5573770491803282E-2"/>
          <c:w val="0.94381415451107509"/>
          <c:h val="0.868852459016393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0717</c:v>
                </c:pt>
                <c:pt idx="1">
                  <c:v>21187</c:v>
                </c:pt>
                <c:pt idx="2">
                  <c:v>22184</c:v>
                </c:pt>
                <c:pt idx="3">
                  <c:v>17242</c:v>
                </c:pt>
                <c:pt idx="4">
                  <c:v>16354</c:v>
                </c:pt>
                <c:pt idx="5">
                  <c:v>16311</c:v>
                </c:pt>
                <c:pt idx="6">
                  <c:v>14654</c:v>
                </c:pt>
                <c:pt idx="7">
                  <c:v>14572</c:v>
                </c:pt>
                <c:pt idx="8">
                  <c:v>14658</c:v>
                </c:pt>
                <c:pt idx="9">
                  <c:v>14666</c:v>
                </c:pt>
                <c:pt idx="10">
                  <c:v>16972</c:v>
                </c:pt>
                <c:pt idx="11">
                  <c:v>173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C2-4EE9-9320-D7869E474A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407055"/>
        <c:axId val="1"/>
      </c:barChart>
      <c:catAx>
        <c:axId val="104070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18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4070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886106141920102E-2"/>
          <c:y val="8.1598667776852624E-2"/>
          <c:w val="0.90161001788908768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72-4238-8C59-FC2AFE36653A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19</c:v>
                </c:pt>
                <c:pt idx="1">
                  <c:v>9</c:v>
                </c:pt>
                <c:pt idx="2">
                  <c:v>8</c:v>
                </c:pt>
                <c:pt idx="3">
                  <c:v>7</c:v>
                </c:pt>
                <c:pt idx="4">
                  <c:v>16</c:v>
                </c:pt>
                <c:pt idx="5">
                  <c:v>25</c:v>
                </c:pt>
                <c:pt idx="6">
                  <c:v>18</c:v>
                </c:pt>
                <c:pt idx="7">
                  <c:v>19</c:v>
                </c:pt>
                <c:pt idx="8">
                  <c:v>30</c:v>
                </c:pt>
                <c:pt idx="9">
                  <c:v>29</c:v>
                </c:pt>
                <c:pt idx="10">
                  <c:v>29</c:v>
                </c:pt>
                <c:pt idx="11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72-4238-8C59-FC2AFE36653A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46</c:v>
                </c:pt>
                <c:pt idx="1">
                  <c:v>38</c:v>
                </c:pt>
                <c:pt idx="2">
                  <c:v>33</c:v>
                </c:pt>
                <c:pt idx="3">
                  <c:v>51</c:v>
                </c:pt>
                <c:pt idx="4">
                  <c:v>67</c:v>
                </c:pt>
                <c:pt idx="5">
                  <c:v>88</c:v>
                </c:pt>
                <c:pt idx="6">
                  <c:v>83</c:v>
                </c:pt>
                <c:pt idx="7">
                  <c:v>96</c:v>
                </c:pt>
                <c:pt idx="8">
                  <c:v>97</c:v>
                </c:pt>
                <c:pt idx="9">
                  <c:v>83</c:v>
                </c:pt>
                <c:pt idx="10">
                  <c:v>122</c:v>
                </c:pt>
                <c:pt idx="11">
                  <c:v>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D72-4238-8C59-FC2AFE36653A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50</c:v>
                </c:pt>
                <c:pt idx="1">
                  <c:v>32</c:v>
                </c:pt>
                <c:pt idx="2">
                  <c:v>21</c:v>
                </c:pt>
                <c:pt idx="3">
                  <c:v>42</c:v>
                </c:pt>
                <c:pt idx="4">
                  <c:v>76</c:v>
                </c:pt>
                <c:pt idx="5">
                  <c:v>72</c:v>
                </c:pt>
                <c:pt idx="6">
                  <c:v>89</c:v>
                </c:pt>
                <c:pt idx="7">
                  <c:v>111</c:v>
                </c:pt>
                <c:pt idx="8">
                  <c:v>91</c:v>
                </c:pt>
                <c:pt idx="9">
                  <c:v>123</c:v>
                </c:pt>
                <c:pt idx="10">
                  <c:v>79</c:v>
                </c:pt>
                <c:pt idx="1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D72-4238-8C59-FC2AFE3665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61127808"/>
        <c:axId val="1"/>
      </c:areaChart>
      <c:catAx>
        <c:axId val="1661127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61127808"/>
        <c:crosses val="min"/>
        <c:crossBetween val="midCat"/>
        <c:majorUnit val="5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655989750160152E-2"/>
          <c:y val="4.6889089269612265E-2"/>
          <c:w val="0.96668802049967972"/>
          <c:h val="0.90622182146077546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3164</c:v>
                </c:pt>
                <c:pt idx="1">
                  <c:v>3197</c:v>
                </c:pt>
                <c:pt idx="2">
                  <c:v>3321</c:v>
                </c:pt>
                <c:pt idx="3">
                  <c:v>3184</c:v>
                </c:pt>
                <c:pt idx="4">
                  <c:v>2988</c:v>
                </c:pt>
                <c:pt idx="5">
                  <c:v>3044</c:v>
                </c:pt>
                <c:pt idx="6">
                  <c:v>2763</c:v>
                </c:pt>
                <c:pt idx="7">
                  <c:v>2750</c:v>
                </c:pt>
                <c:pt idx="8">
                  <c:v>2644</c:v>
                </c:pt>
                <c:pt idx="9">
                  <c:v>2624</c:v>
                </c:pt>
                <c:pt idx="10">
                  <c:v>2786</c:v>
                </c:pt>
                <c:pt idx="11">
                  <c:v>27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40E-480C-845B-B00DAF4B40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50487135"/>
        <c:axId val="1"/>
      </c:lineChart>
      <c:catAx>
        <c:axId val="205048713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00"/>
          <c:min val="24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2050487135"/>
        <c:crosses val="min"/>
        <c:crossBetween val="midCat"/>
        <c:majorUnit val="2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967741935483872E-2"/>
          <c:y val="9.5238095238095233E-2"/>
          <c:w val="0.90322580645161288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91129032258064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5C8-4F5E-8B2A-2121150E35B2}"/>
                </c:ext>
              </c:extLst>
            </c:dLbl>
            <c:dLbl>
              <c:idx val="1"/>
              <c:layout>
                <c:manualLayout>
                  <c:x val="0.4540322580645161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5C8-4F5E-8B2A-2121150E35B2}"/>
                </c:ext>
              </c:extLst>
            </c:dLbl>
            <c:dLbl>
              <c:idx val="2"/>
              <c:layout>
                <c:manualLayout>
                  <c:x val="0.418951612903225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5C8-4F5E-8B2A-2121150E35B2}"/>
                </c:ext>
              </c:extLst>
            </c:dLbl>
            <c:dLbl>
              <c:idx val="3"/>
              <c:layout>
                <c:manualLayout>
                  <c:x val="0.3528225806451613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5C8-4F5E-8B2A-2121150E35B2}"/>
                </c:ext>
              </c:extLst>
            </c:dLbl>
            <c:dLbl>
              <c:idx val="4"/>
              <c:layout>
                <c:manualLayout>
                  <c:x val="0.3068548387096774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5C8-4F5E-8B2A-2121150E35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06</c:v>
                </c:pt>
                <c:pt idx="1">
                  <c:v>190</c:v>
                </c:pt>
                <c:pt idx="2">
                  <c:v>174</c:v>
                </c:pt>
                <c:pt idx="3">
                  <c:v>144</c:v>
                </c:pt>
                <c:pt idx="4">
                  <c:v>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5C8-4F5E-8B2A-2121150E35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67069407"/>
        <c:axId val="1"/>
      </c:barChart>
      <c:catAx>
        <c:axId val="206706940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670694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05-45E4-9E5A-862971418B58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2</c:v>
                </c:pt>
                <c:pt idx="1">
                  <c:v>3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2</c:v>
                </c:pt>
                <c:pt idx="6">
                  <c:v>4</c:v>
                </c:pt>
                <c:pt idx="7">
                  <c:v>1</c:v>
                </c:pt>
                <c:pt idx="8">
                  <c:v>3</c:v>
                </c:pt>
                <c:pt idx="9">
                  <c:v>4</c:v>
                </c:pt>
                <c:pt idx="10">
                  <c:v>1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05-45E4-9E5A-862971418B58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5</c:v>
                </c:pt>
                <c:pt idx="1">
                  <c:v>6</c:v>
                </c:pt>
                <c:pt idx="2">
                  <c:v>8</c:v>
                </c:pt>
                <c:pt idx="3">
                  <c:v>12</c:v>
                </c:pt>
                <c:pt idx="4">
                  <c:v>10</c:v>
                </c:pt>
                <c:pt idx="5">
                  <c:v>8</c:v>
                </c:pt>
                <c:pt idx="6">
                  <c:v>17</c:v>
                </c:pt>
                <c:pt idx="7">
                  <c:v>16</c:v>
                </c:pt>
                <c:pt idx="8">
                  <c:v>28</c:v>
                </c:pt>
                <c:pt idx="9">
                  <c:v>21</c:v>
                </c:pt>
                <c:pt idx="10">
                  <c:v>18</c:v>
                </c:pt>
                <c:pt idx="11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05-45E4-9E5A-862971418B58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10</c:v>
                </c:pt>
                <c:pt idx="1">
                  <c:v>4</c:v>
                </c:pt>
                <c:pt idx="2">
                  <c:v>7</c:v>
                </c:pt>
                <c:pt idx="3">
                  <c:v>9</c:v>
                </c:pt>
                <c:pt idx="4">
                  <c:v>15</c:v>
                </c:pt>
                <c:pt idx="5">
                  <c:v>14</c:v>
                </c:pt>
                <c:pt idx="6">
                  <c:v>15</c:v>
                </c:pt>
                <c:pt idx="7">
                  <c:v>24</c:v>
                </c:pt>
                <c:pt idx="8">
                  <c:v>21</c:v>
                </c:pt>
                <c:pt idx="9">
                  <c:v>14</c:v>
                </c:pt>
                <c:pt idx="10">
                  <c:v>10</c:v>
                </c:pt>
                <c:pt idx="1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05-45E4-9E5A-862971418B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19940351"/>
        <c:axId val="1"/>
      </c:areaChart>
      <c:catAx>
        <c:axId val="19199403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919940351"/>
        <c:crosses val="min"/>
        <c:crossBetween val="midCat"/>
        <c:majorUnit val="10"/>
      </c:valAx>
    </c:plotArea>
    <c:plotVisOnly val="0"/>
    <c:dispBlanksAs val="zero"/>
    <c:showDLblsOverMax val="1"/>
  </c:chart>
  <c:externalData r:id="rId1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981716307873778E-2"/>
          <c:y val="0.11016291698991466"/>
          <c:w val="0.89000294898260102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605131229725744E-2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AC-4CE6-A23A-40F5CEC5CBC6}"/>
                </c:ext>
              </c:extLst>
            </c:dLbl>
            <c:dLbl>
              <c:idx val="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AC-4CE6-A23A-40F5CEC5CBC6}"/>
                </c:ext>
              </c:extLst>
            </c:dLbl>
            <c:dLbl>
              <c:idx val="2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AC-4CE6-A23A-40F5CEC5CBC6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3AC-4CE6-A23A-40F5CEC5CBC6}"/>
                </c:ext>
              </c:extLst>
            </c:dLbl>
            <c:dLbl>
              <c:idx val="4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3AC-4CE6-A23A-40F5CEC5CBC6}"/>
                </c:ext>
              </c:extLst>
            </c:dLbl>
            <c:dLbl>
              <c:idx val="5"/>
              <c:layout>
                <c:manualLayout>
                  <c:x val="3.2733706871129462E-2"/>
                  <c:y val="-2.3273855702094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3AC-4CE6-A23A-40F5CEC5CBC6}"/>
                </c:ext>
              </c:extLst>
            </c:dLbl>
            <c:dLbl>
              <c:idx val="6"/>
              <c:layout>
                <c:manualLayout>
                  <c:x val="3.2733706871129462E-2"/>
                  <c:y val="-2.3273855702094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3AC-4CE6-A23A-40F5CEC5CBC6}"/>
                </c:ext>
              </c:extLst>
            </c:dLbl>
            <c:dLbl>
              <c:idx val="7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3AC-4CE6-A23A-40F5CEC5CBC6}"/>
                </c:ext>
              </c:extLst>
            </c:dLbl>
            <c:dLbl>
              <c:idx val="8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3AC-4CE6-A23A-40F5CEC5CBC6}"/>
                </c:ext>
              </c:extLst>
            </c:dLbl>
            <c:dLbl>
              <c:idx val="9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3AC-4CE6-A23A-40F5CEC5CBC6}"/>
                </c:ext>
              </c:extLst>
            </c:dLbl>
            <c:dLbl>
              <c:idx val="10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3AC-4CE6-A23A-40F5CEC5CBC6}"/>
                </c:ext>
              </c:extLst>
            </c:dLbl>
            <c:dLbl>
              <c:idx val="1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3AC-4CE6-A23A-40F5CEC5CB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610</c:v>
                </c:pt>
                <c:pt idx="1">
                  <c:v>631</c:v>
                </c:pt>
                <c:pt idx="2">
                  <c:v>653</c:v>
                </c:pt>
                <c:pt idx="3">
                  <c:v>665</c:v>
                </c:pt>
                <c:pt idx="4">
                  <c:v>652</c:v>
                </c:pt>
                <c:pt idx="5">
                  <c:v>582</c:v>
                </c:pt>
                <c:pt idx="6">
                  <c:v>516</c:v>
                </c:pt>
                <c:pt idx="7">
                  <c:v>446</c:v>
                </c:pt>
                <c:pt idx="8">
                  <c:v>467</c:v>
                </c:pt>
                <c:pt idx="9">
                  <c:v>496</c:v>
                </c:pt>
                <c:pt idx="10">
                  <c:v>495</c:v>
                </c:pt>
                <c:pt idx="11">
                  <c:v>48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B3AC-4CE6-A23A-40F5CEC5CB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53667167"/>
        <c:axId val="1"/>
      </c:lineChart>
      <c:catAx>
        <c:axId val="12536671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0"/>
          <c:min val="4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253667167"/>
        <c:crosses val="min"/>
        <c:crossBetween val="midCat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46469622331693E-2"/>
          <c:y val="9.5238095238095233E-2"/>
          <c:w val="0.9195402298850574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9162561576354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A45-4623-B02E-D615328A6CFD}"/>
                </c:ext>
              </c:extLst>
            </c:dLbl>
            <c:dLbl>
              <c:idx val="1"/>
              <c:layout>
                <c:manualLayout>
                  <c:x val="0.4417077175697865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A45-4623-B02E-D615328A6CFD}"/>
                </c:ext>
              </c:extLst>
            </c:dLbl>
            <c:dLbl>
              <c:idx val="2"/>
              <c:layout>
                <c:manualLayout>
                  <c:x val="0.3353858784893267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A45-4623-B02E-D615328A6CFD}"/>
                </c:ext>
              </c:extLst>
            </c:dLbl>
            <c:dLbl>
              <c:idx val="3"/>
              <c:layout>
                <c:manualLayout>
                  <c:x val="0.3353858784893267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A45-4623-B02E-D615328A6CFD}"/>
                </c:ext>
              </c:extLst>
            </c:dLbl>
            <c:dLbl>
              <c:idx val="4"/>
              <c:layout>
                <c:manualLayout>
                  <c:x val="0.3119868637110016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A45-4623-B02E-D615328A6CF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9</c:v>
                </c:pt>
                <c:pt idx="1">
                  <c:v>35</c:v>
                </c:pt>
                <c:pt idx="2">
                  <c:v>26</c:v>
                </c:pt>
                <c:pt idx="3">
                  <c:v>26</c:v>
                </c:pt>
                <c:pt idx="4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A45-4623-B02E-D615328A6C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3841487"/>
        <c:axId val="1"/>
      </c:barChart>
      <c:catAx>
        <c:axId val="16384148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38414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26-4045-8CA1-6285CE57399A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2</c:v>
                </c:pt>
                <c:pt idx="10">
                  <c:v>0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26-4045-8CA1-6285CE57399A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3</c:v>
                </c:pt>
                <c:pt idx="5">
                  <c:v>2</c:v>
                </c:pt>
                <c:pt idx="6">
                  <c:v>7</c:v>
                </c:pt>
                <c:pt idx="7">
                  <c:v>3</c:v>
                </c:pt>
                <c:pt idx="8">
                  <c:v>4</c:v>
                </c:pt>
                <c:pt idx="9">
                  <c:v>4</c:v>
                </c:pt>
                <c:pt idx="10">
                  <c:v>1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26-4045-8CA1-6285CE57399A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3</c:v>
                </c:pt>
                <c:pt idx="8">
                  <c:v>3</c:v>
                </c:pt>
                <c:pt idx="9">
                  <c:v>2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326-4045-8CA1-6285CE5739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0521695"/>
        <c:axId val="1"/>
      </c:areaChart>
      <c:catAx>
        <c:axId val="20505216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2050521695"/>
        <c:crosses val="min"/>
        <c:crossBetween val="midCat"/>
        <c:majorUnit val="2"/>
      </c:valAx>
    </c:plotArea>
    <c:plotVisOnly val="0"/>
    <c:dispBlanksAs val="zero"/>
    <c:showDLblsOverMax val="1"/>
  </c:chart>
  <c:externalData r:id="rId1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517067379044226E-2"/>
          <c:y val="0.11496913580246913"/>
          <c:w val="0.89581478183437224"/>
          <c:h val="0.77546296296296291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791926387652121E-2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EA8-479E-AFD9-1C669D5540AB}"/>
                </c:ext>
              </c:extLst>
            </c:dLbl>
            <c:dLbl>
              <c:idx val="1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EA8-479E-AFD9-1C669D5540AB}"/>
                </c:ext>
              </c:extLst>
            </c:dLbl>
            <c:dLbl>
              <c:idx val="2"/>
              <c:layout>
                <c:manualLayout>
                  <c:x val="0"/>
                  <c:y val="5.709876543209876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EA8-479E-AFD9-1C669D5540AB}"/>
                </c:ext>
              </c:extLst>
            </c:dLbl>
            <c:dLbl>
              <c:idx val="3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EA8-479E-AFD9-1C669D5540AB}"/>
                </c:ext>
              </c:extLst>
            </c:dLbl>
            <c:dLbl>
              <c:idx val="4"/>
              <c:layout>
                <c:manualLayout>
                  <c:x val="-3.6806173938854263E-2"/>
                  <c:y val="2.314814814814814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EA8-479E-AFD9-1C669D5540AB}"/>
                </c:ext>
              </c:extLst>
            </c:dLbl>
            <c:dLbl>
              <c:idx val="5"/>
              <c:layout>
                <c:manualLayout>
                  <c:x val="1.9590382902938557E-2"/>
                  <c:y val="-4.706790123456790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EA8-479E-AFD9-1C669D5540AB}"/>
                </c:ext>
              </c:extLst>
            </c:dLbl>
            <c:dLbl>
              <c:idx val="6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EA8-479E-AFD9-1C669D5540AB}"/>
                </c:ext>
              </c:extLst>
            </c:dLbl>
            <c:dLbl>
              <c:idx val="7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EA8-479E-AFD9-1C669D5540AB}"/>
                </c:ext>
              </c:extLst>
            </c:dLbl>
            <c:dLbl>
              <c:idx val="8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EA8-479E-AFD9-1C669D5540AB}"/>
                </c:ext>
              </c:extLst>
            </c:dLbl>
            <c:dLbl>
              <c:idx val="9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EA8-479E-AFD9-1C669D5540AB}"/>
                </c:ext>
              </c:extLst>
            </c:dLbl>
            <c:dLbl>
              <c:idx val="10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EA8-479E-AFD9-1C669D5540AB}"/>
                </c:ext>
              </c:extLst>
            </c:dLbl>
            <c:dLbl>
              <c:idx val="11"/>
              <c:layout>
                <c:manualLayout>
                  <c:x val="0"/>
                  <c:y val="-6.0956790123456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EA8-479E-AFD9-1C669D5540A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11</c:v>
                </c:pt>
                <c:pt idx="1">
                  <c:v>111</c:v>
                </c:pt>
                <c:pt idx="2">
                  <c:v>108</c:v>
                </c:pt>
                <c:pt idx="3">
                  <c:v>170</c:v>
                </c:pt>
                <c:pt idx="4">
                  <c:v>117</c:v>
                </c:pt>
                <c:pt idx="5">
                  <c:v>86</c:v>
                </c:pt>
                <c:pt idx="6">
                  <c:v>66</c:v>
                </c:pt>
                <c:pt idx="7">
                  <c:v>66</c:v>
                </c:pt>
                <c:pt idx="8">
                  <c:v>75</c:v>
                </c:pt>
                <c:pt idx="9">
                  <c:v>51</c:v>
                </c:pt>
                <c:pt idx="10">
                  <c:v>66</c:v>
                </c:pt>
                <c:pt idx="11">
                  <c:v>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EA8-479E-AFD9-1C669D5540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19972991"/>
        <c:axId val="1"/>
      </c:lineChart>
      <c:catAx>
        <c:axId val="1919972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"/>
          <c:min val="4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919972991"/>
        <c:crosses val="min"/>
        <c:crossBetween val="midCat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46469622331693E-2"/>
          <c:y val="9.5238095238095233E-2"/>
          <c:w val="0.9195402298850574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9162561576354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081-4E00-A2E5-DC9DEC18DBA2}"/>
                </c:ext>
              </c:extLst>
            </c:dLbl>
            <c:dLbl>
              <c:idx val="1"/>
              <c:layout>
                <c:manualLayout>
                  <c:x val="0.2114121510673234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081-4E00-A2E5-DC9DEC18DBA2}"/>
                </c:ext>
              </c:extLst>
            </c:dLbl>
            <c:dLbl>
              <c:idx val="2"/>
              <c:layout>
                <c:manualLayout>
                  <c:x val="0.1736453201970443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081-4E00-A2E5-DC9DEC18DBA2}"/>
                </c:ext>
              </c:extLst>
            </c:dLbl>
            <c:dLbl>
              <c:idx val="3"/>
              <c:layout>
                <c:manualLayout>
                  <c:x val="0.1736453201970443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081-4E00-A2E5-DC9DEC18DBA2}"/>
                </c:ext>
              </c:extLst>
            </c:dLbl>
            <c:dLbl>
              <c:idx val="4"/>
              <c:layout>
                <c:manualLayout>
                  <c:x val="0.1736453201970443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081-4E00-A2E5-DC9DEC18DBA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  <c:pt idx="4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081-4E00-A2E5-DC9DEC18DB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20114255"/>
        <c:axId val="1"/>
      </c:barChart>
      <c:catAx>
        <c:axId val="192011425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201142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75939849624064E-2"/>
          <c:y val="0.11016291698991466"/>
          <c:w val="0.90766917293233085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556390977443608E-2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2B-4C99-810C-061489871D89}"/>
                </c:ext>
              </c:extLst>
            </c:dLbl>
            <c:dLbl>
              <c:idx val="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B2B-4C99-810C-061489871D89}"/>
                </c:ext>
              </c:extLst>
            </c:dLbl>
            <c:dLbl>
              <c:idx val="2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2B-4C99-810C-061489871D89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B2B-4C99-810C-061489871D89}"/>
                </c:ext>
              </c:extLst>
            </c:dLbl>
            <c:dLbl>
              <c:idx val="4"/>
              <c:layout>
                <c:manualLayout>
                  <c:x val="1.9248120300751879E-2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B2B-4C99-810C-061489871D89}"/>
                </c:ext>
              </c:extLst>
            </c:dLbl>
            <c:dLbl>
              <c:idx val="5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B2B-4C99-810C-061489871D89}"/>
                </c:ext>
              </c:extLst>
            </c:dLbl>
            <c:dLbl>
              <c:idx val="6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B2B-4C99-810C-061489871D89}"/>
                </c:ext>
              </c:extLst>
            </c:dLbl>
            <c:dLbl>
              <c:idx val="7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B2B-4C99-810C-061489871D89}"/>
                </c:ext>
              </c:extLst>
            </c:dLbl>
            <c:dLbl>
              <c:idx val="8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B2B-4C99-810C-061489871D89}"/>
                </c:ext>
              </c:extLst>
            </c:dLbl>
            <c:dLbl>
              <c:idx val="9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B2B-4C99-810C-061489871D89}"/>
                </c:ext>
              </c:extLst>
            </c:dLbl>
            <c:dLbl>
              <c:idx val="10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B2B-4C99-810C-061489871D89}"/>
                </c:ext>
              </c:extLst>
            </c:dLbl>
            <c:dLbl>
              <c:idx val="11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B2B-4C99-810C-061489871D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45</c:v>
                </c:pt>
                <c:pt idx="1">
                  <c:v>61</c:v>
                </c:pt>
                <c:pt idx="2">
                  <c:v>44</c:v>
                </c:pt>
                <c:pt idx="3">
                  <c:v>64</c:v>
                </c:pt>
                <c:pt idx="4">
                  <c:v>40</c:v>
                </c:pt>
                <c:pt idx="5">
                  <c:v>38</c:v>
                </c:pt>
                <c:pt idx="6">
                  <c:v>29</c:v>
                </c:pt>
                <c:pt idx="7">
                  <c:v>30</c:v>
                </c:pt>
                <c:pt idx="8">
                  <c:v>37</c:v>
                </c:pt>
                <c:pt idx="9">
                  <c:v>42</c:v>
                </c:pt>
                <c:pt idx="10">
                  <c:v>53</c:v>
                </c:pt>
                <c:pt idx="11">
                  <c:v>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B2B-4C99-810C-061489871D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5739183"/>
        <c:axId val="1"/>
      </c:lineChart>
      <c:catAx>
        <c:axId val="1145739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1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45739183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092922744462453E-2"/>
          <c:y val="6.5573770491803282E-2"/>
          <c:w val="0.94381415451107509"/>
          <c:h val="0.868852459016393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23594</c:v>
                </c:pt>
                <c:pt idx="1">
                  <c:v>25050</c:v>
                </c:pt>
                <c:pt idx="2">
                  <c:v>26258</c:v>
                </c:pt>
                <c:pt idx="3">
                  <c:v>21716</c:v>
                </c:pt>
                <c:pt idx="4">
                  <c:v>19666</c:v>
                </c:pt>
                <c:pt idx="5">
                  <c:v>19999</c:v>
                </c:pt>
                <c:pt idx="6">
                  <c:v>18601</c:v>
                </c:pt>
                <c:pt idx="7">
                  <c:v>17711</c:v>
                </c:pt>
                <c:pt idx="8">
                  <c:v>16999</c:v>
                </c:pt>
                <c:pt idx="9">
                  <c:v>16657</c:v>
                </c:pt>
                <c:pt idx="10">
                  <c:v>18979</c:v>
                </c:pt>
                <c:pt idx="11">
                  <c:v>19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08-46B9-B5E7-E4970910B6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2135263"/>
        <c:axId val="1"/>
      </c:barChart>
      <c:catAx>
        <c:axId val="7721352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25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21352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598667776852624E-2"/>
          <c:w val="0.92590324556031844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3F-48E7-8AD8-4B585EDEAB68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3F-48E7-8AD8-4B585EDEAB68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2</c:v>
                </c:pt>
                <c:pt idx="7">
                  <c:v>0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F3F-48E7-8AD8-4B585EDEAB68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3</c:v>
                </c:pt>
                <c:pt idx="6">
                  <c:v>0</c:v>
                </c:pt>
                <c:pt idx="7">
                  <c:v>1</c:v>
                </c:pt>
                <c:pt idx="8">
                  <c:v>1</c:v>
                </c:pt>
                <c:pt idx="9">
                  <c:v>2</c:v>
                </c:pt>
                <c:pt idx="10">
                  <c:v>1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F3F-48E7-8AD8-4B585EDEA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20084015"/>
        <c:axId val="1"/>
      </c:areaChart>
      <c:catAx>
        <c:axId val="1920084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920084015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39130434782608E-2"/>
          <c:y val="9.5238095238095233E-2"/>
          <c:w val="0.9364548494983278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123745819397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F0B-4407-B32D-0C119D94E30D}"/>
                </c:ext>
              </c:extLst>
            </c:dLbl>
            <c:dLbl>
              <c:idx val="1"/>
              <c:layout>
                <c:manualLayout>
                  <c:x val="0.4887123745819397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F0B-4407-B32D-0C119D94E30D}"/>
                </c:ext>
              </c:extLst>
            </c:dLbl>
            <c:dLbl>
              <c:idx val="2"/>
              <c:layout>
                <c:manualLayout>
                  <c:x val="0.3323578595317725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F0B-4407-B32D-0C119D94E30D}"/>
                </c:ext>
              </c:extLst>
            </c:dLbl>
            <c:dLbl>
              <c:idx val="3"/>
              <c:layout>
                <c:manualLayout>
                  <c:x val="0.3323578595317725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F0B-4407-B32D-0C119D94E30D}"/>
                </c:ext>
              </c:extLst>
            </c:dLbl>
            <c:dLbl>
              <c:idx val="4"/>
              <c:layout>
                <c:manualLayout>
                  <c:x val="0.3323578595317725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F0B-4407-B32D-0C119D94E30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F0B-4407-B32D-0C119D94E3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63633488"/>
        <c:axId val="1"/>
      </c:barChart>
      <c:catAx>
        <c:axId val="166363348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636334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598667776852624E-2"/>
          <c:w val="0.92590324556031844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F6-4E09-90AB-F0280897D82E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F6-4E09-90AB-F0280897D82E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4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4F6-4E09-90AB-F0280897D82E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4F6-4E09-90AB-F0280897D8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39027903"/>
        <c:axId val="1"/>
      </c:areaChart>
      <c:catAx>
        <c:axId val="1539027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539027903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75939849624064E-2"/>
          <c:y val="0.11016291698991466"/>
          <c:w val="0.90766917293233085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2556390977443608E-2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C59-42EC-9C28-0468475EFBCD}"/>
                </c:ext>
              </c:extLst>
            </c:dLbl>
            <c:dLbl>
              <c:idx val="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C59-42EC-9C28-0468475EFBCD}"/>
                </c:ext>
              </c:extLst>
            </c:dLbl>
            <c:dLbl>
              <c:idx val="2"/>
              <c:layout>
                <c:manualLayout>
                  <c:x val="2.0150375939849623E-2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C59-42EC-9C28-0468475EFBCD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C59-42EC-9C28-0468475EFBCD}"/>
                </c:ext>
              </c:extLst>
            </c:dLbl>
            <c:dLbl>
              <c:idx val="4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C59-42EC-9C28-0468475EFBCD}"/>
                </c:ext>
              </c:extLst>
            </c:dLbl>
            <c:dLbl>
              <c:idx val="5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C59-42EC-9C28-0468475EFBCD}"/>
                </c:ext>
              </c:extLst>
            </c:dLbl>
            <c:dLbl>
              <c:idx val="6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C59-42EC-9C28-0468475EFBCD}"/>
                </c:ext>
              </c:extLst>
            </c:dLbl>
            <c:dLbl>
              <c:idx val="7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0C59-42EC-9C28-0468475EFBCD}"/>
                </c:ext>
              </c:extLst>
            </c:dLbl>
            <c:dLbl>
              <c:idx val="8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C59-42EC-9C28-0468475EFBCD}"/>
                </c:ext>
              </c:extLst>
            </c:dLbl>
            <c:dLbl>
              <c:idx val="9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C59-42EC-9C28-0468475EFBCD}"/>
                </c:ext>
              </c:extLst>
            </c:dLbl>
            <c:dLbl>
              <c:idx val="10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0C59-42EC-9C28-0468475EFBCD}"/>
                </c:ext>
              </c:extLst>
            </c:dLbl>
            <c:dLbl>
              <c:idx val="1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C59-42EC-9C28-0468475EFB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19</c:v>
                </c:pt>
                <c:pt idx="1">
                  <c:v>37</c:v>
                </c:pt>
                <c:pt idx="2">
                  <c:v>21</c:v>
                </c:pt>
                <c:pt idx="3">
                  <c:v>21</c:v>
                </c:pt>
                <c:pt idx="4">
                  <c:v>23</c:v>
                </c:pt>
                <c:pt idx="5">
                  <c:v>20</c:v>
                </c:pt>
                <c:pt idx="6">
                  <c:v>10</c:v>
                </c:pt>
                <c:pt idx="7">
                  <c:v>13</c:v>
                </c:pt>
                <c:pt idx="8">
                  <c:v>21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0C59-42EC-9C28-0468475EFB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19984991"/>
        <c:axId val="1"/>
      </c:lineChart>
      <c:catAx>
        <c:axId val="191998499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"/>
          <c:min val="5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919984991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976200080677694E-2"/>
          <c:y val="9.5238095238095233E-2"/>
          <c:w val="0.93868495361032678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93102057281161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4B7-4F6D-91C7-7EA79CA85F90}"/>
                </c:ext>
              </c:extLst>
            </c:dLbl>
            <c:dLbl>
              <c:idx val="1"/>
              <c:layout>
                <c:manualLayout>
                  <c:x val="0.4893102057281161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4B7-4F6D-91C7-7EA79CA85F90}"/>
                </c:ext>
              </c:extLst>
            </c:dLbl>
            <c:dLbl>
              <c:idx val="2"/>
              <c:layout>
                <c:manualLayout>
                  <c:x val="0.4893102057281161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4B7-4F6D-91C7-7EA79CA85F90}"/>
                </c:ext>
              </c:extLst>
            </c:dLbl>
            <c:dLbl>
              <c:idx val="3"/>
              <c:layout>
                <c:manualLayout>
                  <c:x val="0.4893102057281161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4B7-4F6D-91C7-7EA79CA85F90}"/>
                </c:ext>
              </c:extLst>
            </c:dLbl>
            <c:dLbl>
              <c:idx val="4"/>
              <c:layout>
                <c:manualLayout>
                  <c:x val="0.4893102057281161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4B7-4F6D-91C7-7EA79CA85F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4B7-4F6D-91C7-7EA79CA85F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5875007"/>
        <c:axId val="1"/>
      </c:barChart>
      <c:catAx>
        <c:axId val="8587500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58750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FF6-4BFE-A235-B21C5C82DD28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2</c:v>
                </c:pt>
                <c:pt idx="6">
                  <c:v>1</c:v>
                </c:pt>
                <c:pt idx="7">
                  <c:v>3</c:v>
                </c:pt>
                <c:pt idx="8">
                  <c:v>1</c:v>
                </c:pt>
                <c:pt idx="9">
                  <c:v>1</c:v>
                </c:pt>
                <c:pt idx="10">
                  <c:v>3</c:v>
                </c:pt>
                <c:pt idx="1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FF6-4BFE-A235-B21C5C82DD28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5</c:v>
                </c:pt>
                <c:pt idx="1">
                  <c:v>5</c:v>
                </c:pt>
                <c:pt idx="2">
                  <c:v>2</c:v>
                </c:pt>
                <c:pt idx="3">
                  <c:v>6</c:v>
                </c:pt>
                <c:pt idx="4">
                  <c:v>9</c:v>
                </c:pt>
                <c:pt idx="5">
                  <c:v>14</c:v>
                </c:pt>
                <c:pt idx="6">
                  <c:v>20</c:v>
                </c:pt>
                <c:pt idx="7">
                  <c:v>15</c:v>
                </c:pt>
                <c:pt idx="8">
                  <c:v>16</c:v>
                </c:pt>
                <c:pt idx="9">
                  <c:v>13</c:v>
                </c:pt>
                <c:pt idx="10">
                  <c:v>17</c:v>
                </c:pt>
                <c:pt idx="1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F6-4BFE-A235-B21C5C82DD28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3</c:v>
                </c:pt>
                <c:pt idx="1">
                  <c:v>1</c:v>
                </c:pt>
                <c:pt idx="2">
                  <c:v>0</c:v>
                </c:pt>
                <c:pt idx="3">
                  <c:v>3</c:v>
                </c:pt>
                <c:pt idx="4">
                  <c:v>6</c:v>
                </c:pt>
                <c:pt idx="5">
                  <c:v>13</c:v>
                </c:pt>
                <c:pt idx="6">
                  <c:v>7</c:v>
                </c:pt>
                <c:pt idx="7">
                  <c:v>11</c:v>
                </c:pt>
                <c:pt idx="8">
                  <c:v>23</c:v>
                </c:pt>
                <c:pt idx="9">
                  <c:v>20</c:v>
                </c:pt>
                <c:pt idx="10">
                  <c:v>24</c:v>
                </c:pt>
                <c:pt idx="1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FF6-4BFE-A235-B21C5C82DD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61218528"/>
        <c:axId val="1"/>
      </c:areaChart>
      <c:catAx>
        <c:axId val="1661218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61218528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981716307873778E-2"/>
          <c:y val="0.11016291698991466"/>
          <c:w val="0.89000294898260102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2.8605131229725744E-2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BED-49AE-B8F8-5F6EA4B97310}"/>
                </c:ext>
              </c:extLst>
            </c:dLbl>
            <c:dLbl>
              <c:idx val="1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BED-49AE-B8F8-5F6EA4B97310}"/>
                </c:ext>
              </c:extLst>
            </c:dLbl>
            <c:dLbl>
              <c:idx val="2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BED-49AE-B8F8-5F6EA4B97310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BED-49AE-B8F8-5F6EA4B97310}"/>
                </c:ext>
              </c:extLst>
            </c:dLbl>
            <c:dLbl>
              <c:idx val="4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BED-49AE-B8F8-5F6EA4B97310}"/>
                </c:ext>
              </c:extLst>
            </c:dLbl>
            <c:dLbl>
              <c:idx val="5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BED-49AE-B8F8-5F6EA4B97310}"/>
                </c:ext>
              </c:extLst>
            </c:dLbl>
            <c:dLbl>
              <c:idx val="6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EBED-49AE-B8F8-5F6EA4B97310}"/>
                </c:ext>
              </c:extLst>
            </c:dLbl>
            <c:dLbl>
              <c:idx val="7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BED-49AE-B8F8-5F6EA4B97310}"/>
                </c:ext>
              </c:extLst>
            </c:dLbl>
            <c:dLbl>
              <c:idx val="8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EBED-49AE-B8F8-5F6EA4B97310}"/>
                </c:ext>
              </c:extLst>
            </c:dLbl>
            <c:dLbl>
              <c:idx val="9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BED-49AE-B8F8-5F6EA4B97310}"/>
                </c:ext>
              </c:extLst>
            </c:dLbl>
            <c:dLbl>
              <c:idx val="10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EBED-49AE-B8F8-5F6EA4B97310}"/>
                </c:ext>
              </c:extLst>
            </c:dLbl>
            <c:dLbl>
              <c:idx val="11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BED-49AE-B8F8-5F6EA4B9731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376</c:v>
                </c:pt>
                <c:pt idx="1">
                  <c:v>348</c:v>
                </c:pt>
                <c:pt idx="2">
                  <c:v>351</c:v>
                </c:pt>
                <c:pt idx="3">
                  <c:v>362</c:v>
                </c:pt>
                <c:pt idx="4">
                  <c:v>382</c:v>
                </c:pt>
                <c:pt idx="5">
                  <c:v>378</c:v>
                </c:pt>
                <c:pt idx="6">
                  <c:v>314</c:v>
                </c:pt>
                <c:pt idx="7">
                  <c:v>331</c:v>
                </c:pt>
                <c:pt idx="8">
                  <c:v>322</c:v>
                </c:pt>
                <c:pt idx="9">
                  <c:v>311</c:v>
                </c:pt>
                <c:pt idx="10">
                  <c:v>387</c:v>
                </c:pt>
                <c:pt idx="11">
                  <c:v>3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EBED-49AE-B8F8-5F6EA4B973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45664783"/>
        <c:axId val="1"/>
      </c:lineChart>
      <c:catAx>
        <c:axId val="11456647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"/>
          <c:min val="25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45664783"/>
        <c:crosses val="min"/>
        <c:crossBetween val="midCat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967741935483872E-2"/>
          <c:y val="9.5238095238095233E-2"/>
          <c:w val="0.92096774193548392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911290322580647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D33-4D5F-8A72-E9EEABD2E522}"/>
                </c:ext>
              </c:extLst>
            </c:dLbl>
            <c:dLbl>
              <c:idx val="1"/>
              <c:layout>
                <c:manualLayout>
                  <c:x val="0.2286290322580645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D33-4D5F-8A72-E9EEABD2E522}"/>
                </c:ext>
              </c:extLst>
            </c:dLbl>
            <c:dLbl>
              <c:idx val="2"/>
              <c:layout>
                <c:manualLayout>
                  <c:x val="0.1850806451612903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D33-4D5F-8A72-E9EEABD2E522}"/>
                </c:ext>
              </c:extLst>
            </c:dLbl>
            <c:dLbl>
              <c:idx val="3"/>
              <c:layout>
                <c:manualLayout>
                  <c:x val="0.1762096774193548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D33-4D5F-8A72-E9EEABD2E522}"/>
                </c:ext>
              </c:extLst>
            </c:dLbl>
            <c:dLbl>
              <c:idx val="4"/>
              <c:layout>
                <c:manualLayout>
                  <c:x val="0.1762096774193548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D33-4D5F-8A72-E9EEABD2E52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3</c:v>
                </c:pt>
                <c:pt idx="1">
                  <c:v>23</c:v>
                </c:pt>
                <c:pt idx="2">
                  <c:v>18</c:v>
                </c:pt>
                <c:pt idx="3">
                  <c:v>17</c:v>
                </c:pt>
                <c:pt idx="4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33-4D5F-8A72-E9EEABD2E5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19963871"/>
        <c:axId val="1"/>
      </c:barChart>
      <c:catAx>
        <c:axId val="191996387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1996387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598667776852624E-2"/>
          <c:w val="0.92590324556031844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1F-4026-9593-9358AFE6F1F7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1F-4026-9593-9358AFE6F1F7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5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E1F-4026-9593-9358AFE6F1F7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0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E1F-4026-9593-9358AFE6F1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19959551"/>
        <c:axId val="1"/>
      </c:areaChart>
      <c:catAx>
        <c:axId val="191995955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919959551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75939849624064E-2"/>
          <c:y val="0.11016291698991466"/>
          <c:w val="0.90766917293233085"/>
          <c:h val="0.7796741660201707"/>
        </c:manualLayout>
      </c:layout>
      <c:lineChart>
        <c:grouping val="standard"/>
        <c:varyColors val="0"/>
        <c:ser>
          <c:idx val="0"/>
          <c:order val="0"/>
          <c:spPr>
            <a:ln w="19050" cmpd="sng" algn="ctr">
              <a:solidFill>
                <a:srgbClr val="00206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1.4135338345864662E-2"/>
                  <c:y val="-0.100853374709076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A67-46F9-B2A2-38441D0442AD}"/>
                </c:ext>
              </c:extLst>
            </c:dLbl>
            <c:dLbl>
              <c:idx val="1"/>
              <c:layout>
                <c:manualLayout>
                  <c:x val="2.6766917293233081E-2"/>
                  <c:y val="-2.327385570209464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A67-46F9-B2A2-38441D0442AD}"/>
                </c:ext>
              </c:extLst>
            </c:dLbl>
            <c:dLbl>
              <c:idx val="2"/>
              <c:layout>
                <c:manualLayout>
                  <c:x val="-9.0225563909774441E-3"/>
                  <c:y val="-7.292474786656322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A67-46F9-B2A2-38441D0442AD}"/>
                </c:ext>
              </c:extLst>
            </c:dLbl>
            <c:dLbl>
              <c:idx val="3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A67-46F9-B2A2-38441D0442AD}"/>
                </c:ext>
              </c:extLst>
            </c:dLbl>
            <c:dLbl>
              <c:idx val="4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A67-46F9-B2A2-38441D0442AD}"/>
                </c:ext>
              </c:extLst>
            </c:dLbl>
            <c:dLbl>
              <c:idx val="5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A67-46F9-B2A2-38441D0442AD}"/>
                </c:ext>
              </c:extLst>
            </c:dLbl>
            <c:dLbl>
              <c:idx val="6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A67-46F9-B2A2-38441D0442AD}"/>
                </c:ext>
              </c:extLst>
            </c:dLbl>
            <c:dLbl>
              <c:idx val="7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A67-46F9-B2A2-38441D0442AD}"/>
                </c:ext>
              </c:extLst>
            </c:dLbl>
            <c:dLbl>
              <c:idx val="8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A67-46F9-B2A2-38441D0442AD}"/>
                </c:ext>
              </c:extLst>
            </c:dLbl>
            <c:dLbl>
              <c:idx val="9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A67-46F9-B2A2-38441D0442AD}"/>
                </c:ext>
              </c:extLst>
            </c:dLbl>
            <c:dLbl>
              <c:idx val="10"/>
              <c:layout>
                <c:manualLayout>
                  <c:x val="0"/>
                  <c:y val="5.740884406516679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A67-46F9-B2A2-38441D0442AD}"/>
                </c:ext>
              </c:extLst>
            </c:dLbl>
            <c:dLbl>
              <c:idx val="11"/>
              <c:layout>
                <c:manualLayout>
                  <c:x val="0"/>
                  <c:y val="-6.12878200155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A67-46F9-B2A2-38441D0442A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22</c:v>
                </c:pt>
                <c:pt idx="1">
                  <c:v>13</c:v>
                </c:pt>
                <c:pt idx="2">
                  <c:v>21</c:v>
                </c:pt>
                <c:pt idx="3">
                  <c:v>32</c:v>
                </c:pt>
                <c:pt idx="4">
                  <c:v>30</c:v>
                </c:pt>
                <c:pt idx="5">
                  <c:v>30</c:v>
                </c:pt>
                <c:pt idx="6">
                  <c:v>29</c:v>
                </c:pt>
                <c:pt idx="7">
                  <c:v>23</c:v>
                </c:pt>
                <c:pt idx="8">
                  <c:v>23</c:v>
                </c:pt>
                <c:pt idx="9">
                  <c:v>21</c:v>
                </c:pt>
                <c:pt idx="10">
                  <c:v>14</c:v>
                </c:pt>
                <c:pt idx="11">
                  <c:v>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C-DA67-46F9-B2A2-38441D0442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23061919"/>
        <c:axId val="1"/>
      </c:lineChart>
      <c:catAx>
        <c:axId val="11230619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1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123061919"/>
        <c:crosses val="min"/>
        <c:crossBetween val="midCat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685117198531489E-2"/>
          <c:y val="0.14762741652021089"/>
          <c:w val="0.97062976560293701"/>
          <c:h val="0.7047451669595782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A53-414A-86DE-336A47ED13E8}"/>
              </c:ext>
            </c:extLst>
          </c:dPt>
          <c:dLbls>
            <c:dLbl>
              <c:idx val="0"/>
              <c:layout>
                <c:manualLayout>
                  <c:x val="0"/>
                  <c:y val="-2.636203866432337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A53-414A-86DE-336A47ED13E8}"/>
                </c:ext>
              </c:extLst>
            </c:dLbl>
            <c:dLbl>
              <c:idx val="1"/>
              <c:layout>
                <c:manualLayout>
                  <c:x val="0"/>
                  <c:y val="-3.514938488576449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A53-414A-86DE-336A47ED13E8}"/>
                </c:ext>
              </c:extLst>
            </c:dLbl>
            <c:dLbl>
              <c:idx val="2"/>
              <c:layout>
                <c:manualLayout>
                  <c:x val="0"/>
                  <c:y val="-2.636203866432337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A53-414A-86DE-336A47ED13E8}"/>
                </c:ext>
              </c:extLst>
            </c:dLbl>
            <c:dLbl>
              <c:idx val="3"/>
              <c:layout>
                <c:manualLayout>
                  <c:x val="0"/>
                  <c:y val="-0.239015817223198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A53-414A-86DE-336A47ED13E8}"/>
                </c:ext>
              </c:extLst>
            </c:dLbl>
            <c:dLbl>
              <c:idx val="4"/>
              <c:layout>
                <c:manualLayout>
                  <c:x val="0"/>
                  <c:y val="-0.150263620386643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A53-414A-86DE-336A47ED13E8}"/>
                </c:ext>
              </c:extLst>
            </c:dLbl>
            <c:dLbl>
              <c:idx val="5"/>
              <c:layout>
                <c:manualLayout>
                  <c:x val="0"/>
                  <c:y val="-0.1502636203866432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A53-414A-86DE-336A47ED13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A53-414A-86DE-336A47ED13E8}"/>
            </c:ext>
          </c:extLst>
        </c:ser>
        <c:ser>
          <c:idx val="1"/>
          <c:order val="1"/>
          <c:spPr>
            <a:solidFill>
              <a:srgbClr val="00206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777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A53-414A-86DE-336A47ED13E8}"/>
              </c:ext>
            </c:extLst>
          </c:dPt>
          <c:dLbls>
            <c:dLbl>
              <c:idx val="0"/>
              <c:layout>
                <c:manualLayout>
                  <c:x val="0"/>
                  <c:y val="-2.636203866432337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A53-414A-86DE-336A47ED13E8}"/>
                </c:ext>
              </c:extLst>
            </c:dLbl>
            <c:dLbl>
              <c:idx val="1"/>
              <c:layout>
                <c:manualLayout>
                  <c:x val="0"/>
                  <c:y val="-2.636203866432337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A53-414A-86DE-336A47ED13E8}"/>
                </c:ext>
              </c:extLst>
            </c:dLbl>
            <c:dLbl>
              <c:idx val="2"/>
              <c:layout>
                <c:manualLayout>
                  <c:x val="0"/>
                  <c:y val="-2.636203866432337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A53-414A-86DE-336A47ED13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A53-414A-86DE-336A47ED13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6848959"/>
        <c:axId val="1"/>
      </c:barChart>
      <c:catAx>
        <c:axId val="468489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6848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739130434782608E-2"/>
          <c:y val="9.5238095238095233E-2"/>
          <c:w val="0.9364548494983278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123745819397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F72-4D66-8EAE-B422B7E6568B}"/>
                </c:ext>
              </c:extLst>
            </c:dLbl>
            <c:dLbl>
              <c:idx val="1"/>
              <c:layout>
                <c:manualLayout>
                  <c:x val="0.3323578595317725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F72-4D66-8EAE-B422B7E6568B}"/>
                </c:ext>
              </c:extLst>
            </c:dLbl>
            <c:dLbl>
              <c:idx val="2"/>
              <c:layout>
                <c:manualLayout>
                  <c:x val="0.2545986622073578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F72-4D66-8EAE-B422B7E6568B}"/>
                </c:ext>
              </c:extLst>
            </c:dLbl>
            <c:dLbl>
              <c:idx val="3"/>
              <c:layout>
                <c:manualLayout>
                  <c:x val="0.1768394648829431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F72-4D66-8EAE-B422B7E6568B}"/>
                </c:ext>
              </c:extLst>
            </c:dLbl>
            <c:dLbl>
              <c:idx val="4"/>
              <c:layout>
                <c:manualLayout>
                  <c:x val="0.17683946488294314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F72-4D66-8EAE-B422B7E656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6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F72-4D66-8EAE-B422B7E656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5663823"/>
        <c:axId val="1"/>
      </c:barChart>
      <c:catAx>
        <c:axId val="11456638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56638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12-4013-B6EC-A71B11273E71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0</c:v>
                </c:pt>
                <c:pt idx="9">
                  <c:v>2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12-4013-B6EC-A71B11273E71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3</c:v>
                </c:pt>
                <c:pt idx="1">
                  <c:v>0</c:v>
                </c:pt>
                <c:pt idx="2">
                  <c:v>1</c:v>
                </c:pt>
                <c:pt idx="3">
                  <c:v>4</c:v>
                </c:pt>
                <c:pt idx="4">
                  <c:v>11</c:v>
                </c:pt>
                <c:pt idx="5">
                  <c:v>13</c:v>
                </c:pt>
                <c:pt idx="6">
                  <c:v>3</c:v>
                </c:pt>
                <c:pt idx="7">
                  <c:v>9</c:v>
                </c:pt>
                <c:pt idx="8">
                  <c:v>6</c:v>
                </c:pt>
                <c:pt idx="9">
                  <c:v>5</c:v>
                </c:pt>
                <c:pt idx="10">
                  <c:v>7</c:v>
                </c:pt>
                <c:pt idx="1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12-4013-B6EC-A71B11273E71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3</c:v>
                </c:pt>
                <c:pt idx="1">
                  <c:v>3</c:v>
                </c:pt>
                <c:pt idx="2">
                  <c:v>1</c:v>
                </c:pt>
                <c:pt idx="3">
                  <c:v>4</c:v>
                </c:pt>
                <c:pt idx="4">
                  <c:v>8</c:v>
                </c:pt>
                <c:pt idx="5">
                  <c:v>5</c:v>
                </c:pt>
                <c:pt idx="6">
                  <c:v>4</c:v>
                </c:pt>
                <c:pt idx="7">
                  <c:v>11</c:v>
                </c:pt>
                <c:pt idx="8">
                  <c:v>8</c:v>
                </c:pt>
                <c:pt idx="9">
                  <c:v>10</c:v>
                </c:pt>
                <c:pt idx="10">
                  <c:v>6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12-4013-B6EC-A71B11273E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92266255"/>
        <c:axId val="1"/>
      </c:areaChart>
      <c:catAx>
        <c:axId val="15922662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592266255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03464755077658E-2"/>
          <c:y val="0.11972371450498849"/>
          <c:w val="0.90143369175627241"/>
          <c:h val="0.771297006907137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89562547966231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974-496A-BAC2-9E43BB4FA059}"/>
                </c:ext>
              </c:extLst>
            </c:dLbl>
            <c:dLbl>
              <c:idx val="1"/>
              <c:layout>
                <c:manualLayout>
                  <c:x val="0"/>
                  <c:y val="-0.415195702225633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974-496A-BAC2-9E43BB4FA059}"/>
                </c:ext>
              </c:extLst>
            </c:dLbl>
            <c:dLbl>
              <c:idx val="2"/>
              <c:layout>
                <c:manualLayout>
                  <c:x val="0"/>
                  <c:y val="-0.357636224098234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974-496A-BAC2-9E43BB4FA05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92</c:v>
                </c:pt>
                <c:pt idx="1">
                  <c:v>238</c:v>
                </c:pt>
                <c:pt idx="2">
                  <c:v>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74-496A-BAC2-9E43BB4FA0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61230528"/>
        <c:axId val="1"/>
      </c:barChart>
      <c:catAx>
        <c:axId val="1661230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61230528"/>
        <c:crosses val="min"/>
        <c:crossBetween val="between"/>
        <c:majorUnit val="5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46469622331693E-2"/>
          <c:y val="9.5238095238095233E-2"/>
          <c:w val="0.9195402298850574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9162561576354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2F1-452F-85D7-D1E5E804978E}"/>
                </c:ext>
              </c:extLst>
            </c:dLbl>
            <c:dLbl>
              <c:idx val="1"/>
              <c:layout>
                <c:manualLayout>
                  <c:x val="0.2434318555008210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2F1-452F-85D7-D1E5E804978E}"/>
                </c:ext>
              </c:extLst>
            </c:dLbl>
            <c:dLbl>
              <c:idx val="2"/>
              <c:layout>
                <c:manualLayout>
                  <c:x val="0.2282430213464696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2F1-452F-85D7-D1E5E804978E}"/>
                </c:ext>
              </c:extLst>
            </c:dLbl>
            <c:dLbl>
              <c:idx val="3"/>
              <c:layout>
                <c:manualLayout>
                  <c:x val="0.2282430213464696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2F1-452F-85D7-D1E5E804978E}"/>
                </c:ext>
              </c:extLst>
            </c:dLbl>
            <c:dLbl>
              <c:idx val="4"/>
              <c:layout>
                <c:manualLayout>
                  <c:x val="0.2282430213464696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2F1-452F-85D7-D1E5E80497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0</c:v>
                </c:pt>
                <c:pt idx="1">
                  <c:v>14</c:v>
                </c:pt>
                <c:pt idx="2">
                  <c:v>13</c:v>
                </c:pt>
                <c:pt idx="3">
                  <c:v>13</c:v>
                </c:pt>
                <c:pt idx="4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2F1-452F-85D7-D1E5E80497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53673887"/>
        <c:axId val="1"/>
      </c:barChart>
      <c:catAx>
        <c:axId val="125367388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536738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694864048338371E-2"/>
          <c:y val="8.1598667776852624E-2"/>
          <c:w val="0.91359516616314196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78-44CD-9F9E-16132D0B652F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1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B78-44CD-9F9E-16132D0B652F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3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  <c:pt idx="5">
                  <c:v>6</c:v>
                </c:pt>
                <c:pt idx="6">
                  <c:v>4</c:v>
                </c:pt>
                <c:pt idx="7">
                  <c:v>6</c:v>
                </c:pt>
                <c:pt idx="8">
                  <c:v>9</c:v>
                </c:pt>
                <c:pt idx="9">
                  <c:v>7</c:v>
                </c:pt>
                <c:pt idx="10">
                  <c:v>11</c:v>
                </c:pt>
                <c:pt idx="1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78-44CD-9F9E-16132D0B652F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2</c:v>
                </c:pt>
                <c:pt idx="1">
                  <c:v>0</c:v>
                </c:pt>
                <c:pt idx="2">
                  <c:v>3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6</c:v>
                </c:pt>
                <c:pt idx="8">
                  <c:v>9</c:v>
                </c:pt>
                <c:pt idx="9">
                  <c:v>7</c:v>
                </c:pt>
                <c:pt idx="10">
                  <c:v>9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B78-44CD-9F9E-16132D0B65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3727807"/>
        <c:axId val="1"/>
      </c:areaChart>
      <c:catAx>
        <c:axId val="437278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43727807"/>
        <c:crosses val="min"/>
        <c:crossBetween val="midCat"/>
        <c:majorUnit val="5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03464755077658E-2"/>
          <c:y val="0.15099925980754997"/>
          <c:w val="0.90143369175627241"/>
          <c:h val="0.7438934122871946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2494448556624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2E2-45E3-9700-44929E933E6E}"/>
                </c:ext>
              </c:extLst>
            </c:dLbl>
            <c:dLbl>
              <c:idx val="1"/>
              <c:layout>
                <c:manualLayout>
                  <c:x val="0"/>
                  <c:y val="-0.418208734270910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2E2-45E3-9700-44929E933E6E}"/>
                </c:ext>
              </c:extLst>
            </c:dLbl>
            <c:dLbl>
              <c:idx val="2"/>
              <c:layout>
                <c:manualLayout>
                  <c:x val="0"/>
                  <c:y val="-0.364174685418208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2E2-45E3-9700-44929E933E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42</c:v>
                </c:pt>
                <c:pt idx="1">
                  <c:v>180</c:v>
                </c:pt>
                <c:pt idx="2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E2-45E3-9700-44929E933E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42399407"/>
        <c:axId val="1"/>
      </c:barChart>
      <c:catAx>
        <c:axId val="2042399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2042399407"/>
        <c:crosses val="min"/>
        <c:crossBetween val="between"/>
        <c:majorUnit val="20"/>
      </c:valAx>
    </c:plotArea>
    <c:plotVisOnly val="0"/>
    <c:dispBlanksAs val="gap"/>
    <c:showDLblsOverMax val="1"/>
  </c:chart>
  <c:externalData r:id="rId1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346469622331693E-2"/>
          <c:y val="9.5238095238095233E-2"/>
          <c:w val="0.91954022988505746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91625615763545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65C-4F70-B27C-2DF6CD1928F8}"/>
                </c:ext>
              </c:extLst>
            </c:dLbl>
            <c:dLbl>
              <c:idx val="1"/>
              <c:layout>
                <c:manualLayout>
                  <c:x val="0.29187192118226601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65C-4F70-B27C-2DF6CD1928F8}"/>
                </c:ext>
              </c:extLst>
            </c:dLbl>
            <c:dLbl>
              <c:idx val="2"/>
              <c:layout>
                <c:manualLayout>
                  <c:x val="0.1678981937602627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65C-4F70-B27C-2DF6CD1928F8}"/>
                </c:ext>
              </c:extLst>
            </c:dLbl>
            <c:dLbl>
              <c:idx val="3"/>
              <c:layout>
                <c:manualLayout>
                  <c:x val="0.1514778325123152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65C-4F70-B27C-2DF6CD1928F8}"/>
                </c:ext>
              </c:extLst>
            </c:dLbl>
            <c:dLbl>
              <c:idx val="4"/>
              <c:layout>
                <c:manualLayout>
                  <c:x val="0.13505747126436782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65C-4F70-B27C-2DF6CD1928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8</c:v>
                </c:pt>
                <c:pt idx="1">
                  <c:v>16</c:v>
                </c:pt>
                <c:pt idx="2">
                  <c:v>9</c:v>
                </c:pt>
                <c:pt idx="3">
                  <c:v>8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65C-4F70-B27C-2DF6CD1928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6933711"/>
        <c:axId val="1"/>
      </c:barChart>
      <c:catAx>
        <c:axId val="2056933711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569337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175137783221066E-2"/>
          <c:y val="8.1598667776852624E-2"/>
          <c:w val="0.92590324556031844"/>
          <c:h val="0.83680266444629481"/>
        </c:manualLayout>
      </c:layout>
      <c:areaChart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val>
            <c:numRef>
              <c:f>Sheet1!$A$1:$L$1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CE-4ECC-AF1A-FEDBA75E20CD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val>
            <c:numRef>
              <c:f>Sheet1!$A$2:$L$2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1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ACE-4ECC-AF1A-FEDBA75E20CD}"/>
            </c:ext>
          </c:extLst>
        </c:ser>
        <c:ser>
          <c:idx val="2"/>
          <c:order val="2"/>
          <c:spPr>
            <a:solidFill>
              <a:srgbClr val="002060"/>
            </a:solidFill>
            <a:ln>
              <a:noFill/>
            </a:ln>
          </c:spPr>
          <c:val>
            <c:numRef>
              <c:f>Sheet1!$A$3:$L$3</c:f>
              <c:numCache>
                <c:formatCode>General</c:formatCode>
                <c:ptCount val="12"/>
                <c:pt idx="0">
                  <c:v>1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</c:v>
                </c:pt>
                <c:pt idx="6">
                  <c:v>3</c:v>
                </c:pt>
                <c:pt idx="7">
                  <c:v>1</c:v>
                </c:pt>
                <c:pt idx="8">
                  <c:v>7</c:v>
                </c:pt>
                <c:pt idx="9">
                  <c:v>0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CE-4ECC-AF1A-FEDBA75E20CD}"/>
            </c:ext>
          </c:extLst>
        </c:ser>
        <c:ser>
          <c:idx val="3"/>
          <c:order val="3"/>
          <c:spPr>
            <a:solidFill>
              <a:srgbClr val="7F7F7F"/>
            </a:solidFill>
            <a:ln>
              <a:noFill/>
            </a:ln>
          </c:spPr>
          <c:val>
            <c:numRef>
              <c:f>Sheet1!$A$4:$L$4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1</c:v>
                </c:pt>
                <c:pt idx="7">
                  <c:v>2</c:v>
                </c:pt>
                <c:pt idx="8">
                  <c:v>1</c:v>
                </c:pt>
                <c:pt idx="9">
                  <c:v>1</c:v>
                </c:pt>
                <c:pt idx="10">
                  <c:v>0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ACE-4ECC-AF1A-FEDBA75E20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66402384"/>
        <c:axId val="1"/>
      </c:areaChart>
      <c:catAx>
        <c:axId val="1666402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666402384"/>
        <c:crosses val="min"/>
        <c:crossBetween val="midCat"/>
        <c:majorUnit val="1"/>
      </c:valAx>
    </c:plotArea>
    <c:plotVisOnly val="0"/>
    <c:dispBlanksAs val="zero"/>
    <c:showDLblsOverMax val="1"/>
  </c:chart>
  <c:externalData r:id="rId1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044334975369453E-2"/>
          <c:y val="0.132375189107413"/>
          <c:w val="0.91194581280788178"/>
          <c:h val="0.760211800302571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7.94251134644478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1E9-4742-9A5B-D449FB5C7065}"/>
                </c:ext>
              </c:extLst>
            </c:dLbl>
            <c:dLbl>
              <c:idx val="1"/>
              <c:layout>
                <c:manualLayout>
                  <c:x val="0"/>
                  <c:y val="-0.101361573373676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1E9-4742-9A5B-D449FB5C7065}"/>
                </c:ext>
              </c:extLst>
            </c:dLbl>
            <c:dLbl>
              <c:idx val="2"/>
              <c:layout>
                <c:manualLayout>
                  <c:x val="0"/>
                  <c:y val="-0.416036308623298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1E9-4742-9A5B-D449FB5C706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3</c:v>
                </c:pt>
                <c:pt idx="1">
                  <c:v>5</c:v>
                </c:pt>
                <c:pt idx="2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E9-4742-9A5B-D449FB5C70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19981631"/>
        <c:axId val="1"/>
      </c:barChart>
      <c:catAx>
        <c:axId val="191998163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Tahoma"/>
                <a:ea typeface="Tahoma"/>
                <a:cs typeface="Tahoma"/>
                <a:sym typeface="Tahoma"/>
              </a:defRPr>
            </a:pPr>
            <a:endParaRPr lang="en-US"/>
          </a:p>
        </c:txPr>
        <c:crossAx val="1919981631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24565861922914E-2"/>
          <c:y val="9.5238095238095233E-2"/>
          <c:w val="0.93562049978822537"/>
          <c:h val="0.8095238095238095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887759423972892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3DE-4850-8172-36F5EB29C2D2}"/>
                </c:ext>
              </c:extLst>
            </c:dLbl>
            <c:dLbl>
              <c:idx val="1"/>
              <c:layout>
                <c:manualLayout>
                  <c:x val="0.48877594239728928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3DE-4850-8172-36F5EB29C2D2}"/>
                </c:ext>
              </c:extLst>
            </c:dLbl>
            <c:dLbl>
              <c:idx val="2"/>
              <c:layout>
                <c:manualLayout>
                  <c:x val="0.2075391783142736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3DE-4850-8172-36F5EB29C2D2}"/>
                </c:ext>
              </c:extLst>
            </c:dLbl>
            <c:dLbl>
              <c:idx val="3"/>
              <c:layout>
                <c:manualLayout>
                  <c:x val="0.2075391783142736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3DE-4850-8172-36F5EB29C2D2}"/>
                </c:ext>
              </c:extLst>
            </c:dLbl>
            <c:dLbl>
              <c:idx val="4"/>
              <c:layout>
                <c:manualLayout>
                  <c:x val="0.20753917831427363"/>
                  <c:y val="2.01207243460764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Tahoma"/>
                      <a:ea typeface="Tahoma"/>
                      <a:cs typeface="Tahoma"/>
                      <a:sym typeface="Tahoma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3DE-4850-8172-36F5EB29C2D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3DE-4850-8172-36F5EB29C2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23031679"/>
        <c:axId val="1"/>
      </c:barChart>
      <c:catAx>
        <c:axId val="112303167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230316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D692B00-2428-4C40-864A-FFEF565386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EAEB69D-ED74-4595-9C7A-8A61BE6CEDB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A957A0-E97E-4EAA-ABF0-1481E0826CF9}" type="datetimeFigureOut">
              <a:rPr lang="en-US" smtClean="0"/>
              <a:t>5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472B5D-855C-453F-ADBE-DB63987AB9B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5ED6EE-0D3C-49BE-9513-97469A9AEF1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ED5338-3C42-4877-B2DB-A540812A58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396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919F0-5F18-4B7E-BA1F-92BB994D204B}" type="datetimeFigureOut">
              <a:rPr lang="en-US" smtClean="0"/>
              <a:t>5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709F83-B049-4B80-A977-CFBD04DB70D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499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3681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0523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590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16804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5960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641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5373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5875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900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4707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CDD09-0AEE-BE5E-88F0-FDD9C288C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7AA9A0-4AFD-935B-50FC-5FB2F39312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EE858D-4759-F742-8B83-1172CEEED5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7A593-573B-E516-08F8-4A531D7141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60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25078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7CDD09-0AEE-BE5E-88F0-FDD9C288C9E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97AA9A0-4AFD-935B-50FC-5FB2F39312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5EE858D-4759-F742-8B83-1172CEEED59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0C7A593-573B-E516-08F8-4A531D7141B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16373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55124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3832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7685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90419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95124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4189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34803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6631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073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66539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23292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C4E3B2-0244-CD79-5BFF-72386594C5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A34288-AFA2-C2BE-2CCD-470ACB8054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34DCE26-3546-EBFC-51BE-70CB8B9E2B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997774-63B8-5A15-E3FC-3ABB5668C4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50690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6F638-B4D4-2AC6-FCB0-76A13C5D2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0740EA-1759-621C-BBAA-57100B2063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A9A37-BCF4-C10D-65F3-F3065A6FE0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53F5D0-B272-0998-9800-3CC60DD066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94722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6F638-B4D4-2AC6-FCB0-76A13C5D2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0740EA-1759-621C-BBAA-57100B2063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A9A37-BCF4-C10D-65F3-F3065A6FE0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53F5D0-B272-0998-9800-3CC60DD066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48935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26F638-B4D4-2AC6-FCB0-76A13C5D29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0740EA-1759-621C-BBAA-57100B2063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A9A37-BCF4-C10D-65F3-F3065A6FE0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53F5D0-B272-0998-9800-3CC60DD066F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787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404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028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693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9209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6900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709F83-B049-4B80-A977-CFBD04DB70D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58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735739-1FD0-448B-A58F-35169A74D0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A10646-8D0C-44CB-9322-6317B90A23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9306E3-F114-4557-A363-C0D2ED904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7DC37-1142-479A-B070-66D99B14A70E}" type="datetime1">
              <a:rPr lang="en-US" smtClean="0"/>
              <a:t>5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3C0367-ADD3-495D-851F-B33422D4D9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4F43E9-C5B5-45A3-A840-25981DA76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2958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C423B-0D88-432B-A9E7-2C8E7F811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8FD80AD-140A-40DB-86DE-BEFD0FCC3AD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FBF49D-D25E-4EC4-8A16-24E5571080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F0B09-2E1A-404C-AA21-9841A223B240}" type="datetime1">
              <a:rPr lang="en-US" smtClean="0"/>
              <a:t>5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83D379-5275-4B98-BB73-2460C7B06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226705-521A-4B9A-8EC9-6F563183F3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0293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63FAC8C-C261-49D7-8619-B6F86B6FF3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DE91238-32C6-4501-B9B6-813BDF2356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3F1B12-9DA9-4AE5-99D3-4904BF151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B3DD14-CCDB-4F93-960C-99854DB7B4FF}" type="datetime1">
              <a:rPr lang="en-US" smtClean="0"/>
              <a:t>5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C51432-F110-4278-8FF3-1276CF365C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BAAAFD-AF1A-4B1D-A9BB-324463D2C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4649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8227A6-F65F-456F-AADB-9829A1EBD6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810B89-EE63-40BA-95CB-D970C9D40C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05143D-1209-407D-B1E9-A2D3DB0D8B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6DA7E-44A8-4C94-915A-D01FD18265A0}" type="datetime1">
              <a:rPr lang="en-US" smtClean="0"/>
              <a:t>5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25D6CA-C7F8-4309-BF67-FBA2485A9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A934A4-E300-447C-A7D9-1FA438F86A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01175" y="6492875"/>
            <a:ext cx="2743200" cy="365125"/>
          </a:xfrm>
        </p:spPr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FE52D8E-4EB3-454D-A407-29255E2D741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28A72009-F30A-41C3-A593-4F34B27CEF0B}"/>
              </a:ext>
            </a:extLst>
          </p:cNvPr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676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EFEE7C-5290-4338-A0B3-DBE17E3D1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399648-DC56-4A22-AC9B-0166803A24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392B4F-96B1-4A4A-AEFA-6AC33F9D7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5DD8D-DDBE-4334-AFA3-A91CCB0FD40E}" type="datetime1">
              <a:rPr lang="en-US" smtClean="0"/>
              <a:t>5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9AD761-051D-4122-87BF-869653D50B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77A9F4-B59D-47FF-A0C9-BBE73C649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482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114C3B-9671-4BD4-8EA9-5031E0F328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2D4719-058C-4C00-9674-FF163DD134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8C6B49-6A93-44DF-B659-843F68B970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872A01C-4F36-42B6-BBD4-0973A87E5A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45FC3F-CD7E-4B73-A35F-71C1A5DFCD41}" type="datetime1">
              <a:rPr lang="en-US" smtClean="0"/>
              <a:t>5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F64DF5-BACA-4C4D-8D75-BDE64464E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60B76B-769D-4595-807E-406DFBF1F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083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08220-A652-48E9-BEBC-1C8A88BF1A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C75CBB-D05F-458E-9969-CE40E14C62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871C61-0721-4F3D-8CD2-EF4AEF6629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889C6A-2717-4E71-B139-E76A7319581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939A1FD-24AD-4050-9582-FE5B226B19A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D8FBAD7-EFA8-4FA3-8A04-B04CA7D5A3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CE013-E6DB-4B52-9450-021A6F594481}" type="datetime1">
              <a:rPr lang="en-US" smtClean="0"/>
              <a:t>5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3EF6DAD-B757-454D-B5C9-2AC0B9EDAF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F9A296-EFB2-4DFC-B005-F27F9FEE6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615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3DE0B-CAFA-43EE-8643-6480F3CCF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D81703-DCAD-4B20-905B-793A308804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2C0640-0CF7-41AE-BEA7-B2698EA4FD8A}" type="datetime1">
              <a:rPr lang="en-US" smtClean="0"/>
              <a:t>5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24DAB3-1AF1-474F-82FE-269A9E77F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222CF8-EC31-4201-BD5D-60F473D109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495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B010A8-3075-49C6-BEB4-591D46167A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503B3E-C6D2-4894-B14E-D510D58A4D65}" type="datetime1">
              <a:rPr lang="en-US" smtClean="0"/>
              <a:t>5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ACD236-6ADD-4600-80AE-8C6CB3A56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2DA90D-3563-4596-998F-34CC8BE65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6146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DD4AA4-EDBF-4329-82E2-4E3BA6B8CC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CEFBB4-860E-4E35-A1EF-93C3B236D8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82BEC4-5421-4A99-9F31-1707C1FFF9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93FC6B-5D7E-4FE0-BAE9-BDE8BBCF89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CE938-3AB3-47DA-861D-0A07DC43D0CC}" type="datetime1">
              <a:rPr lang="en-US" smtClean="0"/>
              <a:t>5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D69F3A-FED4-414E-9C27-F976D05CB7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0F6E25-49C4-4014-9A50-1EAB8884E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0031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AA5865-B306-4FE2-AF45-794293D67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CCF99B0-463F-4BD4-9E87-8B9817A37F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90358B4-9993-4121-82A1-82FBDD47B2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167362-1EC1-44E1-8238-378FA14E6B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989E8-4205-455B-8469-919A519C0F17}" type="datetime1">
              <a:rPr lang="en-US" smtClean="0"/>
              <a:t>5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5C708C7-E393-48F6-B4EC-2C9EEF82BB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4AE320-37BA-4209-B0AB-97B563A21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09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EE92BC7-E02C-463C-9A57-F37667D9F2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530464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52" imgH="454" progId="TCLayout.ActiveDocument.1">
                  <p:embed/>
                </p:oleObj>
              </mc:Choice>
              <mc:Fallback>
                <p:oleObj name="think-cell Slide" r:id="rId14" imgW="452" imgH="45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EE92BC7-E02C-463C-9A57-F37667D9F2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49B174D-C441-4DF7-8809-D5ED190EA1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3D8387-5382-457B-8A6E-10B71E3C5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6A593C-E640-45C3-85D4-890AE626A04A}" type="datetime1">
              <a:rPr lang="en-US" smtClean="0"/>
              <a:t>5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A68063-19D8-4C17-B2C0-CE0968CD61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E0078-F9A7-41D8-996B-336E696F60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42DF0F-B536-4D3B-A493-5032C5E2E0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874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320.xml"/><Relationship Id="rId21" Type="http://schemas.openxmlformats.org/officeDocument/2006/relationships/tags" Target="../tags/tag315.xml"/><Relationship Id="rId34" Type="http://schemas.openxmlformats.org/officeDocument/2006/relationships/tags" Target="../tags/tag328.xml"/><Relationship Id="rId42" Type="http://schemas.openxmlformats.org/officeDocument/2006/relationships/tags" Target="../tags/tag336.xml"/><Relationship Id="rId47" Type="http://schemas.openxmlformats.org/officeDocument/2006/relationships/tags" Target="../tags/tag341.xml"/><Relationship Id="rId50" Type="http://schemas.openxmlformats.org/officeDocument/2006/relationships/tags" Target="../tags/tag344.xml"/><Relationship Id="rId55" Type="http://schemas.openxmlformats.org/officeDocument/2006/relationships/tags" Target="../tags/tag349.xml"/><Relationship Id="rId63" Type="http://schemas.openxmlformats.org/officeDocument/2006/relationships/chart" Target="../charts/chart17.xml"/><Relationship Id="rId7" Type="http://schemas.openxmlformats.org/officeDocument/2006/relationships/tags" Target="../tags/tag301.xml"/><Relationship Id="rId2" Type="http://schemas.openxmlformats.org/officeDocument/2006/relationships/tags" Target="../tags/tag296.xml"/><Relationship Id="rId16" Type="http://schemas.openxmlformats.org/officeDocument/2006/relationships/tags" Target="../tags/tag310.xml"/><Relationship Id="rId29" Type="http://schemas.openxmlformats.org/officeDocument/2006/relationships/tags" Target="../tags/tag323.xml"/><Relationship Id="rId11" Type="http://schemas.openxmlformats.org/officeDocument/2006/relationships/tags" Target="../tags/tag305.xml"/><Relationship Id="rId24" Type="http://schemas.openxmlformats.org/officeDocument/2006/relationships/tags" Target="../tags/tag318.xml"/><Relationship Id="rId32" Type="http://schemas.openxmlformats.org/officeDocument/2006/relationships/tags" Target="../tags/tag326.xml"/><Relationship Id="rId37" Type="http://schemas.openxmlformats.org/officeDocument/2006/relationships/tags" Target="../tags/tag331.xml"/><Relationship Id="rId40" Type="http://schemas.openxmlformats.org/officeDocument/2006/relationships/tags" Target="../tags/tag334.xml"/><Relationship Id="rId45" Type="http://schemas.openxmlformats.org/officeDocument/2006/relationships/tags" Target="../tags/tag339.xml"/><Relationship Id="rId53" Type="http://schemas.openxmlformats.org/officeDocument/2006/relationships/tags" Target="../tags/tag347.xml"/><Relationship Id="rId58" Type="http://schemas.openxmlformats.org/officeDocument/2006/relationships/notesSlide" Target="../notesSlides/notesSlide8.xml"/><Relationship Id="rId66" Type="http://schemas.openxmlformats.org/officeDocument/2006/relationships/image" Target="../media/image22.png"/><Relationship Id="rId5" Type="http://schemas.openxmlformats.org/officeDocument/2006/relationships/tags" Target="../tags/tag299.xml"/><Relationship Id="rId61" Type="http://schemas.openxmlformats.org/officeDocument/2006/relationships/image" Target="../media/image21.emf"/><Relationship Id="rId19" Type="http://schemas.openxmlformats.org/officeDocument/2006/relationships/tags" Target="../tags/tag313.xml"/><Relationship Id="rId14" Type="http://schemas.openxmlformats.org/officeDocument/2006/relationships/tags" Target="../tags/tag308.xml"/><Relationship Id="rId22" Type="http://schemas.openxmlformats.org/officeDocument/2006/relationships/tags" Target="../tags/tag316.xml"/><Relationship Id="rId27" Type="http://schemas.openxmlformats.org/officeDocument/2006/relationships/tags" Target="../tags/tag321.xml"/><Relationship Id="rId30" Type="http://schemas.openxmlformats.org/officeDocument/2006/relationships/tags" Target="../tags/tag324.xml"/><Relationship Id="rId35" Type="http://schemas.openxmlformats.org/officeDocument/2006/relationships/tags" Target="../tags/tag329.xml"/><Relationship Id="rId43" Type="http://schemas.openxmlformats.org/officeDocument/2006/relationships/tags" Target="../tags/tag337.xml"/><Relationship Id="rId48" Type="http://schemas.openxmlformats.org/officeDocument/2006/relationships/tags" Target="../tags/tag342.xml"/><Relationship Id="rId56" Type="http://schemas.openxmlformats.org/officeDocument/2006/relationships/tags" Target="../tags/tag350.xml"/><Relationship Id="rId64" Type="http://schemas.openxmlformats.org/officeDocument/2006/relationships/chart" Target="../charts/chart18.xml"/><Relationship Id="rId8" Type="http://schemas.openxmlformats.org/officeDocument/2006/relationships/tags" Target="../tags/tag302.xml"/><Relationship Id="rId51" Type="http://schemas.openxmlformats.org/officeDocument/2006/relationships/tags" Target="../tags/tag345.xml"/><Relationship Id="rId3" Type="http://schemas.openxmlformats.org/officeDocument/2006/relationships/tags" Target="../tags/tag297.xml"/><Relationship Id="rId12" Type="http://schemas.openxmlformats.org/officeDocument/2006/relationships/tags" Target="../tags/tag306.xml"/><Relationship Id="rId17" Type="http://schemas.openxmlformats.org/officeDocument/2006/relationships/tags" Target="../tags/tag311.xml"/><Relationship Id="rId25" Type="http://schemas.openxmlformats.org/officeDocument/2006/relationships/tags" Target="../tags/tag319.xml"/><Relationship Id="rId33" Type="http://schemas.openxmlformats.org/officeDocument/2006/relationships/tags" Target="../tags/tag327.xml"/><Relationship Id="rId38" Type="http://schemas.openxmlformats.org/officeDocument/2006/relationships/tags" Target="../tags/tag332.xml"/><Relationship Id="rId46" Type="http://schemas.openxmlformats.org/officeDocument/2006/relationships/tags" Target="../tags/tag340.xml"/><Relationship Id="rId59" Type="http://schemas.openxmlformats.org/officeDocument/2006/relationships/oleObject" Target="../embeddings/oleObject11.bin"/><Relationship Id="rId20" Type="http://schemas.openxmlformats.org/officeDocument/2006/relationships/tags" Target="../tags/tag314.xml"/><Relationship Id="rId41" Type="http://schemas.openxmlformats.org/officeDocument/2006/relationships/tags" Target="../tags/tag335.xml"/><Relationship Id="rId54" Type="http://schemas.openxmlformats.org/officeDocument/2006/relationships/tags" Target="../tags/tag348.xml"/><Relationship Id="rId62" Type="http://schemas.openxmlformats.org/officeDocument/2006/relationships/chart" Target="../charts/chart1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15" Type="http://schemas.openxmlformats.org/officeDocument/2006/relationships/tags" Target="../tags/tag309.xml"/><Relationship Id="rId23" Type="http://schemas.openxmlformats.org/officeDocument/2006/relationships/tags" Target="../tags/tag317.xml"/><Relationship Id="rId28" Type="http://schemas.openxmlformats.org/officeDocument/2006/relationships/tags" Target="../tags/tag322.xml"/><Relationship Id="rId36" Type="http://schemas.openxmlformats.org/officeDocument/2006/relationships/tags" Target="../tags/tag330.xml"/><Relationship Id="rId49" Type="http://schemas.openxmlformats.org/officeDocument/2006/relationships/tags" Target="../tags/tag343.xml"/><Relationship Id="rId57" Type="http://schemas.openxmlformats.org/officeDocument/2006/relationships/slideLayout" Target="../slideLayouts/slideLayout2.xml"/><Relationship Id="rId10" Type="http://schemas.openxmlformats.org/officeDocument/2006/relationships/tags" Target="../tags/tag304.xml"/><Relationship Id="rId31" Type="http://schemas.openxmlformats.org/officeDocument/2006/relationships/tags" Target="../tags/tag325.xml"/><Relationship Id="rId44" Type="http://schemas.openxmlformats.org/officeDocument/2006/relationships/tags" Target="../tags/tag338.xml"/><Relationship Id="rId52" Type="http://schemas.openxmlformats.org/officeDocument/2006/relationships/tags" Target="../tags/tag346.xml"/><Relationship Id="rId60" Type="http://schemas.openxmlformats.org/officeDocument/2006/relationships/image" Target="../media/image1.emf"/><Relationship Id="rId65" Type="http://schemas.openxmlformats.org/officeDocument/2006/relationships/image" Target="../media/image2.png"/><Relationship Id="rId4" Type="http://schemas.openxmlformats.org/officeDocument/2006/relationships/tags" Target="../tags/tag298.xml"/><Relationship Id="rId9" Type="http://schemas.openxmlformats.org/officeDocument/2006/relationships/tags" Target="../tags/tag303.xml"/><Relationship Id="rId13" Type="http://schemas.openxmlformats.org/officeDocument/2006/relationships/tags" Target="../tags/tag307.xml"/><Relationship Id="rId18" Type="http://schemas.openxmlformats.org/officeDocument/2006/relationships/tags" Target="../tags/tag312.xml"/><Relationship Id="rId39" Type="http://schemas.openxmlformats.org/officeDocument/2006/relationships/tags" Target="../tags/tag333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63.xml"/><Relationship Id="rId18" Type="http://schemas.openxmlformats.org/officeDocument/2006/relationships/tags" Target="../tags/tag368.xml"/><Relationship Id="rId26" Type="http://schemas.openxmlformats.org/officeDocument/2006/relationships/tags" Target="../tags/tag376.xml"/><Relationship Id="rId39" Type="http://schemas.openxmlformats.org/officeDocument/2006/relationships/tags" Target="../tags/tag389.xml"/><Relationship Id="rId21" Type="http://schemas.openxmlformats.org/officeDocument/2006/relationships/tags" Target="../tags/tag371.xml"/><Relationship Id="rId34" Type="http://schemas.openxmlformats.org/officeDocument/2006/relationships/tags" Target="../tags/tag384.xml"/><Relationship Id="rId42" Type="http://schemas.openxmlformats.org/officeDocument/2006/relationships/oleObject" Target="../embeddings/oleObject12.bin"/><Relationship Id="rId47" Type="http://schemas.openxmlformats.org/officeDocument/2006/relationships/chart" Target="../charts/chart21.xml"/><Relationship Id="rId7" Type="http://schemas.openxmlformats.org/officeDocument/2006/relationships/tags" Target="../tags/tag357.xml"/><Relationship Id="rId2" Type="http://schemas.openxmlformats.org/officeDocument/2006/relationships/tags" Target="../tags/tag352.xml"/><Relationship Id="rId16" Type="http://schemas.openxmlformats.org/officeDocument/2006/relationships/tags" Target="../tags/tag366.xml"/><Relationship Id="rId29" Type="http://schemas.openxmlformats.org/officeDocument/2006/relationships/tags" Target="../tags/tag379.xml"/><Relationship Id="rId11" Type="http://schemas.openxmlformats.org/officeDocument/2006/relationships/tags" Target="../tags/tag361.xml"/><Relationship Id="rId24" Type="http://schemas.openxmlformats.org/officeDocument/2006/relationships/tags" Target="../tags/tag374.xml"/><Relationship Id="rId32" Type="http://schemas.openxmlformats.org/officeDocument/2006/relationships/tags" Target="../tags/tag382.xml"/><Relationship Id="rId37" Type="http://schemas.openxmlformats.org/officeDocument/2006/relationships/tags" Target="../tags/tag387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19.xml"/><Relationship Id="rId5" Type="http://schemas.openxmlformats.org/officeDocument/2006/relationships/tags" Target="../tags/tag355.xml"/><Relationship Id="rId15" Type="http://schemas.openxmlformats.org/officeDocument/2006/relationships/tags" Target="../tags/tag365.xml"/><Relationship Id="rId23" Type="http://schemas.openxmlformats.org/officeDocument/2006/relationships/tags" Target="../tags/tag373.xml"/><Relationship Id="rId28" Type="http://schemas.openxmlformats.org/officeDocument/2006/relationships/tags" Target="../tags/tag378.xml"/><Relationship Id="rId36" Type="http://schemas.openxmlformats.org/officeDocument/2006/relationships/tags" Target="../tags/tag386.xml"/><Relationship Id="rId49" Type="http://schemas.openxmlformats.org/officeDocument/2006/relationships/image" Target="../media/image24.png"/><Relationship Id="rId10" Type="http://schemas.openxmlformats.org/officeDocument/2006/relationships/tags" Target="../tags/tag360.xml"/><Relationship Id="rId19" Type="http://schemas.openxmlformats.org/officeDocument/2006/relationships/tags" Target="../tags/tag369.xml"/><Relationship Id="rId31" Type="http://schemas.openxmlformats.org/officeDocument/2006/relationships/tags" Target="../tags/tag381.xml"/><Relationship Id="rId44" Type="http://schemas.openxmlformats.org/officeDocument/2006/relationships/image" Target="../media/image23.emf"/><Relationship Id="rId4" Type="http://schemas.openxmlformats.org/officeDocument/2006/relationships/tags" Target="../tags/tag354.xml"/><Relationship Id="rId9" Type="http://schemas.openxmlformats.org/officeDocument/2006/relationships/tags" Target="../tags/tag359.xml"/><Relationship Id="rId14" Type="http://schemas.openxmlformats.org/officeDocument/2006/relationships/tags" Target="../tags/tag364.xml"/><Relationship Id="rId22" Type="http://schemas.openxmlformats.org/officeDocument/2006/relationships/tags" Target="../tags/tag372.xml"/><Relationship Id="rId27" Type="http://schemas.openxmlformats.org/officeDocument/2006/relationships/tags" Target="../tags/tag377.xml"/><Relationship Id="rId30" Type="http://schemas.openxmlformats.org/officeDocument/2006/relationships/tags" Target="../tags/tag380.xml"/><Relationship Id="rId35" Type="http://schemas.openxmlformats.org/officeDocument/2006/relationships/tags" Target="../tags/tag385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358.xml"/><Relationship Id="rId3" Type="http://schemas.openxmlformats.org/officeDocument/2006/relationships/tags" Target="../tags/tag353.xml"/><Relationship Id="rId12" Type="http://schemas.openxmlformats.org/officeDocument/2006/relationships/tags" Target="../tags/tag362.xml"/><Relationship Id="rId17" Type="http://schemas.openxmlformats.org/officeDocument/2006/relationships/tags" Target="../tags/tag367.xml"/><Relationship Id="rId25" Type="http://schemas.openxmlformats.org/officeDocument/2006/relationships/tags" Target="../tags/tag375.xml"/><Relationship Id="rId33" Type="http://schemas.openxmlformats.org/officeDocument/2006/relationships/tags" Target="../tags/tag383.xml"/><Relationship Id="rId38" Type="http://schemas.openxmlformats.org/officeDocument/2006/relationships/tags" Target="../tags/tag388.xml"/><Relationship Id="rId46" Type="http://schemas.openxmlformats.org/officeDocument/2006/relationships/chart" Target="../charts/chart20.xml"/><Relationship Id="rId20" Type="http://schemas.openxmlformats.org/officeDocument/2006/relationships/tags" Target="../tags/tag370.xml"/><Relationship Id="rId41" Type="http://schemas.openxmlformats.org/officeDocument/2006/relationships/notesSlide" Target="../notesSlides/notesSlide9.xml"/><Relationship Id="rId1" Type="http://schemas.openxmlformats.org/officeDocument/2006/relationships/tags" Target="../tags/tag351.xml"/><Relationship Id="rId6" Type="http://schemas.openxmlformats.org/officeDocument/2006/relationships/tags" Target="../tags/tag35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402.xml"/><Relationship Id="rId18" Type="http://schemas.openxmlformats.org/officeDocument/2006/relationships/tags" Target="../tags/tag407.xml"/><Relationship Id="rId26" Type="http://schemas.openxmlformats.org/officeDocument/2006/relationships/tags" Target="../tags/tag415.xml"/><Relationship Id="rId39" Type="http://schemas.openxmlformats.org/officeDocument/2006/relationships/tags" Target="../tags/tag428.xml"/><Relationship Id="rId21" Type="http://schemas.openxmlformats.org/officeDocument/2006/relationships/tags" Target="../tags/tag410.xml"/><Relationship Id="rId34" Type="http://schemas.openxmlformats.org/officeDocument/2006/relationships/tags" Target="../tags/tag423.xml"/><Relationship Id="rId42" Type="http://schemas.openxmlformats.org/officeDocument/2006/relationships/image" Target="../media/image1.emf"/><Relationship Id="rId47" Type="http://schemas.openxmlformats.org/officeDocument/2006/relationships/image" Target="../media/image2.png"/><Relationship Id="rId7" Type="http://schemas.openxmlformats.org/officeDocument/2006/relationships/tags" Target="../tags/tag396.xml"/><Relationship Id="rId2" Type="http://schemas.openxmlformats.org/officeDocument/2006/relationships/tags" Target="../tags/tag391.xml"/><Relationship Id="rId16" Type="http://schemas.openxmlformats.org/officeDocument/2006/relationships/tags" Target="../tags/tag405.xml"/><Relationship Id="rId29" Type="http://schemas.openxmlformats.org/officeDocument/2006/relationships/tags" Target="../tags/tag418.xml"/><Relationship Id="rId1" Type="http://schemas.openxmlformats.org/officeDocument/2006/relationships/tags" Target="../tags/tag390.xml"/><Relationship Id="rId6" Type="http://schemas.openxmlformats.org/officeDocument/2006/relationships/tags" Target="../tags/tag395.xml"/><Relationship Id="rId11" Type="http://schemas.openxmlformats.org/officeDocument/2006/relationships/tags" Target="../tags/tag400.xml"/><Relationship Id="rId24" Type="http://schemas.openxmlformats.org/officeDocument/2006/relationships/tags" Target="../tags/tag413.xml"/><Relationship Id="rId32" Type="http://schemas.openxmlformats.org/officeDocument/2006/relationships/tags" Target="../tags/tag421.xml"/><Relationship Id="rId37" Type="http://schemas.openxmlformats.org/officeDocument/2006/relationships/tags" Target="../tags/tag426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23.xml"/><Relationship Id="rId5" Type="http://schemas.openxmlformats.org/officeDocument/2006/relationships/tags" Target="../tags/tag394.xml"/><Relationship Id="rId15" Type="http://schemas.openxmlformats.org/officeDocument/2006/relationships/tags" Target="../tags/tag404.xml"/><Relationship Id="rId23" Type="http://schemas.openxmlformats.org/officeDocument/2006/relationships/tags" Target="../tags/tag412.xml"/><Relationship Id="rId28" Type="http://schemas.openxmlformats.org/officeDocument/2006/relationships/tags" Target="../tags/tag417.xml"/><Relationship Id="rId36" Type="http://schemas.openxmlformats.org/officeDocument/2006/relationships/tags" Target="../tags/tag425.xml"/><Relationship Id="rId10" Type="http://schemas.openxmlformats.org/officeDocument/2006/relationships/tags" Target="../tags/tag399.xml"/><Relationship Id="rId19" Type="http://schemas.openxmlformats.org/officeDocument/2006/relationships/tags" Target="../tags/tag408.xml"/><Relationship Id="rId31" Type="http://schemas.openxmlformats.org/officeDocument/2006/relationships/tags" Target="../tags/tag420.xml"/><Relationship Id="rId44" Type="http://schemas.openxmlformats.org/officeDocument/2006/relationships/chart" Target="../charts/chart22.xml"/><Relationship Id="rId4" Type="http://schemas.openxmlformats.org/officeDocument/2006/relationships/tags" Target="../tags/tag393.xml"/><Relationship Id="rId9" Type="http://schemas.openxmlformats.org/officeDocument/2006/relationships/tags" Target="../tags/tag398.xml"/><Relationship Id="rId14" Type="http://schemas.openxmlformats.org/officeDocument/2006/relationships/tags" Target="../tags/tag403.xml"/><Relationship Id="rId22" Type="http://schemas.openxmlformats.org/officeDocument/2006/relationships/tags" Target="../tags/tag411.xml"/><Relationship Id="rId27" Type="http://schemas.openxmlformats.org/officeDocument/2006/relationships/tags" Target="../tags/tag416.xml"/><Relationship Id="rId30" Type="http://schemas.openxmlformats.org/officeDocument/2006/relationships/tags" Target="../tags/tag419.xml"/><Relationship Id="rId35" Type="http://schemas.openxmlformats.org/officeDocument/2006/relationships/tags" Target="../tags/tag424.xml"/><Relationship Id="rId43" Type="http://schemas.openxmlformats.org/officeDocument/2006/relationships/image" Target="../media/image25.emf"/><Relationship Id="rId48" Type="http://schemas.openxmlformats.org/officeDocument/2006/relationships/image" Target="../media/image26.png"/><Relationship Id="rId8" Type="http://schemas.openxmlformats.org/officeDocument/2006/relationships/tags" Target="../tags/tag397.xml"/><Relationship Id="rId3" Type="http://schemas.openxmlformats.org/officeDocument/2006/relationships/tags" Target="../tags/tag392.xml"/><Relationship Id="rId12" Type="http://schemas.openxmlformats.org/officeDocument/2006/relationships/tags" Target="../tags/tag401.xml"/><Relationship Id="rId17" Type="http://schemas.openxmlformats.org/officeDocument/2006/relationships/tags" Target="../tags/tag406.xml"/><Relationship Id="rId25" Type="http://schemas.openxmlformats.org/officeDocument/2006/relationships/tags" Target="../tags/tag414.xml"/><Relationship Id="rId33" Type="http://schemas.openxmlformats.org/officeDocument/2006/relationships/tags" Target="../tags/tag422.xml"/><Relationship Id="rId38" Type="http://schemas.openxmlformats.org/officeDocument/2006/relationships/tags" Target="../tags/tag427.xml"/><Relationship Id="rId46" Type="http://schemas.openxmlformats.org/officeDocument/2006/relationships/chart" Target="../charts/chart24.xml"/><Relationship Id="rId20" Type="http://schemas.openxmlformats.org/officeDocument/2006/relationships/tags" Target="../tags/tag409.xml"/><Relationship Id="rId41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441.xml"/><Relationship Id="rId18" Type="http://schemas.openxmlformats.org/officeDocument/2006/relationships/tags" Target="../tags/tag446.xml"/><Relationship Id="rId26" Type="http://schemas.openxmlformats.org/officeDocument/2006/relationships/tags" Target="../tags/tag454.xml"/><Relationship Id="rId39" Type="http://schemas.openxmlformats.org/officeDocument/2006/relationships/tags" Target="../tags/tag467.xml"/><Relationship Id="rId21" Type="http://schemas.openxmlformats.org/officeDocument/2006/relationships/tags" Target="../tags/tag449.xml"/><Relationship Id="rId34" Type="http://schemas.openxmlformats.org/officeDocument/2006/relationships/tags" Target="../tags/tag462.xml"/><Relationship Id="rId42" Type="http://schemas.openxmlformats.org/officeDocument/2006/relationships/oleObject" Target="../embeddings/oleObject14.bin"/><Relationship Id="rId47" Type="http://schemas.openxmlformats.org/officeDocument/2006/relationships/chart" Target="../charts/chart27.xml"/><Relationship Id="rId7" Type="http://schemas.openxmlformats.org/officeDocument/2006/relationships/tags" Target="../tags/tag435.xml"/><Relationship Id="rId2" Type="http://schemas.openxmlformats.org/officeDocument/2006/relationships/tags" Target="../tags/tag430.xml"/><Relationship Id="rId16" Type="http://schemas.openxmlformats.org/officeDocument/2006/relationships/tags" Target="../tags/tag444.xml"/><Relationship Id="rId29" Type="http://schemas.openxmlformats.org/officeDocument/2006/relationships/tags" Target="../tags/tag457.xml"/><Relationship Id="rId11" Type="http://schemas.openxmlformats.org/officeDocument/2006/relationships/tags" Target="../tags/tag439.xml"/><Relationship Id="rId24" Type="http://schemas.openxmlformats.org/officeDocument/2006/relationships/tags" Target="../tags/tag452.xml"/><Relationship Id="rId32" Type="http://schemas.openxmlformats.org/officeDocument/2006/relationships/tags" Target="../tags/tag460.xml"/><Relationship Id="rId37" Type="http://schemas.openxmlformats.org/officeDocument/2006/relationships/tags" Target="../tags/tag465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25.xml"/><Relationship Id="rId5" Type="http://schemas.openxmlformats.org/officeDocument/2006/relationships/tags" Target="../tags/tag433.xml"/><Relationship Id="rId15" Type="http://schemas.openxmlformats.org/officeDocument/2006/relationships/tags" Target="../tags/tag443.xml"/><Relationship Id="rId23" Type="http://schemas.openxmlformats.org/officeDocument/2006/relationships/tags" Target="../tags/tag451.xml"/><Relationship Id="rId28" Type="http://schemas.openxmlformats.org/officeDocument/2006/relationships/tags" Target="../tags/tag456.xml"/><Relationship Id="rId36" Type="http://schemas.openxmlformats.org/officeDocument/2006/relationships/tags" Target="../tags/tag464.xml"/><Relationship Id="rId49" Type="http://schemas.openxmlformats.org/officeDocument/2006/relationships/image" Target="../media/image28.png"/><Relationship Id="rId10" Type="http://schemas.openxmlformats.org/officeDocument/2006/relationships/tags" Target="../tags/tag438.xml"/><Relationship Id="rId19" Type="http://schemas.openxmlformats.org/officeDocument/2006/relationships/tags" Target="../tags/tag447.xml"/><Relationship Id="rId31" Type="http://schemas.openxmlformats.org/officeDocument/2006/relationships/tags" Target="../tags/tag459.xml"/><Relationship Id="rId44" Type="http://schemas.openxmlformats.org/officeDocument/2006/relationships/image" Target="../media/image27.emf"/><Relationship Id="rId4" Type="http://schemas.openxmlformats.org/officeDocument/2006/relationships/tags" Target="../tags/tag432.xml"/><Relationship Id="rId9" Type="http://schemas.openxmlformats.org/officeDocument/2006/relationships/tags" Target="../tags/tag437.xml"/><Relationship Id="rId14" Type="http://schemas.openxmlformats.org/officeDocument/2006/relationships/tags" Target="../tags/tag442.xml"/><Relationship Id="rId22" Type="http://schemas.openxmlformats.org/officeDocument/2006/relationships/tags" Target="../tags/tag450.xml"/><Relationship Id="rId27" Type="http://schemas.openxmlformats.org/officeDocument/2006/relationships/tags" Target="../tags/tag455.xml"/><Relationship Id="rId30" Type="http://schemas.openxmlformats.org/officeDocument/2006/relationships/tags" Target="../tags/tag458.xml"/><Relationship Id="rId35" Type="http://schemas.openxmlformats.org/officeDocument/2006/relationships/tags" Target="../tags/tag463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436.xml"/><Relationship Id="rId3" Type="http://schemas.openxmlformats.org/officeDocument/2006/relationships/tags" Target="../tags/tag431.xml"/><Relationship Id="rId12" Type="http://schemas.openxmlformats.org/officeDocument/2006/relationships/tags" Target="../tags/tag440.xml"/><Relationship Id="rId17" Type="http://schemas.openxmlformats.org/officeDocument/2006/relationships/tags" Target="../tags/tag445.xml"/><Relationship Id="rId25" Type="http://schemas.openxmlformats.org/officeDocument/2006/relationships/tags" Target="../tags/tag453.xml"/><Relationship Id="rId33" Type="http://schemas.openxmlformats.org/officeDocument/2006/relationships/tags" Target="../tags/tag461.xml"/><Relationship Id="rId38" Type="http://schemas.openxmlformats.org/officeDocument/2006/relationships/tags" Target="../tags/tag466.xml"/><Relationship Id="rId46" Type="http://schemas.openxmlformats.org/officeDocument/2006/relationships/chart" Target="../charts/chart26.xml"/><Relationship Id="rId20" Type="http://schemas.openxmlformats.org/officeDocument/2006/relationships/tags" Target="../tags/tag448.xml"/><Relationship Id="rId41" Type="http://schemas.openxmlformats.org/officeDocument/2006/relationships/notesSlide" Target="../notesSlides/notesSlide10.xml"/><Relationship Id="rId1" Type="http://schemas.openxmlformats.org/officeDocument/2006/relationships/tags" Target="../tags/tag429.xml"/><Relationship Id="rId6" Type="http://schemas.openxmlformats.org/officeDocument/2006/relationships/tags" Target="../tags/tag434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480.xml"/><Relationship Id="rId18" Type="http://schemas.openxmlformats.org/officeDocument/2006/relationships/tags" Target="../tags/tag485.xml"/><Relationship Id="rId26" Type="http://schemas.openxmlformats.org/officeDocument/2006/relationships/tags" Target="../tags/tag493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488.xml"/><Relationship Id="rId34" Type="http://schemas.openxmlformats.org/officeDocument/2006/relationships/tags" Target="../tags/tag501.xml"/><Relationship Id="rId42" Type="http://schemas.openxmlformats.org/officeDocument/2006/relationships/image" Target="../media/image1.emf"/><Relationship Id="rId47" Type="http://schemas.openxmlformats.org/officeDocument/2006/relationships/image" Target="../media/image2.png"/><Relationship Id="rId7" Type="http://schemas.openxmlformats.org/officeDocument/2006/relationships/tags" Target="../tags/tag474.xml"/><Relationship Id="rId2" Type="http://schemas.openxmlformats.org/officeDocument/2006/relationships/tags" Target="../tags/tag469.xml"/><Relationship Id="rId16" Type="http://schemas.openxmlformats.org/officeDocument/2006/relationships/tags" Target="../tags/tag483.xml"/><Relationship Id="rId29" Type="http://schemas.openxmlformats.org/officeDocument/2006/relationships/tags" Target="../tags/tag496.xml"/><Relationship Id="rId1" Type="http://schemas.openxmlformats.org/officeDocument/2006/relationships/tags" Target="../tags/tag468.xml"/><Relationship Id="rId6" Type="http://schemas.openxmlformats.org/officeDocument/2006/relationships/tags" Target="../tags/tag473.xml"/><Relationship Id="rId11" Type="http://schemas.openxmlformats.org/officeDocument/2006/relationships/tags" Target="../tags/tag478.xml"/><Relationship Id="rId24" Type="http://schemas.openxmlformats.org/officeDocument/2006/relationships/tags" Target="../tags/tag491.xml"/><Relationship Id="rId32" Type="http://schemas.openxmlformats.org/officeDocument/2006/relationships/tags" Target="../tags/tag499.xml"/><Relationship Id="rId37" Type="http://schemas.openxmlformats.org/officeDocument/2006/relationships/tags" Target="../tags/tag504.xml"/><Relationship Id="rId40" Type="http://schemas.openxmlformats.org/officeDocument/2006/relationships/notesSlide" Target="../notesSlides/notesSlide11.xml"/><Relationship Id="rId45" Type="http://schemas.openxmlformats.org/officeDocument/2006/relationships/chart" Target="../charts/chart29.xml"/><Relationship Id="rId5" Type="http://schemas.openxmlformats.org/officeDocument/2006/relationships/tags" Target="../tags/tag472.xml"/><Relationship Id="rId15" Type="http://schemas.openxmlformats.org/officeDocument/2006/relationships/tags" Target="../tags/tag482.xml"/><Relationship Id="rId23" Type="http://schemas.openxmlformats.org/officeDocument/2006/relationships/tags" Target="../tags/tag490.xml"/><Relationship Id="rId28" Type="http://schemas.openxmlformats.org/officeDocument/2006/relationships/tags" Target="../tags/tag495.xml"/><Relationship Id="rId36" Type="http://schemas.openxmlformats.org/officeDocument/2006/relationships/tags" Target="../tags/tag503.xml"/><Relationship Id="rId10" Type="http://schemas.openxmlformats.org/officeDocument/2006/relationships/tags" Target="../tags/tag477.xml"/><Relationship Id="rId19" Type="http://schemas.openxmlformats.org/officeDocument/2006/relationships/tags" Target="../tags/tag486.xml"/><Relationship Id="rId31" Type="http://schemas.openxmlformats.org/officeDocument/2006/relationships/tags" Target="../tags/tag498.xml"/><Relationship Id="rId44" Type="http://schemas.openxmlformats.org/officeDocument/2006/relationships/chart" Target="../charts/chart28.xml"/><Relationship Id="rId4" Type="http://schemas.openxmlformats.org/officeDocument/2006/relationships/tags" Target="../tags/tag471.xml"/><Relationship Id="rId9" Type="http://schemas.openxmlformats.org/officeDocument/2006/relationships/tags" Target="../tags/tag476.xml"/><Relationship Id="rId14" Type="http://schemas.openxmlformats.org/officeDocument/2006/relationships/tags" Target="../tags/tag481.xml"/><Relationship Id="rId22" Type="http://schemas.openxmlformats.org/officeDocument/2006/relationships/tags" Target="../tags/tag489.xml"/><Relationship Id="rId27" Type="http://schemas.openxmlformats.org/officeDocument/2006/relationships/tags" Target="../tags/tag494.xml"/><Relationship Id="rId30" Type="http://schemas.openxmlformats.org/officeDocument/2006/relationships/tags" Target="../tags/tag497.xml"/><Relationship Id="rId35" Type="http://schemas.openxmlformats.org/officeDocument/2006/relationships/tags" Target="../tags/tag502.xml"/><Relationship Id="rId43" Type="http://schemas.openxmlformats.org/officeDocument/2006/relationships/image" Target="../media/image29.emf"/><Relationship Id="rId48" Type="http://schemas.openxmlformats.org/officeDocument/2006/relationships/image" Target="../media/image30.jpg"/><Relationship Id="rId8" Type="http://schemas.openxmlformats.org/officeDocument/2006/relationships/tags" Target="../tags/tag475.xml"/><Relationship Id="rId3" Type="http://schemas.openxmlformats.org/officeDocument/2006/relationships/tags" Target="../tags/tag470.xml"/><Relationship Id="rId12" Type="http://schemas.openxmlformats.org/officeDocument/2006/relationships/tags" Target="../tags/tag479.xml"/><Relationship Id="rId17" Type="http://schemas.openxmlformats.org/officeDocument/2006/relationships/tags" Target="../tags/tag484.xml"/><Relationship Id="rId25" Type="http://schemas.openxmlformats.org/officeDocument/2006/relationships/tags" Target="../tags/tag492.xml"/><Relationship Id="rId33" Type="http://schemas.openxmlformats.org/officeDocument/2006/relationships/tags" Target="../tags/tag500.xml"/><Relationship Id="rId38" Type="http://schemas.openxmlformats.org/officeDocument/2006/relationships/tags" Target="../tags/tag505.xml"/><Relationship Id="rId46" Type="http://schemas.openxmlformats.org/officeDocument/2006/relationships/chart" Target="../charts/chart30.xml"/><Relationship Id="rId20" Type="http://schemas.openxmlformats.org/officeDocument/2006/relationships/tags" Target="../tags/tag487.xml"/><Relationship Id="rId41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518.xml"/><Relationship Id="rId18" Type="http://schemas.openxmlformats.org/officeDocument/2006/relationships/tags" Target="../tags/tag523.xml"/><Relationship Id="rId26" Type="http://schemas.openxmlformats.org/officeDocument/2006/relationships/tags" Target="../tags/tag531.xml"/><Relationship Id="rId39" Type="http://schemas.openxmlformats.org/officeDocument/2006/relationships/tags" Target="../tags/tag544.xml"/><Relationship Id="rId21" Type="http://schemas.openxmlformats.org/officeDocument/2006/relationships/tags" Target="../tags/tag526.xml"/><Relationship Id="rId34" Type="http://schemas.openxmlformats.org/officeDocument/2006/relationships/tags" Target="../tags/tag539.xml"/><Relationship Id="rId42" Type="http://schemas.openxmlformats.org/officeDocument/2006/relationships/oleObject" Target="../embeddings/oleObject16.bin"/><Relationship Id="rId47" Type="http://schemas.openxmlformats.org/officeDocument/2006/relationships/chart" Target="../charts/chart33.xml"/><Relationship Id="rId7" Type="http://schemas.openxmlformats.org/officeDocument/2006/relationships/tags" Target="../tags/tag512.xml"/><Relationship Id="rId2" Type="http://schemas.openxmlformats.org/officeDocument/2006/relationships/tags" Target="../tags/tag507.xml"/><Relationship Id="rId16" Type="http://schemas.openxmlformats.org/officeDocument/2006/relationships/tags" Target="../tags/tag521.xml"/><Relationship Id="rId29" Type="http://schemas.openxmlformats.org/officeDocument/2006/relationships/tags" Target="../tags/tag534.xml"/><Relationship Id="rId11" Type="http://schemas.openxmlformats.org/officeDocument/2006/relationships/tags" Target="../tags/tag516.xml"/><Relationship Id="rId24" Type="http://schemas.openxmlformats.org/officeDocument/2006/relationships/tags" Target="../tags/tag529.xml"/><Relationship Id="rId32" Type="http://schemas.openxmlformats.org/officeDocument/2006/relationships/tags" Target="../tags/tag537.xml"/><Relationship Id="rId37" Type="http://schemas.openxmlformats.org/officeDocument/2006/relationships/tags" Target="../tags/tag542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31.xml"/><Relationship Id="rId5" Type="http://schemas.openxmlformats.org/officeDocument/2006/relationships/tags" Target="../tags/tag510.xml"/><Relationship Id="rId15" Type="http://schemas.openxmlformats.org/officeDocument/2006/relationships/tags" Target="../tags/tag520.xml"/><Relationship Id="rId23" Type="http://schemas.openxmlformats.org/officeDocument/2006/relationships/tags" Target="../tags/tag528.xml"/><Relationship Id="rId28" Type="http://schemas.openxmlformats.org/officeDocument/2006/relationships/tags" Target="../tags/tag533.xml"/><Relationship Id="rId36" Type="http://schemas.openxmlformats.org/officeDocument/2006/relationships/tags" Target="../tags/tag541.xml"/><Relationship Id="rId49" Type="http://schemas.openxmlformats.org/officeDocument/2006/relationships/image" Target="../media/image32.png"/><Relationship Id="rId10" Type="http://schemas.openxmlformats.org/officeDocument/2006/relationships/tags" Target="../tags/tag515.xml"/><Relationship Id="rId19" Type="http://schemas.openxmlformats.org/officeDocument/2006/relationships/tags" Target="../tags/tag524.xml"/><Relationship Id="rId31" Type="http://schemas.openxmlformats.org/officeDocument/2006/relationships/tags" Target="../tags/tag536.xml"/><Relationship Id="rId44" Type="http://schemas.openxmlformats.org/officeDocument/2006/relationships/image" Target="../media/image31.emf"/><Relationship Id="rId4" Type="http://schemas.openxmlformats.org/officeDocument/2006/relationships/tags" Target="../tags/tag509.xml"/><Relationship Id="rId9" Type="http://schemas.openxmlformats.org/officeDocument/2006/relationships/tags" Target="../tags/tag514.xml"/><Relationship Id="rId14" Type="http://schemas.openxmlformats.org/officeDocument/2006/relationships/tags" Target="../tags/tag519.xml"/><Relationship Id="rId22" Type="http://schemas.openxmlformats.org/officeDocument/2006/relationships/tags" Target="../tags/tag527.xml"/><Relationship Id="rId27" Type="http://schemas.openxmlformats.org/officeDocument/2006/relationships/tags" Target="../tags/tag532.xml"/><Relationship Id="rId30" Type="http://schemas.openxmlformats.org/officeDocument/2006/relationships/tags" Target="../tags/tag535.xml"/><Relationship Id="rId35" Type="http://schemas.openxmlformats.org/officeDocument/2006/relationships/tags" Target="../tags/tag540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513.xml"/><Relationship Id="rId3" Type="http://schemas.openxmlformats.org/officeDocument/2006/relationships/tags" Target="../tags/tag508.xml"/><Relationship Id="rId12" Type="http://schemas.openxmlformats.org/officeDocument/2006/relationships/tags" Target="../tags/tag517.xml"/><Relationship Id="rId17" Type="http://schemas.openxmlformats.org/officeDocument/2006/relationships/tags" Target="../tags/tag522.xml"/><Relationship Id="rId25" Type="http://schemas.openxmlformats.org/officeDocument/2006/relationships/tags" Target="../tags/tag530.xml"/><Relationship Id="rId33" Type="http://schemas.openxmlformats.org/officeDocument/2006/relationships/tags" Target="../tags/tag538.xml"/><Relationship Id="rId38" Type="http://schemas.openxmlformats.org/officeDocument/2006/relationships/tags" Target="../tags/tag543.xml"/><Relationship Id="rId46" Type="http://schemas.openxmlformats.org/officeDocument/2006/relationships/chart" Target="../charts/chart32.xml"/><Relationship Id="rId20" Type="http://schemas.openxmlformats.org/officeDocument/2006/relationships/tags" Target="../tags/tag525.xml"/><Relationship Id="rId41" Type="http://schemas.openxmlformats.org/officeDocument/2006/relationships/notesSlide" Target="../notesSlides/notesSlide12.xml"/><Relationship Id="rId1" Type="http://schemas.openxmlformats.org/officeDocument/2006/relationships/tags" Target="../tags/tag506.xml"/><Relationship Id="rId6" Type="http://schemas.openxmlformats.org/officeDocument/2006/relationships/tags" Target="../tags/tag511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557.xml"/><Relationship Id="rId18" Type="http://schemas.openxmlformats.org/officeDocument/2006/relationships/tags" Target="../tags/tag562.xml"/><Relationship Id="rId26" Type="http://schemas.openxmlformats.org/officeDocument/2006/relationships/tags" Target="../tags/tag570.xml"/><Relationship Id="rId39" Type="http://schemas.openxmlformats.org/officeDocument/2006/relationships/tags" Target="../tags/tag583.xml"/><Relationship Id="rId21" Type="http://schemas.openxmlformats.org/officeDocument/2006/relationships/tags" Target="../tags/tag565.xml"/><Relationship Id="rId34" Type="http://schemas.openxmlformats.org/officeDocument/2006/relationships/tags" Target="../tags/tag578.xml"/><Relationship Id="rId42" Type="http://schemas.openxmlformats.org/officeDocument/2006/relationships/oleObject" Target="../embeddings/oleObject17.bin"/><Relationship Id="rId47" Type="http://schemas.openxmlformats.org/officeDocument/2006/relationships/chart" Target="../charts/chart36.xml"/><Relationship Id="rId7" Type="http://schemas.openxmlformats.org/officeDocument/2006/relationships/tags" Target="../tags/tag551.xml"/><Relationship Id="rId2" Type="http://schemas.openxmlformats.org/officeDocument/2006/relationships/tags" Target="../tags/tag546.xml"/><Relationship Id="rId16" Type="http://schemas.openxmlformats.org/officeDocument/2006/relationships/tags" Target="../tags/tag560.xml"/><Relationship Id="rId29" Type="http://schemas.openxmlformats.org/officeDocument/2006/relationships/tags" Target="../tags/tag573.xml"/><Relationship Id="rId11" Type="http://schemas.openxmlformats.org/officeDocument/2006/relationships/tags" Target="../tags/tag555.xml"/><Relationship Id="rId24" Type="http://schemas.openxmlformats.org/officeDocument/2006/relationships/tags" Target="../tags/tag568.xml"/><Relationship Id="rId32" Type="http://schemas.openxmlformats.org/officeDocument/2006/relationships/tags" Target="../tags/tag576.xml"/><Relationship Id="rId37" Type="http://schemas.openxmlformats.org/officeDocument/2006/relationships/tags" Target="../tags/tag581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34.xml"/><Relationship Id="rId5" Type="http://schemas.openxmlformats.org/officeDocument/2006/relationships/tags" Target="../tags/tag549.xml"/><Relationship Id="rId15" Type="http://schemas.openxmlformats.org/officeDocument/2006/relationships/tags" Target="../tags/tag559.xml"/><Relationship Id="rId23" Type="http://schemas.openxmlformats.org/officeDocument/2006/relationships/tags" Target="../tags/tag567.xml"/><Relationship Id="rId28" Type="http://schemas.openxmlformats.org/officeDocument/2006/relationships/tags" Target="../tags/tag572.xml"/><Relationship Id="rId36" Type="http://schemas.openxmlformats.org/officeDocument/2006/relationships/tags" Target="../tags/tag580.xml"/><Relationship Id="rId49" Type="http://schemas.openxmlformats.org/officeDocument/2006/relationships/image" Target="../media/image34.jpg"/><Relationship Id="rId10" Type="http://schemas.openxmlformats.org/officeDocument/2006/relationships/tags" Target="../tags/tag554.xml"/><Relationship Id="rId19" Type="http://schemas.openxmlformats.org/officeDocument/2006/relationships/tags" Target="../tags/tag563.xml"/><Relationship Id="rId31" Type="http://schemas.openxmlformats.org/officeDocument/2006/relationships/tags" Target="../tags/tag575.xml"/><Relationship Id="rId44" Type="http://schemas.openxmlformats.org/officeDocument/2006/relationships/image" Target="../media/image33.emf"/><Relationship Id="rId4" Type="http://schemas.openxmlformats.org/officeDocument/2006/relationships/tags" Target="../tags/tag548.xml"/><Relationship Id="rId9" Type="http://schemas.openxmlformats.org/officeDocument/2006/relationships/tags" Target="../tags/tag553.xml"/><Relationship Id="rId14" Type="http://schemas.openxmlformats.org/officeDocument/2006/relationships/tags" Target="../tags/tag558.xml"/><Relationship Id="rId22" Type="http://schemas.openxmlformats.org/officeDocument/2006/relationships/tags" Target="../tags/tag566.xml"/><Relationship Id="rId27" Type="http://schemas.openxmlformats.org/officeDocument/2006/relationships/tags" Target="../tags/tag571.xml"/><Relationship Id="rId30" Type="http://schemas.openxmlformats.org/officeDocument/2006/relationships/tags" Target="../tags/tag574.xml"/><Relationship Id="rId35" Type="http://schemas.openxmlformats.org/officeDocument/2006/relationships/tags" Target="../tags/tag579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552.xml"/><Relationship Id="rId3" Type="http://schemas.openxmlformats.org/officeDocument/2006/relationships/tags" Target="../tags/tag547.xml"/><Relationship Id="rId12" Type="http://schemas.openxmlformats.org/officeDocument/2006/relationships/tags" Target="../tags/tag556.xml"/><Relationship Id="rId17" Type="http://schemas.openxmlformats.org/officeDocument/2006/relationships/tags" Target="../tags/tag561.xml"/><Relationship Id="rId25" Type="http://schemas.openxmlformats.org/officeDocument/2006/relationships/tags" Target="../tags/tag569.xml"/><Relationship Id="rId33" Type="http://schemas.openxmlformats.org/officeDocument/2006/relationships/tags" Target="../tags/tag577.xml"/><Relationship Id="rId38" Type="http://schemas.openxmlformats.org/officeDocument/2006/relationships/tags" Target="../tags/tag582.xml"/><Relationship Id="rId46" Type="http://schemas.openxmlformats.org/officeDocument/2006/relationships/chart" Target="../charts/chart35.xml"/><Relationship Id="rId20" Type="http://schemas.openxmlformats.org/officeDocument/2006/relationships/tags" Target="../tags/tag564.xml"/><Relationship Id="rId41" Type="http://schemas.openxmlformats.org/officeDocument/2006/relationships/notesSlide" Target="../notesSlides/notesSlide13.xml"/><Relationship Id="rId1" Type="http://schemas.openxmlformats.org/officeDocument/2006/relationships/tags" Target="../tags/tag545.xml"/><Relationship Id="rId6" Type="http://schemas.openxmlformats.org/officeDocument/2006/relationships/tags" Target="../tags/tag550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596.xml"/><Relationship Id="rId18" Type="http://schemas.openxmlformats.org/officeDocument/2006/relationships/tags" Target="../tags/tag601.xml"/><Relationship Id="rId26" Type="http://schemas.openxmlformats.org/officeDocument/2006/relationships/tags" Target="../tags/tag609.xml"/><Relationship Id="rId39" Type="http://schemas.openxmlformats.org/officeDocument/2006/relationships/tags" Target="../tags/tag622.xml"/><Relationship Id="rId21" Type="http://schemas.openxmlformats.org/officeDocument/2006/relationships/tags" Target="../tags/tag604.xml"/><Relationship Id="rId34" Type="http://schemas.openxmlformats.org/officeDocument/2006/relationships/tags" Target="../tags/tag617.xml"/><Relationship Id="rId42" Type="http://schemas.openxmlformats.org/officeDocument/2006/relationships/oleObject" Target="../embeddings/oleObject18.bin"/><Relationship Id="rId47" Type="http://schemas.openxmlformats.org/officeDocument/2006/relationships/chart" Target="../charts/chart39.xml"/><Relationship Id="rId7" Type="http://schemas.openxmlformats.org/officeDocument/2006/relationships/tags" Target="../tags/tag590.xml"/><Relationship Id="rId2" Type="http://schemas.openxmlformats.org/officeDocument/2006/relationships/tags" Target="../tags/tag585.xml"/><Relationship Id="rId16" Type="http://schemas.openxmlformats.org/officeDocument/2006/relationships/tags" Target="../tags/tag599.xml"/><Relationship Id="rId29" Type="http://schemas.openxmlformats.org/officeDocument/2006/relationships/tags" Target="../tags/tag612.xml"/><Relationship Id="rId11" Type="http://schemas.openxmlformats.org/officeDocument/2006/relationships/tags" Target="../tags/tag594.xml"/><Relationship Id="rId24" Type="http://schemas.openxmlformats.org/officeDocument/2006/relationships/tags" Target="../tags/tag607.xml"/><Relationship Id="rId32" Type="http://schemas.openxmlformats.org/officeDocument/2006/relationships/tags" Target="../tags/tag615.xml"/><Relationship Id="rId37" Type="http://schemas.openxmlformats.org/officeDocument/2006/relationships/tags" Target="../tags/tag620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37.xml"/><Relationship Id="rId5" Type="http://schemas.openxmlformats.org/officeDocument/2006/relationships/tags" Target="../tags/tag588.xml"/><Relationship Id="rId15" Type="http://schemas.openxmlformats.org/officeDocument/2006/relationships/tags" Target="../tags/tag598.xml"/><Relationship Id="rId23" Type="http://schemas.openxmlformats.org/officeDocument/2006/relationships/tags" Target="../tags/tag606.xml"/><Relationship Id="rId28" Type="http://schemas.openxmlformats.org/officeDocument/2006/relationships/tags" Target="../tags/tag611.xml"/><Relationship Id="rId36" Type="http://schemas.openxmlformats.org/officeDocument/2006/relationships/tags" Target="../tags/tag619.xml"/><Relationship Id="rId49" Type="http://schemas.openxmlformats.org/officeDocument/2006/relationships/image" Target="../media/image36.jpg"/><Relationship Id="rId10" Type="http://schemas.openxmlformats.org/officeDocument/2006/relationships/tags" Target="../tags/tag593.xml"/><Relationship Id="rId19" Type="http://schemas.openxmlformats.org/officeDocument/2006/relationships/tags" Target="../tags/tag602.xml"/><Relationship Id="rId31" Type="http://schemas.openxmlformats.org/officeDocument/2006/relationships/tags" Target="../tags/tag614.xml"/><Relationship Id="rId44" Type="http://schemas.openxmlformats.org/officeDocument/2006/relationships/image" Target="../media/image35.emf"/><Relationship Id="rId4" Type="http://schemas.openxmlformats.org/officeDocument/2006/relationships/tags" Target="../tags/tag587.xml"/><Relationship Id="rId9" Type="http://schemas.openxmlformats.org/officeDocument/2006/relationships/tags" Target="../tags/tag592.xml"/><Relationship Id="rId14" Type="http://schemas.openxmlformats.org/officeDocument/2006/relationships/tags" Target="../tags/tag597.xml"/><Relationship Id="rId22" Type="http://schemas.openxmlformats.org/officeDocument/2006/relationships/tags" Target="../tags/tag605.xml"/><Relationship Id="rId27" Type="http://schemas.openxmlformats.org/officeDocument/2006/relationships/tags" Target="../tags/tag610.xml"/><Relationship Id="rId30" Type="http://schemas.openxmlformats.org/officeDocument/2006/relationships/tags" Target="../tags/tag613.xml"/><Relationship Id="rId35" Type="http://schemas.openxmlformats.org/officeDocument/2006/relationships/tags" Target="../tags/tag618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591.xml"/><Relationship Id="rId3" Type="http://schemas.openxmlformats.org/officeDocument/2006/relationships/tags" Target="../tags/tag586.xml"/><Relationship Id="rId12" Type="http://schemas.openxmlformats.org/officeDocument/2006/relationships/tags" Target="../tags/tag595.xml"/><Relationship Id="rId17" Type="http://schemas.openxmlformats.org/officeDocument/2006/relationships/tags" Target="../tags/tag600.xml"/><Relationship Id="rId25" Type="http://schemas.openxmlformats.org/officeDocument/2006/relationships/tags" Target="../tags/tag608.xml"/><Relationship Id="rId33" Type="http://schemas.openxmlformats.org/officeDocument/2006/relationships/tags" Target="../tags/tag616.xml"/><Relationship Id="rId38" Type="http://schemas.openxmlformats.org/officeDocument/2006/relationships/tags" Target="../tags/tag621.xml"/><Relationship Id="rId46" Type="http://schemas.openxmlformats.org/officeDocument/2006/relationships/chart" Target="../charts/chart38.xml"/><Relationship Id="rId20" Type="http://schemas.openxmlformats.org/officeDocument/2006/relationships/tags" Target="../tags/tag603.xml"/><Relationship Id="rId41" Type="http://schemas.openxmlformats.org/officeDocument/2006/relationships/notesSlide" Target="../notesSlides/notesSlide14.xml"/><Relationship Id="rId1" Type="http://schemas.openxmlformats.org/officeDocument/2006/relationships/tags" Target="../tags/tag584.xml"/><Relationship Id="rId6" Type="http://schemas.openxmlformats.org/officeDocument/2006/relationships/tags" Target="../tags/tag589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635.xml"/><Relationship Id="rId18" Type="http://schemas.openxmlformats.org/officeDocument/2006/relationships/tags" Target="../tags/tag640.xml"/><Relationship Id="rId26" Type="http://schemas.openxmlformats.org/officeDocument/2006/relationships/tags" Target="../tags/tag648.xml"/><Relationship Id="rId39" Type="http://schemas.openxmlformats.org/officeDocument/2006/relationships/tags" Target="../tags/tag661.xml"/><Relationship Id="rId21" Type="http://schemas.openxmlformats.org/officeDocument/2006/relationships/tags" Target="../tags/tag643.xml"/><Relationship Id="rId34" Type="http://schemas.openxmlformats.org/officeDocument/2006/relationships/tags" Target="../tags/tag656.xml"/><Relationship Id="rId42" Type="http://schemas.openxmlformats.org/officeDocument/2006/relationships/oleObject" Target="../embeddings/oleObject19.bin"/><Relationship Id="rId47" Type="http://schemas.openxmlformats.org/officeDocument/2006/relationships/chart" Target="../charts/chart42.xml"/><Relationship Id="rId7" Type="http://schemas.openxmlformats.org/officeDocument/2006/relationships/tags" Target="../tags/tag629.xml"/><Relationship Id="rId2" Type="http://schemas.openxmlformats.org/officeDocument/2006/relationships/tags" Target="../tags/tag624.xml"/><Relationship Id="rId16" Type="http://schemas.openxmlformats.org/officeDocument/2006/relationships/tags" Target="../tags/tag638.xml"/><Relationship Id="rId29" Type="http://schemas.openxmlformats.org/officeDocument/2006/relationships/tags" Target="../tags/tag651.xml"/><Relationship Id="rId11" Type="http://schemas.openxmlformats.org/officeDocument/2006/relationships/tags" Target="../tags/tag633.xml"/><Relationship Id="rId24" Type="http://schemas.openxmlformats.org/officeDocument/2006/relationships/tags" Target="../tags/tag646.xml"/><Relationship Id="rId32" Type="http://schemas.openxmlformats.org/officeDocument/2006/relationships/tags" Target="../tags/tag654.xml"/><Relationship Id="rId37" Type="http://schemas.openxmlformats.org/officeDocument/2006/relationships/tags" Target="../tags/tag659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40.xml"/><Relationship Id="rId5" Type="http://schemas.openxmlformats.org/officeDocument/2006/relationships/tags" Target="../tags/tag627.xml"/><Relationship Id="rId15" Type="http://schemas.openxmlformats.org/officeDocument/2006/relationships/tags" Target="../tags/tag637.xml"/><Relationship Id="rId23" Type="http://schemas.openxmlformats.org/officeDocument/2006/relationships/tags" Target="../tags/tag645.xml"/><Relationship Id="rId28" Type="http://schemas.openxmlformats.org/officeDocument/2006/relationships/tags" Target="../tags/tag650.xml"/><Relationship Id="rId36" Type="http://schemas.openxmlformats.org/officeDocument/2006/relationships/tags" Target="../tags/tag658.xml"/><Relationship Id="rId49" Type="http://schemas.openxmlformats.org/officeDocument/2006/relationships/image" Target="../media/image38.png"/><Relationship Id="rId10" Type="http://schemas.openxmlformats.org/officeDocument/2006/relationships/tags" Target="../tags/tag632.xml"/><Relationship Id="rId19" Type="http://schemas.openxmlformats.org/officeDocument/2006/relationships/tags" Target="../tags/tag641.xml"/><Relationship Id="rId31" Type="http://schemas.openxmlformats.org/officeDocument/2006/relationships/tags" Target="../tags/tag653.xml"/><Relationship Id="rId44" Type="http://schemas.openxmlformats.org/officeDocument/2006/relationships/image" Target="../media/image37.emf"/><Relationship Id="rId4" Type="http://schemas.openxmlformats.org/officeDocument/2006/relationships/tags" Target="../tags/tag626.xml"/><Relationship Id="rId9" Type="http://schemas.openxmlformats.org/officeDocument/2006/relationships/tags" Target="../tags/tag631.xml"/><Relationship Id="rId14" Type="http://schemas.openxmlformats.org/officeDocument/2006/relationships/tags" Target="../tags/tag636.xml"/><Relationship Id="rId22" Type="http://schemas.openxmlformats.org/officeDocument/2006/relationships/tags" Target="../tags/tag644.xml"/><Relationship Id="rId27" Type="http://schemas.openxmlformats.org/officeDocument/2006/relationships/tags" Target="../tags/tag649.xml"/><Relationship Id="rId30" Type="http://schemas.openxmlformats.org/officeDocument/2006/relationships/tags" Target="../tags/tag652.xml"/><Relationship Id="rId35" Type="http://schemas.openxmlformats.org/officeDocument/2006/relationships/tags" Target="../tags/tag657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630.xml"/><Relationship Id="rId3" Type="http://schemas.openxmlformats.org/officeDocument/2006/relationships/tags" Target="../tags/tag625.xml"/><Relationship Id="rId12" Type="http://schemas.openxmlformats.org/officeDocument/2006/relationships/tags" Target="../tags/tag634.xml"/><Relationship Id="rId17" Type="http://schemas.openxmlformats.org/officeDocument/2006/relationships/tags" Target="../tags/tag639.xml"/><Relationship Id="rId25" Type="http://schemas.openxmlformats.org/officeDocument/2006/relationships/tags" Target="../tags/tag647.xml"/><Relationship Id="rId33" Type="http://schemas.openxmlformats.org/officeDocument/2006/relationships/tags" Target="../tags/tag655.xml"/><Relationship Id="rId38" Type="http://schemas.openxmlformats.org/officeDocument/2006/relationships/tags" Target="../tags/tag660.xml"/><Relationship Id="rId46" Type="http://schemas.openxmlformats.org/officeDocument/2006/relationships/chart" Target="../charts/chart41.xml"/><Relationship Id="rId20" Type="http://schemas.openxmlformats.org/officeDocument/2006/relationships/tags" Target="../tags/tag642.xml"/><Relationship Id="rId41" Type="http://schemas.openxmlformats.org/officeDocument/2006/relationships/notesSlide" Target="../notesSlides/notesSlide15.xml"/><Relationship Id="rId1" Type="http://schemas.openxmlformats.org/officeDocument/2006/relationships/tags" Target="../tags/tag623.xml"/><Relationship Id="rId6" Type="http://schemas.openxmlformats.org/officeDocument/2006/relationships/tags" Target="../tags/tag628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674.xml"/><Relationship Id="rId18" Type="http://schemas.openxmlformats.org/officeDocument/2006/relationships/tags" Target="../tags/tag679.xml"/><Relationship Id="rId26" Type="http://schemas.openxmlformats.org/officeDocument/2006/relationships/tags" Target="../tags/tag687.xml"/><Relationship Id="rId39" Type="http://schemas.openxmlformats.org/officeDocument/2006/relationships/tags" Target="../tags/tag700.xml"/><Relationship Id="rId21" Type="http://schemas.openxmlformats.org/officeDocument/2006/relationships/tags" Target="../tags/tag682.xml"/><Relationship Id="rId34" Type="http://schemas.openxmlformats.org/officeDocument/2006/relationships/tags" Target="../tags/tag695.xml"/><Relationship Id="rId42" Type="http://schemas.openxmlformats.org/officeDocument/2006/relationships/oleObject" Target="../embeddings/oleObject20.bin"/><Relationship Id="rId47" Type="http://schemas.openxmlformats.org/officeDocument/2006/relationships/chart" Target="../charts/chart45.xml"/><Relationship Id="rId7" Type="http://schemas.openxmlformats.org/officeDocument/2006/relationships/tags" Target="../tags/tag668.xml"/><Relationship Id="rId2" Type="http://schemas.openxmlformats.org/officeDocument/2006/relationships/tags" Target="../tags/tag663.xml"/><Relationship Id="rId16" Type="http://schemas.openxmlformats.org/officeDocument/2006/relationships/tags" Target="../tags/tag677.xml"/><Relationship Id="rId29" Type="http://schemas.openxmlformats.org/officeDocument/2006/relationships/tags" Target="../tags/tag690.xml"/><Relationship Id="rId11" Type="http://schemas.openxmlformats.org/officeDocument/2006/relationships/tags" Target="../tags/tag672.xml"/><Relationship Id="rId24" Type="http://schemas.openxmlformats.org/officeDocument/2006/relationships/tags" Target="../tags/tag685.xml"/><Relationship Id="rId32" Type="http://schemas.openxmlformats.org/officeDocument/2006/relationships/tags" Target="../tags/tag693.xml"/><Relationship Id="rId37" Type="http://schemas.openxmlformats.org/officeDocument/2006/relationships/tags" Target="../tags/tag698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43.xml"/><Relationship Id="rId5" Type="http://schemas.openxmlformats.org/officeDocument/2006/relationships/tags" Target="../tags/tag666.xml"/><Relationship Id="rId15" Type="http://schemas.openxmlformats.org/officeDocument/2006/relationships/tags" Target="../tags/tag676.xml"/><Relationship Id="rId23" Type="http://schemas.openxmlformats.org/officeDocument/2006/relationships/tags" Target="../tags/tag684.xml"/><Relationship Id="rId28" Type="http://schemas.openxmlformats.org/officeDocument/2006/relationships/tags" Target="../tags/tag689.xml"/><Relationship Id="rId36" Type="http://schemas.openxmlformats.org/officeDocument/2006/relationships/tags" Target="../tags/tag697.xml"/><Relationship Id="rId49" Type="http://schemas.openxmlformats.org/officeDocument/2006/relationships/image" Target="../media/image40.png"/><Relationship Id="rId10" Type="http://schemas.openxmlformats.org/officeDocument/2006/relationships/tags" Target="../tags/tag671.xml"/><Relationship Id="rId19" Type="http://schemas.openxmlformats.org/officeDocument/2006/relationships/tags" Target="../tags/tag680.xml"/><Relationship Id="rId31" Type="http://schemas.openxmlformats.org/officeDocument/2006/relationships/tags" Target="../tags/tag692.xml"/><Relationship Id="rId44" Type="http://schemas.openxmlformats.org/officeDocument/2006/relationships/image" Target="../media/image39.emf"/><Relationship Id="rId4" Type="http://schemas.openxmlformats.org/officeDocument/2006/relationships/tags" Target="../tags/tag665.xml"/><Relationship Id="rId9" Type="http://schemas.openxmlformats.org/officeDocument/2006/relationships/tags" Target="../tags/tag670.xml"/><Relationship Id="rId14" Type="http://schemas.openxmlformats.org/officeDocument/2006/relationships/tags" Target="../tags/tag675.xml"/><Relationship Id="rId22" Type="http://schemas.openxmlformats.org/officeDocument/2006/relationships/tags" Target="../tags/tag683.xml"/><Relationship Id="rId27" Type="http://schemas.openxmlformats.org/officeDocument/2006/relationships/tags" Target="../tags/tag688.xml"/><Relationship Id="rId30" Type="http://schemas.openxmlformats.org/officeDocument/2006/relationships/tags" Target="../tags/tag691.xml"/><Relationship Id="rId35" Type="http://schemas.openxmlformats.org/officeDocument/2006/relationships/tags" Target="../tags/tag696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669.xml"/><Relationship Id="rId3" Type="http://schemas.openxmlformats.org/officeDocument/2006/relationships/tags" Target="../tags/tag664.xml"/><Relationship Id="rId12" Type="http://schemas.openxmlformats.org/officeDocument/2006/relationships/tags" Target="../tags/tag673.xml"/><Relationship Id="rId17" Type="http://schemas.openxmlformats.org/officeDocument/2006/relationships/tags" Target="../tags/tag678.xml"/><Relationship Id="rId25" Type="http://schemas.openxmlformats.org/officeDocument/2006/relationships/tags" Target="../tags/tag686.xml"/><Relationship Id="rId33" Type="http://schemas.openxmlformats.org/officeDocument/2006/relationships/tags" Target="../tags/tag694.xml"/><Relationship Id="rId38" Type="http://schemas.openxmlformats.org/officeDocument/2006/relationships/tags" Target="../tags/tag699.xml"/><Relationship Id="rId46" Type="http://schemas.openxmlformats.org/officeDocument/2006/relationships/chart" Target="../charts/chart44.xml"/><Relationship Id="rId20" Type="http://schemas.openxmlformats.org/officeDocument/2006/relationships/tags" Target="../tags/tag681.xml"/><Relationship Id="rId41" Type="http://schemas.openxmlformats.org/officeDocument/2006/relationships/notesSlide" Target="../notesSlides/notesSlide16.xml"/><Relationship Id="rId1" Type="http://schemas.openxmlformats.org/officeDocument/2006/relationships/tags" Target="../tags/tag662.xml"/><Relationship Id="rId6" Type="http://schemas.openxmlformats.org/officeDocument/2006/relationships/tags" Target="../tags/tag66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713.xml"/><Relationship Id="rId18" Type="http://schemas.openxmlformats.org/officeDocument/2006/relationships/tags" Target="../tags/tag718.xml"/><Relationship Id="rId26" Type="http://schemas.openxmlformats.org/officeDocument/2006/relationships/tags" Target="../tags/tag726.xml"/><Relationship Id="rId39" Type="http://schemas.openxmlformats.org/officeDocument/2006/relationships/tags" Target="../tags/tag739.xml"/><Relationship Id="rId21" Type="http://schemas.openxmlformats.org/officeDocument/2006/relationships/tags" Target="../tags/tag721.xml"/><Relationship Id="rId34" Type="http://schemas.openxmlformats.org/officeDocument/2006/relationships/tags" Target="../tags/tag734.xml"/><Relationship Id="rId42" Type="http://schemas.openxmlformats.org/officeDocument/2006/relationships/image" Target="../media/image1.emf"/><Relationship Id="rId47" Type="http://schemas.openxmlformats.org/officeDocument/2006/relationships/image" Target="../media/image2.png"/><Relationship Id="rId7" Type="http://schemas.openxmlformats.org/officeDocument/2006/relationships/tags" Target="../tags/tag707.xml"/><Relationship Id="rId2" Type="http://schemas.openxmlformats.org/officeDocument/2006/relationships/tags" Target="../tags/tag702.xml"/><Relationship Id="rId16" Type="http://schemas.openxmlformats.org/officeDocument/2006/relationships/tags" Target="../tags/tag716.xml"/><Relationship Id="rId29" Type="http://schemas.openxmlformats.org/officeDocument/2006/relationships/tags" Target="../tags/tag729.xml"/><Relationship Id="rId1" Type="http://schemas.openxmlformats.org/officeDocument/2006/relationships/tags" Target="../tags/tag701.xml"/><Relationship Id="rId6" Type="http://schemas.openxmlformats.org/officeDocument/2006/relationships/tags" Target="../tags/tag706.xml"/><Relationship Id="rId11" Type="http://schemas.openxmlformats.org/officeDocument/2006/relationships/tags" Target="../tags/tag711.xml"/><Relationship Id="rId24" Type="http://schemas.openxmlformats.org/officeDocument/2006/relationships/tags" Target="../tags/tag724.xml"/><Relationship Id="rId32" Type="http://schemas.openxmlformats.org/officeDocument/2006/relationships/tags" Target="../tags/tag732.xml"/><Relationship Id="rId37" Type="http://schemas.openxmlformats.org/officeDocument/2006/relationships/tags" Target="../tags/tag737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47.xml"/><Relationship Id="rId5" Type="http://schemas.openxmlformats.org/officeDocument/2006/relationships/tags" Target="../tags/tag705.xml"/><Relationship Id="rId15" Type="http://schemas.openxmlformats.org/officeDocument/2006/relationships/tags" Target="../tags/tag715.xml"/><Relationship Id="rId23" Type="http://schemas.openxmlformats.org/officeDocument/2006/relationships/tags" Target="../tags/tag723.xml"/><Relationship Id="rId28" Type="http://schemas.openxmlformats.org/officeDocument/2006/relationships/tags" Target="../tags/tag728.xml"/><Relationship Id="rId36" Type="http://schemas.openxmlformats.org/officeDocument/2006/relationships/tags" Target="../tags/tag736.xml"/><Relationship Id="rId10" Type="http://schemas.openxmlformats.org/officeDocument/2006/relationships/tags" Target="../tags/tag710.xml"/><Relationship Id="rId19" Type="http://schemas.openxmlformats.org/officeDocument/2006/relationships/tags" Target="../tags/tag719.xml"/><Relationship Id="rId31" Type="http://schemas.openxmlformats.org/officeDocument/2006/relationships/tags" Target="../tags/tag731.xml"/><Relationship Id="rId44" Type="http://schemas.openxmlformats.org/officeDocument/2006/relationships/chart" Target="../charts/chart46.xml"/><Relationship Id="rId4" Type="http://schemas.openxmlformats.org/officeDocument/2006/relationships/tags" Target="../tags/tag704.xml"/><Relationship Id="rId9" Type="http://schemas.openxmlformats.org/officeDocument/2006/relationships/tags" Target="../tags/tag709.xml"/><Relationship Id="rId14" Type="http://schemas.openxmlformats.org/officeDocument/2006/relationships/tags" Target="../tags/tag714.xml"/><Relationship Id="rId22" Type="http://schemas.openxmlformats.org/officeDocument/2006/relationships/tags" Target="../tags/tag722.xml"/><Relationship Id="rId27" Type="http://schemas.openxmlformats.org/officeDocument/2006/relationships/tags" Target="../tags/tag727.xml"/><Relationship Id="rId30" Type="http://schemas.openxmlformats.org/officeDocument/2006/relationships/tags" Target="../tags/tag730.xml"/><Relationship Id="rId35" Type="http://schemas.openxmlformats.org/officeDocument/2006/relationships/tags" Target="../tags/tag735.xml"/><Relationship Id="rId43" Type="http://schemas.openxmlformats.org/officeDocument/2006/relationships/image" Target="../media/image41.emf"/><Relationship Id="rId48" Type="http://schemas.openxmlformats.org/officeDocument/2006/relationships/image" Target="../media/image42.png"/><Relationship Id="rId8" Type="http://schemas.openxmlformats.org/officeDocument/2006/relationships/tags" Target="../tags/tag708.xml"/><Relationship Id="rId3" Type="http://schemas.openxmlformats.org/officeDocument/2006/relationships/tags" Target="../tags/tag703.xml"/><Relationship Id="rId12" Type="http://schemas.openxmlformats.org/officeDocument/2006/relationships/tags" Target="../tags/tag712.xml"/><Relationship Id="rId17" Type="http://schemas.openxmlformats.org/officeDocument/2006/relationships/tags" Target="../tags/tag717.xml"/><Relationship Id="rId25" Type="http://schemas.openxmlformats.org/officeDocument/2006/relationships/tags" Target="../tags/tag725.xml"/><Relationship Id="rId33" Type="http://schemas.openxmlformats.org/officeDocument/2006/relationships/tags" Target="../tags/tag733.xml"/><Relationship Id="rId38" Type="http://schemas.openxmlformats.org/officeDocument/2006/relationships/tags" Target="../tags/tag738.xml"/><Relationship Id="rId46" Type="http://schemas.openxmlformats.org/officeDocument/2006/relationships/chart" Target="../charts/chart48.xml"/><Relationship Id="rId20" Type="http://schemas.openxmlformats.org/officeDocument/2006/relationships/tags" Target="../tags/tag720.xml"/><Relationship Id="rId41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752.xml"/><Relationship Id="rId18" Type="http://schemas.openxmlformats.org/officeDocument/2006/relationships/tags" Target="../tags/tag757.xml"/><Relationship Id="rId26" Type="http://schemas.openxmlformats.org/officeDocument/2006/relationships/tags" Target="../tags/tag765.xml"/><Relationship Id="rId39" Type="http://schemas.openxmlformats.org/officeDocument/2006/relationships/tags" Target="../tags/tag778.xml"/><Relationship Id="rId21" Type="http://schemas.openxmlformats.org/officeDocument/2006/relationships/tags" Target="../tags/tag760.xml"/><Relationship Id="rId34" Type="http://schemas.openxmlformats.org/officeDocument/2006/relationships/tags" Target="../tags/tag773.xml"/><Relationship Id="rId42" Type="http://schemas.openxmlformats.org/officeDocument/2006/relationships/oleObject" Target="../embeddings/oleObject22.bin"/><Relationship Id="rId47" Type="http://schemas.openxmlformats.org/officeDocument/2006/relationships/chart" Target="../charts/chart51.xml"/><Relationship Id="rId7" Type="http://schemas.openxmlformats.org/officeDocument/2006/relationships/tags" Target="../tags/tag746.xml"/><Relationship Id="rId2" Type="http://schemas.openxmlformats.org/officeDocument/2006/relationships/tags" Target="../tags/tag741.xml"/><Relationship Id="rId16" Type="http://schemas.openxmlformats.org/officeDocument/2006/relationships/tags" Target="../tags/tag755.xml"/><Relationship Id="rId29" Type="http://schemas.openxmlformats.org/officeDocument/2006/relationships/tags" Target="../tags/tag768.xml"/><Relationship Id="rId11" Type="http://schemas.openxmlformats.org/officeDocument/2006/relationships/tags" Target="../tags/tag750.xml"/><Relationship Id="rId24" Type="http://schemas.openxmlformats.org/officeDocument/2006/relationships/tags" Target="../tags/tag763.xml"/><Relationship Id="rId32" Type="http://schemas.openxmlformats.org/officeDocument/2006/relationships/tags" Target="../tags/tag771.xml"/><Relationship Id="rId37" Type="http://schemas.openxmlformats.org/officeDocument/2006/relationships/tags" Target="../tags/tag776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49.xml"/><Relationship Id="rId5" Type="http://schemas.openxmlformats.org/officeDocument/2006/relationships/tags" Target="../tags/tag744.xml"/><Relationship Id="rId15" Type="http://schemas.openxmlformats.org/officeDocument/2006/relationships/tags" Target="../tags/tag754.xml"/><Relationship Id="rId23" Type="http://schemas.openxmlformats.org/officeDocument/2006/relationships/tags" Target="../tags/tag762.xml"/><Relationship Id="rId28" Type="http://schemas.openxmlformats.org/officeDocument/2006/relationships/tags" Target="../tags/tag767.xml"/><Relationship Id="rId36" Type="http://schemas.openxmlformats.org/officeDocument/2006/relationships/tags" Target="../tags/tag775.xml"/><Relationship Id="rId49" Type="http://schemas.openxmlformats.org/officeDocument/2006/relationships/image" Target="../media/image44.jpg"/><Relationship Id="rId10" Type="http://schemas.openxmlformats.org/officeDocument/2006/relationships/tags" Target="../tags/tag749.xml"/><Relationship Id="rId19" Type="http://schemas.openxmlformats.org/officeDocument/2006/relationships/tags" Target="../tags/tag758.xml"/><Relationship Id="rId31" Type="http://schemas.openxmlformats.org/officeDocument/2006/relationships/tags" Target="../tags/tag770.xml"/><Relationship Id="rId44" Type="http://schemas.openxmlformats.org/officeDocument/2006/relationships/image" Target="../media/image43.emf"/><Relationship Id="rId4" Type="http://schemas.openxmlformats.org/officeDocument/2006/relationships/tags" Target="../tags/tag743.xml"/><Relationship Id="rId9" Type="http://schemas.openxmlformats.org/officeDocument/2006/relationships/tags" Target="../tags/tag748.xml"/><Relationship Id="rId14" Type="http://schemas.openxmlformats.org/officeDocument/2006/relationships/tags" Target="../tags/tag753.xml"/><Relationship Id="rId22" Type="http://schemas.openxmlformats.org/officeDocument/2006/relationships/tags" Target="../tags/tag761.xml"/><Relationship Id="rId27" Type="http://schemas.openxmlformats.org/officeDocument/2006/relationships/tags" Target="../tags/tag766.xml"/><Relationship Id="rId30" Type="http://schemas.openxmlformats.org/officeDocument/2006/relationships/tags" Target="../tags/tag769.xml"/><Relationship Id="rId35" Type="http://schemas.openxmlformats.org/officeDocument/2006/relationships/tags" Target="../tags/tag774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747.xml"/><Relationship Id="rId3" Type="http://schemas.openxmlformats.org/officeDocument/2006/relationships/tags" Target="../tags/tag742.xml"/><Relationship Id="rId12" Type="http://schemas.openxmlformats.org/officeDocument/2006/relationships/tags" Target="../tags/tag751.xml"/><Relationship Id="rId17" Type="http://schemas.openxmlformats.org/officeDocument/2006/relationships/tags" Target="../tags/tag756.xml"/><Relationship Id="rId25" Type="http://schemas.openxmlformats.org/officeDocument/2006/relationships/tags" Target="../tags/tag764.xml"/><Relationship Id="rId33" Type="http://schemas.openxmlformats.org/officeDocument/2006/relationships/tags" Target="../tags/tag772.xml"/><Relationship Id="rId38" Type="http://schemas.openxmlformats.org/officeDocument/2006/relationships/tags" Target="../tags/tag777.xml"/><Relationship Id="rId46" Type="http://schemas.openxmlformats.org/officeDocument/2006/relationships/chart" Target="../charts/chart50.xml"/><Relationship Id="rId20" Type="http://schemas.openxmlformats.org/officeDocument/2006/relationships/tags" Target="../tags/tag759.xml"/><Relationship Id="rId41" Type="http://schemas.openxmlformats.org/officeDocument/2006/relationships/notesSlide" Target="../notesSlides/notesSlide17.xml"/><Relationship Id="rId1" Type="http://schemas.openxmlformats.org/officeDocument/2006/relationships/tags" Target="../tags/tag740.xml"/><Relationship Id="rId6" Type="http://schemas.openxmlformats.org/officeDocument/2006/relationships/tags" Target="../tags/tag745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791.xml"/><Relationship Id="rId18" Type="http://schemas.openxmlformats.org/officeDocument/2006/relationships/tags" Target="../tags/tag796.xml"/><Relationship Id="rId26" Type="http://schemas.openxmlformats.org/officeDocument/2006/relationships/tags" Target="../tags/tag804.xml"/><Relationship Id="rId39" Type="http://schemas.openxmlformats.org/officeDocument/2006/relationships/tags" Target="../tags/tag817.xml"/><Relationship Id="rId21" Type="http://schemas.openxmlformats.org/officeDocument/2006/relationships/tags" Target="../tags/tag799.xml"/><Relationship Id="rId34" Type="http://schemas.openxmlformats.org/officeDocument/2006/relationships/tags" Target="../tags/tag812.xml"/><Relationship Id="rId42" Type="http://schemas.openxmlformats.org/officeDocument/2006/relationships/oleObject" Target="../embeddings/oleObject23.bin"/><Relationship Id="rId47" Type="http://schemas.openxmlformats.org/officeDocument/2006/relationships/chart" Target="../charts/chart54.xml"/><Relationship Id="rId7" Type="http://schemas.openxmlformats.org/officeDocument/2006/relationships/tags" Target="../tags/tag785.xml"/><Relationship Id="rId2" Type="http://schemas.openxmlformats.org/officeDocument/2006/relationships/tags" Target="../tags/tag780.xml"/><Relationship Id="rId16" Type="http://schemas.openxmlformats.org/officeDocument/2006/relationships/tags" Target="../tags/tag794.xml"/><Relationship Id="rId29" Type="http://schemas.openxmlformats.org/officeDocument/2006/relationships/tags" Target="../tags/tag807.xml"/><Relationship Id="rId11" Type="http://schemas.openxmlformats.org/officeDocument/2006/relationships/tags" Target="../tags/tag789.xml"/><Relationship Id="rId24" Type="http://schemas.openxmlformats.org/officeDocument/2006/relationships/tags" Target="../tags/tag802.xml"/><Relationship Id="rId32" Type="http://schemas.openxmlformats.org/officeDocument/2006/relationships/tags" Target="../tags/tag810.xml"/><Relationship Id="rId37" Type="http://schemas.openxmlformats.org/officeDocument/2006/relationships/tags" Target="../tags/tag815.xml"/><Relationship Id="rId40" Type="http://schemas.openxmlformats.org/officeDocument/2006/relationships/slideLayout" Target="../slideLayouts/slideLayout2.xml"/><Relationship Id="rId45" Type="http://schemas.openxmlformats.org/officeDocument/2006/relationships/chart" Target="../charts/chart52.xml"/><Relationship Id="rId5" Type="http://schemas.openxmlformats.org/officeDocument/2006/relationships/tags" Target="../tags/tag783.xml"/><Relationship Id="rId15" Type="http://schemas.openxmlformats.org/officeDocument/2006/relationships/tags" Target="../tags/tag793.xml"/><Relationship Id="rId23" Type="http://schemas.openxmlformats.org/officeDocument/2006/relationships/tags" Target="../tags/tag801.xml"/><Relationship Id="rId28" Type="http://schemas.openxmlformats.org/officeDocument/2006/relationships/tags" Target="../tags/tag806.xml"/><Relationship Id="rId36" Type="http://schemas.openxmlformats.org/officeDocument/2006/relationships/tags" Target="../tags/tag814.xml"/><Relationship Id="rId49" Type="http://schemas.openxmlformats.org/officeDocument/2006/relationships/image" Target="../media/image46.png"/><Relationship Id="rId10" Type="http://schemas.openxmlformats.org/officeDocument/2006/relationships/tags" Target="../tags/tag788.xml"/><Relationship Id="rId19" Type="http://schemas.openxmlformats.org/officeDocument/2006/relationships/tags" Target="../tags/tag797.xml"/><Relationship Id="rId31" Type="http://schemas.openxmlformats.org/officeDocument/2006/relationships/tags" Target="../tags/tag809.xml"/><Relationship Id="rId44" Type="http://schemas.openxmlformats.org/officeDocument/2006/relationships/image" Target="../media/image45.emf"/><Relationship Id="rId4" Type="http://schemas.openxmlformats.org/officeDocument/2006/relationships/tags" Target="../tags/tag782.xml"/><Relationship Id="rId9" Type="http://schemas.openxmlformats.org/officeDocument/2006/relationships/tags" Target="../tags/tag787.xml"/><Relationship Id="rId14" Type="http://schemas.openxmlformats.org/officeDocument/2006/relationships/tags" Target="../tags/tag792.xml"/><Relationship Id="rId22" Type="http://schemas.openxmlformats.org/officeDocument/2006/relationships/tags" Target="../tags/tag800.xml"/><Relationship Id="rId27" Type="http://schemas.openxmlformats.org/officeDocument/2006/relationships/tags" Target="../tags/tag805.xml"/><Relationship Id="rId30" Type="http://schemas.openxmlformats.org/officeDocument/2006/relationships/tags" Target="../tags/tag808.xml"/><Relationship Id="rId35" Type="http://schemas.openxmlformats.org/officeDocument/2006/relationships/tags" Target="../tags/tag813.xml"/><Relationship Id="rId43" Type="http://schemas.openxmlformats.org/officeDocument/2006/relationships/image" Target="../media/image1.emf"/><Relationship Id="rId48" Type="http://schemas.openxmlformats.org/officeDocument/2006/relationships/image" Target="../media/image2.png"/><Relationship Id="rId8" Type="http://schemas.openxmlformats.org/officeDocument/2006/relationships/tags" Target="../tags/tag786.xml"/><Relationship Id="rId3" Type="http://schemas.openxmlformats.org/officeDocument/2006/relationships/tags" Target="../tags/tag781.xml"/><Relationship Id="rId12" Type="http://schemas.openxmlformats.org/officeDocument/2006/relationships/tags" Target="../tags/tag790.xml"/><Relationship Id="rId17" Type="http://schemas.openxmlformats.org/officeDocument/2006/relationships/tags" Target="../tags/tag795.xml"/><Relationship Id="rId25" Type="http://schemas.openxmlformats.org/officeDocument/2006/relationships/tags" Target="../tags/tag803.xml"/><Relationship Id="rId33" Type="http://schemas.openxmlformats.org/officeDocument/2006/relationships/tags" Target="../tags/tag811.xml"/><Relationship Id="rId38" Type="http://schemas.openxmlformats.org/officeDocument/2006/relationships/tags" Target="../tags/tag816.xml"/><Relationship Id="rId46" Type="http://schemas.openxmlformats.org/officeDocument/2006/relationships/chart" Target="../charts/chart53.xml"/><Relationship Id="rId20" Type="http://schemas.openxmlformats.org/officeDocument/2006/relationships/tags" Target="../tags/tag798.xml"/><Relationship Id="rId41" Type="http://schemas.openxmlformats.org/officeDocument/2006/relationships/notesSlide" Target="../notesSlides/notesSlide18.xml"/><Relationship Id="rId1" Type="http://schemas.openxmlformats.org/officeDocument/2006/relationships/tags" Target="../tags/tag779.xml"/><Relationship Id="rId6" Type="http://schemas.openxmlformats.org/officeDocument/2006/relationships/tags" Target="../tags/tag784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830.xml"/><Relationship Id="rId18" Type="http://schemas.openxmlformats.org/officeDocument/2006/relationships/tags" Target="../tags/tag835.xml"/><Relationship Id="rId26" Type="http://schemas.openxmlformats.org/officeDocument/2006/relationships/tags" Target="../tags/tag843.xml"/><Relationship Id="rId39" Type="http://schemas.openxmlformats.org/officeDocument/2006/relationships/image" Target="../media/image2.png"/><Relationship Id="rId21" Type="http://schemas.openxmlformats.org/officeDocument/2006/relationships/tags" Target="../tags/tag838.xml"/><Relationship Id="rId34" Type="http://schemas.openxmlformats.org/officeDocument/2006/relationships/image" Target="../media/image1.emf"/><Relationship Id="rId7" Type="http://schemas.openxmlformats.org/officeDocument/2006/relationships/tags" Target="../tags/tag824.xml"/><Relationship Id="rId12" Type="http://schemas.openxmlformats.org/officeDocument/2006/relationships/tags" Target="../tags/tag829.xml"/><Relationship Id="rId17" Type="http://schemas.openxmlformats.org/officeDocument/2006/relationships/tags" Target="../tags/tag834.xml"/><Relationship Id="rId25" Type="http://schemas.openxmlformats.org/officeDocument/2006/relationships/tags" Target="../tags/tag842.xml"/><Relationship Id="rId33" Type="http://schemas.openxmlformats.org/officeDocument/2006/relationships/oleObject" Target="../embeddings/oleObject24.bin"/><Relationship Id="rId38" Type="http://schemas.openxmlformats.org/officeDocument/2006/relationships/chart" Target="../charts/chart57.xml"/><Relationship Id="rId2" Type="http://schemas.openxmlformats.org/officeDocument/2006/relationships/tags" Target="../tags/tag819.xml"/><Relationship Id="rId16" Type="http://schemas.openxmlformats.org/officeDocument/2006/relationships/tags" Target="../tags/tag833.xml"/><Relationship Id="rId20" Type="http://schemas.openxmlformats.org/officeDocument/2006/relationships/tags" Target="../tags/tag837.xml"/><Relationship Id="rId29" Type="http://schemas.openxmlformats.org/officeDocument/2006/relationships/tags" Target="../tags/tag846.xml"/><Relationship Id="rId1" Type="http://schemas.openxmlformats.org/officeDocument/2006/relationships/tags" Target="../tags/tag818.xml"/><Relationship Id="rId6" Type="http://schemas.openxmlformats.org/officeDocument/2006/relationships/tags" Target="../tags/tag823.xml"/><Relationship Id="rId11" Type="http://schemas.openxmlformats.org/officeDocument/2006/relationships/tags" Target="../tags/tag828.xml"/><Relationship Id="rId24" Type="http://schemas.openxmlformats.org/officeDocument/2006/relationships/tags" Target="../tags/tag841.xml"/><Relationship Id="rId32" Type="http://schemas.openxmlformats.org/officeDocument/2006/relationships/notesSlide" Target="../notesSlides/notesSlide19.xml"/><Relationship Id="rId37" Type="http://schemas.openxmlformats.org/officeDocument/2006/relationships/chart" Target="../charts/chart56.xml"/><Relationship Id="rId40" Type="http://schemas.openxmlformats.org/officeDocument/2006/relationships/image" Target="../media/image48.png"/><Relationship Id="rId5" Type="http://schemas.openxmlformats.org/officeDocument/2006/relationships/tags" Target="../tags/tag822.xml"/><Relationship Id="rId15" Type="http://schemas.openxmlformats.org/officeDocument/2006/relationships/tags" Target="../tags/tag832.xml"/><Relationship Id="rId23" Type="http://schemas.openxmlformats.org/officeDocument/2006/relationships/tags" Target="../tags/tag840.xml"/><Relationship Id="rId28" Type="http://schemas.openxmlformats.org/officeDocument/2006/relationships/tags" Target="../tags/tag845.xml"/><Relationship Id="rId36" Type="http://schemas.openxmlformats.org/officeDocument/2006/relationships/chart" Target="../charts/chart55.xml"/><Relationship Id="rId10" Type="http://schemas.openxmlformats.org/officeDocument/2006/relationships/tags" Target="../tags/tag827.xml"/><Relationship Id="rId19" Type="http://schemas.openxmlformats.org/officeDocument/2006/relationships/tags" Target="../tags/tag836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821.xml"/><Relationship Id="rId9" Type="http://schemas.openxmlformats.org/officeDocument/2006/relationships/tags" Target="../tags/tag826.xml"/><Relationship Id="rId14" Type="http://schemas.openxmlformats.org/officeDocument/2006/relationships/tags" Target="../tags/tag831.xml"/><Relationship Id="rId22" Type="http://schemas.openxmlformats.org/officeDocument/2006/relationships/tags" Target="../tags/tag839.xml"/><Relationship Id="rId27" Type="http://schemas.openxmlformats.org/officeDocument/2006/relationships/tags" Target="../tags/tag844.xml"/><Relationship Id="rId30" Type="http://schemas.openxmlformats.org/officeDocument/2006/relationships/tags" Target="../tags/tag847.xml"/><Relationship Id="rId35" Type="http://schemas.openxmlformats.org/officeDocument/2006/relationships/image" Target="../media/image47.emf"/><Relationship Id="rId8" Type="http://schemas.openxmlformats.org/officeDocument/2006/relationships/tags" Target="../tags/tag825.xml"/><Relationship Id="rId3" Type="http://schemas.openxmlformats.org/officeDocument/2006/relationships/tags" Target="../tags/tag820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860.xml"/><Relationship Id="rId18" Type="http://schemas.openxmlformats.org/officeDocument/2006/relationships/tags" Target="../tags/tag865.xml"/><Relationship Id="rId26" Type="http://schemas.openxmlformats.org/officeDocument/2006/relationships/tags" Target="../tags/tag873.xml"/><Relationship Id="rId39" Type="http://schemas.openxmlformats.org/officeDocument/2006/relationships/image" Target="../media/image2.png"/><Relationship Id="rId21" Type="http://schemas.openxmlformats.org/officeDocument/2006/relationships/tags" Target="../tags/tag868.xml"/><Relationship Id="rId34" Type="http://schemas.openxmlformats.org/officeDocument/2006/relationships/image" Target="../media/image1.emf"/><Relationship Id="rId7" Type="http://schemas.openxmlformats.org/officeDocument/2006/relationships/tags" Target="../tags/tag854.xml"/><Relationship Id="rId12" Type="http://schemas.openxmlformats.org/officeDocument/2006/relationships/tags" Target="../tags/tag859.xml"/><Relationship Id="rId17" Type="http://schemas.openxmlformats.org/officeDocument/2006/relationships/tags" Target="../tags/tag864.xml"/><Relationship Id="rId25" Type="http://schemas.openxmlformats.org/officeDocument/2006/relationships/tags" Target="../tags/tag872.xml"/><Relationship Id="rId33" Type="http://schemas.openxmlformats.org/officeDocument/2006/relationships/oleObject" Target="../embeddings/oleObject25.bin"/><Relationship Id="rId38" Type="http://schemas.openxmlformats.org/officeDocument/2006/relationships/chart" Target="../charts/chart60.xml"/><Relationship Id="rId2" Type="http://schemas.openxmlformats.org/officeDocument/2006/relationships/tags" Target="../tags/tag849.xml"/><Relationship Id="rId16" Type="http://schemas.openxmlformats.org/officeDocument/2006/relationships/tags" Target="../tags/tag863.xml"/><Relationship Id="rId20" Type="http://schemas.openxmlformats.org/officeDocument/2006/relationships/tags" Target="../tags/tag867.xml"/><Relationship Id="rId29" Type="http://schemas.openxmlformats.org/officeDocument/2006/relationships/tags" Target="../tags/tag876.xml"/><Relationship Id="rId1" Type="http://schemas.openxmlformats.org/officeDocument/2006/relationships/tags" Target="../tags/tag848.xml"/><Relationship Id="rId6" Type="http://schemas.openxmlformats.org/officeDocument/2006/relationships/tags" Target="../tags/tag853.xml"/><Relationship Id="rId11" Type="http://schemas.openxmlformats.org/officeDocument/2006/relationships/tags" Target="../tags/tag858.xml"/><Relationship Id="rId24" Type="http://schemas.openxmlformats.org/officeDocument/2006/relationships/tags" Target="../tags/tag871.xml"/><Relationship Id="rId32" Type="http://schemas.openxmlformats.org/officeDocument/2006/relationships/notesSlide" Target="../notesSlides/notesSlide20.xml"/><Relationship Id="rId37" Type="http://schemas.openxmlformats.org/officeDocument/2006/relationships/chart" Target="../charts/chart59.xml"/><Relationship Id="rId40" Type="http://schemas.openxmlformats.org/officeDocument/2006/relationships/image" Target="../media/image50.jpeg"/><Relationship Id="rId5" Type="http://schemas.openxmlformats.org/officeDocument/2006/relationships/tags" Target="../tags/tag852.xml"/><Relationship Id="rId15" Type="http://schemas.openxmlformats.org/officeDocument/2006/relationships/tags" Target="../tags/tag862.xml"/><Relationship Id="rId23" Type="http://schemas.openxmlformats.org/officeDocument/2006/relationships/tags" Target="../tags/tag870.xml"/><Relationship Id="rId28" Type="http://schemas.openxmlformats.org/officeDocument/2006/relationships/tags" Target="../tags/tag875.xml"/><Relationship Id="rId36" Type="http://schemas.openxmlformats.org/officeDocument/2006/relationships/chart" Target="../charts/chart58.xml"/><Relationship Id="rId10" Type="http://schemas.openxmlformats.org/officeDocument/2006/relationships/tags" Target="../tags/tag857.xml"/><Relationship Id="rId19" Type="http://schemas.openxmlformats.org/officeDocument/2006/relationships/tags" Target="../tags/tag866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851.xml"/><Relationship Id="rId9" Type="http://schemas.openxmlformats.org/officeDocument/2006/relationships/tags" Target="../tags/tag856.xml"/><Relationship Id="rId14" Type="http://schemas.openxmlformats.org/officeDocument/2006/relationships/tags" Target="../tags/tag861.xml"/><Relationship Id="rId22" Type="http://schemas.openxmlformats.org/officeDocument/2006/relationships/tags" Target="../tags/tag869.xml"/><Relationship Id="rId27" Type="http://schemas.openxmlformats.org/officeDocument/2006/relationships/tags" Target="../tags/tag874.xml"/><Relationship Id="rId30" Type="http://schemas.openxmlformats.org/officeDocument/2006/relationships/tags" Target="../tags/tag877.xml"/><Relationship Id="rId35" Type="http://schemas.openxmlformats.org/officeDocument/2006/relationships/image" Target="../media/image49.emf"/><Relationship Id="rId8" Type="http://schemas.openxmlformats.org/officeDocument/2006/relationships/tags" Target="../tags/tag855.xml"/><Relationship Id="rId3" Type="http://schemas.openxmlformats.org/officeDocument/2006/relationships/tags" Target="../tags/tag850.xml"/></Relationships>
</file>

<file path=ppt/slides/_rels/slide25.xml.rels><?xml version="1.0" encoding="UTF-8" standalone="yes"?>
<Relationships xmlns="http://schemas.openxmlformats.org/package/2006/relationships"><Relationship Id="rId26" Type="http://schemas.openxmlformats.org/officeDocument/2006/relationships/tags" Target="../tags/tag903.xml"/><Relationship Id="rId21" Type="http://schemas.openxmlformats.org/officeDocument/2006/relationships/tags" Target="../tags/tag898.xml"/><Relationship Id="rId42" Type="http://schemas.openxmlformats.org/officeDocument/2006/relationships/tags" Target="../tags/tag919.xml"/><Relationship Id="rId47" Type="http://schemas.openxmlformats.org/officeDocument/2006/relationships/tags" Target="../tags/tag924.xml"/><Relationship Id="rId63" Type="http://schemas.openxmlformats.org/officeDocument/2006/relationships/notesSlide" Target="../notesSlides/notesSlide21.xml"/><Relationship Id="rId68" Type="http://schemas.openxmlformats.org/officeDocument/2006/relationships/chart" Target="../charts/chart62.xml"/><Relationship Id="rId7" Type="http://schemas.openxmlformats.org/officeDocument/2006/relationships/tags" Target="../tags/tag884.xml"/><Relationship Id="rId71" Type="http://schemas.openxmlformats.org/officeDocument/2006/relationships/image" Target="../media/image52.tiff"/><Relationship Id="rId2" Type="http://schemas.openxmlformats.org/officeDocument/2006/relationships/tags" Target="../tags/tag879.xml"/><Relationship Id="rId16" Type="http://schemas.openxmlformats.org/officeDocument/2006/relationships/tags" Target="../tags/tag893.xml"/><Relationship Id="rId29" Type="http://schemas.openxmlformats.org/officeDocument/2006/relationships/tags" Target="../tags/tag906.xml"/><Relationship Id="rId11" Type="http://schemas.openxmlformats.org/officeDocument/2006/relationships/tags" Target="../tags/tag888.xml"/><Relationship Id="rId24" Type="http://schemas.openxmlformats.org/officeDocument/2006/relationships/tags" Target="../tags/tag901.xml"/><Relationship Id="rId32" Type="http://schemas.openxmlformats.org/officeDocument/2006/relationships/tags" Target="../tags/tag909.xml"/><Relationship Id="rId37" Type="http://schemas.openxmlformats.org/officeDocument/2006/relationships/tags" Target="../tags/tag914.xml"/><Relationship Id="rId40" Type="http://schemas.openxmlformats.org/officeDocument/2006/relationships/tags" Target="../tags/tag917.xml"/><Relationship Id="rId45" Type="http://schemas.openxmlformats.org/officeDocument/2006/relationships/tags" Target="../tags/tag922.xml"/><Relationship Id="rId53" Type="http://schemas.openxmlformats.org/officeDocument/2006/relationships/tags" Target="../tags/tag930.xml"/><Relationship Id="rId58" Type="http://schemas.openxmlformats.org/officeDocument/2006/relationships/tags" Target="../tags/tag935.xml"/><Relationship Id="rId66" Type="http://schemas.openxmlformats.org/officeDocument/2006/relationships/image" Target="../media/image51.emf"/><Relationship Id="rId5" Type="http://schemas.openxmlformats.org/officeDocument/2006/relationships/tags" Target="../tags/tag882.xml"/><Relationship Id="rId61" Type="http://schemas.openxmlformats.org/officeDocument/2006/relationships/tags" Target="../tags/tag938.xml"/><Relationship Id="rId19" Type="http://schemas.openxmlformats.org/officeDocument/2006/relationships/tags" Target="../tags/tag896.xml"/><Relationship Id="rId14" Type="http://schemas.openxmlformats.org/officeDocument/2006/relationships/tags" Target="../tags/tag891.xml"/><Relationship Id="rId22" Type="http://schemas.openxmlformats.org/officeDocument/2006/relationships/tags" Target="../tags/tag899.xml"/><Relationship Id="rId27" Type="http://schemas.openxmlformats.org/officeDocument/2006/relationships/tags" Target="../tags/tag904.xml"/><Relationship Id="rId30" Type="http://schemas.openxmlformats.org/officeDocument/2006/relationships/tags" Target="../tags/tag907.xml"/><Relationship Id="rId35" Type="http://schemas.openxmlformats.org/officeDocument/2006/relationships/tags" Target="../tags/tag912.xml"/><Relationship Id="rId43" Type="http://schemas.openxmlformats.org/officeDocument/2006/relationships/tags" Target="../tags/tag920.xml"/><Relationship Id="rId48" Type="http://schemas.openxmlformats.org/officeDocument/2006/relationships/tags" Target="../tags/tag925.xml"/><Relationship Id="rId56" Type="http://schemas.openxmlformats.org/officeDocument/2006/relationships/tags" Target="../tags/tag933.xml"/><Relationship Id="rId64" Type="http://schemas.openxmlformats.org/officeDocument/2006/relationships/oleObject" Target="../embeddings/oleObject26.bin"/><Relationship Id="rId69" Type="http://schemas.openxmlformats.org/officeDocument/2006/relationships/chart" Target="../charts/chart63.xml"/><Relationship Id="rId8" Type="http://schemas.openxmlformats.org/officeDocument/2006/relationships/tags" Target="../tags/tag885.xml"/><Relationship Id="rId51" Type="http://schemas.openxmlformats.org/officeDocument/2006/relationships/tags" Target="../tags/tag928.xml"/><Relationship Id="rId3" Type="http://schemas.openxmlformats.org/officeDocument/2006/relationships/tags" Target="../tags/tag880.xml"/><Relationship Id="rId12" Type="http://schemas.openxmlformats.org/officeDocument/2006/relationships/tags" Target="../tags/tag889.xml"/><Relationship Id="rId17" Type="http://schemas.openxmlformats.org/officeDocument/2006/relationships/tags" Target="../tags/tag894.xml"/><Relationship Id="rId25" Type="http://schemas.openxmlformats.org/officeDocument/2006/relationships/tags" Target="../tags/tag902.xml"/><Relationship Id="rId33" Type="http://schemas.openxmlformats.org/officeDocument/2006/relationships/tags" Target="../tags/tag910.xml"/><Relationship Id="rId38" Type="http://schemas.openxmlformats.org/officeDocument/2006/relationships/tags" Target="../tags/tag915.xml"/><Relationship Id="rId46" Type="http://schemas.openxmlformats.org/officeDocument/2006/relationships/tags" Target="../tags/tag923.xml"/><Relationship Id="rId59" Type="http://schemas.openxmlformats.org/officeDocument/2006/relationships/tags" Target="../tags/tag936.xml"/><Relationship Id="rId67" Type="http://schemas.openxmlformats.org/officeDocument/2006/relationships/chart" Target="../charts/chart61.xml"/><Relationship Id="rId20" Type="http://schemas.openxmlformats.org/officeDocument/2006/relationships/tags" Target="../tags/tag897.xml"/><Relationship Id="rId41" Type="http://schemas.openxmlformats.org/officeDocument/2006/relationships/tags" Target="../tags/tag918.xml"/><Relationship Id="rId54" Type="http://schemas.openxmlformats.org/officeDocument/2006/relationships/tags" Target="../tags/tag931.xml"/><Relationship Id="rId62" Type="http://schemas.openxmlformats.org/officeDocument/2006/relationships/slideLayout" Target="../slideLayouts/slideLayout2.xml"/><Relationship Id="rId70" Type="http://schemas.openxmlformats.org/officeDocument/2006/relationships/image" Target="../media/image2.png"/><Relationship Id="rId1" Type="http://schemas.openxmlformats.org/officeDocument/2006/relationships/tags" Target="../tags/tag878.xml"/><Relationship Id="rId6" Type="http://schemas.openxmlformats.org/officeDocument/2006/relationships/tags" Target="../tags/tag883.xml"/><Relationship Id="rId15" Type="http://schemas.openxmlformats.org/officeDocument/2006/relationships/tags" Target="../tags/tag892.xml"/><Relationship Id="rId23" Type="http://schemas.openxmlformats.org/officeDocument/2006/relationships/tags" Target="../tags/tag900.xml"/><Relationship Id="rId28" Type="http://schemas.openxmlformats.org/officeDocument/2006/relationships/tags" Target="../tags/tag905.xml"/><Relationship Id="rId36" Type="http://schemas.openxmlformats.org/officeDocument/2006/relationships/tags" Target="../tags/tag913.xml"/><Relationship Id="rId49" Type="http://schemas.openxmlformats.org/officeDocument/2006/relationships/tags" Target="../tags/tag926.xml"/><Relationship Id="rId57" Type="http://schemas.openxmlformats.org/officeDocument/2006/relationships/tags" Target="../tags/tag934.xml"/><Relationship Id="rId10" Type="http://schemas.openxmlformats.org/officeDocument/2006/relationships/tags" Target="../tags/tag887.xml"/><Relationship Id="rId31" Type="http://schemas.openxmlformats.org/officeDocument/2006/relationships/tags" Target="../tags/tag908.xml"/><Relationship Id="rId44" Type="http://schemas.openxmlformats.org/officeDocument/2006/relationships/tags" Target="../tags/tag921.xml"/><Relationship Id="rId52" Type="http://schemas.openxmlformats.org/officeDocument/2006/relationships/tags" Target="../tags/tag929.xml"/><Relationship Id="rId60" Type="http://schemas.openxmlformats.org/officeDocument/2006/relationships/tags" Target="../tags/tag937.xml"/><Relationship Id="rId65" Type="http://schemas.openxmlformats.org/officeDocument/2006/relationships/image" Target="../media/image1.emf"/><Relationship Id="rId4" Type="http://schemas.openxmlformats.org/officeDocument/2006/relationships/tags" Target="../tags/tag881.xml"/><Relationship Id="rId9" Type="http://schemas.openxmlformats.org/officeDocument/2006/relationships/tags" Target="../tags/tag886.xml"/><Relationship Id="rId13" Type="http://schemas.openxmlformats.org/officeDocument/2006/relationships/tags" Target="../tags/tag890.xml"/><Relationship Id="rId18" Type="http://schemas.openxmlformats.org/officeDocument/2006/relationships/tags" Target="../tags/tag895.xml"/><Relationship Id="rId39" Type="http://schemas.openxmlformats.org/officeDocument/2006/relationships/tags" Target="../tags/tag916.xml"/><Relationship Id="rId34" Type="http://schemas.openxmlformats.org/officeDocument/2006/relationships/tags" Target="../tags/tag911.xml"/><Relationship Id="rId50" Type="http://schemas.openxmlformats.org/officeDocument/2006/relationships/tags" Target="../tags/tag927.xml"/><Relationship Id="rId55" Type="http://schemas.openxmlformats.org/officeDocument/2006/relationships/tags" Target="../tags/tag932.xml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964.xml"/><Relationship Id="rId21" Type="http://schemas.openxmlformats.org/officeDocument/2006/relationships/tags" Target="../tags/tag959.xml"/><Relationship Id="rId42" Type="http://schemas.openxmlformats.org/officeDocument/2006/relationships/tags" Target="../tags/tag980.xml"/><Relationship Id="rId47" Type="http://schemas.openxmlformats.org/officeDocument/2006/relationships/tags" Target="../tags/tag985.xml"/><Relationship Id="rId63" Type="http://schemas.openxmlformats.org/officeDocument/2006/relationships/notesSlide" Target="../notesSlides/notesSlide22.xml"/><Relationship Id="rId68" Type="http://schemas.openxmlformats.org/officeDocument/2006/relationships/chart" Target="../charts/chart65.xml"/><Relationship Id="rId7" Type="http://schemas.openxmlformats.org/officeDocument/2006/relationships/tags" Target="../tags/tag945.xml"/><Relationship Id="rId71" Type="http://schemas.openxmlformats.org/officeDocument/2006/relationships/image" Target="../media/image54.jpg"/><Relationship Id="rId2" Type="http://schemas.openxmlformats.org/officeDocument/2006/relationships/tags" Target="../tags/tag940.xml"/><Relationship Id="rId16" Type="http://schemas.openxmlformats.org/officeDocument/2006/relationships/tags" Target="../tags/tag954.xml"/><Relationship Id="rId29" Type="http://schemas.openxmlformats.org/officeDocument/2006/relationships/tags" Target="../tags/tag967.xml"/><Relationship Id="rId11" Type="http://schemas.openxmlformats.org/officeDocument/2006/relationships/tags" Target="../tags/tag949.xml"/><Relationship Id="rId24" Type="http://schemas.openxmlformats.org/officeDocument/2006/relationships/tags" Target="../tags/tag962.xml"/><Relationship Id="rId32" Type="http://schemas.openxmlformats.org/officeDocument/2006/relationships/tags" Target="../tags/tag970.xml"/><Relationship Id="rId37" Type="http://schemas.openxmlformats.org/officeDocument/2006/relationships/tags" Target="../tags/tag975.xml"/><Relationship Id="rId40" Type="http://schemas.openxmlformats.org/officeDocument/2006/relationships/tags" Target="../tags/tag978.xml"/><Relationship Id="rId45" Type="http://schemas.openxmlformats.org/officeDocument/2006/relationships/tags" Target="../tags/tag983.xml"/><Relationship Id="rId53" Type="http://schemas.openxmlformats.org/officeDocument/2006/relationships/tags" Target="../tags/tag991.xml"/><Relationship Id="rId58" Type="http://schemas.openxmlformats.org/officeDocument/2006/relationships/tags" Target="../tags/tag996.xml"/><Relationship Id="rId66" Type="http://schemas.openxmlformats.org/officeDocument/2006/relationships/image" Target="../media/image53.emf"/><Relationship Id="rId5" Type="http://schemas.openxmlformats.org/officeDocument/2006/relationships/tags" Target="../tags/tag943.xml"/><Relationship Id="rId61" Type="http://schemas.openxmlformats.org/officeDocument/2006/relationships/tags" Target="../tags/tag999.xml"/><Relationship Id="rId19" Type="http://schemas.openxmlformats.org/officeDocument/2006/relationships/tags" Target="../tags/tag957.xml"/><Relationship Id="rId14" Type="http://schemas.openxmlformats.org/officeDocument/2006/relationships/tags" Target="../tags/tag952.xml"/><Relationship Id="rId22" Type="http://schemas.openxmlformats.org/officeDocument/2006/relationships/tags" Target="../tags/tag960.xml"/><Relationship Id="rId27" Type="http://schemas.openxmlformats.org/officeDocument/2006/relationships/tags" Target="../tags/tag965.xml"/><Relationship Id="rId30" Type="http://schemas.openxmlformats.org/officeDocument/2006/relationships/tags" Target="../tags/tag968.xml"/><Relationship Id="rId35" Type="http://schemas.openxmlformats.org/officeDocument/2006/relationships/tags" Target="../tags/tag973.xml"/><Relationship Id="rId43" Type="http://schemas.openxmlformats.org/officeDocument/2006/relationships/tags" Target="../tags/tag981.xml"/><Relationship Id="rId48" Type="http://schemas.openxmlformats.org/officeDocument/2006/relationships/tags" Target="../tags/tag986.xml"/><Relationship Id="rId56" Type="http://schemas.openxmlformats.org/officeDocument/2006/relationships/tags" Target="../tags/tag994.xml"/><Relationship Id="rId64" Type="http://schemas.openxmlformats.org/officeDocument/2006/relationships/oleObject" Target="../embeddings/oleObject27.bin"/><Relationship Id="rId69" Type="http://schemas.openxmlformats.org/officeDocument/2006/relationships/chart" Target="../charts/chart66.xml"/><Relationship Id="rId8" Type="http://schemas.openxmlformats.org/officeDocument/2006/relationships/tags" Target="../tags/tag946.xml"/><Relationship Id="rId51" Type="http://schemas.openxmlformats.org/officeDocument/2006/relationships/tags" Target="../tags/tag989.xml"/><Relationship Id="rId3" Type="http://schemas.openxmlformats.org/officeDocument/2006/relationships/tags" Target="../tags/tag941.xml"/><Relationship Id="rId12" Type="http://schemas.openxmlformats.org/officeDocument/2006/relationships/tags" Target="../tags/tag950.xml"/><Relationship Id="rId17" Type="http://schemas.openxmlformats.org/officeDocument/2006/relationships/tags" Target="../tags/tag955.xml"/><Relationship Id="rId25" Type="http://schemas.openxmlformats.org/officeDocument/2006/relationships/tags" Target="../tags/tag963.xml"/><Relationship Id="rId33" Type="http://schemas.openxmlformats.org/officeDocument/2006/relationships/tags" Target="../tags/tag971.xml"/><Relationship Id="rId38" Type="http://schemas.openxmlformats.org/officeDocument/2006/relationships/tags" Target="../tags/tag976.xml"/><Relationship Id="rId46" Type="http://schemas.openxmlformats.org/officeDocument/2006/relationships/tags" Target="../tags/tag984.xml"/><Relationship Id="rId59" Type="http://schemas.openxmlformats.org/officeDocument/2006/relationships/tags" Target="../tags/tag997.xml"/><Relationship Id="rId67" Type="http://schemas.openxmlformats.org/officeDocument/2006/relationships/chart" Target="../charts/chart64.xml"/><Relationship Id="rId20" Type="http://schemas.openxmlformats.org/officeDocument/2006/relationships/tags" Target="../tags/tag958.xml"/><Relationship Id="rId41" Type="http://schemas.openxmlformats.org/officeDocument/2006/relationships/tags" Target="../tags/tag979.xml"/><Relationship Id="rId54" Type="http://schemas.openxmlformats.org/officeDocument/2006/relationships/tags" Target="../tags/tag992.xml"/><Relationship Id="rId62" Type="http://schemas.openxmlformats.org/officeDocument/2006/relationships/slideLayout" Target="../slideLayouts/slideLayout2.xml"/><Relationship Id="rId70" Type="http://schemas.openxmlformats.org/officeDocument/2006/relationships/image" Target="../media/image2.png"/><Relationship Id="rId1" Type="http://schemas.openxmlformats.org/officeDocument/2006/relationships/tags" Target="../tags/tag939.xml"/><Relationship Id="rId6" Type="http://schemas.openxmlformats.org/officeDocument/2006/relationships/tags" Target="../tags/tag944.xml"/><Relationship Id="rId15" Type="http://schemas.openxmlformats.org/officeDocument/2006/relationships/tags" Target="../tags/tag953.xml"/><Relationship Id="rId23" Type="http://schemas.openxmlformats.org/officeDocument/2006/relationships/tags" Target="../tags/tag961.xml"/><Relationship Id="rId28" Type="http://schemas.openxmlformats.org/officeDocument/2006/relationships/tags" Target="../tags/tag966.xml"/><Relationship Id="rId36" Type="http://schemas.openxmlformats.org/officeDocument/2006/relationships/tags" Target="../tags/tag974.xml"/><Relationship Id="rId49" Type="http://schemas.openxmlformats.org/officeDocument/2006/relationships/tags" Target="../tags/tag987.xml"/><Relationship Id="rId57" Type="http://schemas.openxmlformats.org/officeDocument/2006/relationships/tags" Target="../tags/tag995.xml"/><Relationship Id="rId10" Type="http://schemas.openxmlformats.org/officeDocument/2006/relationships/tags" Target="../tags/tag948.xml"/><Relationship Id="rId31" Type="http://schemas.openxmlformats.org/officeDocument/2006/relationships/tags" Target="../tags/tag969.xml"/><Relationship Id="rId44" Type="http://schemas.openxmlformats.org/officeDocument/2006/relationships/tags" Target="../tags/tag982.xml"/><Relationship Id="rId52" Type="http://schemas.openxmlformats.org/officeDocument/2006/relationships/tags" Target="../tags/tag990.xml"/><Relationship Id="rId60" Type="http://schemas.openxmlformats.org/officeDocument/2006/relationships/tags" Target="../tags/tag998.xml"/><Relationship Id="rId65" Type="http://schemas.openxmlformats.org/officeDocument/2006/relationships/image" Target="../media/image1.emf"/><Relationship Id="rId4" Type="http://schemas.openxmlformats.org/officeDocument/2006/relationships/tags" Target="../tags/tag942.xml"/><Relationship Id="rId9" Type="http://schemas.openxmlformats.org/officeDocument/2006/relationships/tags" Target="../tags/tag947.xml"/><Relationship Id="rId13" Type="http://schemas.openxmlformats.org/officeDocument/2006/relationships/tags" Target="../tags/tag951.xml"/><Relationship Id="rId18" Type="http://schemas.openxmlformats.org/officeDocument/2006/relationships/tags" Target="../tags/tag956.xml"/><Relationship Id="rId39" Type="http://schemas.openxmlformats.org/officeDocument/2006/relationships/tags" Target="../tags/tag977.xml"/><Relationship Id="rId34" Type="http://schemas.openxmlformats.org/officeDocument/2006/relationships/tags" Target="../tags/tag972.xml"/><Relationship Id="rId50" Type="http://schemas.openxmlformats.org/officeDocument/2006/relationships/tags" Target="../tags/tag988.xml"/><Relationship Id="rId55" Type="http://schemas.openxmlformats.org/officeDocument/2006/relationships/tags" Target="../tags/tag993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1025.xml"/><Relationship Id="rId21" Type="http://schemas.openxmlformats.org/officeDocument/2006/relationships/tags" Target="../tags/tag1020.xml"/><Relationship Id="rId42" Type="http://schemas.openxmlformats.org/officeDocument/2006/relationships/tags" Target="../tags/tag1041.xml"/><Relationship Id="rId47" Type="http://schemas.openxmlformats.org/officeDocument/2006/relationships/tags" Target="../tags/tag1046.xml"/><Relationship Id="rId63" Type="http://schemas.openxmlformats.org/officeDocument/2006/relationships/oleObject" Target="../embeddings/oleObject28.bin"/><Relationship Id="rId68" Type="http://schemas.openxmlformats.org/officeDocument/2006/relationships/chart" Target="../charts/chart69.xml"/><Relationship Id="rId7" Type="http://schemas.openxmlformats.org/officeDocument/2006/relationships/tags" Target="../tags/tag1006.xml"/><Relationship Id="rId2" Type="http://schemas.openxmlformats.org/officeDocument/2006/relationships/tags" Target="../tags/tag1001.xml"/><Relationship Id="rId16" Type="http://schemas.openxmlformats.org/officeDocument/2006/relationships/tags" Target="../tags/tag1015.xml"/><Relationship Id="rId29" Type="http://schemas.openxmlformats.org/officeDocument/2006/relationships/tags" Target="../tags/tag1028.xml"/><Relationship Id="rId11" Type="http://schemas.openxmlformats.org/officeDocument/2006/relationships/tags" Target="../tags/tag1010.xml"/><Relationship Id="rId24" Type="http://schemas.openxmlformats.org/officeDocument/2006/relationships/tags" Target="../tags/tag1023.xml"/><Relationship Id="rId32" Type="http://schemas.openxmlformats.org/officeDocument/2006/relationships/tags" Target="../tags/tag1031.xml"/><Relationship Id="rId37" Type="http://schemas.openxmlformats.org/officeDocument/2006/relationships/tags" Target="../tags/tag1036.xml"/><Relationship Id="rId40" Type="http://schemas.openxmlformats.org/officeDocument/2006/relationships/tags" Target="../tags/tag1039.xml"/><Relationship Id="rId45" Type="http://schemas.openxmlformats.org/officeDocument/2006/relationships/tags" Target="../tags/tag1044.xml"/><Relationship Id="rId53" Type="http://schemas.openxmlformats.org/officeDocument/2006/relationships/tags" Target="../tags/tag1052.xml"/><Relationship Id="rId58" Type="http://schemas.openxmlformats.org/officeDocument/2006/relationships/tags" Target="../tags/tag1057.xml"/><Relationship Id="rId66" Type="http://schemas.openxmlformats.org/officeDocument/2006/relationships/chart" Target="../charts/chart67.xml"/><Relationship Id="rId5" Type="http://schemas.openxmlformats.org/officeDocument/2006/relationships/tags" Target="../tags/tag1004.xml"/><Relationship Id="rId61" Type="http://schemas.openxmlformats.org/officeDocument/2006/relationships/slideLayout" Target="../slideLayouts/slideLayout2.xml"/><Relationship Id="rId19" Type="http://schemas.openxmlformats.org/officeDocument/2006/relationships/tags" Target="../tags/tag1018.xml"/><Relationship Id="rId14" Type="http://schemas.openxmlformats.org/officeDocument/2006/relationships/tags" Target="../tags/tag1013.xml"/><Relationship Id="rId22" Type="http://schemas.openxmlformats.org/officeDocument/2006/relationships/tags" Target="../tags/tag1021.xml"/><Relationship Id="rId27" Type="http://schemas.openxmlformats.org/officeDocument/2006/relationships/tags" Target="../tags/tag1026.xml"/><Relationship Id="rId30" Type="http://schemas.openxmlformats.org/officeDocument/2006/relationships/tags" Target="../tags/tag1029.xml"/><Relationship Id="rId35" Type="http://schemas.openxmlformats.org/officeDocument/2006/relationships/tags" Target="../tags/tag1034.xml"/><Relationship Id="rId43" Type="http://schemas.openxmlformats.org/officeDocument/2006/relationships/tags" Target="../tags/tag1042.xml"/><Relationship Id="rId48" Type="http://schemas.openxmlformats.org/officeDocument/2006/relationships/tags" Target="../tags/tag1047.xml"/><Relationship Id="rId56" Type="http://schemas.openxmlformats.org/officeDocument/2006/relationships/tags" Target="../tags/tag1055.xml"/><Relationship Id="rId64" Type="http://schemas.openxmlformats.org/officeDocument/2006/relationships/image" Target="../media/image1.emf"/><Relationship Id="rId69" Type="http://schemas.openxmlformats.org/officeDocument/2006/relationships/image" Target="../media/image2.png"/><Relationship Id="rId8" Type="http://schemas.openxmlformats.org/officeDocument/2006/relationships/tags" Target="../tags/tag1007.xml"/><Relationship Id="rId51" Type="http://schemas.openxmlformats.org/officeDocument/2006/relationships/tags" Target="../tags/tag1050.xml"/><Relationship Id="rId3" Type="http://schemas.openxmlformats.org/officeDocument/2006/relationships/tags" Target="../tags/tag1002.xml"/><Relationship Id="rId12" Type="http://schemas.openxmlformats.org/officeDocument/2006/relationships/tags" Target="../tags/tag1011.xml"/><Relationship Id="rId17" Type="http://schemas.openxmlformats.org/officeDocument/2006/relationships/tags" Target="../tags/tag1016.xml"/><Relationship Id="rId25" Type="http://schemas.openxmlformats.org/officeDocument/2006/relationships/tags" Target="../tags/tag1024.xml"/><Relationship Id="rId33" Type="http://schemas.openxmlformats.org/officeDocument/2006/relationships/tags" Target="../tags/tag1032.xml"/><Relationship Id="rId38" Type="http://schemas.openxmlformats.org/officeDocument/2006/relationships/tags" Target="../tags/tag1037.xml"/><Relationship Id="rId46" Type="http://schemas.openxmlformats.org/officeDocument/2006/relationships/tags" Target="../tags/tag1045.xml"/><Relationship Id="rId59" Type="http://schemas.openxmlformats.org/officeDocument/2006/relationships/tags" Target="../tags/tag1058.xml"/><Relationship Id="rId67" Type="http://schemas.openxmlformats.org/officeDocument/2006/relationships/chart" Target="../charts/chart68.xml"/><Relationship Id="rId20" Type="http://schemas.openxmlformats.org/officeDocument/2006/relationships/tags" Target="../tags/tag1019.xml"/><Relationship Id="rId41" Type="http://schemas.openxmlformats.org/officeDocument/2006/relationships/tags" Target="../tags/tag1040.xml"/><Relationship Id="rId54" Type="http://schemas.openxmlformats.org/officeDocument/2006/relationships/tags" Target="../tags/tag1053.xml"/><Relationship Id="rId62" Type="http://schemas.openxmlformats.org/officeDocument/2006/relationships/notesSlide" Target="../notesSlides/notesSlide23.xml"/><Relationship Id="rId70" Type="http://schemas.openxmlformats.org/officeDocument/2006/relationships/image" Target="../media/image56.png"/><Relationship Id="rId1" Type="http://schemas.openxmlformats.org/officeDocument/2006/relationships/tags" Target="../tags/tag1000.xml"/><Relationship Id="rId6" Type="http://schemas.openxmlformats.org/officeDocument/2006/relationships/tags" Target="../tags/tag1005.xml"/><Relationship Id="rId15" Type="http://schemas.openxmlformats.org/officeDocument/2006/relationships/tags" Target="../tags/tag1014.xml"/><Relationship Id="rId23" Type="http://schemas.openxmlformats.org/officeDocument/2006/relationships/tags" Target="../tags/tag1022.xml"/><Relationship Id="rId28" Type="http://schemas.openxmlformats.org/officeDocument/2006/relationships/tags" Target="../tags/tag1027.xml"/><Relationship Id="rId36" Type="http://schemas.openxmlformats.org/officeDocument/2006/relationships/tags" Target="../tags/tag1035.xml"/><Relationship Id="rId49" Type="http://schemas.openxmlformats.org/officeDocument/2006/relationships/tags" Target="../tags/tag1048.xml"/><Relationship Id="rId57" Type="http://schemas.openxmlformats.org/officeDocument/2006/relationships/tags" Target="../tags/tag1056.xml"/><Relationship Id="rId10" Type="http://schemas.openxmlformats.org/officeDocument/2006/relationships/tags" Target="../tags/tag1009.xml"/><Relationship Id="rId31" Type="http://schemas.openxmlformats.org/officeDocument/2006/relationships/tags" Target="../tags/tag1030.xml"/><Relationship Id="rId44" Type="http://schemas.openxmlformats.org/officeDocument/2006/relationships/tags" Target="../tags/tag1043.xml"/><Relationship Id="rId52" Type="http://schemas.openxmlformats.org/officeDocument/2006/relationships/tags" Target="../tags/tag1051.xml"/><Relationship Id="rId60" Type="http://schemas.openxmlformats.org/officeDocument/2006/relationships/tags" Target="../tags/tag1059.xml"/><Relationship Id="rId65" Type="http://schemas.openxmlformats.org/officeDocument/2006/relationships/image" Target="../media/image55.emf"/><Relationship Id="rId4" Type="http://schemas.openxmlformats.org/officeDocument/2006/relationships/tags" Target="../tags/tag1003.xml"/><Relationship Id="rId9" Type="http://schemas.openxmlformats.org/officeDocument/2006/relationships/tags" Target="../tags/tag1008.xml"/><Relationship Id="rId13" Type="http://schemas.openxmlformats.org/officeDocument/2006/relationships/tags" Target="../tags/tag1012.xml"/><Relationship Id="rId18" Type="http://schemas.openxmlformats.org/officeDocument/2006/relationships/tags" Target="../tags/tag1017.xml"/><Relationship Id="rId39" Type="http://schemas.openxmlformats.org/officeDocument/2006/relationships/tags" Target="../tags/tag1038.xml"/><Relationship Id="rId34" Type="http://schemas.openxmlformats.org/officeDocument/2006/relationships/tags" Target="../tags/tag1033.xml"/><Relationship Id="rId50" Type="http://schemas.openxmlformats.org/officeDocument/2006/relationships/tags" Target="../tags/tag1049.xml"/><Relationship Id="rId55" Type="http://schemas.openxmlformats.org/officeDocument/2006/relationships/tags" Target="../tags/tag1054.xml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1085.xml"/><Relationship Id="rId21" Type="http://schemas.openxmlformats.org/officeDocument/2006/relationships/tags" Target="../tags/tag1080.xml"/><Relationship Id="rId42" Type="http://schemas.openxmlformats.org/officeDocument/2006/relationships/tags" Target="../tags/tag1101.xml"/><Relationship Id="rId47" Type="http://schemas.openxmlformats.org/officeDocument/2006/relationships/tags" Target="../tags/tag1106.xml"/><Relationship Id="rId63" Type="http://schemas.openxmlformats.org/officeDocument/2006/relationships/image" Target="../media/image1.emf"/><Relationship Id="rId68" Type="http://schemas.openxmlformats.org/officeDocument/2006/relationships/image" Target="../media/image2.png"/><Relationship Id="rId7" Type="http://schemas.openxmlformats.org/officeDocument/2006/relationships/tags" Target="../tags/tag1066.xml"/><Relationship Id="rId2" Type="http://schemas.openxmlformats.org/officeDocument/2006/relationships/tags" Target="../tags/tag1061.xml"/><Relationship Id="rId16" Type="http://schemas.openxmlformats.org/officeDocument/2006/relationships/tags" Target="../tags/tag1075.xml"/><Relationship Id="rId29" Type="http://schemas.openxmlformats.org/officeDocument/2006/relationships/tags" Target="../tags/tag1088.xml"/><Relationship Id="rId11" Type="http://schemas.openxmlformats.org/officeDocument/2006/relationships/tags" Target="../tags/tag1070.xml"/><Relationship Id="rId24" Type="http://schemas.openxmlformats.org/officeDocument/2006/relationships/tags" Target="../tags/tag1083.xml"/><Relationship Id="rId32" Type="http://schemas.openxmlformats.org/officeDocument/2006/relationships/tags" Target="../tags/tag1091.xml"/><Relationship Id="rId37" Type="http://schemas.openxmlformats.org/officeDocument/2006/relationships/tags" Target="../tags/tag1096.xml"/><Relationship Id="rId40" Type="http://schemas.openxmlformats.org/officeDocument/2006/relationships/tags" Target="../tags/tag1099.xml"/><Relationship Id="rId45" Type="http://schemas.openxmlformats.org/officeDocument/2006/relationships/tags" Target="../tags/tag1104.xml"/><Relationship Id="rId53" Type="http://schemas.openxmlformats.org/officeDocument/2006/relationships/tags" Target="../tags/tag1112.xml"/><Relationship Id="rId58" Type="http://schemas.openxmlformats.org/officeDocument/2006/relationships/tags" Target="../tags/tag1117.xml"/><Relationship Id="rId66" Type="http://schemas.openxmlformats.org/officeDocument/2006/relationships/chart" Target="../charts/chart71.xml"/><Relationship Id="rId5" Type="http://schemas.openxmlformats.org/officeDocument/2006/relationships/tags" Target="../tags/tag1064.xml"/><Relationship Id="rId61" Type="http://schemas.openxmlformats.org/officeDocument/2006/relationships/notesSlide" Target="../notesSlides/notesSlide24.xml"/><Relationship Id="rId19" Type="http://schemas.openxmlformats.org/officeDocument/2006/relationships/tags" Target="../tags/tag1078.xml"/><Relationship Id="rId14" Type="http://schemas.openxmlformats.org/officeDocument/2006/relationships/tags" Target="../tags/tag1073.xml"/><Relationship Id="rId22" Type="http://schemas.openxmlformats.org/officeDocument/2006/relationships/tags" Target="../tags/tag1081.xml"/><Relationship Id="rId27" Type="http://schemas.openxmlformats.org/officeDocument/2006/relationships/tags" Target="../tags/tag1086.xml"/><Relationship Id="rId30" Type="http://schemas.openxmlformats.org/officeDocument/2006/relationships/tags" Target="../tags/tag1089.xml"/><Relationship Id="rId35" Type="http://schemas.openxmlformats.org/officeDocument/2006/relationships/tags" Target="../tags/tag1094.xml"/><Relationship Id="rId43" Type="http://schemas.openxmlformats.org/officeDocument/2006/relationships/tags" Target="../tags/tag1102.xml"/><Relationship Id="rId48" Type="http://schemas.openxmlformats.org/officeDocument/2006/relationships/tags" Target="../tags/tag1107.xml"/><Relationship Id="rId56" Type="http://schemas.openxmlformats.org/officeDocument/2006/relationships/tags" Target="../tags/tag1115.xml"/><Relationship Id="rId64" Type="http://schemas.openxmlformats.org/officeDocument/2006/relationships/image" Target="../media/image57.emf"/><Relationship Id="rId69" Type="http://schemas.openxmlformats.org/officeDocument/2006/relationships/image" Target="../media/image58.png"/><Relationship Id="rId8" Type="http://schemas.openxmlformats.org/officeDocument/2006/relationships/tags" Target="../tags/tag1067.xml"/><Relationship Id="rId51" Type="http://schemas.openxmlformats.org/officeDocument/2006/relationships/tags" Target="../tags/tag1110.xml"/><Relationship Id="rId3" Type="http://schemas.openxmlformats.org/officeDocument/2006/relationships/tags" Target="../tags/tag1062.xml"/><Relationship Id="rId12" Type="http://schemas.openxmlformats.org/officeDocument/2006/relationships/tags" Target="../tags/tag1071.xml"/><Relationship Id="rId17" Type="http://schemas.openxmlformats.org/officeDocument/2006/relationships/tags" Target="../tags/tag1076.xml"/><Relationship Id="rId25" Type="http://schemas.openxmlformats.org/officeDocument/2006/relationships/tags" Target="../tags/tag1084.xml"/><Relationship Id="rId33" Type="http://schemas.openxmlformats.org/officeDocument/2006/relationships/tags" Target="../tags/tag1092.xml"/><Relationship Id="rId38" Type="http://schemas.openxmlformats.org/officeDocument/2006/relationships/tags" Target="../tags/tag1097.xml"/><Relationship Id="rId46" Type="http://schemas.openxmlformats.org/officeDocument/2006/relationships/tags" Target="../tags/tag1105.xml"/><Relationship Id="rId59" Type="http://schemas.openxmlformats.org/officeDocument/2006/relationships/tags" Target="../tags/tag1118.xml"/><Relationship Id="rId67" Type="http://schemas.openxmlformats.org/officeDocument/2006/relationships/chart" Target="../charts/chart72.xml"/><Relationship Id="rId20" Type="http://schemas.openxmlformats.org/officeDocument/2006/relationships/tags" Target="../tags/tag1079.xml"/><Relationship Id="rId41" Type="http://schemas.openxmlformats.org/officeDocument/2006/relationships/tags" Target="../tags/tag1100.xml"/><Relationship Id="rId54" Type="http://schemas.openxmlformats.org/officeDocument/2006/relationships/tags" Target="../tags/tag1113.xml"/><Relationship Id="rId62" Type="http://schemas.openxmlformats.org/officeDocument/2006/relationships/oleObject" Target="../embeddings/oleObject29.bin"/><Relationship Id="rId1" Type="http://schemas.openxmlformats.org/officeDocument/2006/relationships/tags" Target="../tags/tag1060.xml"/><Relationship Id="rId6" Type="http://schemas.openxmlformats.org/officeDocument/2006/relationships/tags" Target="../tags/tag1065.xml"/><Relationship Id="rId15" Type="http://schemas.openxmlformats.org/officeDocument/2006/relationships/tags" Target="../tags/tag1074.xml"/><Relationship Id="rId23" Type="http://schemas.openxmlformats.org/officeDocument/2006/relationships/tags" Target="../tags/tag1082.xml"/><Relationship Id="rId28" Type="http://schemas.openxmlformats.org/officeDocument/2006/relationships/tags" Target="../tags/tag1087.xml"/><Relationship Id="rId36" Type="http://schemas.openxmlformats.org/officeDocument/2006/relationships/tags" Target="../tags/tag1095.xml"/><Relationship Id="rId49" Type="http://schemas.openxmlformats.org/officeDocument/2006/relationships/tags" Target="../tags/tag1108.xml"/><Relationship Id="rId57" Type="http://schemas.openxmlformats.org/officeDocument/2006/relationships/tags" Target="../tags/tag1116.xml"/><Relationship Id="rId10" Type="http://schemas.openxmlformats.org/officeDocument/2006/relationships/tags" Target="../tags/tag1069.xml"/><Relationship Id="rId31" Type="http://schemas.openxmlformats.org/officeDocument/2006/relationships/tags" Target="../tags/tag1090.xml"/><Relationship Id="rId44" Type="http://schemas.openxmlformats.org/officeDocument/2006/relationships/tags" Target="../tags/tag1103.xml"/><Relationship Id="rId52" Type="http://schemas.openxmlformats.org/officeDocument/2006/relationships/tags" Target="../tags/tag1111.xml"/><Relationship Id="rId60" Type="http://schemas.openxmlformats.org/officeDocument/2006/relationships/slideLayout" Target="../slideLayouts/slideLayout2.xml"/><Relationship Id="rId65" Type="http://schemas.openxmlformats.org/officeDocument/2006/relationships/chart" Target="../charts/chart70.xml"/><Relationship Id="rId4" Type="http://schemas.openxmlformats.org/officeDocument/2006/relationships/tags" Target="../tags/tag1063.xml"/><Relationship Id="rId9" Type="http://schemas.openxmlformats.org/officeDocument/2006/relationships/tags" Target="../tags/tag1068.xml"/><Relationship Id="rId13" Type="http://schemas.openxmlformats.org/officeDocument/2006/relationships/tags" Target="../tags/tag1072.xml"/><Relationship Id="rId18" Type="http://schemas.openxmlformats.org/officeDocument/2006/relationships/tags" Target="../tags/tag1077.xml"/><Relationship Id="rId39" Type="http://schemas.openxmlformats.org/officeDocument/2006/relationships/tags" Target="../tags/tag1098.xml"/><Relationship Id="rId34" Type="http://schemas.openxmlformats.org/officeDocument/2006/relationships/tags" Target="../tags/tag1093.xml"/><Relationship Id="rId50" Type="http://schemas.openxmlformats.org/officeDocument/2006/relationships/tags" Target="../tags/tag1109.xml"/><Relationship Id="rId55" Type="http://schemas.openxmlformats.org/officeDocument/2006/relationships/tags" Target="../tags/tag1114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1131.xml"/><Relationship Id="rId18" Type="http://schemas.openxmlformats.org/officeDocument/2006/relationships/tags" Target="../tags/tag1136.xml"/><Relationship Id="rId26" Type="http://schemas.openxmlformats.org/officeDocument/2006/relationships/tags" Target="../tags/tag1144.xml"/><Relationship Id="rId39" Type="http://schemas.openxmlformats.org/officeDocument/2006/relationships/tags" Target="../tags/tag1157.xml"/><Relationship Id="rId21" Type="http://schemas.openxmlformats.org/officeDocument/2006/relationships/tags" Target="../tags/tag1139.xml"/><Relationship Id="rId34" Type="http://schemas.openxmlformats.org/officeDocument/2006/relationships/tags" Target="../tags/tag1152.xml"/><Relationship Id="rId42" Type="http://schemas.openxmlformats.org/officeDocument/2006/relationships/slideLayout" Target="../slideLayouts/slideLayout2.xml"/><Relationship Id="rId47" Type="http://schemas.openxmlformats.org/officeDocument/2006/relationships/chart" Target="../charts/chart73.xml"/><Relationship Id="rId50" Type="http://schemas.openxmlformats.org/officeDocument/2006/relationships/image" Target="../media/image2.png"/><Relationship Id="rId7" Type="http://schemas.openxmlformats.org/officeDocument/2006/relationships/tags" Target="../tags/tag1125.xml"/><Relationship Id="rId2" Type="http://schemas.openxmlformats.org/officeDocument/2006/relationships/tags" Target="../tags/tag1120.xml"/><Relationship Id="rId16" Type="http://schemas.openxmlformats.org/officeDocument/2006/relationships/tags" Target="../tags/tag1134.xml"/><Relationship Id="rId29" Type="http://schemas.openxmlformats.org/officeDocument/2006/relationships/tags" Target="../tags/tag1147.xml"/><Relationship Id="rId11" Type="http://schemas.openxmlformats.org/officeDocument/2006/relationships/tags" Target="../tags/tag1129.xml"/><Relationship Id="rId24" Type="http://schemas.openxmlformats.org/officeDocument/2006/relationships/tags" Target="../tags/tag1142.xml"/><Relationship Id="rId32" Type="http://schemas.openxmlformats.org/officeDocument/2006/relationships/tags" Target="../tags/tag1150.xml"/><Relationship Id="rId37" Type="http://schemas.openxmlformats.org/officeDocument/2006/relationships/tags" Target="../tags/tag1155.xml"/><Relationship Id="rId40" Type="http://schemas.openxmlformats.org/officeDocument/2006/relationships/tags" Target="../tags/tag1158.xml"/><Relationship Id="rId45" Type="http://schemas.openxmlformats.org/officeDocument/2006/relationships/image" Target="../media/image1.emf"/><Relationship Id="rId5" Type="http://schemas.openxmlformats.org/officeDocument/2006/relationships/tags" Target="../tags/tag1123.xml"/><Relationship Id="rId15" Type="http://schemas.openxmlformats.org/officeDocument/2006/relationships/tags" Target="../tags/tag1133.xml"/><Relationship Id="rId23" Type="http://schemas.openxmlformats.org/officeDocument/2006/relationships/tags" Target="../tags/tag1141.xml"/><Relationship Id="rId28" Type="http://schemas.openxmlformats.org/officeDocument/2006/relationships/tags" Target="../tags/tag1146.xml"/><Relationship Id="rId36" Type="http://schemas.openxmlformats.org/officeDocument/2006/relationships/tags" Target="../tags/tag1154.xml"/><Relationship Id="rId49" Type="http://schemas.openxmlformats.org/officeDocument/2006/relationships/chart" Target="../charts/chart75.xml"/><Relationship Id="rId10" Type="http://schemas.openxmlformats.org/officeDocument/2006/relationships/tags" Target="../tags/tag1128.xml"/><Relationship Id="rId19" Type="http://schemas.openxmlformats.org/officeDocument/2006/relationships/tags" Target="../tags/tag1137.xml"/><Relationship Id="rId31" Type="http://schemas.openxmlformats.org/officeDocument/2006/relationships/tags" Target="../tags/tag1149.xml"/><Relationship Id="rId44" Type="http://schemas.openxmlformats.org/officeDocument/2006/relationships/oleObject" Target="../embeddings/oleObject30.bin"/><Relationship Id="rId4" Type="http://schemas.openxmlformats.org/officeDocument/2006/relationships/tags" Target="../tags/tag1122.xml"/><Relationship Id="rId9" Type="http://schemas.openxmlformats.org/officeDocument/2006/relationships/tags" Target="../tags/tag1127.xml"/><Relationship Id="rId14" Type="http://schemas.openxmlformats.org/officeDocument/2006/relationships/tags" Target="../tags/tag1132.xml"/><Relationship Id="rId22" Type="http://schemas.openxmlformats.org/officeDocument/2006/relationships/tags" Target="../tags/tag1140.xml"/><Relationship Id="rId27" Type="http://schemas.openxmlformats.org/officeDocument/2006/relationships/tags" Target="../tags/tag1145.xml"/><Relationship Id="rId30" Type="http://schemas.openxmlformats.org/officeDocument/2006/relationships/tags" Target="../tags/tag1148.xml"/><Relationship Id="rId35" Type="http://schemas.openxmlformats.org/officeDocument/2006/relationships/tags" Target="../tags/tag1153.xml"/><Relationship Id="rId43" Type="http://schemas.openxmlformats.org/officeDocument/2006/relationships/notesSlide" Target="../notesSlides/notesSlide25.xml"/><Relationship Id="rId48" Type="http://schemas.openxmlformats.org/officeDocument/2006/relationships/chart" Target="../charts/chart74.xml"/><Relationship Id="rId8" Type="http://schemas.openxmlformats.org/officeDocument/2006/relationships/tags" Target="../tags/tag1126.xml"/><Relationship Id="rId51" Type="http://schemas.openxmlformats.org/officeDocument/2006/relationships/image" Target="../media/image60.png"/><Relationship Id="rId3" Type="http://schemas.openxmlformats.org/officeDocument/2006/relationships/tags" Target="../tags/tag1121.xml"/><Relationship Id="rId12" Type="http://schemas.openxmlformats.org/officeDocument/2006/relationships/tags" Target="../tags/tag1130.xml"/><Relationship Id="rId17" Type="http://schemas.openxmlformats.org/officeDocument/2006/relationships/tags" Target="../tags/tag1135.xml"/><Relationship Id="rId25" Type="http://schemas.openxmlformats.org/officeDocument/2006/relationships/tags" Target="../tags/tag1143.xml"/><Relationship Id="rId33" Type="http://schemas.openxmlformats.org/officeDocument/2006/relationships/tags" Target="../tags/tag1151.xml"/><Relationship Id="rId38" Type="http://schemas.openxmlformats.org/officeDocument/2006/relationships/tags" Target="../tags/tag1156.xml"/><Relationship Id="rId46" Type="http://schemas.openxmlformats.org/officeDocument/2006/relationships/image" Target="../media/image59.emf"/><Relationship Id="rId20" Type="http://schemas.openxmlformats.org/officeDocument/2006/relationships/tags" Target="../tags/tag1138.xml"/><Relationship Id="rId41" Type="http://schemas.openxmlformats.org/officeDocument/2006/relationships/tags" Target="../tags/tag1159.xml"/><Relationship Id="rId1" Type="http://schemas.openxmlformats.org/officeDocument/2006/relationships/tags" Target="../tags/tag1119.xml"/><Relationship Id="rId6" Type="http://schemas.openxmlformats.org/officeDocument/2006/relationships/tags" Target="../tags/tag11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image" Target="../media/image3.emf"/><Relationship Id="rId3" Type="http://schemas.openxmlformats.org/officeDocument/2006/relationships/tags" Target="../tags/tag7.xml"/><Relationship Id="rId21" Type="http://schemas.openxmlformats.org/officeDocument/2006/relationships/chart" Target="../charts/chart1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6" Type="http://schemas.openxmlformats.org/officeDocument/2006/relationships/notesSlide" Target="../notesSlides/notesSlide1.xml"/><Relationship Id="rId20" Type="http://schemas.openxmlformats.org/officeDocument/2006/relationships/image" Target="../media/image7.emf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4.xml"/><Relationship Id="rId19" Type="http://schemas.openxmlformats.org/officeDocument/2006/relationships/image" Target="../media/image6.emf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1172.xml"/><Relationship Id="rId18" Type="http://schemas.openxmlformats.org/officeDocument/2006/relationships/tags" Target="../tags/tag1177.xml"/><Relationship Id="rId26" Type="http://schemas.openxmlformats.org/officeDocument/2006/relationships/tags" Target="../tags/tag1185.xml"/><Relationship Id="rId39" Type="http://schemas.openxmlformats.org/officeDocument/2006/relationships/tags" Target="../tags/tag1198.xml"/><Relationship Id="rId21" Type="http://schemas.openxmlformats.org/officeDocument/2006/relationships/tags" Target="../tags/tag1180.xml"/><Relationship Id="rId34" Type="http://schemas.openxmlformats.org/officeDocument/2006/relationships/tags" Target="../tags/tag1193.xml"/><Relationship Id="rId42" Type="http://schemas.openxmlformats.org/officeDocument/2006/relationships/slideLayout" Target="../slideLayouts/slideLayout2.xml"/><Relationship Id="rId47" Type="http://schemas.openxmlformats.org/officeDocument/2006/relationships/chart" Target="../charts/chart76.xml"/><Relationship Id="rId50" Type="http://schemas.openxmlformats.org/officeDocument/2006/relationships/image" Target="../media/image2.png"/><Relationship Id="rId7" Type="http://schemas.openxmlformats.org/officeDocument/2006/relationships/tags" Target="../tags/tag1166.xml"/><Relationship Id="rId2" Type="http://schemas.openxmlformats.org/officeDocument/2006/relationships/tags" Target="../tags/tag1161.xml"/><Relationship Id="rId16" Type="http://schemas.openxmlformats.org/officeDocument/2006/relationships/tags" Target="../tags/tag1175.xml"/><Relationship Id="rId29" Type="http://schemas.openxmlformats.org/officeDocument/2006/relationships/tags" Target="../tags/tag1188.xml"/><Relationship Id="rId11" Type="http://schemas.openxmlformats.org/officeDocument/2006/relationships/tags" Target="../tags/tag1170.xml"/><Relationship Id="rId24" Type="http://schemas.openxmlformats.org/officeDocument/2006/relationships/tags" Target="../tags/tag1183.xml"/><Relationship Id="rId32" Type="http://schemas.openxmlformats.org/officeDocument/2006/relationships/tags" Target="../tags/tag1191.xml"/><Relationship Id="rId37" Type="http://schemas.openxmlformats.org/officeDocument/2006/relationships/tags" Target="../tags/tag1196.xml"/><Relationship Id="rId40" Type="http://schemas.openxmlformats.org/officeDocument/2006/relationships/tags" Target="../tags/tag1199.xml"/><Relationship Id="rId45" Type="http://schemas.openxmlformats.org/officeDocument/2006/relationships/image" Target="../media/image1.emf"/><Relationship Id="rId5" Type="http://schemas.openxmlformats.org/officeDocument/2006/relationships/tags" Target="../tags/tag1164.xml"/><Relationship Id="rId15" Type="http://schemas.openxmlformats.org/officeDocument/2006/relationships/tags" Target="../tags/tag1174.xml"/><Relationship Id="rId23" Type="http://schemas.openxmlformats.org/officeDocument/2006/relationships/tags" Target="../tags/tag1182.xml"/><Relationship Id="rId28" Type="http://schemas.openxmlformats.org/officeDocument/2006/relationships/tags" Target="../tags/tag1187.xml"/><Relationship Id="rId36" Type="http://schemas.openxmlformats.org/officeDocument/2006/relationships/tags" Target="../tags/tag1195.xml"/><Relationship Id="rId49" Type="http://schemas.openxmlformats.org/officeDocument/2006/relationships/chart" Target="../charts/chart78.xml"/><Relationship Id="rId10" Type="http://schemas.openxmlformats.org/officeDocument/2006/relationships/tags" Target="../tags/tag1169.xml"/><Relationship Id="rId19" Type="http://schemas.openxmlformats.org/officeDocument/2006/relationships/tags" Target="../tags/tag1178.xml"/><Relationship Id="rId31" Type="http://schemas.openxmlformats.org/officeDocument/2006/relationships/tags" Target="../tags/tag1190.xml"/><Relationship Id="rId44" Type="http://schemas.openxmlformats.org/officeDocument/2006/relationships/oleObject" Target="../embeddings/oleObject31.bin"/><Relationship Id="rId4" Type="http://schemas.openxmlformats.org/officeDocument/2006/relationships/tags" Target="../tags/tag1163.xml"/><Relationship Id="rId9" Type="http://schemas.openxmlformats.org/officeDocument/2006/relationships/tags" Target="../tags/tag1168.xml"/><Relationship Id="rId14" Type="http://schemas.openxmlformats.org/officeDocument/2006/relationships/tags" Target="../tags/tag1173.xml"/><Relationship Id="rId22" Type="http://schemas.openxmlformats.org/officeDocument/2006/relationships/tags" Target="../tags/tag1181.xml"/><Relationship Id="rId27" Type="http://schemas.openxmlformats.org/officeDocument/2006/relationships/tags" Target="../tags/tag1186.xml"/><Relationship Id="rId30" Type="http://schemas.openxmlformats.org/officeDocument/2006/relationships/tags" Target="../tags/tag1189.xml"/><Relationship Id="rId35" Type="http://schemas.openxmlformats.org/officeDocument/2006/relationships/tags" Target="../tags/tag1194.xml"/><Relationship Id="rId43" Type="http://schemas.openxmlformats.org/officeDocument/2006/relationships/notesSlide" Target="../notesSlides/notesSlide26.xml"/><Relationship Id="rId48" Type="http://schemas.openxmlformats.org/officeDocument/2006/relationships/chart" Target="../charts/chart77.xml"/><Relationship Id="rId8" Type="http://schemas.openxmlformats.org/officeDocument/2006/relationships/tags" Target="../tags/tag1167.xml"/><Relationship Id="rId51" Type="http://schemas.openxmlformats.org/officeDocument/2006/relationships/image" Target="../media/image62.jpg"/><Relationship Id="rId3" Type="http://schemas.openxmlformats.org/officeDocument/2006/relationships/tags" Target="../tags/tag1162.xml"/><Relationship Id="rId12" Type="http://schemas.openxmlformats.org/officeDocument/2006/relationships/tags" Target="../tags/tag1171.xml"/><Relationship Id="rId17" Type="http://schemas.openxmlformats.org/officeDocument/2006/relationships/tags" Target="../tags/tag1176.xml"/><Relationship Id="rId25" Type="http://schemas.openxmlformats.org/officeDocument/2006/relationships/tags" Target="../tags/tag1184.xml"/><Relationship Id="rId33" Type="http://schemas.openxmlformats.org/officeDocument/2006/relationships/tags" Target="../tags/tag1192.xml"/><Relationship Id="rId38" Type="http://schemas.openxmlformats.org/officeDocument/2006/relationships/tags" Target="../tags/tag1197.xml"/><Relationship Id="rId46" Type="http://schemas.openxmlformats.org/officeDocument/2006/relationships/image" Target="../media/image61.emf"/><Relationship Id="rId20" Type="http://schemas.openxmlformats.org/officeDocument/2006/relationships/tags" Target="../tags/tag1179.xml"/><Relationship Id="rId41" Type="http://schemas.openxmlformats.org/officeDocument/2006/relationships/tags" Target="../tags/tag1200.xml"/><Relationship Id="rId1" Type="http://schemas.openxmlformats.org/officeDocument/2006/relationships/tags" Target="../tags/tag1160.xml"/><Relationship Id="rId6" Type="http://schemas.openxmlformats.org/officeDocument/2006/relationships/tags" Target="../tags/tag1165.xml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1213.xml"/><Relationship Id="rId18" Type="http://schemas.openxmlformats.org/officeDocument/2006/relationships/tags" Target="../tags/tag1218.xml"/><Relationship Id="rId26" Type="http://schemas.openxmlformats.org/officeDocument/2006/relationships/tags" Target="../tags/tag1226.xml"/><Relationship Id="rId39" Type="http://schemas.openxmlformats.org/officeDocument/2006/relationships/tags" Target="../tags/tag1239.xml"/><Relationship Id="rId21" Type="http://schemas.openxmlformats.org/officeDocument/2006/relationships/tags" Target="../tags/tag1221.xml"/><Relationship Id="rId34" Type="http://schemas.openxmlformats.org/officeDocument/2006/relationships/tags" Target="../tags/tag1234.xml"/><Relationship Id="rId42" Type="http://schemas.openxmlformats.org/officeDocument/2006/relationships/slideLayout" Target="../slideLayouts/slideLayout2.xml"/><Relationship Id="rId47" Type="http://schemas.openxmlformats.org/officeDocument/2006/relationships/chart" Target="../charts/chart79.xml"/><Relationship Id="rId50" Type="http://schemas.openxmlformats.org/officeDocument/2006/relationships/chart" Target="../charts/chart80.xml"/><Relationship Id="rId7" Type="http://schemas.openxmlformats.org/officeDocument/2006/relationships/tags" Target="../tags/tag1207.xml"/><Relationship Id="rId2" Type="http://schemas.openxmlformats.org/officeDocument/2006/relationships/tags" Target="../tags/tag1202.xml"/><Relationship Id="rId16" Type="http://schemas.openxmlformats.org/officeDocument/2006/relationships/tags" Target="../tags/tag1216.xml"/><Relationship Id="rId29" Type="http://schemas.openxmlformats.org/officeDocument/2006/relationships/tags" Target="../tags/tag1229.xml"/><Relationship Id="rId11" Type="http://schemas.openxmlformats.org/officeDocument/2006/relationships/tags" Target="../tags/tag1211.xml"/><Relationship Id="rId24" Type="http://schemas.openxmlformats.org/officeDocument/2006/relationships/tags" Target="../tags/tag1224.xml"/><Relationship Id="rId32" Type="http://schemas.openxmlformats.org/officeDocument/2006/relationships/tags" Target="../tags/tag1232.xml"/><Relationship Id="rId37" Type="http://schemas.openxmlformats.org/officeDocument/2006/relationships/tags" Target="../tags/tag1237.xml"/><Relationship Id="rId40" Type="http://schemas.openxmlformats.org/officeDocument/2006/relationships/tags" Target="../tags/tag1240.xml"/><Relationship Id="rId45" Type="http://schemas.openxmlformats.org/officeDocument/2006/relationships/image" Target="../media/image1.emf"/><Relationship Id="rId5" Type="http://schemas.openxmlformats.org/officeDocument/2006/relationships/tags" Target="../tags/tag1205.xml"/><Relationship Id="rId15" Type="http://schemas.openxmlformats.org/officeDocument/2006/relationships/tags" Target="../tags/tag1215.xml"/><Relationship Id="rId23" Type="http://schemas.openxmlformats.org/officeDocument/2006/relationships/tags" Target="../tags/tag1223.xml"/><Relationship Id="rId28" Type="http://schemas.openxmlformats.org/officeDocument/2006/relationships/tags" Target="../tags/tag1228.xml"/><Relationship Id="rId36" Type="http://schemas.openxmlformats.org/officeDocument/2006/relationships/tags" Target="../tags/tag1236.xml"/><Relationship Id="rId49" Type="http://schemas.openxmlformats.org/officeDocument/2006/relationships/image" Target="../media/image64.png"/><Relationship Id="rId10" Type="http://schemas.openxmlformats.org/officeDocument/2006/relationships/tags" Target="../tags/tag1210.xml"/><Relationship Id="rId19" Type="http://schemas.openxmlformats.org/officeDocument/2006/relationships/tags" Target="../tags/tag1219.xml"/><Relationship Id="rId31" Type="http://schemas.openxmlformats.org/officeDocument/2006/relationships/tags" Target="../tags/tag1231.xml"/><Relationship Id="rId44" Type="http://schemas.openxmlformats.org/officeDocument/2006/relationships/oleObject" Target="../embeddings/oleObject32.bin"/><Relationship Id="rId4" Type="http://schemas.openxmlformats.org/officeDocument/2006/relationships/tags" Target="../tags/tag1204.xml"/><Relationship Id="rId9" Type="http://schemas.openxmlformats.org/officeDocument/2006/relationships/tags" Target="../tags/tag1209.xml"/><Relationship Id="rId14" Type="http://schemas.openxmlformats.org/officeDocument/2006/relationships/tags" Target="../tags/tag1214.xml"/><Relationship Id="rId22" Type="http://schemas.openxmlformats.org/officeDocument/2006/relationships/tags" Target="../tags/tag1222.xml"/><Relationship Id="rId27" Type="http://schemas.openxmlformats.org/officeDocument/2006/relationships/tags" Target="../tags/tag1227.xml"/><Relationship Id="rId30" Type="http://schemas.openxmlformats.org/officeDocument/2006/relationships/tags" Target="../tags/tag1230.xml"/><Relationship Id="rId35" Type="http://schemas.openxmlformats.org/officeDocument/2006/relationships/tags" Target="../tags/tag1235.xml"/><Relationship Id="rId43" Type="http://schemas.openxmlformats.org/officeDocument/2006/relationships/notesSlide" Target="../notesSlides/notesSlide27.xml"/><Relationship Id="rId48" Type="http://schemas.openxmlformats.org/officeDocument/2006/relationships/image" Target="../media/image2.png"/><Relationship Id="rId8" Type="http://schemas.openxmlformats.org/officeDocument/2006/relationships/tags" Target="../tags/tag1208.xml"/><Relationship Id="rId51" Type="http://schemas.openxmlformats.org/officeDocument/2006/relationships/chart" Target="../charts/chart81.xml"/><Relationship Id="rId3" Type="http://schemas.openxmlformats.org/officeDocument/2006/relationships/tags" Target="../tags/tag1203.xml"/><Relationship Id="rId12" Type="http://schemas.openxmlformats.org/officeDocument/2006/relationships/tags" Target="../tags/tag1212.xml"/><Relationship Id="rId17" Type="http://schemas.openxmlformats.org/officeDocument/2006/relationships/tags" Target="../tags/tag1217.xml"/><Relationship Id="rId25" Type="http://schemas.openxmlformats.org/officeDocument/2006/relationships/tags" Target="../tags/tag1225.xml"/><Relationship Id="rId33" Type="http://schemas.openxmlformats.org/officeDocument/2006/relationships/tags" Target="../tags/tag1233.xml"/><Relationship Id="rId38" Type="http://schemas.openxmlformats.org/officeDocument/2006/relationships/tags" Target="../tags/tag1238.xml"/><Relationship Id="rId46" Type="http://schemas.openxmlformats.org/officeDocument/2006/relationships/image" Target="../media/image63.emf"/><Relationship Id="rId20" Type="http://schemas.openxmlformats.org/officeDocument/2006/relationships/tags" Target="../tags/tag1220.xml"/><Relationship Id="rId41" Type="http://schemas.openxmlformats.org/officeDocument/2006/relationships/tags" Target="../tags/tag1241.xml"/><Relationship Id="rId1" Type="http://schemas.openxmlformats.org/officeDocument/2006/relationships/tags" Target="../tags/tag1201.xml"/><Relationship Id="rId6" Type="http://schemas.openxmlformats.org/officeDocument/2006/relationships/tags" Target="../tags/tag1206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1254.xml"/><Relationship Id="rId18" Type="http://schemas.openxmlformats.org/officeDocument/2006/relationships/tags" Target="../tags/tag1259.xml"/><Relationship Id="rId26" Type="http://schemas.openxmlformats.org/officeDocument/2006/relationships/tags" Target="../tags/tag1267.xml"/><Relationship Id="rId39" Type="http://schemas.openxmlformats.org/officeDocument/2006/relationships/tags" Target="../tags/tag1280.xml"/><Relationship Id="rId21" Type="http://schemas.openxmlformats.org/officeDocument/2006/relationships/tags" Target="../tags/tag1262.xml"/><Relationship Id="rId34" Type="http://schemas.openxmlformats.org/officeDocument/2006/relationships/tags" Target="../tags/tag1275.xml"/><Relationship Id="rId42" Type="http://schemas.openxmlformats.org/officeDocument/2006/relationships/slideLayout" Target="../slideLayouts/slideLayout2.xml"/><Relationship Id="rId47" Type="http://schemas.openxmlformats.org/officeDocument/2006/relationships/chart" Target="../charts/chart82.xml"/><Relationship Id="rId50" Type="http://schemas.openxmlformats.org/officeDocument/2006/relationships/image" Target="../media/image2.png"/><Relationship Id="rId7" Type="http://schemas.openxmlformats.org/officeDocument/2006/relationships/tags" Target="../tags/tag1248.xml"/><Relationship Id="rId2" Type="http://schemas.openxmlformats.org/officeDocument/2006/relationships/tags" Target="../tags/tag1243.xml"/><Relationship Id="rId16" Type="http://schemas.openxmlformats.org/officeDocument/2006/relationships/tags" Target="../tags/tag1257.xml"/><Relationship Id="rId29" Type="http://schemas.openxmlformats.org/officeDocument/2006/relationships/tags" Target="../tags/tag1270.xml"/><Relationship Id="rId11" Type="http://schemas.openxmlformats.org/officeDocument/2006/relationships/tags" Target="../tags/tag1252.xml"/><Relationship Id="rId24" Type="http://schemas.openxmlformats.org/officeDocument/2006/relationships/tags" Target="../tags/tag1265.xml"/><Relationship Id="rId32" Type="http://schemas.openxmlformats.org/officeDocument/2006/relationships/tags" Target="../tags/tag1273.xml"/><Relationship Id="rId37" Type="http://schemas.openxmlformats.org/officeDocument/2006/relationships/tags" Target="../tags/tag1278.xml"/><Relationship Id="rId40" Type="http://schemas.openxmlformats.org/officeDocument/2006/relationships/tags" Target="../tags/tag1281.xml"/><Relationship Id="rId45" Type="http://schemas.openxmlformats.org/officeDocument/2006/relationships/image" Target="../media/image1.emf"/><Relationship Id="rId5" Type="http://schemas.openxmlformats.org/officeDocument/2006/relationships/tags" Target="../tags/tag1246.xml"/><Relationship Id="rId15" Type="http://schemas.openxmlformats.org/officeDocument/2006/relationships/tags" Target="../tags/tag1256.xml"/><Relationship Id="rId23" Type="http://schemas.openxmlformats.org/officeDocument/2006/relationships/tags" Target="../tags/tag1264.xml"/><Relationship Id="rId28" Type="http://schemas.openxmlformats.org/officeDocument/2006/relationships/tags" Target="../tags/tag1269.xml"/><Relationship Id="rId36" Type="http://schemas.openxmlformats.org/officeDocument/2006/relationships/tags" Target="../tags/tag1277.xml"/><Relationship Id="rId49" Type="http://schemas.openxmlformats.org/officeDocument/2006/relationships/chart" Target="../charts/chart84.xml"/><Relationship Id="rId10" Type="http://schemas.openxmlformats.org/officeDocument/2006/relationships/tags" Target="../tags/tag1251.xml"/><Relationship Id="rId19" Type="http://schemas.openxmlformats.org/officeDocument/2006/relationships/tags" Target="../tags/tag1260.xml"/><Relationship Id="rId31" Type="http://schemas.openxmlformats.org/officeDocument/2006/relationships/tags" Target="../tags/tag1272.xml"/><Relationship Id="rId44" Type="http://schemas.openxmlformats.org/officeDocument/2006/relationships/oleObject" Target="../embeddings/oleObject33.bin"/><Relationship Id="rId4" Type="http://schemas.openxmlformats.org/officeDocument/2006/relationships/tags" Target="../tags/tag1245.xml"/><Relationship Id="rId9" Type="http://schemas.openxmlformats.org/officeDocument/2006/relationships/tags" Target="../tags/tag1250.xml"/><Relationship Id="rId14" Type="http://schemas.openxmlformats.org/officeDocument/2006/relationships/tags" Target="../tags/tag1255.xml"/><Relationship Id="rId22" Type="http://schemas.openxmlformats.org/officeDocument/2006/relationships/tags" Target="../tags/tag1263.xml"/><Relationship Id="rId27" Type="http://schemas.openxmlformats.org/officeDocument/2006/relationships/tags" Target="../tags/tag1268.xml"/><Relationship Id="rId30" Type="http://schemas.openxmlformats.org/officeDocument/2006/relationships/tags" Target="../tags/tag1271.xml"/><Relationship Id="rId35" Type="http://schemas.openxmlformats.org/officeDocument/2006/relationships/tags" Target="../tags/tag1276.xml"/><Relationship Id="rId43" Type="http://schemas.openxmlformats.org/officeDocument/2006/relationships/notesSlide" Target="../notesSlides/notesSlide28.xml"/><Relationship Id="rId48" Type="http://schemas.openxmlformats.org/officeDocument/2006/relationships/chart" Target="../charts/chart83.xml"/><Relationship Id="rId8" Type="http://schemas.openxmlformats.org/officeDocument/2006/relationships/tags" Target="../tags/tag1249.xml"/><Relationship Id="rId51" Type="http://schemas.openxmlformats.org/officeDocument/2006/relationships/image" Target="../media/image66.png"/><Relationship Id="rId3" Type="http://schemas.openxmlformats.org/officeDocument/2006/relationships/tags" Target="../tags/tag1244.xml"/><Relationship Id="rId12" Type="http://schemas.openxmlformats.org/officeDocument/2006/relationships/tags" Target="../tags/tag1253.xml"/><Relationship Id="rId17" Type="http://schemas.openxmlformats.org/officeDocument/2006/relationships/tags" Target="../tags/tag1258.xml"/><Relationship Id="rId25" Type="http://schemas.openxmlformats.org/officeDocument/2006/relationships/tags" Target="../tags/tag1266.xml"/><Relationship Id="rId33" Type="http://schemas.openxmlformats.org/officeDocument/2006/relationships/tags" Target="../tags/tag1274.xml"/><Relationship Id="rId38" Type="http://schemas.openxmlformats.org/officeDocument/2006/relationships/tags" Target="../tags/tag1279.xml"/><Relationship Id="rId46" Type="http://schemas.openxmlformats.org/officeDocument/2006/relationships/image" Target="../media/image65.emf"/><Relationship Id="rId20" Type="http://schemas.openxmlformats.org/officeDocument/2006/relationships/tags" Target="../tags/tag1261.xml"/><Relationship Id="rId41" Type="http://schemas.openxmlformats.org/officeDocument/2006/relationships/tags" Target="../tags/tag1282.xml"/><Relationship Id="rId1" Type="http://schemas.openxmlformats.org/officeDocument/2006/relationships/tags" Target="../tags/tag1242.xml"/><Relationship Id="rId6" Type="http://schemas.openxmlformats.org/officeDocument/2006/relationships/tags" Target="../tags/tag1247.xml"/></Relationships>
</file>

<file path=ppt/slides/_rels/slide33.xml.rels><?xml version="1.0" encoding="UTF-8" standalone="yes"?>
<Relationships xmlns="http://schemas.openxmlformats.org/package/2006/relationships"><Relationship Id="rId13" Type="http://schemas.openxmlformats.org/officeDocument/2006/relationships/tags" Target="../tags/tag1295.xml"/><Relationship Id="rId18" Type="http://schemas.openxmlformats.org/officeDocument/2006/relationships/tags" Target="../tags/tag1300.xml"/><Relationship Id="rId26" Type="http://schemas.openxmlformats.org/officeDocument/2006/relationships/tags" Target="../tags/tag1308.xml"/><Relationship Id="rId39" Type="http://schemas.openxmlformats.org/officeDocument/2006/relationships/tags" Target="../tags/tag1321.xml"/><Relationship Id="rId21" Type="http://schemas.openxmlformats.org/officeDocument/2006/relationships/tags" Target="../tags/tag1303.xml"/><Relationship Id="rId34" Type="http://schemas.openxmlformats.org/officeDocument/2006/relationships/tags" Target="../tags/tag1316.xml"/><Relationship Id="rId42" Type="http://schemas.openxmlformats.org/officeDocument/2006/relationships/slideLayout" Target="../slideLayouts/slideLayout2.xml"/><Relationship Id="rId47" Type="http://schemas.openxmlformats.org/officeDocument/2006/relationships/chart" Target="../charts/chart85.xml"/><Relationship Id="rId50" Type="http://schemas.openxmlformats.org/officeDocument/2006/relationships/image" Target="../media/image2.png"/><Relationship Id="rId7" Type="http://schemas.openxmlformats.org/officeDocument/2006/relationships/tags" Target="../tags/tag1289.xml"/><Relationship Id="rId2" Type="http://schemas.openxmlformats.org/officeDocument/2006/relationships/tags" Target="../tags/tag1284.xml"/><Relationship Id="rId16" Type="http://schemas.openxmlformats.org/officeDocument/2006/relationships/tags" Target="../tags/tag1298.xml"/><Relationship Id="rId29" Type="http://schemas.openxmlformats.org/officeDocument/2006/relationships/tags" Target="../tags/tag1311.xml"/><Relationship Id="rId11" Type="http://schemas.openxmlformats.org/officeDocument/2006/relationships/tags" Target="../tags/tag1293.xml"/><Relationship Id="rId24" Type="http://schemas.openxmlformats.org/officeDocument/2006/relationships/tags" Target="../tags/tag1306.xml"/><Relationship Id="rId32" Type="http://schemas.openxmlformats.org/officeDocument/2006/relationships/tags" Target="../tags/tag1314.xml"/><Relationship Id="rId37" Type="http://schemas.openxmlformats.org/officeDocument/2006/relationships/tags" Target="../tags/tag1319.xml"/><Relationship Id="rId40" Type="http://schemas.openxmlformats.org/officeDocument/2006/relationships/tags" Target="../tags/tag1322.xml"/><Relationship Id="rId45" Type="http://schemas.openxmlformats.org/officeDocument/2006/relationships/image" Target="../media/image1.emf"/><Relationship Id="rId5" Type="http://schemas.openxmlformats.org/officeDocument/2006/relationships/tags" Target="../tags/tag1287.xml"/><Relationship Id="rId15" Type="http://schemas.openxmlformats.org/officeDocument/2006/relationships/tags" Target="../tags/tag1297.xml"/><Relationship Id="rId23" Type="http://schemas.openxmlformats.org/officeDocument/2006/relationships/tags" Target="../tags/tag1305.xml"/><Relationship Id="rId28" Type="http://schemas.openxmlformats.org/officeDocument/2006/relationships/tags" Target="../tags/tag1310.xml"/><Relationship Id="rId36" Type="http://schemas.openxmlformats.org/officeDocument/2006/relationships/tags" Target="../tags/tag1318.xml"/><Relationship Id="rId49" Type="http://schemas.openxmlformats.org/officeDocument/2006/relationships/chart" Target="../charts/chart87.xml"/><Relationship Id="rId10" Type="http://schemas.openxmlformats.org/officeDocument/2006/relationships/tags" Target="../tags/tag1292.xml"/><Relationship Id="rId19" Type="http://schemas.openxmlformats.org/officeDocument/2006/relationships/tags" Target="../tags/tag1301.xml"/><Relationship Id="rId31" Type="http://schemas.openxmlformats.org/officeDocument/2006/relationships/tags" Target="../tags/tag1313.xml"/><Relationship Id="rId44" Type="http://schemas.openxmlformats.org/officeDocument/2006/relationships/oleObject" Target="../embeddings/oleObject34.bin"/><Relationship Id="rId4" Type="http://schemas.openxmlformats.org/officeDocument/2006/relationships/tags" Target="../tags/tag1286.xml"/><Relationship Id="rId9" Type="http://schemas.openxmlformats.org/officeDocument/2006/relationships/tags" Target="../tags/tag1291.xml"/><Relationship Id="rId14" Type="http://schemas.openxmlformats.org/officeDocument/2006/relationships/tags" Target="../tags/tag1296.xml"/><Relationship Id="rId22" Type="http://schemas.openxmlformats.org/officeDocument/2006/relationships/tags" Target="../tags/tag1304.xml"/><Relationship Id="rId27" Type="http://schemas.openxmlformats.org/officeDocument/2006/relationships/tags" Target="../tags/tag1309.xml"/><Relationship Id="rId30" Type="http://schemas.openxmlformats.org/officeDocument/2006/relationships/tags" Target="../tags/tag1312.xml"/><Relationship Id="rId35" Type="http://schemas.openxmlformats.org/officeDocument/2006/relationships/tags" Target="../tags/tag1317.xml"/><Relationship Id="rId43" Type="http://schemas.openxmlformats.org/officeDocument/2006/relationships/notesSlide" Target="../notesSlides/notesSlide29.xml"/><Relationship Id="rId48" Type="http://schemas.openxmlformats.org/officeDocument/2006/relationships/chart" Target="../charts/chart86.xml"/><Relationship Id="rId8" Type="http://schemas.openxmlformats.org/officeDocument/2006/relationships/tags" Target="../tags/tag1290.xml"/><Relationship Id="rId51" Type="http://schemas.openxmlformats.org/officeDocument/2006/relationships/image" Target="../media/image68.png"/><Relationship Id="rId3" Type="http://schemas.openxmlformats.org/officeDocument/2006/relationships/tags" Target="../tags/tag1285.xml"/><Relationship Id="rId12" Type="http://schemas.openxmlformats.org/officeDocument/2006/relationships/tags" Target="../tags/tag1294.xml"/><Relationship Id="rId17" Type="http://schemas.openxmlformats.org/officeDocument/2006/relationships/tags" Target="../tags/tag1299.xml"/><Relationship Id="rId25" Type="http://schemas.openxmlformats.org/officeDocument/2006/relationships/tags" Target="../tags/tag1307.xml"/><Relationship Id="rId33" Type="http://schemas.openxmlformats.org/officeDocument/2006/relationships/tags" Target="../tags/tag1315.xml"/><Relationship Id="rId38" Type="http://schemas.openxmlformats.org/officeDocument/2006/relationships/tags" Target="../tags/tag1320.xml"/><Relationship Id="rId46" Type="http://schemas.openxmlformats.org/officeDocument/2006/relationships/image" Target="../media/image67.emf"/><Relationship Id="rId20" Type="http://schemas.openxmlformats.org/officeDocument/2006/relationships/tags" Target="../tags/tag1302.xml"/><Relationship Id="rId41" Type="http://schemas.openxmlformats.org/officeDocument/2006/relationships/tags" Target="../tags/tag1323.xml"/><Relationship Id="rId1" Type="http://schemas.openxmlformats.org/officeDocument/2006/relationships/tags" Target="../tags/tag1283.xml"/><Relationship Id="rId6" Type="http://schemas.openxmlformats.org/officeDocument/2006/relationships/tags" Target="../tags/tag1288.xml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tags" Target="../tags/tag1336.xml"/><Relationship Id="rId18" Type="http://schemas.openxmlformats.org/officeDocument/2006/relationships/tags" Target="../tags/tag1341.xml"/><Relationship Id="rId26" Type="http://schemas.openxmlformats.org/officeDocument/2006/relationships/tags" Target="../tags/tag1349.xml"/><Relationship Id="rId39" Type="http://schemas.openxmlformats.org/officeDocument/2006/relationships/tags" Target="../tags/tag1362.xml"/><Relationship Id="rId21" Type="http://schemas.openxmlformats.org/officeDocument/2006/relationships/tags" Target="../tags/tag1344.xml"/><Relationship Id="rId34" Type="http://schemas.openxmlformats.org/officeDocument/2006/relationships/tags" Target="../tags/tag1357.xml"/><Relationship Id="rId42" Type="http://schemas.openxmlformats.org/officeDocument/2006/relationships/slideLayout" Target="../slideLayouts/slideLayout2.xml"/><Relationship Id="rId47" Type="http://schemas.openxmlformats.org/officeDocument/2006/relationships/chart" Target="../charts/chart88.xml"/><Relationship Id="rId50" Type="http://schemas.openxmlformats.org/officeDocument/2006/relationships/image" Target="../media/image2.png"/><Relationship Id="rId7" Type="http://schemas.openxmlformats.org/officeDocument/2006/relationships/tags" Target="../tags/tag1330.xml"/><Relationship Id="rId2" Type="http://schemas.openxmlformats.org/officeDocument/2006/relationships/tags" Target="../tags/tag1325.xml"/><Relationship Id="rId16" Type="http://schemas.openxmlformats.org/officeDocument/2006/relationships/tags" Target="../tags/tag1339.xml"/><Relationship Id="rId29" Type="http://schemas.openxmlformats.org/officeDocument/2006/relationships/tags" Target="../tags/tag1352.xml"/><Relationship Id="rId11" Type="http://schemas.openxmlformats.org/officeDocument/2006/relationships/tags" Target="../tags/tag1334.xml"/><Relationship Id="rId24" Type="http://schemas.openxmlformats.org/officeDocument/2006/relationships/tags" Target="../tags/tag1347.xml"/><Relationship Id="rId32" Type="http://schemas.openxmlformats.org/officeDocument/2006/relationships/tags" Target="../tags/tag1355.xml"/><Relationship Id="rId37" Type="http://schemas.openxmlformats.org/officeDocument/2006/relationships/tags" Target="../tags/tag1360.xml"/><Relationship Id="rId40" Type="http://schemas.openxmlformats.org/officeDocument/2006/relationships/tags" Target="../tags/tag1363.xml"/><Relationship Id="rId45" Type="http://schemas.openxmlformats.org/officeDocument/2006/relationships/image" Target="../media/image1.emf"/><Relationship Id="rId5" Type="http://schemas.openxmlformats.org/officeDocument/2006/relationships/tags" Target="../tags/tag1328.xml"/><Relationship Id="rId15" Type="http://schemas.openxmlformats.org/officeDocument/2006/relationships/tags" Target="../tags/tag1338.xml"/><Relationship Id="rId23" Type="http://schemas.openxmlformats.org/officeDocument/2006/relationships/tags" Target="../tags/tag1346.xml"/><Relationship Id="rId28" Type="http://schemas.openxmlformats.org/officeDocument/2006/relationships/tags" Target="../tags/tag1351.xml"/><Relationship Id="rId36" Type="http://schemas.openxmlformats.org/officeDocument/2006/relationships/tags" Target="../tags/tag1359.xml"/><Relationship Id="rId49" Type="http://schemas.openxmlformats.org/officeDocument/2006/relationships/chart" Target="../charts/chart90.xml"/><Relationship Id="rId10" Type="http://schemas.openxmlformats.org/officeDocument/2006/relationships/tags" Target="../tags/tag1333.xml"/><Relationship Id="rId19" Type="http://schemas.openxmlformats.org/officeDocument/2006/relationships/tags" Target="../tags/tag1342.xml"/><Relationship Id="rId31" Type="http://schemas.openxmlformats.org/officeDocument/2006/relationships/tags" Target="../tags/tag1354.xml"/><Relationship Id="rId44" Type="http://schemas.openxmlformats.org/officeDocument/2006/relationships/oleObject" Target="../embeddings/oleObject35.bin"/><Relationship Id="rId4" Type="http://schemas.openxmlformats.org/officeDocument/2006/relationships/tags" Target="../tags/tag1327.xml"/><Relationship Id="rId9" Type="http://schemas.openxmlformats.org/officeDocument/2006/relationships/tags" Target="../tags/tag1332.xml"/><Relationship Id="rId14" Type="http://schemas.openxmlformats.org/officeDocument/2006/relationships/tags" Target="../tags/tag1337.xml"/><Relationship Id="rId22" Type="http://schemas.openxmlformats.org/officeDocument/2006/relationships/tags" Target="../tags/tag1345.xml"/><Relationship Id="rId27" Type="http://schemas.openxmlformats.org/officeDocument/2006/relationships/tags" Target="../tags/tag1350.xml"/><Relationship Id="rId30" Type="http://schemas.openxmlformats.org/officeDocument/2006/relationships/tags" Target="../tags/tag1353.xml"/><Relationship Id="rId35" Type="http://schemas.openxmlformats.org/officeDocument/2006/relationships/tags" Target="../tags/tag1358.xml"/><Relationship Id="rId43" Type="http://schemas.openxmlformats.org/officeDocument/2006/relationships/notesSlide" Target="../notesSlides/notesSlide30.xml"/><Relationship Id="rId48" Type="http://schemas.openxmlformats.org/officeDocument/2006/relationships/chart" Target="../charts/chart89.xml"/><Relationship Id="rId8" Type="http://schemas.openxmlformats.org/officeDocument/2006/relationships/tags" Target="../tags/tag1331.xml"/><Relationship Id="rId51" Type="http://schemas.openxmlformats.org/officeDocument/2006/relationships/image" Target="../media/image70.png"/><Relationship Id="rId3" Type="http://schemas.openxmlformats.org/officeDocument/2006/relationships/tags" Target="../tags/tag1326.xml"/><Relationship Id="rId12" Type="http://schemas.openxmlformats.org/officeDocument/2006/relationships/tags" Target="../tags/tag1335.xml"/><Relationship Id="rId17" Type="http://schemas.openxmlformats.org/officeDocument/2006/relationships/tags" Target="../tags/tag1340.xml"/><Relationship Id="rId25" Type="http://schemas.openxmlformats.org/officeDocument/2006/relationships/tags" Target="../tags/tag1348.xml"/><Relationship Id="rId33" Type="http://schemas.openxmlformats.org/officeDocument/2006/relationships/tags" Target="../tags/tag1356.xml"/><Relationship Id="rId38" Type="http://schemas.openxmlformats.org/officeDocument/2006/relationships/tags" Target="../tags/tag1361.xml"/><Relationship Id="rId46" Type="http://schemas.openxmlformats.org/officeDocument/2006/relationships/image" Target="../media/image69.emf"/><Relationship Id="rId20" Type="http://schemas.openxmlformats.org/officeDocument/2006/relationships/tags" Target="../tags/tag1343.xml"/><Relationship Id="rId41" Type="http://schemas.openxmlformats.org/officeDocument/2006/relationships/tags" Target="../tags/tag1364.xml"/><Relationship Id="rId1" Type="http://schemas.openxmlformats.org/officeDocument/2006/relationships/tags" Target="../tags/tag1324.xml"/><Relationship Id="rId6" Type="http://schemas.openxmlformats.org/officeDocument/2006/relationships/tags" Target="../tags/tag1329.xml"/></Relationships>
</file>

<file path=ppt/slides/_rels/slide35.xml.rels><?xml version="1.0" encoding="UTF-8" standalone="yes"?>
<Relationships xmlns="http://schemas.openxmlformats.org/package/2006/relationships"><Relationship Id="rId13" Type="http://schemas.openxmlformats.org/officeDocument/2006/relationships/tags" Target="../tags/tag1377.xml"/><Relationship Id="rId18" Type="http://schemas.openxmlformats.org/officeDocument/2006/relationships/tags" Target="../tags/tag1382.xml"/><Relationship Id="rId26" Type="http://schemas.openxmlformats.org/officeDocument/2006/relationships/tags" Target="../tags/tag1390.xml"/><Relationship Id="rId39" Type="http://schemas.openxmlformats.org/officeDocument/2006/relationships/chart" Target="../charts/chart92.xml"/><Relationship Id="rId21" Type="http://schemas.openxmlformats.org/officeDocument/2006/relationships/tags" Target="../tags/tag1385.xml"/><Relationship Id="rId34" Type="http://schemas.openxmlformats.org/officeDocument/2006/relationships/notesSlide" Target="../notesSlides/notesSlide31.xml"/><Relationship Id="rId42" Type="http://schemas.openxmlformats.org/officeDocument/2006/relationships/image" Target="../media/image72.jpeg"/><Relationship Id="rId7" Type="http://schemas.openxmlformats.org/officeDocument/2006/relationships/tags" Target="../tags/tag1371.xml"/><Relationship Id="rId2" Type="http://schemas.openxmlformats.org/officeDocument/2006/relationships/tags" Target="../tags/tag1366.xml"/><Relationship Id="rId16" Type="http://schemas.openxmlformats.org/officeDocument/2006/relationships/tags" Target="../tags/tag1380.xml"/><Relationship Id="rId20" Type="http://schemas.openxmlformats.org/officeDocument/2006/relationships/tags" Target="../tags/tag1384.xml"/><Relationship Id="rId29" Type="http://schemas.openxmlformats.org/officeDocument/2006/relationships/tags" Target="../tags/tag1393.xml"/><Relationship Id="rId41" Type="http://schemas.openxmlformats.org/officeDocument/2006/relationships/image" Target="../media/image2.png"/><Relationship Id="rId1" Type="http://schemas.openxmlformats.org/officeDocument/2006/relationships/tags" Target="../tags/tag1365.xml"/><Relationship Id="rId6" Type="http://schemas.openxmlformats.org/officeDocument/2006/relationships/tags" Target="../tags/tag1370.xml"/><Relationship Id="rId11" Type="http://schemas.openxmlformats.org/officeDocument/2006/relationships/tags" Target="../tags/tag1375.xml"/><Relationship Id="rId24" Type="http://schemas.openxmlformats.org/officeDocument/2006/relationships/tags" Target="../tags/tag1388.xml"/><Relationship Id="rId32" Type="http://schemas.openxmlformats.org/officeDocument/2006/relationships/tags" Target="../tags/tag1396.xml"/><Relationship Id="rId37" Type="http://schemas.openxmlformats.org/officeDocument/2006/relationships/image" Target="../media/image71.emf"/><Relationship Id="rId40" Type="http://schemas.openxmlformats.org/officeDocument/2006/relationships/chart" Target="../charts/chart93.xml"/><Relationship Id="rId5" Type="http://schemas.openxmlformats.org/officeDocument/2006/relationships/tags" Target="../tags/tag1369.xml"/><Relationship Id="rId15" Type="http://schemas.openxmlformats.org/officeDocument/2006/relationships/tags" Target="../tags/tag1379.xml"/><Relationship Id="rId23" Type="http://schemas.openxmlformats.org/officeDocument/2006/relationships/tags" Target="../tags/tag1387.xml"/><Relationship Id="rId28" Type="http://schemas.openxmlformats.org/officeDocument/2006/relationships/tags" Target="../tags/tag1392.xml"/><Relationship Id="rId36" Type="http://schemas.openxmlformats.org/officeDocument/2006/relationships/image" Target="../media/image1.emf"/><Relationship Id="rId10" Type="http://schemas.openxmlformats.org/officeDocument/2006/relationships/tags" Target="../tags/tag1374.xml"/><Relationship Id="rId19" Type="http://schemas.openxmlformats.org/officeDocument/2006/relationships/tags" Target="../tags/tag1383.xml"/><Relationship Id="rId31" Type="http://schemas.openxmlformats.org/officeDocument/2006/relationships/tags" Target="../tags/tag1395.xml"/><Relationship Id="rId4" Type="http://schemas.openxmlformats.org/officeDocument/2006/relationships/tags" Target="../tags/tag1368.xml"/><Relationship Id="rId9" Type="http://schemas.openxmlformats.org/officeDocument/2006/relationships/tags" Target="../tags/tag1373.xml"/><Relationship Id="rId14" Type="http://schemas.openxmlformats.org/officeDocument/2006/relationships/tags" Target="../tags/tag1378.xml"/><Relationship Id="rId22" Type="http://schemas.openxmlformats.org/officeDocument/2006/relationships/tags" Target="../tags/tag1386.xml"/><Relationship Id="rId27" Type="http://schemas.openxmlformats.org/officeDocument/2006/relationships/tags" Target="../tags/tag1391.xml"/><Relationship Id="rId30" Type="http://schemas.openxmlformats.org/officeDocument/2006/relationships/tags" Target="../tags/tag1394.xml"/><Relationship Id="rId35" Type="http://schemas.openxmlformats.org/officeDocument/2006/relationships/oleObject" Target="../embeddings/oleObject36.bin"/><Relationship Id="rId8" Type="http://schemas.openxmlformats.org/officeDocument/2006/relationships/tags" Target="../tags/tag1372.xml"/><Relationship Id="rId3" Type="http://schemas.openxmlformats.org/officeDocument/2006/relationships/tags" Target="../tags/tag1367.xml"/><Relationship Id="rId12" Type="http://schemas.openxmlformats.org/officeDocument/2006/relationships/tags" Target="../tags/tag1376.xml"/><Relationship Id="rId17" Type="http://schemas.openxmlformats.org/officeDocument/2006/relationships/tags" Target="../tags/tag1381.xml"/><Relationship Id="rId25" Type="http://schemas.openxmlformats.org/officeDocument/2006/relationships/tags" Target="../tags/tag1389.xml"/><Relationship Id="rId33" Type="http://schemas.openxmlformats.org/officeDocument/2006/relationships/slideLayout" Target="../slideLayouts/slideLayout2.xml"/><Relationship Id="rId38" Type="http://schemas.openxmlformats.org/officeDocument/2006/relationships/chart" Target="../charts/chart91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1409.xml"/><Relationship Id="rId18" Type="http://schemas.openxmlformats.org/officeDocument/2006/relationships/tags" Target="../tags/tag1414.xml"/><Relationship Id="rId26" Type="http://schemas.openxmlformats.org/officeDocument/2006/relationships/tags" Target="../tags/tag1422.xml"/><Relationship Id="rId39" Type="http://schemas.openxmlformats.org/officeDocument/2006/relationships/chart" Target="../charts/chart95.xml"/><Relationship Id="rId21" Type="http://schemas.openxmlformats.org/officeDocument/2006/relationships/tags" Target="../tags/tag1417.xml"/><Relationship Id="rId34" Type="http://schemas.openxmlformats.org/officeDocument/2006/relationships/notesSlide" Target="../notesSlides/notesSlide32.xml"/><Relationship Id="rId42" Type="http://schemas.openxmlformats.org/officeDocument/2006/relationships/image" Target="../media/image74.jpeg"/><Relationship Id="rId7" Type="http://schemas.openxmlformats.org/officeDocument/2006/relationships/tags" Target="../tags/tag1403.xml"/><Relationship Id="rId2" Type="http://schemas.openxmlformats.org/officeDocument/2006/relationships/tags" Target="../tags/tag1398.xml"/><Relationship Id="rId16" Type="http://schemas.openxmlformats.org/officeDocument/2006/relationships/tags" Target="../tags/tag1412.xml"/><Relationship Id="rId20" Type="http://schemas.openxmlformats.org/officeDocument/2006/relationships/tags" Target="../tags/tag1416.xml"/><Relationship Id="rId29" Type="http://schemas.openxmlformats.org/officeDocument/2006/relationships/tags" Target="../tags/tag1425.xml"/><Relationship Id="rId41" Type="http://schemas.openxmlformats.org/officeDocument/2006/relationships/image" Target="../media/image2.png"/><Relationship Id="rId1" Type="http://schemas.openxmlformats.org/officeDocument/2006/relationships/tags" Target="../tags/tag1397.xml"/><Relationship Id="rId6" Type="http://schemas.openxmlformats.org/officeDocument/2006/relationships/tags" Target="../tags/tag1402.xml"/><Relationship Id="rId11" Type="http://schemas.openxmlformats.org/officeDocument/2006/relationships/tags" Target="../tags/tag1407.xml"/><Relationship Id="rId24" Type="http://schemas.openxmlformats.org/officeDocument/2006/relationships/tags" Target="../tags/tag1420.xml"/><Relationship Id="rId32" Type="http://schemas.openxmlformats.org/officeDocument/2006/relationships/tags" Target="../tags/tag1428.xml"/><Relationship Id="rId37" Type="http://schemas.openxmlformats.org/officeDocument/2006/relationships/image" Target="../media/image73.emf"/><Relationship Id="rId40" Type="http://schemas.openxmlformats.org/officeDocument/2006/relationships/chart" Target="../charts/chart96.xml"/><Relationship Id="rId5" Type="http://schemas.openxmlformats.org/officeDocument/2006/relationships/tags" Target="../tags/tag1401.xml"/><Relationship Id="rId15" Type="http://schemas.openxmlformats.org/officeDocument/2006/relationships/tags" Target="../tags/tag1411.xml"/><Relationship Id="rId23" Type="http://schemas.openxmlformats.org/officeDocument/2006/relationships/tags" Target="../tags/tag1419.xml"/><Relationship Id="rId28" Type="http://schemas.openxmlformats.org/officeDocument/2006/relationships/tags" Target="../tags/tag1424.xml"/><Relationship Id="rId36" Type="http://schemas.openxmlformats.org/officeDocument/2006/relationships/image" Target="../media/image1.emf"/><Relationship Id="rId10" Type="http://schemas.openxmlformats.org/officeDocument/2006/relationships/tags" Target="../tags/tag1406.xml"/><Relationship Id="rId19" Type="http://schemas.openxmlformats.org/officeDocument/2006/relationships/tags" Target="../tags/tag1415.xml"/><Relationship Id="rId31" Type="http://schemas.openxmlformats.org/officeDocument/2006/relationships/tags" Target="../tags/tag1427.xml"/><Relationship Id="rId4" Type="http://schemas.openxmlformats.org/officeDocument/2006/relationships/tags" Target="../tags/tag1400.xml"/><Relationship Id="rId9" Type="http://schemas.openxmlformats.org/officeDocument/2006/relationships/tags" Target="../tags/tag1405.xml"/><Relationship Id="rId14" Type="http://schemas.openxmlformats.org/officeDocument/2006/relationships/tags" Target="../tags/tag1410.xml"/><Relationship Id="rId22" Type="http://schemas.openxmlformats.org/officeDocument/2006/relationships/tags" Target="../tags/tag1418.xml"/><Relationship Id="rId27" Type="http://schemas.openxmlformats.org/officeDocument/2006/relationships/tags" Target="../tags/tag1423.xml"/><Relationship Id="rId30" Type="http://schemas.openxmlformats.org/officeDocument/2006/relationships/tags" Target="../tags/tag1426.xml"/><Relationship Id="rId35" Type="http://schemas.openxmlformats.org/officeDocument/2006/relationships/oleObject" Target="../embeddings/oleObject37.bin"/><Relationship Id="rId8" Type="http://schemas.openxmlformats.org/officeDocument/2006/relationships/tags" Target="../tags/tag1404.xml"/><Relationship Id="rId3" Type="http://schemas.openxmlformats.org/officeDocument/2006/relationships/tags" Target="../tags/tag1399.xml"/><Relationship Id="rId12" Type="http://schemas.openxmlformats.org/officeDocument/2006/relationships/tags" Target="../tags/tag1408.xml"/><Relationship Id="rId17" Type="http://schemas.openxmlformats.org/officeDocument/2006/relationships/tags" Target="../tags/tag1413.xml"/><Relationship Id="rId25" Type="http://schemas.openxmlformats.org/officeDocument/2006/relationships/tags" Target="../tags/tag1421.xml"/><Relationship Id="rId33" Type="http://schemas.openxmlformats.org/officeDocument/2006/relationships/slideLayout" Target="../slideLayouts/slideLayout2.xml"/><Relationship Id="rId38" Type="http://schemas.openxmlformats.org/officeDocument/2006/relationships/chart" Target="../charts/chart94.xml"/></Relationships>
</file>

<file path=ppt/slides/_rels/slide37.xml.rels><?xml version="1.0" encoding="UTF-8" standalone="yes"?>
<Relationships xmlns="http://schemas.openxmlformats.org/package/2006/relationships"><Relationship Id="rId13" Type="http://schemas.openxmlformats.org/officeDocument/2006/relationships/tags" Target="../tags/tag1441.xml"/><Relationship Id="rId18" Type="http://schemas.openxmlformats.org/officeDocument/2006/relationships/tags" Target="../tags/tag1446.xml"/><Relationship Id="rId26" Type="http://schemas.openxmlformats.org/officeDocument/2006/relationships/tags" Target="../tags/tag1454.xml"/><Relationship Id="rId39" Type="http://schemas.openxmlformats.org/officeDocument/2006/relationships/chart" Target="../charts/chart98.xml"/><Relationship Id="rId21" Type="http://schemas.openxmlformats.org/officeDocument/2006/relationships/tags" Target="../tags/tag1449.xml"/><Relationship Id="rId34" Type="http://schemas.openxmlformats.org/officeDocument/2006/relationships/notesSlide" Target="../notesSlides/notesSlide33.xml"/><Relationship Id="rId42" Type="http://schemas.openxmlformats.org/officeDocument/2006/relationships/image" Target="../media/image76.jpeg"/><Relationship Id="rId7" Type="http://schemas.openxmlformats.org/officeDocument/2006/relationships/tags" Target="../tags/tag1435.xml"/><Relationship Id="rId2" Type="http://schemas.openxmlformats.org/officeDocument/2006/relationships/tags" Target="../tags/tag1430.xml"/><Relationship Id="rId16" Type="http://schemas.openxmlformats.org/officeDocument/2006/relationships/tags" Target="../tags/tag1444.xml"/><Relationship Id="rId20" Type="http://schemas.openxmlformats.org/officeDocument/2006/relationships/tags" Target="../tags/tag1448.xml"/><Relationship Id="rId29" Type="http://schemas.openxmlformats.org/officeDocument/2006/relationships/tags" Target="../tags/tag1457.xml"/><Relationship Id="rId41" Type="http://schemas.openxmlformats.org/officeDocument/2006/relationships/image" Target="../media/image2.png"/><Relationship Id="rId1" Type="http://schemas.openxmlformats.org/officeDocument/2006/relationships/tags" Target="../tags/tag1429.xml"/><Relationship Id="rId6" Type="http://schemas.openxmlformats.org/officeDocument/2006/relationships/tags" Target="../tags/tag1434.xml"/><Relationship Id="rId11" Type="http://schemas.openxmlformats.org/officeDocument/2006/relationships/tags" Target="../tags/tag1439.xml"/><Relationship Id="rId24" Type="http://schemas.openxmlformats.org/officeDocument/2006/relationships/tags" Target="../tags/tag1452.xml"/><Relationship Id="rId32" Type="http://schemas.openxmlformats.org/officeDocument/2006/relationships/tags" Target="../tags/tag1460.xml"/><Relationship Id="rId37" Type="http://schemas.openxmlformats.org/officeDocument/2006/relationships/image" Target="../media/image75.emf"/><Relationship Id="rId40" Type="http://schemas.openxmlformats.org/officeDocument/2006/relationships/chart" Target="../charts/chart99.xml"/><Relationship Id="rId5" Type="http://schemas.openxmlformats.org/officeDocument/2006/relationships/tags" Target="../tags/tag1433.xml"/><Relationship Id="rId15" Type="http://schemas.openxmlformats.org/officeDocument/2006/relationships/tags" Target="../tags/tag1443.xml"/><Relationship Id="rId23" Type="http://schemas.openxmlformats.org/officeDocument/2006/relationships/tags" Target="../tags/tag1451.xml"/><Relationship Id="rId28" Type="http://schemas.openxmlformats.org/officeDocument/2006/relationships/tags" Target="../tags/tag1456.xml"/><Relationship Id="rId36" Type="http://schemas.openxmlformats.org/officeDocument/2006/relationships/image" Target="../media/image1.emf"/><Relationship Id="rId10" Type="http://schemas.openxmlformats.org/officeDocument/2006/relationships/tags" Target="../tags/tag1438.xml"/><Relationship Id="rId19" Type="http://schemas.openxmlformats.org/officeDocument/2006/relationships/tags" Target="../tags/tag1447.xml"/><Relationship Id="rId31" Type="http://schemas.openxmlformats.org/officeDocument/2006/relationships/tags" Target="../tags/tag1459.xml"/><Relationship Id="rId4" Type="http://schemas.openxmlformats.org/officeDocument/2006/relationships/tags" Target="../tags/tag1432.xml"/><Relationship Id="rId9" Type="http://schemas.openxmlformats.org/officeDocument/2006/relationships/tags" Target="../tags/tag1437.xml"/><Relationship Id="rId14" Type="http://schemas.openxmlformats.org/officeDocument/2006/relationships/tags" Target="../tags/tag1442.xml"/><Relationship Id="rId22" Type="http://schemas.openxmlformats.org/officeDocument/2006/relationships/tags" Target="../tags/tag1450.xml"/><Relationship Id="rId27" Type="http://schemas.openxmlformats.org/officeDocument/2006/relationships/tags" Target="../tags/tag1455.xml"/><Relationship Id="rId30" Type="http://schemas.openxmlformats.org/officeDocument/2006/relationships/tags" Target="../tags/tag1458.xml"/><Relationship Id="rId35" Type="http://schemas.openxmlformats.org/officeDocument/2006/relationships/oleObject" Target="../embeddings/oleObject38.bin"/><Relationship Id="rId8" Type="http://schemas.openxmlformats.org/officeDocument/2006/relationships/tags" Target="../tags/tag1436.xml"/><Relationship Id="rId3" Type="http://schemas.openxmlformats.org/officeDocument/2006/relationships/tags" Target="../tags/tag1431.xml"/><Relationship Id="rId12" Type="http://schemas.openxmlformats.org/officeDocument/2006/relationships/tags" Target="../tags/tag1440.xml"/><Relationship Id="rId17" Type="http://schemas.openxmlformats.org/officeDocument/2006/relationships/tags" Target="../tags/tag1445.xml"/><Relationship Id="rId25" Type="http://schemas.openxmlformats.org/officeDocument/2006/relationships/tags" Target="../tags/tag1453.xml"/><Relationship Id="rId33" Type="http://schemas.openxmlformats.org/officeDocument/2006/relationships/slideLayout" Target="../slideLayouts/slideLayout2.xml"/><Relationship Id="rId38" Type="http://schemas.openxmlformats.org/officeDocument/2006/relationships/chart" Target="../charts/chart97.xml"/></Relationships>
</file>

<file path=ppt/slides/_rels/slide38.xml.rels><?xml version="1.0" encoding="UTF-8" standalone="yes"?>
<Relationships xmlns="http://schemas.openxmlformats.org/package/2006/relationships"><Relationship Id="rId13" Type="http://schemas.openxmlformats.org/officeDocument/2006/relationships/tags" Target="../tags/tag1473.xml"/><Relationship Id="rId18" Type="http://schemas.openxmlformats.org/officeDocument/2006/relationships/tags" Target="../tags/tag1478.xml"/><Relationship Id="rId26" Type="http://schemas.openxmlformats.org/officeDocument/2006/relationships/tags" Target="../tags/tag1486.xml"/><Relationship Id="rId39" Type="http://schemas.openxmlformats.org/officeDocument/2006/relationships/chart" Target="../charts/chart100.xml"/><Relationship Id="rId21" Type="http://schemas.openxmlformats.org/officeDocument/2006/relationships/tags" Target="../tags/tag1481.xml"/><Relationship Id="rId34" Type="http://schemas.openxmlformats.org/officeDocument/2006/relationships/slideLayout" Target="../slideLayouts/slideLayout2.xml"/><Relationship Id="rId42" Type="http://schemas.openxmlformats.org/officeDocument/2006/relationships/image" Target="../media/image2.png"/><Relationship Id="rId7" Type="http://schemas.openxmlformats.org/officeDocument/2006/relationships/tags" Target="../tags/tag1467.xml"/><Relationship Id="rId2" Type="http://schemas.openxmlformats.org/officeDocument/2006/relationships/tags" Target="../tags/tag1462.xml"/><Relationship Id="rId16" Type="http://schemas.openxmlformats.org/officeDocument/2006/relationships/tags" Target="../tags/tag1476.xml"/><Relationship Id="rId20" Type="http://schemas.openxmlformats.org/officeDocument/2006/relationships/tags" Target="../tags/tag1480.xml"/><Relationship Id="rId29" Type="http://schemas.openxmlformats.org/officeDocument/2006/relationships/tags" Target="../tags/tag1489.xml"/><Relationship Id="rId41" Type="http://schemas.openxmlformats.org/officeDocument/2006/relationships/chart" Target="../charts/chart102.xml"/><Relationship Id="rId1" Type="http://schemas.openxmlformats.org/officeDocument/2006/relationships/tags" Target="../tags/tag1461.xml"/><Relationship Id="rId6" Type="http://schemas.openxmlformats.org/officeDocument/2006/relationships/tags" Target="../tags/tag1466.xml"/><Relationship Id="rId11" Type="http://schemas.openxmlformats.org/officeDocument/2006/relationships/tags" Target="../tags/tag1471.xml"/><Relationship Id="rId24" Type="http://schemas.openxmlformats.org/officeDocument/2006/relationships/tags" Target="../tags/tag1484.xml"/><Relationship Id="rId32" Type="http://schemas.openxmlformats.org/officeDocument/2006/relationships/tags" Target="../tags/tag1492.xml"/><Relationship Id="rId37" Type="http://schemas.openxmlformats.org/officeDocument/2006/relationships/image" Target="../media/image1.emf"/><Relationship Id="rId40" Type="http://schemas.openxmlformats.org/officeDocument/2006/relationships/chart" Target="../charts/chart101.xml"/><Relationship Id="rId5" Type="http://schemas.openxmlformats.org/officeDocument/2006/relationships/tags" Target="../tags/tag1465.xml"/><Relationship Id="rId15" Type="http://schemas.openxmlformats.org/officeDocument/2006/relationships/tags" Target="../tags/tag1475.xml"/><Relationship Id="rId23" Type="http://schemas.openxmlformats.org/officeDocument/2006/relationships/tags" Target="../tags/tag1483.xml"/><Relationship Id="rId28" Type="http://schemas.openxmlformats.org/officeDocument/2006/relationships/tags" Target="../tags/tag1488.xml"/><Relationship Id="rId36" Type="http://schemas.openxmlformats.org/officeDocument/2006/relationships/oleObject" Target="../embeddings/oleObject39.bin"/><Relationship Id="rId10" Type="http://schemas.openxmlformats.org/officeDocument/2006/relationships/tags" Target="../tags/tag1470.xml"/><Relationship Id="rId19" Type="http://schemas.openxmlformats.org/officeDocument/2006/relationships/tags" Target="../tags/tag1479.xml"/><Relationship Id="rId31" Type="http://schemas.openxmlformats.org/officeDocument/2006/relationships/tags" Target="../tags/tag1491.xml"/><Relationship Id="rId4" Type="http://schemas.openxmlformats.org/officeDocument/2006/relationships/tags" Target="../tags/tag1464.xml"/><Relationship Id="rId9" Type="http://schemas.openxmlformats.org/officeDocument/2006/relationships/tags" Target="../tags/tag1469.xml"/><Relationship Id="rId14" Type="http://schemas.openxmlformats.org/officeDocument/2006/relationships/tags" Target="../tags/tag1474.xml"/><Relationship Id="rId22" Type="http://schemas.openxmlformats.org/officeDocument/2006/relationships/tags" Target="../tags/tag1482.xml"/><Relationship Id="rId27" Type="http://schemas.openxmlformats.org/officeDocument/2006/relationships/tags" Target="../tags/tag1487.xml"/><Relationship Id="rId30" Type="http://schemas.openxmlformats.org/officeDocument/2006/relationships/tags" Target="../tags/tag1490.xml"/><Relationship Id="rId35" Type="http://schemas.openxmlformats.org/officeDocument/2006/relationships/notesSlide" Target="../notesSlides/notesSlide34.xml"/><Relationship Id="rId43" Type="http://schemas.openxmlformats.org/officeDocument/2006/relationships/image" Target="../media/image78.jpeg"/><Relationship Id="rId8" Type="http://schemas.openxmlformats.org/officeDocument/2006/relationships/tags" Target="../tags/tag1468.xml"/><Relationship Id="rId3" Type="http://schemas.openxmlformats.org/officeDocument/2006/relationships/tags" Target="../tags/tag1463.xml"/><Relationship Id="rId12" Type="http://schemas.openxmlformats.org/officeDocument/2006/relationships/tags" Target="../tags/tag1472.xml"/><Relationship Id="rId17" Type="http://schemas.openxmlformats.org/officeDocument/2006/relationships/tags" Target="../tags/tag1477.xml"/><Relationship Id="rId25" Type="http://schemas.openxmlformats.org/officeDocument/2006/relationships/tags" Target="../tags/tag1485.xml"/><Relationship Id="rId33" Type="http://schemas.openxmlformats.org/officeDocument/2006/relationships/tags" Target="../tags/tag1493.xml"/><Relationship Id="rId38" Type="http://schemas.openxmlformats.org/officeDocument/2006/relationships/image" Target="../media/image7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image" Target="../media/image3.emf"/><Relationship Id="rId3" Type="http://schemas.openxmlformats.org/officeDocument/2006/relationships/tags" Target="../tags/tag21.xml"/><Relationship Id="rId21" Type="http://schemas.openxmlformats.org/officeDocument/2006/relationships/image" Target="../media/image11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oleObject" Target="../embeddings/oleObject5.bin"/><Relationship Id="rId2" Type="http://schemas.openxmlformats.org/officeDocument/2006/relationships/tags" Target="../tags/tag20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10.emf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2.jpeg"/><Relationship Id="rId10" Type="http://schemas.openxmlformats.org/officeDocument/2006/relationships/tags" Target="../tags/tag28.xml"/><Relationship Id="rId19" Type="http://schemas.openxmlformats.org/officeDocument/2006/relationships/image" Target="../media/image9.emf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4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6" Type="http://schemas.openxmlformats.org/officeDocument/2006/relationships/image" Target="../media/image2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59.xml"/><Relationship Id="rId21" Type="http://schemas.openxmlformats.org/officeDocument/2006/relationships/tags" Target="../tags/tag54.xml"/><Relationship Id="rId42" Type="http://schemas.openxmlformats.org/officeDocument/2006/relationships/tags" Target="../tags/tag75.xml"/><Relationship Id="rId47" Type="http://schemas.openxmlformats.org/officeDocument/2006/relationships/tags" Target="../tags/tag80.xml"/><Relationship Id="rId63" Type="http://schemas.openxmlformats.org/officeDocument/2006/relationships/tags" Target="../tags/tag96.xml"/><Relationship Id="rId68" Type="http://schemas.openxmlformats.org/officeDocument/2006/relationships/tags" Target="../tags/tag101.xml"/><Relationship Id="rId84" Type="http://schemas.openxmlformats.org/officeDocument/2006/relationships/chart" Target="../charts/chart4.xml"/><Relationship Id="rId16" Type="http://schemas.openxmlformats.org/officeDocument/2006/relationships/tags" Target="../tags/tag49.xml"/><Relationship Id="rId11" Type="http://schemas.openxmlformats.org/officeDocument/2006/relationships/tags" Target="../tags/tag44.xml"/><Relationship Id="rId32" Type="http://schemas.openxmlformats.org/officeDocument/2006/relationships/tags" Target="../tags/tag65.xml"/><Relationship Id="rId37" Type="http://schemas.openxmlformats.org/officeDocument/2006/relationships/tags" Target="../tags/tag70.xml"/><Relationship Id="rId53" Type="http://schemas.openxmlformats.org/officeDocument/2006/relationships/tags" Target="../tags/tag86.xml"/><Relationship Id="rId58" Type="http://schemas.openxmlformats.org/officeDocument/2006/relationships/tags" Target="../tags/tag91.xml"/><Relationship Id="rId74" Type="http://schemas.openxmlformats.org/officeDocument/2006/relationships/tags" Target="../tags/tag107.xml"/><Relationship Id="rId79" Type="http://schemas.openxmlformats.org/officeDocument/2006/relationships/oleObject" Target="../embeddings/oleObject7.bin"/><Relationship Id="rId5" Type="http://schemas.openxmlformats.org/officeDocument/2006/relationships/tags" Target="../tags/tag38.xml"/><Relationship Id="rId19" Type="http://schemas.openxmlformats.org/officeDocument/2006/relationships/tags" Target="../tags/tag5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tags" Target="../tags/tag63.xml"/><Relationship Id="rId35" Type="http://schemas.openxmlformats.org/officeDocument/2006/relationships/tags" Target="../tags/tag68.xml"/><Relationship Id="rId43" Type="http://schemas.openxmlformats.org/officeDocument/2006/relationships/tags" Target="../tags/tag76.xml"/><Relationship Id="rId48" Type="http://schemas.openxmlformats.org/officeDocument/2006/relationships/tags" Target="../tags/tag81.xml"/><Relationship Id="rId56" Type="http://schemas.openxmlformats.org/officeDocument/2006/relationships/tags" Target="../tags/tag89.xml"/><Relationship Id="rId64" Type="http://schemas.openxmlformats.org/officeDocument/2006/relationships/tags" Target="../tags/tag97.xml"/><Relationship Id="rId69" Type="http://schemas.openxmlformats.org/officeDocument/2006/relationships/tags" Target="../tags/tag102.xml"/><Relationship Id="rId77" Type="http://schemas.openxmlformats.org/officeDocument/2006/relationships/slideLayout" Target="../slideLayouts/slideLayout2.xml"/><Relationship Id="rId8" Type="http://schemas.openxmlformats.org/officeDocument/2006/relationships/tags" Target="../tags/tag41.xml"/><Relationship Id="rId51" Type="http://schemas.openxmlformats.org/officeDocument/2006/relationships/tags" Target="../tags/tag84.xml"/><Relationship Id="rId72" Type="http://schemas.openxmlformats.org/officeDocument/2006/relationships/tags" Target="../tags/tag105.xml"/><Relationship Id="rId80" Type="http://schemas.openxmlformats.org/officeDocument/2006/relationships/image" Target="../media/image3.emf"/><Relationship Id="rId85" Type="http://schemas.openxmlformats.org/officeDocument/2006/relationships/chart" Target="../charts/chart5.xml"/><Relationship Id="rId3" Type="http://schemas.openxmlformats.org/officeDocument/2006/relationships/tags" Target="../tags/tag36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tags" Target="../tags/tag66.xml"/><Relationship Id="rId38" Type="http://schemas.openxmlformats.org/officeDocument/2006/relationships/tags" Target="../tags/tag71.xml"/><Relationship Id="rId46" Type="http://schemas.openxmlformats.org/officeDocument/2006/relationships/tags" Target="../tags/tag79.xml"/><Relationship Id="rId59" Type="http://schemas.openxmlformats.org/officeDocument/2006/relationships/tags" Target="../tags/tag92.xml"/><Relationship Id="rId67" Type="http://schemas.openxmlformats.org/officeDocument/2006/relationships/tags" Target="../tags/tag100.xml"/><Relationship Id="rId20" Type="http://schemas.openxmlformats.org/officeDocument/2006/relationships/tags" Target="../tags/tag53.xml"/><Relationship Id="rId41" Type="http://schemas.openxmlformats.org/officeDocument/2006/relationships/tags" Target="../tags/tag74.xml"/><Relationship Id="rId54" Type="http://schemas.openxmlformats.org/officeDocument/2006/relationships/tags" Target="../tags/tag87.xml"/><Relationship Id="rId62" Type="http://schemas.openxmlformats.org/officeDocument/2006/relationships/tags" Target="../tags/tag95.xml"/><Relationship Id="rId70" Type="http://schemas.openxmlformats.org/officeDocument/2006/relationships/tags" Target="../tags/tag103.xml"/><Relationship Id="rId75" Type="http://schemas.openxmlformats.org/officeDocument/2006/relationships/tags" Target="../tags/tag108.xml"/><Relationship Id="rId83" Type="http://schemas.openxmlformats.org/officeDocument/2006/relationships/chart" Target="../charts/chart3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tags" Target="../tags/tag69.xml"/><Relationship Id="rId49" Type="http://schemas.openxmlformats.org/officeDocument/2006/relationships/tags" Target="../tags/tag82.xml"/><Relationship Id="rId57" Type="http://schemas.openxmlformats.org/officeDocument/2006/relationships/tags" Target="../tags/tag90.xml"/><Relationship Id="rId10" Type="http://schemas.openxmlformats.org/officeDocument/2006/relationships/tags" Target="../tags/tag43.xml"/><Relationship Id="rId31" Type="http://schemas.openxmlformats.org/officeDocument/2006/relationships/tags" Target="../tags/tag64.xml"/><Relationship Id="rId44" Type="http://schemas.openxmlformats.org/officeDocument/2006/relationships/tags" Target="../tags/tag77.xml"/><Relationship Id="rId52" Type="http://schemas.openxmlformats.org/officeDocument/2006/relationships/tags" Target="../tags/tag85.xml"/><Relationship Id="rId60" Type="http://schemas.openxmlformats.org/officeDocument/2006/relationships/tags" Target="../tags/tag93.xml"/><Relationship Id="rId65" Type="http://schemas.openxmlformats.org/officeDocument/2006/relationships/tags" Target="../tags/tag98.xml"/><Relationship Id="rId73" Type="http://schemas.openxmlformats.org/officeDocument/2006/relationships/tags" Target="../tags/tag106.xml"/><Relationship Id="rId78" Type="http://schemas.openxmlformats.org/officeDocument/2006/relationships/notesSlide" Target="../notesSlides/notesSlide4.xml"/><Relationship Id="rId81" Type="http://schemas.openxmlformats.org/officeDocument/2006/relationships/image" Target="../media/image15.emf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39" Type="http://schemas.openxmlformats.org/officeDocument/2006/relationships/tags" Target="../tags/tag72.xml"/><Relationship Id="rId34" Type="http://schemas.openxmlformats.org/officeDocument/2006/relationships/tags" Target="../tags/tag67.xml"/><Relationship Id="rId50" Type="http://schemas.openxmlformats.org/officeDocument/2006/relationships/tags" Target="../tags/tag83.xml"/><Relationship Id="rId55" Type="http://schemas.openxmlformats.org/officeDocument/2006/relationships/tags" Target="../tags/tag88.xml"/><Relationship Id="rId76" Type="http://schemas.openxmlformats.org/officeDocument/2006/relationships/tags" Target="../tags/tag109.xml"/><Relationship Id="rId7" Type="http://schemas.openxmlformats.org/officeDocument/2006/relationships/tags" Target="../tags/tag40.xml"/><Relationship Id="rId71" Type="http://schemas.openxmlformats.org/officeDocument/2006/relationships/tags" Target="../tags/tag104.xml"/><Relationship Id="rId2" Type="http://schemas.openxmlformats.org/officeDocument/2006/relationships/tags" Target="../tags/tag35.xml"/><Relationship Id="rId29" Type="http://schemas.openxmlformats.org/officeDocument/2006/relationships/tags" Target="../tags/tag62.xml"/><Relationship Id="rId24" Type="http://schemas.openxmlformats.org/officeDocument/2006/relationships/tags" Target="../tags/tag57.xml"/><Relationship Id="rId40" Type="http://schemas.openxmlformats.org/officeDocument/2006/relationships/tags" Target="../tags/tag73.xml"/><Relationship Id="rId45" Type="http://schemas.openxmlformats.org/officeDocument/2006/relationships/tags" Target="../tags/tag78.xml"/><Relationship Id="rId66" Type="http://schemas.openxmlformats.org/officeDocument/2006/relationships/tags" Target="../tags/tag99.xml"/><Relationship Id="rId61" Type="http://schemas.openxmlformats.org/officeDocument/2006/relationships/tags" Target="../tags/tag94.xml"/><Relationship Id="rId82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135.xml"/><Relationship Id="rId117" Type="http://schemas.openxmlformats.org/officeDocument/2006/relationships/tags" Target="../tags/tag226.xml"/><Relationship Id="rId21" Type="http://schemas.openxmlformats.org/officeDocument/2006/relationships/tags" Target="../tags/tag130.xml"/><Relationship Id="rId42" Type="http://schemas.openxmlformats.org/officeDocument/2006/relationships/tags" Target="../tags/tag151.xml"/><Relationship Id="rId47" Type="http://schemas.openxmlformats.org/officeDocument/2006/relationships/tags" Target="../tags/tag156.xml"/><Relationship Id="rId63" Type="http://schemas.openxmlformats.org/officeDocument/2006/relationships/tags" Target="../tags/tag172.xml"/><Relationship Id="rId68" Type="http://schemas.openxmlformats.org/officeDocument/2006/relationships/tags" Target="../tags/tag177.xml"/><Relationship Id="rId84" Type="http://schemas.openxmlformats.org/officeDocument/2006/relationships/tags" Target="../tags/tag193.xml"/><Relationship Id="rId89" Type="http://schemas.openxmlformats.org/officeDocument/2006/relationships/tags" Target="../tags/tag198.xml"/><Relationship Id="rId112" Type="http://schemas.openxmlformats.org/officeDocument/2006/relationships/tags" Target="../tags/tag221.xml"/><Relationship Id="rId16" Type="http://schemas.openxmlformats.org/officeDocument/2006/relationships/tags" Target="../tags/tag125.xml"/><Relationship Id="rId107" Type="http://schemas.openxmlformats.org/officeDocument/2006/relationships/tags" Target="../tags/tag216.xml"/><Relationship Id="rId11" Type="http://schemas.openxmlformats.org/officeDocument/2006/relationships/tags" Target="../tags/tag120.xml"/><Relationship Id="rId32" Type="http://schemas.openxmlformats.org/officeDocument/2006/relationships/tags" Target="../tags/tag141.xml"/><Relationship Id="rId37" Type="http://schemas.openxmlformats.org/officeDocument/2006/relationships/tags" Target="../tags/tag146.xml"/><Relationship Id="rId53" Type="http://schemas.openxmlformats.org/officeDocument/2006/relationships/tags" Target="../tags/tag162.xml"/><Relationship Id="rId58" Type="http://schemas.openxmlformats.org/officeDocument/2006/relationships/tags" Target="../tags/tag167.xml"/><Relationship Id="rId74" Type="http://schemas.openxmlformats.org/officeDocument/2006/relationships/tags" Target="../tags/tag183.xml"/><Relationship Id="rId79" Type="http://schemas.openxmlformats.org/officeDocument/2006/relationships/tags" Target="../tags/tag188.xml"/><Relationship Id="rId102" Type="http://schemas.openxmlformats.org/officeDocument/2006/relationships/tags" Target="../tags/tag211.xml"/><Relationship Id="rId123" Type="http://schemas.openxmlformats.org/officeDocument/2006/relationships/image" Target="../media/image16.png"/><Relationship Id="rId128" Type="http://schemas.openxmlformats.org/officeDocument/2006/relationships/chart" Target="../charts/chart10.xml"/><Relationship Id="rId5" Type="http://schemas.openxmlformats.org/officeDocument/2006/relationships/tags" Target="../tags/tag114.xml"/><Relationship Id="rId90" Type="http://schemas.openxmlformats.org/officeDocument/2006/relationships/tags" Target="../tags/tag199.xml"/><Relationship Id="rId95" Type="http://schemas.openxmlformats.org/officeDocument/2006/relationships/tags" Target="../tags/tag204.xml"/><Relationship Id="rId22" Type="http://schemas.openxmlformats.org/officeDocument/2006/relationships/tags" Target="../tags/tag131.xml"/><Relationship Id="rId27" Type="http://schemas.openxmlformats.org/officeDocument/2006/relationships/tags" Target="../tags/tag136.xml"/><Relationship Id="rId43" Type="http://schemas.openxmlformats.org/officeDocument/2006/relationships/tags" Target="../tags/tag152.xml"/><Relationship Id="rId48" Type="http://schemas.openxmlformats.org/officeDocument/2006/relationships/tags" Target="../tags/tag157.xml"/><Relationship Id="rId64" Type="http://schemas.openxmlformats.org/officeDocument/2006/relationships/tags" Target="../tags/tag173.xml"/><Relationship Id="rId69" Type="http://schemas.openxmlformats.org/officeDocument/2006/relationships/tags" Target="../tags/tag178.xml"/><Relationship Id="rId113" Type="http://schemas.openxmlformats.org/officeDocument/2006/relationships/tags" Target="../tags/tag222.xml"/><Relationship Id="rId118" Type="http://schemas.openxmlformats.org/officeDocument/2006/relationships/slideLayout" Target="../slideLayouts/slideLayout2.xml"/><Relationship Id="rId80" Type="http://schemas.openxmlformats.org/officeDocument/2006/relationships/tags" Target="../tags/tag189.xml"/><Relationship Id="rId85" Type="http://schemas.openxmlformats.org/officeDocument/2006/relationships/tags" Target="../tags/tag194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33" Type="http://schemas.openxmlformats.org/officeDocument/2006/relationships/tags" Target="../tags/tag142.xml"/><Relationship Id="rId38" Type="http://schemas.openxmlformats.org/officeDocument/2006/relationships/tags" Target="../tags/tag147.xml"/><Relationship Id="rId59" Type="http://schemas.openxmlformats.org/officeDocument/2006/relationships/tags" Target="../tags/tag168.xml"/><Relationship Id="rId103" Type="http://schemas.openxmlformats.org/officeDocument/2006/relationships/tags" Target="../tags/tag212.xml"/><Relationship Id="rId108" Type="http://schemas.openxmlformats.org/officeDocument/2006/relationships/tags" Target="../tags/tag217.xml"/><Relationship Id="rId124" Type="http://schemas.openxmlformats.org/officeDocument/2006/relationships/chart" Target="../charts/chart6.xml"/><Relationship Id="rId54" Type="http://schemas.openxmlformats.org/officeDocument/2006/relationships/tags" Target="../tags/tag163.xml"/><Relationship Id="rId70" Type="http://schemas.openxmlformats.org/officeDocument/2006/relationships/tags" Target="../tags/tag179.xml"/><Relationship Id="rId75" Type="http://schemas.openxmlformats.org/officeDocument/2006/relationships/tags" Target="../tags/tag184.xml"/><Relationship Id="rId91" Type="http://schemas.openxmlformats.org/officeDocument/2006/relationships/tags" Target="../tags/tag200.xml"/><Relationship Id="rId96" Type="http://schemas.openxmlformats.org/officeDocument/2006/relationships/tags" Target="../tags/tag205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23" Type="http://schemas.openxmlformats.org/officeDocument/2006/relationships/tags" Target="../tags/tag132.xml"/><Relationship Id="rId28" Type="http://schemas.openxmlformats.org/officeDocument/2006/relationships/tags" Target="../tags/tag137.xml"/><Relationship Id="rId49" Type="http://schemas.openxmlformats.org/officeDocument/2006/relationships/tags" Target="../tags/tag158.xml"/><Relationship Id="rId114" Type="http://schemas.openxmlformats.org/officeDocument/2006/relationships/tags" Target="../tags/tag223.xml"/><Relationship Id="rId119" Type="http://schemas.openxmlformats.org/officeDocument/2006/relationships/notesSlide" Target="../notesSlides/notesSlide5.xml"/><Relationship Id="rId44" Type="http://schemas.openxmlformats.org/officeDocument/2006/relationships/tags" Target="../tags/tag153.xml"/><Relationship Id="rId60" Type="http://schemas.openxmlformats.org/officeDocument/2006/relationships/tags" Target="../tags/tag169.xml"/><Relationship Id="rId65" Type="http://schemas.openxmlformats.org/officeDocument/2006/relationships/tags" Target="../tags/tag174.xml"/><Relationship Id="rId81" Type="http://schemas.openxmlformats.org/officeDocument/2006/relationships/tags" Target="../tags/tag190.xml"/><Relationship Id="rId86" Type="http://schemas.openxmlformats.org/officeDocument/2006/relationships/tags" Target="../tags/tag195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39" Type="http://schemas.openxmlformats.org/officeDocument/2006/relationships/tags" Target="../tags/tag148.xml"/><Relationship Id="rId109" Type="http://schemas.openxmlformats.org/officeDocument/2006/relationships/tags" Target="../tags/tag218.xml"/><Relationship Id="rId34" Type="http://schemas.openxmlformats.org/officeDocument/2006/relationships/tags" Target="../tags/tag143.xml"/><Relationship Id="rId50" Type="http://schemas.openxmlformats.org/officeDocument/2006/relationships/tags" Target="../tags/tag159.xml"/><Relationship Id="rId55" Type="http://schemas.openxmlformats.org/officeDocument/2006/relationships/tags" Target="../tags/tag164.xml"/><Relationship Id="rId76" Type="http://schemas.openxmlformats.org/officeDocument/2006/relationships/tags" Target="../tags/tag185.xml"/><Relationship Id="rId97" Type="http://schemas.openxmlformats.org/officeDocument/2006/relationships/tags" Target="../tags/tag206.xml"/><Relationship Id="rId104" Type="http://schemas.openxmlformats.org/officeDocument/2006/relationships/tags" Target="../tags/tag213.xml"/><Relationship Id="rId120" Type="http://schemas.openxmlformats.org/officeDocument/2006/relationships/oleObject" Target="../embeddings/oleObject8.bin"/><Relationship Id="rId125" Type="http://schemas.openxmlformats.org/officeDocument/2006/relationships/chart" Target="../charts/chart7.xml"/><Relationship Id="rId7" Type="http://schemas.openxmlformats.org/officeDocument/2006/relationships/tags" Target="../tags/tag116.xml"/><Relationship Id="rId71" Type="http://schemas.openxmlformats.org/officeDocument/2006/relationships/tags" Target="../tags/tag180.xml"/><Relationship Id="rId92" Type="http://schemas.openxmlformats.org/officeDocument/2006/relationships/tags" Target="../tags/tag201.xml"/><Relationship Id="rId2" Type="http://schemas.openxmlformats.org/officeDocument/2006/relationships/tags" Target="../tags/tag111.xml"/><Relationship Id="rId29" Type="http://schemas.openxmlformats.org/officeDocument/2006/relationships/tags" Target="../tags/tag138.xml"/><Relationship Id="rId24" Type="http://schemas.openxmlformats.org/officeDocument/2006/relationships/tags" Target="../tags/tag133.xml"/><Relationship Id="rId40" Type="http://schemas.openxmlformats.org/officeDocument/2006/relationships/tags" Target="../tags/tag149.xml"/><Relationship Id="rId45" Type="http://schemas.openxmlformats.org/officeDocument/2006/relationships/tags" Target="../tags/tag154.xml"/><Relationship Id="rId66" Type="http://schemas.openxmlformats.org/officeDocument/2006/relationships/tags" Target="../tags/tag175.xml"/><Relationship Id="rId87" Type="http://schemas.openxmlformats.org/officeDocument/2006/relationships/tags" Target="../tags/tag196.xml"/><Relationship Id="rId110" Type="http://schemas.openxmlformats.org/officeDocument/2006/relationships/tags" Target="../tags/tag219.xml"/><Relationship Id="rId115" Type="http://schemas.openxmlformats.org/officeDocument/2006/relationships/tags" Target="../tags/tag224.xml"/><Relationship Id="rId61" Type="http://schemas.openxmlformats.org/officeDocument/2006/relationships/tags" Target="../tags/tag170.xml"/><Relationship Id="rId82" Type="http://schemas.openxmlformats.org/officeDocument/2006/relationships/tags" Target="../tags/tag191.xml"/><Relationship Id="rId19" Type="http://schemas.openxmlformats.org/officeDocument/2006/relationships/tags" Target="../tags/tag128.xml"/><Relationship Id="rId14" Type="http://schemas.openxmlformats.org/officeDocument/2006/relationships/tags" Target="../tags/tag123.xml"/><Relationship Id="rId30" Type="http://schemas.openxmlformats.org/officeDocument/2006/relationships/tags" Target="../tags/tag139.xml"/><Relationship Id="rId35" Type="http://schemas.openxmlformats.org/officeDocument/2006/relationships/tags" Target="../tags/tag144.xml"/><Relationship Id="rId56" Type="http://schemas.openxmlformats.org/officeDocument/2006/relationships/tags" Target="../tags/tag165.xml"/><Relationship Id="rId77" Type="http://schemas.openxmlformats.org/officeDocument/2006/relationships/tags" Target="../tags/tag186.xml"/><Relationship Id="rId100" Type="http://schemas.openxmlformats.org/officeDocument/2006/relationships/tags" Target="../tags/tag209.xml"/><Relationship Id="rId105" Type="http://schemas.openxmlformats.org/officeDocument/2006/relationships/tags" Target="../tags/tag214.xml"/><Relationship Id="rId126" Type="http://schemas.openxmlformats.org/officeDocument/2006/relationships/chart" Target="../charts/chart8.xml"/><Relationship Id="rId8" Type="http://schemas.openxmlformats.org/officeDocument/2006/relationships/tags" Target="../tags/tag117.xml"/><Relationship Id="rId51" Type="http://schemas.openxmlformats.org/officeDocument/2006/relationships/tags" Target="../tags/tag160.xml"/><Relationship Id="rId72" Type="http://schemas.openxmlformats.org/officeDocument/2006/relationships/tags" Target="../tags/tag181.xml"/><Relationship Id="rId93" Type="http://schemas.openxmlformats.org/officeDocument/2006/relationships/tags" Target="../tags/tag202.xml"/><Relationship Id="rId98" Type="http://schemas.openxmlformats.org/officeDocument/2006/relationships/tags" Target="../tags/tag207.xml"/><Relationship Id="rId121" Type="http://schemas.openxmlformats.org/officeDocument/2006/relationships/image" Target="../media/image3.emf"/><Relationship Id="rId3" Type="http://schemas.openxmlformats.org/officeDocument/2006/relationships/tags" Target="../tags/tag112.xml"/><Relationship Id="rId25" Type="http://schemas.openxmlformats.org/officeDocument/2006/relationships/tags" Target="../tags/tag134.xml"/><Relationship Id="rId46" Type="http://schemas.openxmlformats.org/officeDocument/2006/relationships/tags" Target="../tags/tag155.xml"/><Relationship Id="rId67" Type="http://schemas.openxmlformats.org/officeDocument/2006/relationships/tags" Target="../tags/tag176.xml"/><Relationship Id="rId116" Type="http://schemas.openxmlformats.org/officeDocument/2006/relationships/tags" Target="../tags/tag225.xml"/><Relationship Id="rId20" Type="http://schemas.openxmlformats.org/officeDocument/2006/relationships/tags" Target="../tags/tag129.xml"/><Relationship Id="rId41" Type="http://schemas.openxmlformats.org/officeDocument/2006/relationships/tags" Target="../tags/tag150.xml"/><Relationship Id="rId62" Type="http://schemas.openxmlformats.org/officeDocument/2006/relationships/tags" Target="../tags/tag171.xml"/><Relationship Id="rId83" Type="http://schemas.openxmlformats.org/officeDocument/2006/relationships/tags" Target="../tags/tag192.xml"/><Relationship Id="rId88" Type="http://schemas.openxmlformats.org/officeDocument/2006/relationships/tags" Target="../tags/tag197.xml"/><Relationship Id="rId111" Type="http://schemas.openxmlformats.org/officeDocument/2006/relationships/tags" Target="../tags/tag220.xml"/><Relationship Id="rId15" Type="http://schemas.openxmlformats.org/officeDocument/2006/relationships/tags" Target="../tags/tag124.xml"/><Relationship Id="rId36" Type="http://schemas.openxmlformats.org/officeDocument/2006/relationships/tags" Target="../tags/tag145.xml"/><Relationship Id="rId57" Type="http://schemas.openxmlformats.org/officeDocument/2006/relationships/tags" Target="../tags/tag166.xml"/><Relationship Id="rId106" Type="http://schemas.openxmlformats.org/officeDocument/2006/relationships/tags" Target="../tags/tag215.xml"/><Relationship Id="rId127" Type="http://schemas.openxmlformats.org/officeDocument/2006/relationships/chart" Target="../charts/chart9.xml"/><Relationship Id="rId10" Type="http://schemas.openxmlformats.org/officeDocument/2006/relationships/tags" Target="../tags/tag119.xml"/><Relationship Id="rId31" Type="http://schemas.openxmlformats.org/officeDocument/2006/relationships/tags" Target="../tags/tag140.xml"/><Relationship Id="rId52" Type="http://schemas.openxmlformats.org/officeDocument/2006/relationships/tags" Target="../tags/tag161.xml"/><Relationship Id="rId73" Type="http://schemas.openxmlformats.org/officeDocument/2006/relationships/tags" Target="../tags/tag182.xml"/><Relationship Id="rId78" Type="http://schemas.openxmlformats.org/officeDocument/2006/relationships/tags" Target="../tags/tag187.xml"/><Relationship Id="rId94" Type="http://schemas.openxmlformats.org/officeDocument/2006/relationships/tags" Target="../tags/tag203.xml"/><Relationship Id="rId99" Type="http://schemas.openxmlformats.org/officeDocument/2006/relationships/tags" Target="../tags/tag208.xml"/><Relationship Id="rId101" Type="http://schemas.openxmlformats.org/officeDocument/2006/relationships/tags" Target="../tags/tag210.xml"/><Relationship Id="rId122" Type="http://schemas.openxmlformats.org/officeDocument/2006/relationships/image" Target="../media/image17.emf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1.xml"/><Relationship Id="rId3" Type="http://schemas.openxmlformats.org/officeDocument/2006/relationships/tags" Target="../tags/tag229.xml"/><Relationship Id="rId7" Type="http://schemas.openxmlformats.org/officeDocument/2006/relationships/tags" Target="../tags/tag233.xml"/><Relationship Id="rId12" Type="http://schemas.openxmlformats.org/officeDocument/2006/relationships/image" Target="../media/image18.jpeg"/><Relationship Id="rId2" Type="http://schemas.openxmlformats.org/officeDocument/2006/relationships/tags" Target="../tags/tag228.xml"/><Relationship Id="rId1" Type="http://schemas.openxmlformats.org/officeDocument/2006/relationships/tags" Target="../tags/tag227.xml"/><Relationship Id="rId6" Type="http://schemas.openxmlformats.org/officeDocument/2006/relationships/tags" Target="../tags/tag232.xml"/><Relationship Id="rId11" Type="http://schemas.openxmlformats.org/officeDocument/2006/relationships/image" Target="../media/image3.emf"/><Relationship Id="rId5" Type="http://schemas.openxmlformats.org/officeDocument/2006/relationships/tags" Target="../tags/tag23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230.xml"/><Relationship Id="rId9" Type="http://schemas.openxmlformats.org/officeDocument/2006/relationships/notesSlide" Target="../notesSlides/notesSlide6.xml"/><Relationship Id="rId14" Type="http://schemas.openxmlformats.org/officeDocument/2006/relationships/chart" Target="../charts/chart12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59.xml"/><Relationship Id="rId21" Type="http://schemas.openxmlformats.org/officeDocument/2006/relationships/tags" Target="../tags/tag254.xml"/><Relationship Id="rId42" Type="http://schemas.openxmlformats.org/officeDocument/2006/relationships/tags" Target="../tags/tag275.xml"/><Relationship Id="rId47" Type="http://schemas.openxmlformats.org/officeDocument/2006/relationships/tags" Target="../tags/tag280.xml"/><Relationship Id="rId63" Type="http://schemas.openxmlformats.org/officeDocument/2006/relationships/notesSlide" Target="../notesSlides/notesSlide7.xml"/><Relationship Id="rId68" Type="http://schemas.openxmlformats.org/officeDocument/2006/relationships/chart" Target="../charts/chart13.xml"/><Relationship Id="rId7" Type="http://schemas.openxmlformats.org/officeDocument/2006/relationships/tags" Target="../tags/tag240.xml"/><Relationship Id="rId71" Type="http://schemas.openxmlformats.org/officeDocument/2006/relationships/image" Target="../media/image2.png"/><Relationship Id="rId2" Type="http://schemas.openxmlformats.org/officeDocument/2006/relationships/tags" Target="../tags/tag235.xml"/><Relationship Id="rId16" Type="http://schemas.openxmlformats.org/officeDocument/2006/relationships/tags" Target="../tags/tag249.xml"/><Relationship Id="rId29" Type="http://schemas.openxmlformats.org/officeDocument/2006/relationships/tags" Target="../tags/tag262.xml"/><Relationship Id="rId11" Type="http://schemas.openxmlformats.org/officeDocument/2006/relationships/tags" Target="../tags/tag244.xml"/><Relationship Id="rId24" Type="http://schemas.openxmlformats.org/officeDocument/2006/relationships/tags" Target="../tags/tag257.xml"/><Relationship Id="rId32" Type="http://schemas.openxmlformats.org/officeDocument/2006/relationships/tags" Target="../tags/tag265.xml"/><Relationship Id="rId37" Type="http://schemas.openxmlformats.org/officeDocument/2006/relationships/tags" Target="../tags/tag270.xml"/><Relationship Id="rId40" Type="http://schemas.openxmlformats.org/officeDocument/2006/relationships/tags" Target="../tags/tag273.xml"/><Relationship Id="rId45" Type="http://schemas.openxmlformats.org/officeDocument/2006/relationships/tags" Target="../tags/tag278.xml"/><Relationship Id="rId53" Type="http://schemas.openxmlformats.org/officeDocument/2006/relationships/tags" Target="../tags/tag286.xml"/><Relationship Id="rId58" Type="http://schemas.openxmlformats.org/officeDocument/2006/relationships/tags" Target="../tags/tag291.xml"/><Relationship Id="rId66" Type="http://schemas.openxmlformats.org/officeDocument/2006/relationships/image" Target="../media/image19.emf"/><Relationship Id="rId5" Type="http://schemas.openxmlformats.org/officeDocument/2006/relationships/tags" Target="../tags/tag238.xml"/><Relationship Id="rId61" Type="http://schemas.openxmlformats.org/officeDocument/2006/relationships/tags" Target="../tags/tag294.xml"/><Relationship Id="rId19" Type="http://schemas.openxmlformats.org/officeDocument/2006/relationships/tags" Target="../tags/tag252.xml"/><Relationship Id="rId14" Type="http://schemas.openxmlformats.org/officeDocument/2006/relationships/tags" Target="../tags/tag247.xml"/><Relationship Id="rId22" Type="http://schemas.openxmlformats.org/officeDocument/2006/relationships/tags" Target="../tags/tag255.xml"/><Relationship Id="rId27" Type="http://schemas.openxmlformats.org/officeDocument/2006/relationships/tags" Target="../tags/tag260.xml"/><Relationship Id="rId30" Type="http://schemas.openxmlformats.org/officeDocument/2006/relationships/tags" Target="../tags/tag263.xml"/><Relationship Id="rId35" Type="http://schemas.openxmlformats.org/officeDocument/2006/relationships/tags" Target="../tags/tag268.xml"/><Relationship Id="rId43" Type="http://schemas.openxmlformats.org/officeDocument/2006/relationships/tags" Target="../tags/tag276.xml"/><Relationship Id="rId48" Type="http://schemas.openxmlformats.org/officeDocument/2006/relationships/tags" Target="../tags/tag281.xml"/><Relationship Id="rId56" Type="http://schemas.openxmlformats.org/officeDocument/2006/relationships/tags" Target="../tags/tag289.xml"/><Relationship Id="rId64" Type="http://schemas.openxmlformats.org/officeDocument/2006/relationships/oleObject" Target="../embeddings/oleObject10.bin"/><Relationship Id="rId69" Type="http://schemas.openxmlformats.org/officeDocument/2006/relationships/chart" Target="../charts/chart14.xml"/><Relationship Id="rId8" Type="http://schemas.openxmlformats.org/officeDocument/2006/relationships/tags" Target="../tags/tag241.xml"/><Relationship Id="rId51" Type="http://schemas.openxmlformats.org/officeDocument/2006/relationships/tags" Target="../tags/tag284.xml"/><Relationship Id="rId3" Type="http://schemas.openxmlformats.org/officeDocument/2006/relationships/tags" Target="../tags/tag236.xml"/><Relationship Id="rId12" Type="http://schemas.openxmlformats.org/officeDocument/2006/relationships/tags" Target="../tags/tag245.xml"/><Relationship Id="rId17" Type="http://schemas.openxmlformats.org/officeDocument/2006/relationships/tags" Target="../tags/tag250.xml"/><Relationship Id="rId25" Type="http://schemas.openxmlformats.org/officeDocument/2006/relationships/tags" Target="../tags/tag258.xml"/><Relationship Id="rId33" Type="http://schemas.openxmlformats.org/officeDocument/2006/relationships/tags" Target="../tags/tag266.xml"/><Relationship Id="rId38" Type="http://schemas.openxmlformats.org/officeDocument/2006/relationships/tags" Target="../tags/tag271.xml"/><Relationship Id="rId46" Type="http://schemas.openxmlformats.org/officeDocument/2006/relationships/tags" Target="../tags/tag279.xml"/><Relationship Id="rId59" Type="http://schemas.openxmlformats.org/officeDocument/2006/relationships/tags" Target="../tags/tag292.xml"/><Relationship Id="rId67" Type="http://schemas.openxmlformats.org/officeDocument/2006/relationships/image" Target="../media/image20.jpg"/><Relationship Id="rId20" Type="http://schemas.openxmlformats.org/officeDocument/2006/relationships/tags" Target="../tags/tag253.xml"/><Relationship Id="rId41" Type="http://schemas.openxmlformats.org/officeDocument/2006/relationships/tags" Target="../tags/tag274.xml"/><Relationship Id="rId54" Type="http://schemas.openxmlformats.org/officeDocument/2006/relationships/tags" Target="../tags/tag287.xml"/><Relationship Id="rId62" Type="http://schemas.openxmlformats.org/officeDocument/2006/relationships/slideLayout" Target="../slideLayouts/slideLayout2.xml"/><Relationship Id="rId70" Type="http://schemas.openxmlformats.org/officeDocument/2006/relationships/chart" Target="../charts/chart1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5" Type="http://schemas.openxmlformats.org/officeDocument/2006/relationships/tags" Target="../tags/tag248.xml"/><Relationship Id="rId23" Type="http://schemas.openxmlformats.org/officeDocument/2006/relationships/tags" Target="../tags/tag256.xml"/><Relationship Id="rId28" Type="http://schemas.openxmlformats.org/officeDocument/2006/relationships/tags" Target="../tags/tag261.xml"/><Relationship Id="rId36" Type="http://schemas.openxmlformats.org/officeDocument/2006/relationships/tags" Target="../tags/tag269.xml"/><Relationship Id="rId49" Type="http://schemas.openxmlformats.org/officeDocument/2006/relationships/tags" Target="../tags/tag282.xml"/><Relationship Id="rId57" Type="http://schemas.openxmlformats.org/officeDocument/2006/relationships/tags" Target="../tags/tag290.xml"/><Relationship Id="rId10" Type="http://schemas.openxmlformats.org/officeDocument/2006/relationships/tags" Target="../tags/tag243.xml"/><Relationship Id="rId31" Type="http://schemas.openxmlformats.org/officeDocument/2006/relationships/tags" Target="../tags/tag264.xml"/><Relationship Id="rId44" Type="http://schemas.openxmlformats.org/officeDocument/2006/relationships/tags" Target="../tags/tag277.xml"/><Relationship Id="rId52" Type="http://schemas.openxmlformats.org/officeDocument/2006/relationships/tags" Target="../tags/tag285.xml"/><Relationship Id="rId60" Type="http://schemas.openxmlformats.org/officeDocument/2006/relationships/tags" Target="../tags/tag293.xml"/><Relationship Id="rId65" Type="http://schemas.openxmlformats.org/officeDocument/2006/relationships/image" Target="../media/image1.emf"/><Relationship Id="rId4" Type="http://schemas.openxmlformats.org/officeDocument/2006/relationships/tags" Target="../tags/tag237.xml"/><Relationship Id="rId9" Type="http://schemas.openxmlformats.org/officeDocument/2006/relationships/tags" Target="../tags/tag242.xml"/><Relationship Id="rId13" Type="http://schemas.openxmlformats.org/officeDocument/2006/relationships/tags" Target="../tags/tag246.xml"/><Relationship Id="rId18" Type="http://schemas.openxmlformats.org/officeDocument/2006/relationships/tags" Target="../tags/tag251.xml"/><Relationship Id="rId39" Type="http://schemas.openxmlformats.org/officeDocument/2006/relationships/tags" Target="../tags/tag272.xml"/><Relationship Id="rId34" Type="http://schemas.openxmlformats.org/officeDocument/2006/relationships/tags" Target="../tags/tag267.xml"/><Relationship Id="rId50" Type="http://schemas.openxmlformats.org/officeDocument/2006/relationships/tags" Target="../tags/tag283.xml"/><Relationship Id="rId55" Type="http://schemas.openxmlformats.org/officeDocument/2006/relationships/tags" Target="../tags/tag28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359171-1AA1-4080-9C20-4B9B7B1100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0266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359171-1AA1-4080-9C20-4B9B7B110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6">
            <a:extLst>
              <a:ext uri="{FF2B5EF4-FFF2-40B4-BE49-F238E27FC236}">
                <a16:creationId xmlns:a16="http://schemas.microsoft.com/office/drawing/2014/main" id="{EA75C8C5-57CB-4002-A218-4C19083F04EC}"/>
              </a:ext>
            </a:extLst>
          </p:cNvPr>
          <p:cNvSpPr txBox="1"/>
          <p:nvPr/>
        </p:nvSpPr>
        <p:spPr>
          <a:xfrm>
            <a:off x="2784231" y="3579645"/>
            <a:ext cx="6623538" cy="3038361"/>
          </a:xfrm>
          <a:prstGeom prst="rect">
            <a:avLst/>
          </a:prstGeom>
          <a:solidFill>
            <a:schemeClr val="lt1"/>
          </a:solidFill>
          <a:ln w="6350">
            <a:solidFill>
              <a:schemeClr val="bg1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fferson County Communications Center Authority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FFCOM911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6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ril 2024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thly Report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05BD89-2C77-4EF6-AEAE-CBE5CECAAA65}"/>
              </a:ext>
            </a:extLst>
          </p:cNvPr>
          <p:cNvSpPr/>
          <p:nvPr/>
        </p:nvSpPr>
        <p:spPr>
          <a:xfrm>
            <a:off x="5441950" y="496261"/>
            <a:ext cx="1308100" cy="2897505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43AA1C-C74E-40A9-8A3D-EAC83D6B3399}"/>
              </a:ext>
            </a:extLst>
          </p:cNvPr>
          <p:cNvSpPr/>
          <p:nvPr/>
        </p:nvSpPr>
        <p:spPr>
          <a:xfrm>
            <a:off x="104714" y="96646"/>
            <a:ext cx="11982572" cy="66647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9613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731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9" imgW="452" imgH="454" progId="TCLayout.ActiveDocument.1">
                  <p:embed/>
                </p:oleObj>
              </mc:Choice>
              <mc:Fallback>
                <p:oleObj name="think-cell Slide" r:id="rId59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F845931-0537-998A-7C96-C30AEDC15CA3}"/>
              </a:ext>
            </a:extLst>
          </p:cNvPr>
          <p:cNvPicPr>
            <a:picLocks noChangeAspect="1"/>
          </p:cNvPicPr>
          <p:nvPr/>
        </p:nvPicPr>
        <p:blipFill>
          <a:blip r:embed="rId61"/>
          <a:stretch>
            <a:fillRect/>
          </a:stretch>
        </p:blipFill>
        <p:spPr>
          <a:xfrm>
            <a:off x="6432233" y="1822065"/>
            <a:ext cx="5242560" cy="208026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60322"/>
            <a:ext cx="5697416" cy="1118783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vada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20E2019-1E8E-FB76-C741-9D1A3E89DE2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0282177"/>
              </p:ext>
            </p:extLst>
          </p:nvPr>
        </p:nvGraphicFramePr>
        <p:xfrm>
          <a:off x="338138" y="1716088"/>
          <a:ext cx="53244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0738" y="205581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222091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0738" y="238601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4413" y="206057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4413" y="222567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4413" y="239077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5863D75C-F118-F11A-FB9F-A3E37518E853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91967424"/>
              </p:ext>
            </p:extLst>
          </p:nvPr>
        </p:nvGraphicFramePr>
        <p:xfrm>
          <a:off x="701675" y="4567238"/>
          <a:ext cx="4956175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14338" y="618172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47584C-360A-4D74-9E44-D1DA4149A75D}" type="datetime'''1''''''''''''''''''''''''.''''''''1''''''''k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14338" y="57832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CC88B86-0A59-469E-96FD-8DB1638A522F}" type="datetime'''''''''1''''''''''''''''''''.''''''''''2''''k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14338" y="5384800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B21F594-6163-42C8-936B-4EE0382228E5}" type="datetime'1''''.''''''''''''''''''''''''3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4338" y="4984750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287856-C916-48FC-89A2-B9632AF32B0D}" type="datetime'''''''''''''''''1''''''''''.4k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4338" y="4586288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94C873-234A-4A12-AC5B-7295CE7492B1}" type="datetime'1''''.''''''''5''''''''''''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5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9D2CB7B-D271-C497-DAD6-584C7ADF322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815975" y="56483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00B442-5EEF-471F-9678-2070A0B3E12B}" type="datetime'''''''''''1''.3''k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4FCAC78F-B3E8-9365-B004-1D6F847392E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71500" y="6288089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875A38-6A9A-4861-87B1-609DD207BA93}" type="datetime'''''M''''''''''''''''a''''''y-''''''''2''''''''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90E2C54-9686-C808-DDEC-227810BB047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08063" y="51974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A84D14-ADA6-400F-994F-8C82E85B785D}" type="datetime'''''1''''''''.''''''''''''''''''''''''''''''''3''''''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C68FB9B8-E149-DE9C-BBED-40FE69C511C2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022350" y="628808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69C258-8960-4209-A6FE-795A8E843561}" type="datetime'''''''''''''''''''''Ju''n''-''2''''''''''''3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5B53372F-C271-7F94-7100-D104F06C303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517650" y="46640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E69C07-3D00-4FC3-A654-99AA40D1234F}" type="datetime'''''''''1''''.''''''''''''''4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E9390A93-827E-BC5A-AEF8-D4BE4020799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481138" y="6288088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38D7D3-1B25-4861-AB6B-D0C26824853E}" type="datetime'J''ul''''''''''''''''''''''''''-2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DE54BE4-68BA-EA2D-F906-3AA43DFEB06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952625" y="48006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152110-B5AD-4455-BAA4-28ABF6E3DC5F}" type="datetime'''''1''.''''''''''''''''4''''''''''''''''''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CB89854-2E3F-BC9B-D7C6-8FA388A0FB7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882775" y="6288089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06159B-6F49-426C-919D-3DED319DF057}" type="datetime'''''A''''''''''''''u''''''''''''''''g''''''''''-''''2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7735DF25-E73C-DF1D-6189-B1D34D188113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387600" y="5075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2E25FA-0403-4ED0-8F0C-836BB101D704}" type="datetime'''1''''''''''.''4''''k''''''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AA22F52-9C0E-72DF-927C-E34B49E164A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322513" y="6288089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259D79-02B2-49A4-B951-2D468AD8451E}" type="datetime'''''''''''''''''''''''Sep''''-2''''''''''''''''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3D70FB8-70C1-9516-ECF9-CBF5EA76AE3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824163" y="447675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1B505A-4DD7-4AB4-8962-5F37E1617C99}" type="datetime'''''''''''1''''''''''''''''''''''''''.''''''''5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5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776A783-F061-E03D-5F78-B2DE3144370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767013" y="6288088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31904D-819D-4657-B68C-52C1E759B1D9}" type="datetime'O''''c''''t''-''''''''''''''''''2''''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71F0A63-DF39-49D4-2B0A-063A8976E85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259138" y="537051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E8BE17-E674-4772-B201-6CDB396E72DE}" type="datetime'''''''''''''''''''''''''''''''''''1''.''''3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7FC4FF1-C9FC-C6C2-5A5D-6EECA837BD1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190875" y="6288089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A1D946-C32D-4E0C-AA7D-5A9C4C4D004D}" type="datetime'N''''o''''''''''v''''''''-''''''''''2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3181A84-3557-D464-C31E-C60C3CBB82A3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695700" y="47593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843602-443B-45EA-9FCD-DEA6C79B4952}" type="datetime'''''1.''''''''4''''''''''''''''''''''''''''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764C828-0438-D875-2C45-33FA7010F8C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629025" y="6288089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5FA5A8-9026-4BEE-A1F2-459A7445FC54}" type="datetime'''''''''''D''e''''''''c''''''-''''''''''''2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29AEB0C0-1606-DAD4-E036-1191325B42B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130675" y="48275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9A1283-FEBF-45D5-B460-04AC9C3DDEC6}" type="datetime'1''''''.''''''''''''''''4k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8831937-ECCE-17CE-638D-71442AEB8CE1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075113" y="6288088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04A3B9-916C-463E-A0F9-F8CF036A13B8}" type="datetime'''''J''''''a''''''''''n-2''''''''''''''''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37F90B60-CDE7-7CB7-7193-5A82F5ACF16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565650" y="563721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0FD91D-B175-48AB-BFF6-FEABEFE21E27}" type="datetime'1''''''''''.''''''''''''''''''''''''''3k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B82AA6F2-A080-E1BB-74E5-DD473360855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503738" y="6288089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64320E-9EFC-4EE8-9B76-BAE22F400195}" type="datetime'''''Fe''b''''''''''''''-''''''''''''''''''''''''''2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43CE596-0F60-CC8E-8158-20D65B25C03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002213" y="56483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25407B-DF97-4DC8-A8D8-8C85720F9281}" type="datetime'''''''''''''''''''''''''''1''.''''3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B0D7F40-1892-EEC1-1C0A-D5919B7B201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935538" y="6288089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F60567-4365-4623-8A14-E1E6F30E1841}" type="datetime'''''''M''''''''''''''''''ar''''''''-''''''''''''''''2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B7A9B08-9CC4-7D90-684D-A1519861867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380038" y="6288089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7A781-98A7-4A33-A902-8245C2E04B0C}" type="datetime'''''''Apr''''''''''''''''-''''''''''2''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63DF34A-371F-B967-599A-EF5B6C687D0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437188" y="51308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EA80AA-531F-43DB-AE9E-53FC5B72B7C5}" type="datetime'''''1''''''.''''''''''''''''3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84CC5B66-66C8-1DD9-6B4D-B9D6D272E0B7}"/>
              </a:ext>
            </a:extLst>
          </p:cNvPr>
          <p:cNvGraphicFramePr/>
          <p:nvPr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111354665"/>
              </p:ext>
            </p:extLst>
          </p:nvPr>
        </p:nvGraphicFramePr>
        <p:xfrm>
          <a:off x="7835900" y="4260850"/>
          <a:ext cx="38100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585075" y="4608513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CF13601-897A-4146-A58D-D7364861ABA1}" type="datetime'''''''''''''''''F''''a''ll''''''s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191375" y="4991100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BAF06B-B8E8-4BCF-A39A-F32218B8D885}" type="datetime'Si''''''''''''ck'' ''''''''''''''''''Pe''''r''son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742113" y="5375275"/>
            <a:ext cx="1090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5B3C59F-2849-450D-86F6-EE7ADAA7304A}" type="datetime'B''''re''''ath''''in''g ''P''r''''''''oblems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Breathing Proble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559550" y="5757863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8DA7EC-808C-4186-9827-669C369A94EE}" type="datetime'M''''''''ot''or Ve''h''ic''''le ''Acc''''''ide''n''t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451725" y="6142038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EBD96E-4307-41C1-B4E6-8127DE7D1FFE}" type="datetime'''''''A''''l''''''a''''''''''''r''m''''''''''''''''s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186E1B9A-2301-4BD4-8D40-7FCC2480C637}"/>
              </a:ext>
            </a:extLst>
          </p:cNvPr>
          <p:cNvPicPr/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265" y="193470"/>
            <a:ext cx="760096" cy="97969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6B4C531-23B2-41FF-8356-EA9D6490F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7457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1452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F2C01663-492A-3B2F-E107-98E609205EE7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32594" y="1846985"/>
            <a:ext cx="5242560" cy="208026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lden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4D3C9D0-494A-765F-185D-2F4AA6E8AC5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804049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0738" y="205581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222091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0738" y="238601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4413" y="206057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4413" y="222567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4413" y="239077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14B5F407-E312-EF3A-F591-74B699423D6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89226375"/>
              </p:ext>
            </p:extLst>
          </p:nvPr>
        </p:nvGraphicFramePr>
        <p:xfrm>
          <a:off x="347663" y="4440238"/>
          <a:ext cx="5383212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645AA4-A915-4973-A4EF-9DC02A36104D}" type="datetime'''''''''M''a''''''''''''''y''''''''''''''''-''2''''''3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4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287394-137F-423B-B9FF-63EA07D375FB}" type="datetime'J''''''''''''''un''''''-2''''''''''''''''3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4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7A7254-3778-4A65-89FC-8FC277029A76}" type="datetime'''''J''u''''''''''''l''''''''''-''''''''2''''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8BEB09-BEA9-4A58-8F35-6025F2A46526}" type="datetime'''A''''''''''u''g''''''''''''''''''-2''3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07B38A-D203-45EB-882F-A8CE3B8194DC}" type="datetime'''''''''''''S''''''''''''''e''p-''2''''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A83B30D-27A9-4946-BBD8-0F9A3283525E}" type="datetime'''Oc''t''''''''-''''''''''2''''''''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7EF27F-646A-4A7B-824F-C776A870F42D}" type="datetime'N''''''''''''''''o''''''''''''''v''''''-''2''''''3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EA5CEF-1A58-41FD-95DF-D698B5B63B7F}" type="datetime'D''ec''-''''''''''''''''''''''''''''2''''''''''3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4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524389F-AC4F-4D99-BB1D-D884D3E139BE}" type="datetime'J''''''a''''n''''''''''''''''''''''-''''''''24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A372A9C-114B-485B-82C9-14863862A889}" type="datetime'''''''''''''''''Fe''''''''b''''-''''''2''''''''''''''''4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D8F1153-C700-1624-1BA5-E3705911D87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B472DED-F28D-49AB-A356-6E12131CB9A6}" type="datetime'M''''''''''''''''a''''''r''''''-''''''2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33AFDD8-E0B1-BD9E-01EF-EFEE04334D1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0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C125A6E-DCE6-44CB-9D5A-AB46EDC67C54}" type="datetime'''''''''''''''''''A''p''''''''''''''r''-''''2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5A2F055B-ECD7-42D6-BFCD-6DBE12270955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824828614"/>
              </p:ext>
            </p:extLst>
          </p:nvPr>
        </p:nvGraphicFramePr>
        <p:xfrm>
          <a:off x="7708900" y="4260850"/>
          <a:ext cx="38671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064375" y="4608513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1A40B8-EFFC-41EA-BF29-18447C71F66E}" type="datetime'''Si''''''''ck ''''''''''''P''e''r''''''''s''o''''''n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324725" y="4991100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8FA21F-B3F8-41BC-9F63-DA076E7C7906}" type="datetime'''''A''''''l''''''''''''''''''a''r''''''''m''''''''''s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458075" y="5375275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CBA5DB-C168-4507-8B0A-158D07E1EE8D}" type="datetime'F''a''''''''''''''l''''''''l''s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516688" y="5757863"/>
            <a:ext cx="1189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AE969F-09CF-4386-AAAD-1AC76ADFEC4D}" type="datetime'U''''''''''''nc''''onsci''ou''s''/F''''''ainti''n''g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conscious/Fainting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432550" y="6142038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E2DF2F-B28E-4C42-AF58-3A48C4F0E868}" type="datetime'''''Motor'' V''ehi''cle'''''''' ''''A''''''c''''''cid''e''n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117" name="Rectangle 116">
            <a:extLst>
              <a:ext uri="{FF2B5EF4-FFF2-40B4-BE49-F238E27FC236}">
                <a16:creationId xmlns:a16="http://schemas.microsoft.com/office/drawing/2014/main" id="{31654F35-D4AB-4EF0-AF83-830F72D7F9FD}"/>
              </a:ext>
            </a:extLst>
          </p:cNvPr>
          <p:cNvSpPr/>
          <p:nvPr/>
        </p:nvSpPr>
        <p:spPr>
          <a:xfrm>
            <a:off x="112713" y="108743"/>
            <a:ext cx="914400" cy="1117600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232D48-9913-4AD2-87D8-2BF43FF42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0379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111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52" imgH="454" progId="TCLayout.ActiveDocument.1">
                  <p:embed/>
                </p:oleObj>
              </mc:Choice>
              <mc:Fallback>
                <p:oleObj name="think-cell Slide" r:id="rId41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825B7560-9FA3-18EE-D905-AFE0B2ED7CE6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432233" y="1859341"/>
            <a:ext cx="5242560" cy="208026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irmount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A95E4F2-C287-91B0-096E-E3054BD2EAE5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780506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0738" y="205581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222091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0738" y="238601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4413" y="206057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4413" y="222567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4413" y="239077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CD5A65CE-F6F8-6CBE-A546-DD755345418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12949438"/>
              </p:ext>
            </p:extLst>
          </p:nvPr>
        </p:nvGraphicFramePr>
        <p:xfrm>
          <a:off x="417513" y="4440238"/>
          <a:ext cx="5278437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572EFC5-A7FD-69F6-5C31-AAA859CEB99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76910B-2A6F-47C9-90B3-219D162CB52C}" type="datetime'''''''''M''''a''y''''''-''''''2''''3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0B65240-400F-5791-7F3E-FCB0C3838579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4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6D0100-D275-4157-A2F1-51E407E7C0B1}" type="datetime'''''''''J''''''''''''''''''''''u''n-''''''''''2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88A5B48-AEEB-61CD-49C8-685CA2FA5FC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992609-1095-46B3-AAD1-6146874A61B4}" type="datetime'''''''''''Ju''''''''''l''''''''''''''''''-''''''''''''''2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DF81676B-4267-08A8-38A0-1BDE2566289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2DEB6E-6855-46DA-8F0E-75DA79447CF9}" type="datetime'''A''''u''''''g-''''''''''''''''''''''2''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B2E11F0-202F-7C08-CDCD-D9021CA2670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EFEDE4-3503-4E1B-8522-72FC1EBE9DE5}" type="datetime'''''''S''''''''e''''''''''''p''''''''-2''''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0A296482-73A5-3697-F8D4-5A660F4A594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77F78B-FBF8-4C51-B1CB-76BAC5F98DEF}" type="datetime'''''''''''''''''''''''O''''''''ct''''''-''2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ACDDB66-5F72-9CF8-8B82-2B020F8894A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70FD41-DA6C-435F-83EC-ECAE51BAB56F}" type="datetime'N''''''''o''v''''''''-2''3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DBF8D64-4F6D-0CD0-9A0D-73552A46C02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566DFC-80AD-4ADE-A127-2EF35860FFAE}" type="datetime'''''''''''''''D''''''e''''c''''''-''''''''''''''''2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544008B-7BC7-360D-B647-986A196ADF5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4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3E219-C989-45DB-8C55-D02950792834}" type="datetime'J''a''''n-''''''''2''''''4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D4816DC-5869-08C3-CF58-585CD7C5982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477054-16BB-436E-A3CA-7C3A6D141571}" type="datetime'''''''''''Feb-''''''''''''''''''2''''''''''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CE496BA-A45E-B8D3-08C6-5EBF4CD878F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384800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DFBF68-A94C-46DD-B7B2-52B3465E33D4}" type="datetime'A''''p''r''''''''''''''''''''-''''''''2''''''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DDD2388-36E8-471D-CEE6-ED9D98DD115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917C02-BCCB-4D61-A042-46F5704D5A5E}" type="datetime'''''''M''''''a''''''r''''''''''''-''''''''2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9FAB046D-8D66-7DBD-F677-62D15CC6F92A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021564521"/>
              </p:ext>
            </p:extLst>
          </p:nvPr>
        </p:nvGraphicFramePr>
        <p:xfrm>
          <a:off x="7835900" y="4232275"/>
          <a:ext cx="37401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559550" y="4579938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BC7997-9BC7-42CF-957C-1F34E3FF5ECD}" type="datetime'''M''''oto''r V''''''ehi''''c''l''e'''' A''c''c''''id''e''n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585075" y="4962525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5F0ADC-E1A4-4F2A-A4C5-96875F15CD74}" type="datetime'''F''''''al''''''''''''''l''''''''''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576B5C5-1657-F503-0E96-3114EE7E1750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742113" y="5346700"/>
            <a:ext cx="1090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61A687-580C-425C-9BC9-A2C38E086623}" type="datetime'B''''''''reat''hi''''''n''''g'''''''' P''''r''o''''ble''''ms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Breathing Proble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904038" y="5729288"/>
            <a:ext cx="928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0FF31C-F075-447D-A0C8-993D0F49DF11}" type="datetime'Elec''''''''''''t''''r''''i''c''''al ''''''''Ha''''zard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Electrical Hazar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451725" y="6113463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A8EB66-B71D-4881-BA62-ACF002921DE5}" type="datetime'A''''''''''''''l''a''''''''r''m''''''''''''''''''''''s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101" name="Rectangle 100">
            <a:extLst>
              <a:ext uri="{FF2B5EF4-FFF2-40B4-BE49-F238E27FC236}">
                <a16:creationId xmlns:a16="http://schemas.microsoft.com/office/drawing/2014/main" id="{C361570E-D74D-4E06-9637-1B0CF57D0B62}"/>
              </a:ext>
            </a:extLst>
          </p:cNvPr>
          <p:cNvSpPr>
            <a:spLocks noChangeAspect="1"/>
          </p:cNvSpPr>
          <p:nvPr/>
        </p:nvSpPr>
        <p:spPr>
          <a:xfrm>
            <a:off x="116523" y="127000"/>
            <a:ext cx="957580" cy="1059093"/>
          </a:xfrm>
          <a:prstGeom prst="rect">
            <a:avLst/>
          </a:prstGeom>
          <a:blipFill>
            <a:blip r:embed="rId48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ADF3DAD-89AE-4B6D-9F50-64987A2AE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966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355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934F1E94-B08A-704A-BD3E-E45CA397A805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38429" y="1843933"/>
            <a:ext cx="5242560" cy="208026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easant View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997CFE6C-C789-E0C5-CE0D-C8D54343EA2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151255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28688" y="1912938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28688" y="2078038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28688" y="2243138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22363" y="1917700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22363" y="2082800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22363" y="2247900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4E6D33EC-6734-0015-D3C7-0929FF79B661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58503374"/>
              </p:ext>
            </p:extLst>
          </p:nvPr>
        </p:nvGraphicFramePr>
        <p:xfrm>
          <a:off x="452438" y="4370388"/>
          <a:ext cx="5278437" cy="2125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A566DA3-8FEF-C899-7B5C-813112FBA28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11188" y="6313489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95DA9D-42E1-45DB-8DB9-62E4800712DA}" type="datetime'Ma''''''''''''''''''''''y''''''''-''''''''''2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CFF90A3B-7535-49D8-D1C0-7CF80E96B3F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62038" y="631348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303EC3-E9EE-4D60-B61D-E8204A8BB5A9}" type="datetime'''''''''Ju''''''''''''''n-''''''''''2''''''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27BEB13-0488-F942-6529-D086649DCC2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520825" y="6313488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AEA60-4B90-42AC-8368-21013CE32CD6}" type="datetime'J''''''''ul''-''''2''''''''''3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81A34C8B-3AB7-1E3C-EABE-00492913B3D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922463" y="6313489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9FEF56-1581-49FB-86D3-9AAB3F7F0C8D}" type="datetime'''A''u''''g-''2''''''''''''''''''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8D90EFE-E362-B516-8CB5-42E8A0F19B9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62200" y="6313489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06F4FE-8617-40D5-8FEE-F9C3FA602D0D}" type="datetime'''''''''''''Se''''''''''''''''''p-''2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8733CF5-8A2C-4045-0CB9-423CA4B0F6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806700" y="6313488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35BAE4-8372-4F40-BB8F-A21D6C503D9D}" type="datetime'''''''''''''''O''''ct''''-''''2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1BED0AC-AAFB-7B18-5C9F-F7242C07E3F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230563" y="6313489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EB152E-0F63-4689-9E81-210E338FD8CB}" type="datetime'N''''o''''''v''''''''''''''''-''''2''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CF7601D-52B5-FA09-CF16-65EB783A222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68713" y="6313489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0DA865-B108-4478-972C-964A01C3F219}" type="datetime'''''''''''''D''''e''''''''''''c-2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B662A17-D4B7-1A35-9E98-701F790A1C6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114800" y="6313488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D40C4C-8BC2-41CB-98A3-1E333AC0CCC4}" type="datetime'''''''''''J''''''''''''''''''a''''''''n''-''''2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54F7F950-39C9-051A-4566-D6003E30B6F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43425" y="6313489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31D7E7-F5B3-4E9A-A5C1-FDADE8EF35A8}" type="datetime'F''''e''''''''''''''''''''''''''b''''''''''-2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6DD1E2D-9B30-A874-738F-04389CA0715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75225" y="6313489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63A220-E319-48FF-B034-DE7408AC2222}" type="datetime'M''ar''''''''''''-''''''''''''2''''''''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3E4558A-7445-66D2-E341-DFAA993A828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419725" y="6313489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7828CB-4D1E-4F3D-8A95-B0D11945E3CC}" type="datetime'''''A''''''''''''pr-''''2''''4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DE736F6E-9A5B-E1E1-751A-D1CCD603C62C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596458855"/>
              </p:ext>
            </p:extLst>
          </p:nvPr>
        </p:nvGraphicFramePr>
        <p:xfrm>
          <a:off x="7885113" y="4260850"/>
          <a:ext cx="3621087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608763" y="4608513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6DC2C9E-42C9-4058-AB9A-9945681029C3}" type="datetime'''M''o''tor ''''''Vehic''le ''A''c''''''ci''de''''''n''t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240588" y="4991100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7B8BA7-78F6-4995-86F8-C23F5089F214}" type="datetime'''Si''''''''''''ck P''e''rs''o''''''''''''''n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15113" y="5375275"/>
            <a:ext cx="1266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5DABA9-4C71-4B2C-8559-B8B3AAA6AFEB}" type="datetime'C''''iti''z''en'''' A''s''sist''/''''''S''er''v'' C''al''''l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 Assist/Serv Cal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791325" y="5757863"/>
            <a:ext cx="10906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83A4065-B1E9-4FAD-B7F7-0788DB1097E2}" type="datetime'''''''''Bre''a''th''i''''ng'''''''''' ''''''Prob''''l''''ems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Breathing Proble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9BAD6A3-FF64-4C04-1D02-164463F908A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692900" y="6142038"/>
            <a:ext cx="1189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5162E4-BE2E-49EA-98F7-D89C4B3E37DB}" type="datetime'Un''c''o''''''''''ns''c''ious/F''''''a''''i''''n''ti''''n''g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conscious/Fainting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DE30E202-4F7F-4F3B-9EFE-7D4BC4CEE791}"/>
              </a:ext>
            </a:extLst>
          </p:cNvPr>
          <p:cNvSpPr>
            <a:spLocks noChangeAspect="1"/>
          </p:cNvSpPr>
          <p:nvPr/>
        </p:nvSpPr>
        <p:spPr>
          <a:xfrm>
            <a:off x="124663" y="115732"/>
            <a:ext cx="838950" cy="1052828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BFCA7E-870A-4521-9A23-06C3E5565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0784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590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52" imgH="454" progId="TCLayout.ActiveDocument.1">
                  <p:embed/>
                </p:oleObj>
              </mc:Choice>
              <mc:Fallback>
                <p:oleObj name="think-cell Slide" r:id="rId41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6" name="Picture 65">
            <a:extLst>
              <a:ext uri="{FF2B5EF4-FFF2-40B4-BE49-F238E27FC236}">
                <a16:creationId xmlns:a16="http://schemas.microsoft.com/office/drawing/2014/main" id="{1EA6A3D5-068A-5949-8F55-7519C7382AE0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455198" y="1850159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lden Gate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8DAEC48-3925-D7DB-BAF5-E3E61C85A2D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637915"/>
              </p:ext>
            </p:extLst>
          </p:nvPr>
        </p:nvGraphicFramePr>
        <p:xfrm>
          <a:off x="369888" y="1716088"/>
          <a:ext cx="52927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7088" y="1871663"/>
            <a:ext cx="133350" cy="10001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7088" y="2030413"/>
            <a:ext cx="133350" cy="10001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7088" y="2189163"/>
            <a:ext cx="133350" cy="10001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1238" y="1876425"/>
            <a:ext cx="565150" cy="10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750" b="1" smtClean="0"/>
              <a:pPr/>
              <a:t>P1 - Echo Calls</a:t>
            </a:fld>
            <a:endParaRPr lang="en-US" sz="75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1238" y="2035175"/>
            <a:ext cx="979488" cy="10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750" b="1" smtClean="0"/>
              <a:pPr/>
              <a:t>P2 - Charlie &amp; Delta Calls</a:t>
            </a:fld>
            <a:endParaRPr lang="en-US" sz="75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1238" y="2193925"/>
            <a:ext cx="949325" cy="10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750" b="1" smtClean="0"/>
              <a:pPr/>
              <a:t>P3 - Alpha &amp; Bravo Calls</a:t>
            </a:fld>
            <a:endParaRPr lang="en-US" sz="75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4C1D2B92-61F5-0CE8-EB0D-CD02DAD4CBC1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45454403"/>
              </p:ext>
            </p:extLst>
          </p:nvPr>
        </p:nvGraphicFramePr>
        <p:xfrm>
          <a:off x="407988" y="4314825"/>
          <a:ext cx="5243512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777249A-D943-16C1-E900-269856ADE99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66738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7CDB78-C165-4F8B-890B-AA21EA85B025}" type="datetime'''''''''''''''''''''''''''''''M''''''''''''ay-''''''''2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DC6516B3-9BBF-0226-04DF-1347B6AC9AB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17588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D508E7-076C-4140-AFEF-69390EF1B8EA}" type="datetime'''''J''u''n''''''-''''''''''''''''''''2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A226A46-FF6E-9786-3934-AE547CB6030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76375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223D1D-F2B1-4535-A9ED-B906F571DEA8}" type="datetime'Ju''''l''''''''-''''''''''''2''''''''''''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30ECC5A-4534-E4CB-B946-9975134BC62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78013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56E118-B60E-493F-AFE8-4EA072FFA41A}" type="datetime'''A''''''''''u''''g''''''''-''2''''''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040A7AC0-BA49-481C-2E93-53505ECC740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17750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37CBF7-4295-40C7-ABF7-97762341DAFD}" type="datetime'''''''''S''''e''''''''''p''''''''''-''''''''2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FE8D96F-1EA9-E112-7607-E4758CD02F3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60663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7654BF-4A05-4BDC-BB9C-7EAB3A85B94C}" type="datetime'''Oc''''''t''''-''23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A8CE6006-892B-02A7-FD6F-1A7CFF52A86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86113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58BD44-9E4B-48B8-B587-50D4AEBB278F}" type="datetime'''''No''''''v''''''''''-''''2''''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8AE21DE-2650-D35B-B0CE-FC60DFB8798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22675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B703C9-FF2A-468C-90DA-0A7D1273111D}" type="datetime'''''''''''D''''''''''''''e''c-''''''''''''2''''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3628FE2-0A0B-9EF5-96A1-DA716D6AD9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68763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69F847-6B39-4445-A4D0-1A9A1DFC8408}" type="datetime'''''J''''''''''a''''''''n-2''''''''''''''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E10416A4-9A93-21B9-0943-EFAE6FB90E6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497388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935FA1-1CD9-4D06-81C1-39AFFD232DB2}" type="datetime'''''''''''''Fe''''''''''b''''''''''-2''''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D98996E-A89F-BC66-EE73-927CDF34A68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291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F1CB05-FFCE-441D-B539-88C0761EF78F}" type="datetime'''''''M''''''a''''''''''''''''r''-2''''''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13BEC41C-4BAE-6DF5-9008-F5383DD86E8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73688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625CC7-DB95-4F48-A672-971930ADA5A8}" type="datetime'''''''''''''''''''A''''''p''''r''''''''''-''''''2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A7570CF0-B599-BF6C-6564-16C1E8E244EB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150655922"/>
              </p:ext>
            </p:extLst>
          </p:nvPr>
        </p:nvGraphicFramePr>
        <p:xfrm>
          <a:off x="8166100" y="4260850"/>
          <a:ext cx="334010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411913" y="4632325"/>
            <a:ext cx="175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D1D160-5D65-445C-9E4B-536EBD35B02F}" type="datetime'Unkno''w''n'' ''Pro''''bl''''''''em (''''Ma''''''n Down'')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known Problem (Man Down)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5572655-755F-8D0B-3A48-D4124A0ED0D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053263" y="5062538"/>
            <a:ext cx="11096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06C9AB-1592-4BEB-9DA3-5E6158132072}" type="datetime'''C''''''a''''rdi''''''''ac/''R''e''sp'' ''A''r''re''s''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ardiac/Resp Arres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93F58660-4061-9E2B-E06A-098BB1CF0FF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572375" y="5492750"/>
            <a:ext cx="590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B86F3B-4E44-4655-A816-E73EB9A96428}" type="datetime'''''''''''''Ch''''''e''''st ''P''''''''''a''''i''''n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hest Pai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111D92C-0425-73F1-901E-16604A9B649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162800" y="5922963"/>
            <a:ext cx="1000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9CE93FD-AAA0-40FC-8995-D2290CBF4A64}" type="datetime'Di''''abe''''''tic'' ''Pr''''''''''''''''o''''blem''''s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iabetic Proble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13D3C19C-081E-48C7-8BE2-5EF3E8A1DEEB}"/>
              </a:ext>
            </a:extLst>
          </p:cNvPr>
          <p:cNvSpPr>
            <a:spLocks noChangeAspect="1"/>
          </p:cNvSpPr>
          <p:nvPr/>
        </p:nvSpPr>
        <p:spPr>
          <a:xfrm>
            <a:off x="76200" y="141289"/>
            <a:ext cx="1006475" cy="1036030"/>
          </a:xfrm>
          <a:prstGeom prst="rect">
            <a:avLst/>
          </a:prstGeom>
          <a:blipFill>
            <a:blip r:embed="rId48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3FCF28-B518-473D-82EF-3DE322BE0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3344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5089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F4A839B4-64AD-17D9-038D-5C7CD3CE4EE8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40488" y="1839785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vergreen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F948DC0-EFBC-6BF9-ACED-3570EF98C5C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256055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0738" y="205581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222091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0738" y="238601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4413" y="206057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4413" y="222567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4413" y="239077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58AAA57E-0E36-C3A5-AF9D-85A9B0F124C2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930997448"/>
              </p:ext>
            </p:extLst>
          </p:nvPr>
        </p:nvGraphicFramePr>
        <p:xfrm>
          <a:off x="347663" y="4381500"/>
          <a:ext cx="5383212" cy="2105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9B70E9-A3DA-4C24-8EFA-304BFCD1BE0A}" type="datetime'M''''''''''a''y-''''2''3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4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5E2E2E-0023-4508-94FA-E52E8580F0A4}" type="datetime'''''''''''J''''''''u''''''''''n''''''''''''''-''''''2''3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4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95B715F-67FD-40FE-9C2E-6B2A3E516BBC}" type="datetime'''''''''J''''u''''''''''''l-''''23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EE69EB-A132-4A31-BAE7-67FD0DD7B545}" type="datetime'''''''''''''''Au''''''''''g''''''''-2''''3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E0BBBA-8BF4-4793-93BC-DD7FAF773554}" type="datetime'''''''S''''''ep''''''''''''''''-''''''''''2''''''''''3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3E5C3A4-2C35-4293-A2E6-8E89B4999192}" type="datetime'''O''c''''''''''''''''t''''''-''''''2''''''''''3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974938-0E51-43C0-8533-13F834B2C0C4}" type="datetime'''N''o''''''''''''''''v''''''''''''''''''''''''''-2''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BDEDAE8-E7F5-456E-89DC-CF0BF570F977}" type="datetime'''De''c''''-''''''''''''2''3''''''''''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4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A7A2AB9-7225-4E57-A471-17E3ACE60A64}" type="datetime'''''J''a''n''''''-''''''''''''2''''4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11F96C-E45A-45EA-BC90-2DBBE13779B2}" type="datetime'''''''''''''Fe''''''b-''''''''''''''''2''''''''4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A9BBC7D-6548-4C36-9755-26DCE1F25E38}" type="datetime'''''M''''''''''a''''''''''''''''''''''r''''-2''4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E2B285F-B039-5933-8E78-97387AF6A10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1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79DCE19-AE34-4388-8BE8-331C595A84EA}" type="datetime'''''''A''''''''''''''''''''p''''''''''''''''''''r''-2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C8EAC1F6-0498-6AE1-C864-23AD5614972D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73856756"/>
              </p:ext>
            </p:extLst>
          </p:nvPr>
        </p:nvGraphicFramePr>
        <p:xfrm>
          <a:off x="7708900" y="4260850"/>
          <a:ext cx="38671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777038" y="4608513"/>
            <a:ext cx="928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FEF025B-88FC-4B03-B5D0-1FC000EB99F8}" type="datetime'''''''E''''le''c''''''''tr''ic''al'''''''' Ha''''z''ard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Electrical Hazar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458075" y="4991100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C2A76E-2591-4418-875B-8D02D2CE9F47}" type="datetime'''''''F''''''''''''''a''''''''''l''''''''''''l''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324725" y="5375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9785F4-3770-4212-A6D7-489907B4A4F1}" type="datetime'''A''''''''la''r''''''m''''''''''''''''''s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064375" y="5757863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76580DE-D6B3-4803-8DEA-25C9A3E27A4D}" type="datetime'S''''''''ick'' ''''''''''''''''Pe''''''rs''o''n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516688" y="6142038"/>
            <a:ext cx="1189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0CDF8F-316F-4828-A520-BD10723E4D84}" type="datetime'U''''''n''c''on''''''''scio''us/F''ai''n''t''''i''n''''g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conscious/Fainting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E9A305E6-E2FF-42BD-A4C9-5026A51C421A}"/>
              </a:ext>
            </a:extLst>
          </p:cNvPr>
          <p:cNvSpPr>
            <a:spLocks noChangeAspect="1"/>
          </p:cNvSpPr>
          <p:nvPr/>
        </p:nvSpPr>
        <p:spPr>
          <a:xfrm>
            <a:off x="0" y="110940"/>
            <a:ext cx="1082675" cy="1095135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63279B-FBC7-4B7C-A9D5-69987BC86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0121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602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6F45C12-334D-BE95-3E2E-B38DB5ACA1BC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58414" y="1850554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-Canyon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39F9ADC-17BD-BC7F-B2AD-CE2D34C5460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1413570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30263" y="18716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30263" y="20367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30263" y="22018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3938" y="187642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23938" y="204152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23938" y="220662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ECA0B5E5-ED8F-6B13-2054-34BE35794B7A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963710031"/>
              </p:ext>
            </p:extLst>
          </p:nvPr>
        </p:nvGraphicFramePr>
        <p:xfrm>
          <a:off x="417513" y="4440238"/>
          <a:ext cx="5278437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3FBDD3F-B046-DCA8-2889-DF2C26DB535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1A688F-900B-4985-B845-51496834E423}" type="datetime'''''''''''''''''M''''''''a''''''y''''''''-2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D197FE7-3589-FD89-6611-B0D101E5EA5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83A672-B572-4010-BD3D-A7F77B51D329}" type="datetime'''Ju''''''''''n''''''-''''2''''''''''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5DD7E90F-9520-0EAD-1E3D-1C0CF22BD27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3E1D7A-679B-4F43-8CE1-59815A8F36B4}" type="datetime'''''''''''''J''u''l''''-''2''''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8B5BCAB4-60F8-4FD5-A40F-97245FABCE9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87A885-7BAC-4D2E-BBDF-7FBBB731F37A}" type="datetime'''''A''''''u''''''g''''-''''''''2''''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DF186F3-D7BB-E35B-BC5F-B5541CDFEBC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7B0DB3-022E-4FD9-9A48-B7411B69E57A}" type="datetime'''''''''''''''S''''ep''''''-''''''''''''''''''''2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4526B17-4D9D-5E61-CE0E-B2D48C5D6FA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AFEC3B-D786-4F72-A502-B7C1F2A2AB60}" type="datetime'''''''O''''''''c''''''''t''''''''''''''-''''''''2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FC47C4A-8CF4-7E0B-5C11-19422C1D035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5C0716-60C2-40B6-AF68-361E1111D356}" type="datetime'''''N''o''''v''''''''''''''''-''''''''''''2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F5DD50D0-308B-02DF-A219-2C10A5776DF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023BBA-670B-4807-B3B1-89FECC415BA0}" type="datetime'''''De''''c''''-''''''''''''''2''''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EB370A9-5BCE-98AF-C8A7-2C1083EB4B4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B31C6B-A450-4E63-8D0D-261AEFD9A8BD}" type="datetime'''J''''a''''''''''''''''''''''n''''-''''''''2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D111BDF-CA0B-7DF2-86F8-105CCD7F741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7341DD-3BCC-417A-8FC3-F8E8FD48A892}" type="datetime'''''''''''Fe''''''b''''-''2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E278405F-6139-E877-8C6E-29ED14D5D0A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54D55B-B770-4067-9168-709F358CC395}" type="datetime'Ma''''''''''''''''''''r''-''''''''''''''''''2''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722A205-4CB6-0F41-037B-FEA378BF62B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1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635EA9-1B4B-4C37-8889-E3530053496D}" type="datetime'''''''''''''A''''''''''''''p''''r''''''''''-''''2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588312D9-0F84-BADE-8AAE-ACE1EB0587F6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109602152"/>
              </p:ext>
            </p:extLst>
          </p:nvPr>
        </p:nvGraphicFramePr>
        <p:xfrm>
          <a:off x="7867650" y="4260850"/>
          <a:ext cx="36385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935788" y="4608513"/>
            <a:ext cx="928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38C6718-39DE-403E-833D-7D2EA17ADDFB}" type="datetime'El''ec''''''t''''ri''''''c''''a''l'''' ''''Haz''''a''rd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Electrical Hazar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591300" y="4991100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B94677-73BF-4161-8301-239998619D2D}" type="datetime'''''Mot''or ''''Ve''h''''i''c''l''''e ''''''Ac''c''i''dent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223125" y="5375275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43F0EE1-535B-4194-9618-68F81CEE9CAC}" type="datetime'''''S''''''''i''''''''''c''''''k'' ''P''''''''''e''rs''''on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483475" y="5757863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14D607-336B-467F-8410-442E02F8B06F}" type="datetime'''''''''''Al''''''''''a''''''''''''''''r''m''''''s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616825" y="6142038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AE1F7F-BB1D-47CF-8670-BE2970BF233F}" type="datetime'''''''''''''''F''a''''l''''''''''''l''''''''''''''''''''''''s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FEC487CB-3123-46A1-8350-8669839FA870}"/>
              </a:ext>
            </a:extLst>
          </p:cNvPr>
          <p:cNvSpPr/>
          <p:nvPr/>
        </p:nvSpPr>
        <p:spPr>
          <a:xfrm>
            <a:off x="95251" y="118270"/>
            <a:ext cx="914400" cy="1117600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2E23F3-409C-46DC-8EB8-140BD200F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4758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702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9F379BAD-4F37-1C80-B98F-C9D90F4B6112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30547" y="1826541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ian Hills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A78E281-8970-3207-3CF4-92333E0D93D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1228526"/>
              </p:ext>
            </p:extLst>
          </p:nvPr>
        </p:nvGraphicFramePr>
        <p:xfrm>
          <a:off x="477838" y="1849438"/>
          <a:ext cx="5184775" cy="1773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60438" y="2135188"/>
            <a:ext cx="125413" cy="936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60438" y="2286000"/>
            <a:ext cx="125413" cy="936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60438" y="2436813"/>
            <a:ext cx="125413" cy="936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36650" y="2139950"/>
            <a:ext cx="527050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700" b="1" smtClean="0"/>
              <a:pPr/>
              <a:t>P1 - Echo Calls</a:t>
            </a:fld>
            <a:endParaRPr lang="en-US" sz="7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36650" y="2290763"/>
            <a:ext cx="912813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700" b="1" smtClean="0"/>
              <a:pPr/>
              <a:t>P2 - Charlie &amp; Delta Calls</a:t>
            </a:fld>
            <a:endParaRPr lang="en-US" sz="7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36650" y="2441575"/>
            <a:ext cx="885825" cy="9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700" b="1" smtClean="0"/>
              <a:pPr/>
              <a:t>P3 - Alpha &amp; Bravo Calls</a:t>
            </a:fld>
            <a:endParaRPr lang="en-US" sz="7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264F3146-5E2F-5DEA-33A3-28F71C27367A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628407597"/>
              </p:ext>
            </p:extLst>
          </p:nvPr>
        </p:nvGraphicFramePr>
        <p:xfrm>
          <a:off x="417513" y="4421188"/>
          <a:ext cx="5419725" cy="2065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802A121-31E5-DB0B-5B38-DE9CBE8BEA5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24E7B7-288F-4394-9AB7-5E6AB8255293}" type="datetime'''''''M''''a''''''''''''''''y''''''''''''''-''2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5324707A-1B1B-6212-8309-A11137DFC2A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1C7E9C-9FD5-4443-8BCB-91AAE02971F5}" type="datetime'''J''''u''''n''-''''''2''''''3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8575725-6998-54DE-FE5F-DCCF247F6A3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303B86-7209-49BF-A10F-D4D7040D738A}" type="datetime'''''J''''''''''''u''''l''''''''-''2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BA31CDF-8D43-74CD-D3E4-26F103CC0D3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82AB57-5415-4E70-97AE-3A81BD54307F}" type="datetime'''''Au''g''''''''-''''''2''''''''''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B7AB9DCF-AEC0-1EB4-2709-C783258EE0A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F3226E-6761-49D9-9190-8BE729A0F73B}" type="datetime'S''''''''''e''p''''''''''-''''''''''2''''''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1583D19-C077-7FD0-6F5A-DBE565BC62CF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5DCA1B-0D24-4EA4-829D-CF2252AB0F08}" type="datetime'''O''''''''''''''''''c''''''''''t''''-''2''''3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9E6B1B8-FAF0-A6A0-1BC8-497F71E112C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D7798B-8FAA-47D0-AB5B-7869AD1E439E}" type="datetime'''''''''''''''''N''o''''''''''''''''''''v''''''''''-''2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20AC365-4654-40E5-2FE6-86C3FC6C4C6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2AB600-F065-4599-AE07-73182C5E4BA9}" type="datetime'''''''''D''''''e''''''''''''''''''''''c-''''''''2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2926314F-BD6E-0404-97CF-8949EB65A22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0C3D97-049B-4F3A-A661-0CA753973DDF}" type="datetime'''''''J''''''''''''''an-''''''''''''''2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964E864-42A7-5B2E-517E-B29526537FEF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5620F0-BFB2-47BE-9D54-7E6CE0D5D834}" type="datetime'''''''''''F''e''''''''''''b''''''-''''''''''''2''4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2F747F5B-C2C0-BC75-F359-E89E0DB136C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651F59-34F4-4D35-A67B-9B2E5552E277}" type="datetime'M''''''''''''''''a''''''''''r-2''''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C932BBF5-0216-1A30-6C8C-78F09D706AC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1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3EBEAC-F7FB-468D-8C8A-570323ED4D1A}" type="datetime'''''A''''p''r''''''''''''-''24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E58B2078-6093-BAF4-E778-6F7803C3355B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312544125"/>
              </p:ext>
            </p:extLst>
          </p:nvPr>
        </p:nvGraphicFramePr>
        <p:xfrm>
          <a:off x="8248650" y="4232275"/>
          <a:ext cx="3241675" cy="225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1A50278-0560-C951-1F18-CA11BF2F649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316788" y="4568825"/>
            <a:ext cx="928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0F6D9C-FAFA-4969-98E8-AB2316E62DEC}" type="datetime'E''''l''''e''''ctr''''''''''i''ca''l'''''' ''Ha''''''''zar''d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Electrical Hazar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997825" y="4929188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34CBBB-EA63-4EB8-B795-BCBCAAA6C342}" type="datetime'''''''''''F''''a''''ll''''''''''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39050" y="5289550"/>
            <a:ext cx="606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60C6531-9479-48F7-A41F-050AD66998EC}" type="datetime'''''S''''''''''t''''''r''''o''''k''''''e''''/''TIA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troke/TIA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8CD0E45-E5DD-C5F8-57FC-2BF4B99AC18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245350" y="5651500"/>
            <a:ext cx="1000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D2CD9A4-1310-4AEF-A6EE-A3DAC983DF29}" type="datetime'Di''''''''abe''''tic'''' Proble''m''''''''''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iabetic Proble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2DC7CFE-E7CF-73AE-1B49-1886C3F2126F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494463" y="6011863"/>
            <a:ext cx="175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2C1903D-EE32-45E7-A5F3-23F55C1D90EB}" type="datetime'''''U''nk''no''wn ''P''ro''b''l''e''''m'' ''(Man ''Do''''wn)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known Problem (Man Down)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5BBF118A-F952-4AA1-8B74-92A00B5F6171}"/>
              </a:ext>
            </a:extLst>
          </p:cNvPr>
          <p:cNvSpPr/>
          <p:nvPr/>
        </p:nvSpPr>
        <p:spPr>
          <a:xfrm>
            <a:off x="75834" y="152397"/>
            <a:ext cx="914400" cy="1038225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B9511BD-9A18-4BDB-8C3B-3627E48A2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6490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4149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5D2A650D-802A-2581-C83D-565F2484CD7F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61233" y="1845497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k Creek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063B653-F0B5-5DFA-9733-A76EB38F099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8799278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0738" y="205581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222091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0738" y="238601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4413" y="206057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4413" y="222567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4413" y="239077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28331A7F-9594-50B5-6AA7-40617944AD17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06611991"/>
              </p:ext>
            </p:extLst>
          </p:nvPr>
        </p:nvGraphicFramePr>
        <p:xfrm>
          <a:off x="347663" y="4335463"/>
          <a:ext cx="5383212" cy="2103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EFD7F861-36C7-CE7A-55EC-A3296A1A693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256338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BED86C-E0A7-40DA-B4C7-00BA698FBA7B}" type="datetime'''''M''''''''''a''y''-''''''''''2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E8BBD9E-2B2D-57B8-A905-831743E1623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25633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BDB946-89E9-47EA-AE0C-6892218185E8}" type="datetime'''''''''''''J''u''''n''-''''''''''2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8A659545-7F46-0F9C-1180-4340FFF5297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256338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08E4D5-E32B-4ACB-A1F0-51381DCB07D8}" type="datetime'''Ju''''''l''''''''''-''2''''''''''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64F7045B-EE14-2B1A-D049-E46AAD4C867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256338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981662-1632-4CFE-AC5E-74855D1832F3}" type="datetime'''Au''g''''''''-''''''''''2''''''''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A684AFB-C218-2E57-6C22-6AF81611FBE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256338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1D0A54-E02E-4192-9755-E95AB7022F0B}" type="datetime'''Se''''''''''''p''''''''''''''''-''''''''''''2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43BE2CA-3914-FB60-BCFB-2D4A2600059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256338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5FB9D0-02F7-4979-A0E6-8C7BDFAB8D60}" type="datetime'''''''''Oc''''''''t''''-''''''''''2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AECD966-6D66-1191-E056-C35E4AC93D6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256338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F6AA84-FC51-4503-922B-932923666FC7}" type="datetime'''''''N''''''''''ov''-''''''2''''''''''''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21444E3-A480-FC28-9EFB-C89326EEDBF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256338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87825D-8E97-400B-9716-778BEBA7AB1C}" type="datetime'''D''''''''''''''''e''''''''c''''-''''''''2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3113F2F-9D53-0198-9768-061422461E9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256338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01EFA5-A93A-4871-99BD-A9F9A3E15649}" type="datetime'''''''''''''''Ja''''''''''''''n''''''-''2''''''''''''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500D504E-CB81-2A27-BBB9-BC905D388C3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256338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9984C9-85E2-484C-BEB3-459A86DB193C}" type="datetime'''''''''''''''''''''''''''''''''F''''eb-''''''''''2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1A736730-DA9B-7D05-EABA-25110602FD1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256338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090990-EFD7-40C7-8CF9-256D139E92EE}" type="datetime'''''''''M''''''ar''''''''-''''''''''''2''''3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9468ADE-D5C9-9FFF-F5AC-7B835304F42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1" y="6256338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BB3EBC-946F-40B9-B020-B3936E9EE277}" type="datetime'''A''''''''p''''''''''''''''''r''''''''''-''24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E06E6A0C-FC23-5797-C854-245292DC6049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56237336"/>
              </p:ext>
            </p:extLst>
          </p:nvPr>
        </p:nvGraphicFramePr>
        <p:xfrm>
          <a:off x="7775575" y="4260850"/>
          <a:ext cx="3800475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843713" y="4608513"/>
            <a:ext cx="928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AF651C-14ED-4885-BE8E-F54B2D1553C5}" type="datetime'''''''''''E''le''''''''c''t''''''''''ric''a''l Haz''''ard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Electrical Hazar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499225" y="4991100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E2CF0E-2C74-45BA-B651-5AA75D39B807}" type="datetime'''Motor'''''''''''''' ''Ve''hicle ''Acci''d''''e''n''t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524750" y="5375275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D9D6DE8-A6FD-4AB5-BA6E-0BCA27398AE1}" type="datetime'''''''F''a''''''l''''''''''''''''''''l''''''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505575" y="5757863"/>
            <a:ext cx="1266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7E65413-6350-4140-9130-F93F918E6850}" type="datetime'''''''''Citiz''en Assis''''t''''/S''''erv'' C''''a''l''l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 Assist/Serv Cal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391400" y="6142039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EF71D44-6717-441E-8D76-C4FAB8F95D47}" type="datetime'''A''''l''''''''''''a''''''''''''''''r''ms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E203E344-295B-447B-A55D-50D302A82D3F}"/>
              </a:ext>
            </a:extLst>
          </p:cNvPr>
          <p:cNvSpPr/>
          <p:nvPr/>
        </p:nvSpPr>
        <p:spPr>
          <a:xfrm>
            <a:off x="133619" y="196850"/>
            <a:ext cx="846455" cy="936625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27DD68-4A51-4792-857F-F431DC7C99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1172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605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Picture 62">
            <a:extLst>
              <a:ext uri="{FF2B5EF4-FFF2-40B4-BE49-F238E27FC236}">
                <a16:creationId xmlns:a16="http://schemas.microsoft.com/office/drawing/2014/main" id="{A42DC2D0-C5CE-85C2-E58F-FE0277D07F35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34138" y="1831771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rth Fork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B2253C20-D66E-6050-8FBB-0A504864C67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716111"/>
              </p:ext>
            </p:extLst>
          </p:nvPr>
        </p:nvGraphicFramePr>
        <p:xfrm>
          <a:off x="477838" y="1716088"/>
          <a:ext cx="51847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08075" y="204311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108075" y="220821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108075" y="237331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01750" y="204787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01750" y="221297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01750" y="237807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6B82BC7E-814A-E031-3143-36F5E7192728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70893612"/>
              </p:ext>
            </p:extLst>
          </p:nvPr>
        </p:nvGraphicFramePr>
        <p:xfrm>
          <a:off x="417513" y="4314825"/>
          <a:ext cx="524510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14A59D3D-0E04-F038-E831-1425EC64800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8EC7E0-B36C-406D-8A82-7E1580FC11B6}" type="datetime'M''''ay''''''''''''''-''''''''''''''''''''''''''''''2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4F90E1C-EAB9-BF7D-5820-940E9257133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85CE0E-79A2-45C2-B513-1F61C02A632E}" type="datetime'''''''''''''''Jun''''''''-2''3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DF654ED-9C07-457F-9B36-17DA4AA22A2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62A570-D55D-49E1-A22A-0843A75B4CAD}" type="datetime'''J''''''''''u''''''l''''''''''''''''''''''-''''2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2BF77D0-7FDB-BE38-6486-446042D2E6C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93E40C-CB5A-48FA-B789-FDC0E15C9B62}" type="datetime'''''A''''''''ug-''''''''''''''''''''''''''''''''''2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EBF57C44-6BCA-2A9E-015B-FE2A2654B39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D184DF-DD5C-47DC-9F3E-5B5926D15784}" type="datetime'''''''''''''''''S''e''''''''''p''-''''''2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4467CB91-DB37-223E-6BCD-75143BB1B4B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42F650-B434-485D-92B6-5EF9E637CA0D}" type="datetime'''''''''O''''''''''c''''t''''''''''''-''''2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319F4068-5046-76B4-073D-72CEC16CD1E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F0A1EF-10C6-48F6-8F38-EA7F3A32F9D7}" type="datetime'''''''''''''''''''''''''''''''N''''o''''''''''''''v-2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C2906F56-C60C-2BB1-3607-9FB82AD9A98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8E4220-FBBB-4AC3-97C4-C8819AF324D1}" type="datetime'''D''''''''''''e''''''''''''c''''''-''2''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0941C7A-4FE6-6D9F-9D91-5722837A43E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95FAA2-AC63-4483-B262-88DEA0D231C7}" type="datetime'J''a''''''''''''''n''''''-''''''''''''''2''''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735947B-D840-E65A-104B-86687695630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28CC32-DE95-4294-BD4A-8C6AF63A74A6}" type="datetime'''''''''''''''''''''''''''''F''''''e''''b''''''''''-2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F2780FEF-F06D-6B95-5ED3-50FB0558DD6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E3D563-EDE5-4B17-9114-A8D459707FA5}" type="datetime'''''''''''Mar''''''''''''-''''''''''''''2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3C17827E-3FA1-1B50-A82B-613D894C3DE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0DC726-1BB5-40FD-91E8-6B17A61885E8}" type="datetime'''''''''Ap''''''r''''''''''''-''''2''''4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5CE11083-83E6-4E46-717C-0E192098AD2F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552477232"/>
              </p:ext>
            </p:extLst>
          </p:nvPr>
        </p:nvGraphicFramePr>
        <p:xfrm>
          <a:off x="8040688" y="4260850"/>
          <a:ext cx="3465512" cy="222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4BA7946-6B0A-1174-4B4A-1D021C1E91C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396163" y="4594225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A9B5E5-38B1-4F15-BBF6-CA6BFDD66CAF}" type="datetime'''S''''''''''''''''''''''''''''i''''ck ''P''''''er''''''so''n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D376440F-466E-B382-F0AA-F1974C9B9A3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723063" y="4949825"/>
            <a:ext cx="13144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0F44803-5FBD-4625-8DC6-A3AA22E3678B}" type="datetime'''''''All''''erg''i''''''''''e''''''s/Env''enoma''''tio''n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lergies/Envenomati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362825" y="5303838"/>
            <a:ext cx="6746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7CF6AF-6A46-4B68-BE37-F0E958F4315D}" type="datetime'''''''''Ou''ts''''''i''''d''e'''' F''''''i''''r''''e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utside Fir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780213" y="5659438"/>
            <a:ext cx="1257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61B580-4245-458E-93C0-85544AF7B4A9}" type="datetime'A''''s''''su''''''''''a''l''t''/Sexua''l'' As''sa''ul''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ssualt/Sexual Assaul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4FEE52F1-F036-DD7D-A4F7-332F7492BB1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497763" y="6013450"/>
            <a:ext cx="5397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7CAC363-4EA3-48B4-A3CF-864A76396BF1}" type="datetime'''''''B''''ac''''k'''''''' P''''''''''a''''i''''''''n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Back Pai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0CB06D1E-8664-4C1B-9ACF-854D6C46B776}"/>
              </a:ext>
            </a:extLst>
          </p:cNvPr>
          <p:cNvSpPr>
            <a:spLocks noChangeAspect="1"/>
          </p:cNvSpPr>
          <p:nvPr/>
        </p:nvSpPr>
        <p:spPr>
          <a:xfrm>
            <a:off x="-21559" y="-125292"/>
            <a:ext cx="1233743" cy="1336555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688F805-F703-4FD1-AEE0-0F8E6A558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86444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4CD9EC-D5FA-4DAA-BD3E-85B5B5433C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991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4CD9EC-D5FA-4DAA-BD3E-85B5B5433C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58">
            <a:extLst>
              <a:ext uri="{FF2B5EF4-FFF2-40B4-BE49-F238E27FC236}">
                <a16:creationId xmlns:a16="http://schemas.microsoft.com/office/drawing/2014/main" id="{A4B328E5-D336-4BCC-8EBB-1F2642F8CF0F}"/>
              </a:ext>
            </a:extLst>
          </p:cNvPr>
          <p:cNvSpPr txBox="1"/>
          <p:nvPr/>
        </p:nvSpPr>
        <p:spPr>
          <a:xfrm>
            <a:off x="1066067" y="26991"/>
            <a:ext cx="5697416" cy="1200918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ble of Contents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51E2C65D-B485-4A8E-B9D3-B9B0B3778A68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90500" y="1890634"/>
            <a:ext cx="5697416" cy="4073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FFCOM – Law…………………………………………………………………………………3</a:t>
            </a: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FFCOM – Fire………………………………………………………………………………….4</a:t>
            </a: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ice Level Agreement…………………………………………………………………..5</a:t>
            </a: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ice Level Agreement and Volume Trends…………………………………………6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 Volume/Agency Specific Inquiries……………………………………………….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werEngage Survey Results………………………………………………………………8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st Metro Fir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vada Fir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……………10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lden Fir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……………11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airmount Fire.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………12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easant View Fire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13</a:t>
            </a: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lden Gate Fire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14</a:t>
            </a: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vergreen Fire………….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15</a:t>
            </a: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ter-Canyon Fire..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16</a:t>
            </a:r>
          </a:p>
          <a:p>
            <a:pPr marL="0" indent="0" algn="dist" defTabSz="914400">
              <a:lnSpc>
                <a:spcPct val="100000"/>
              </a:lnSpc>
              <a:buNone/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ian Hills Fire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17</a:t>
            </a:r>
          </a:p>
          <a:p>
            <a:pPr marL="0" indent="0" algn="dist" eaLnBrk="0" fontAlgn="base" hangingPunct="0">
              <a:spcBef>
                <a:spcPct val="0"/>
              </a:spcBef>
              <a:spcAft>
                <a:spcPct val="0"/>
              </a:spcAft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k Creek Fir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.………………………………………….……………………18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rth Fork Fir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19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land Rescu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9319AD-21D5-40B3-8C69-41429B4358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B02446-E7CD-4AE5-9EF3-A1D1E490EA5B}"/>
              </a:ext>
            </a:extLst>
          </p:cNvPr>
          <p:cNvSpPr txBox="1"/>
          <p:nvPr/>
        </p:nvSpPr>
        <p:spPr>
          <a:xfrm>
            <a:off x="6172200" y="1890634"/>
            <a:ext cx="5697416" cy="38933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dist" eaLnBrk="0" fontAlgn="base" hangingPunct="0">
              <a:spcBef>
                <a:spcPct val="0"/>
              </a:spcBef>
              <a:spcAft>
                <a:spcPct val="0"/>
              </a:spcAft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see Fir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1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othills Fire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22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r Creek Fire……………………………………………………………………………….23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r Creek EMS ………………………………………………………………………………24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ffco Sheriff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25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kewood PD..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26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at Ridge PD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27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vada PD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28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lden PD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29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keside PD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rrison PD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1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untain View PD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2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dgewater PD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……………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3</a:t>
            </a:r>
            <a:endParaRPr kumimoji="0" lang="en-US" altLang="en-US" sz="130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lorado School of Mines PD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</a:t>
            </a: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.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……………………………………………34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r Creek Sheriff…………………………………………………………………………….35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aho Springs PD………………………………………………………………………………36 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orgetown PD……………………………………………………………………………….37</a:t>
            </a:r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r>
              <a:rPr lang="en-US" altLang="en-US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ire </a:t>
            </a:r>
            <a:r>
              <a:rPr kumimoji="0" lang="en-US" altLang="en-US" sz="130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D…………………..………………………………………………………………38 </a:t>
            </a:r>
            <a:endParaRPr lang="en-US" sz="1300" dirty="0"/>
          </a:p>
          <a:p>
            <a:pPr marL="0" marR="0" lvl="0" indent="0" algn="di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937250" algn="r"/>
              </a:tabLst>
            </a:pPr>
            <a:endParaRPr lang="en-US" sz="13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1D7DCF-19F1-4BF4-B51D-BCF58C1AD4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0500" y="26991"/>
            <a:ext cx="704850" cy="12477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7B1492D-F0B4-4BA1-B357-F5472591B8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44275" y="-1"/>
            <a:ext cx="847725" cy="1227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4696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195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52" imgH="454" progId="TCLayout.ActiveDocument.1">
                  <p:embed/>
                </p:oleObj>
              </mc:Choice>
              <mc:Fallback>
                <p:oleObj name="think-cell Slide" r:id="rId41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33">
            <a:extLst>
              <a:ext uri="{FF2B5EF4-FFF2-40B4-BE49-F238E27FC236}">
                <a16:creationId xmlns:a16="http://schemas.microsoft.com/office/drawing/2014/main" id="{41941D5B-5B8F-581C-6BEF-295848DA5E85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426501" y="1850365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ighland Rescu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7E30A675-3454-5A15-01DD-D622CED1272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154513"/>
              </p:ext>
            </p:extLst>
          </p:nvPr>
        </p:nvGraphicFramePr>
        <p:xfrm>
          <a:off x="477838" y="1716088"/>
          <a:ext cx="51847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0738" y="1912938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2078038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0738" y="2243138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4413" y="1917700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4413" y="2082800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4413" y="2247900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9419E75D-35B3-22B3-4A49-0CC94FA1D005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55464917"/>
              </p:ext>
            </p:extLst>
          </p:nvPr>
        </p:nvGraphicFramePr>
        <p:xfrm>
          <a:off x="407988" y="4314825"/>
          <a:ext cx="5276850" cy="2171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2DE2434-BBBF-CBE5-DB4B-76B8CE949CF7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66738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034B5B-F5DA-445F-9663-85A40776512A}" type="datetime'''''''''''''''''''M''''a''y''''''''''-''''''''2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948C7430-EE17-A200-FEA6-849EEC9582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17588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DC279C-2C2E-4044-8F5B-A07FA0582E79}" type="datetime'''J''u''''n''''-''''''''''''''''''2''''''''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E1294CE-F17B-FB84-754E-490C164E1AF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76375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B57868-536C-439C-8064-0BE229F42A58}" type="datetime'''''''''''Ju''''''''''''''l''''-''2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4656030-ED65-550D-E841-3EC7F85E35C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78013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D54800-5596-4AF9-A949-EF6A8D08900A}" type="datetime'''A''''''''''''''''''''''''''''''''''u''''''''''''''g-''2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7A7DC41-8925-BEE0-D237-2FE7B5C8A67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17750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3D685A-BA79-4903-9D9E-553D95B4AD97}" type="datetime'''''Se''''''''''p''''''-2''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4CF8B3F-36F6-9332-CFE2-CF317BED319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60663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971CB1-6E47-4068-A533-E84F76034E43}" type="datetime'''''O''''ct''''''''''''''''-2''''''''''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D04E5C9A-B84D-E68D-0174-8A803F9459C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86113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F4A865-E9CB-4D65-BE19-F0D087DE4F85}" type="datetime'''''''N''o''''v''''''''''-2''''''''''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E18A661-20DA-E8A0-77A0-CA2C637605A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22675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505A21-4B7D-47F7-81EA-7CB960C5CB3D}" type="datetime'D''''e''c''-''''''2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68EF4EC-6C6C-5D6C-CE37-AA48A78690B5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68763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296C70-47A9-4891-BA05-39ED33F3AB6A}" type="datetime'J''''''''''a''''''''''''''''''n-2''''''''''''''''''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86C8B9B-03DE-4315-FFE4-733A525C403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497388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11D1EB-9825-4696-B91A-01F3268D5616}" type="datetime'''''''''''F''''''e''''''''''''''''''''b''''''-''''2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6B54686-1D6F-6ED8-BFC2-81A5FF4023B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291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CEDE5B-EF5D-4B59-8015-75190AD88387}" type="datetime'''''''M''''''a''''''''''''r''-''''''''''2''''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C6D7C50-B487-AA61-0212-DF4C7AB44BC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73688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E331FB-E5CD-41F0-9654-E354D93ACF9A}" type="datetime'''''A''''''''''''p''r''''''''-''''''''''''''2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7B91CB18-8C8B-ACEE-85C5-9E4EC552C8A5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074409908"/>
              </p:ext>
            </p:extLst>
          </p:nvPr>
        </p:nvGraphicFramePr>
        <p:xfrm>
          <a:off x="8032750" y="4260850"/>
          <a:ext cx="34734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781925" y="4608513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5CE908-5F7F-45E3-8E0B-2FE182408220}" type="datetime'''F''''''''''''''a''''''''''''ll''''''''s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756400" y="4991100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5963615-1BBB-427A-AE55-EC9BC04C039D}" type="datetime'Mo''tor ''''''''''V''eh''i''''''cle'''' ''''''Ac''c''iden''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48575" y="5375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59B380-014A-41A4-96B7-C90F6670C7A4}" type="datetime'Al''''''''''''ar''''''''''''''''''''''''''''''''''m''s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385050" y="5757863"/>
            <a:ext cx="644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73C7FD5-AFE5-43D6-8F4D-3EB44BC22884}" type="datetime'''Ve''''hi''c''''le'''''''''''''''' ''F''''''''i''r''e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Vehicle Fir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840538" y="6142038"/>
            <a:ext cx="1189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65186B-C962-4514-A0A6-C48844F5FBF1}" type="datetime'''Un''''co''nsci''''o''''us/F''''ai''''n''t''i''''''n''g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conscious/Fainting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3378A65B-8FF4-4781-8563-6C0C79CE7E62}"/>
              </a:ext>
            </a:extLst>
          </p:cNvPr>
          <p:cNvSpPr/>
          <p:nvPr/>
        </p:nvSpPr>
        <p:spPr>
          <a:xfrm>
            <a:off x="80011" y="158128"/>
            <a:ext cx="913765" cy="993140"/>
          </a:xfrm>
          <a:prstGeom prst="rect">
            <a:avLst/>
          </a:prstGeom>
          <a:blipFill>
            <a:blip r:embed="rId48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2BF2826-0C6B-4A3A-89A1-7B17EE6A8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3521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7771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73">
            <a:extLst>
              <a:ext uri="{FF2B5EF4-FFF2-40B4-BE49-F238E27FC236}">
                <a16:creationId xmlns:a16="http://schemas.microsoft.com/office/drawing/2014/main" id="{8DF1A79F-DC24-907A-91B5-E12AD12D8627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34138" y="1852001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82675" y="28573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see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2EEDB69-A0B7-9D9B-7BAF-8F855EFFE80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7310408"/>
              </p:ext>
            </p:extLst>
          </p:nvPr>
        </p:nvGraphicFramePr>
        <p:xfrm>
          <a:off x="369888" y="1716088"/>
          <a:ext cx="52927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63613" y="1912938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63613" y="2078038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63613" y="2243138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57288" y="1917700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57288" y="2082800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57288" y="2247900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0F23A639-E16A-FB92-1A6C-57F0DD9D1B3A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2111492"/>
              </p:ext>
            </p:extLst>
          </p:nvPr>
        </p:nvGraphicFramePr>
        <p:xfrm>
          <a:off x="417513" y="4440238"/>
          <a:ext cx="5245100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2B15A064-F539-2DBC-4751-EC9AD27E414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A4B4D0-4128-4CF1-8773-DF9DFEBF59AF}" type="datetime'''''''''''''''''''''''''''''''''M''''''''a''y-''2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BFE083A-DE75-2F86-ECDB-6ADE652E9C6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158557-3410-4D3F-85F0-53E12C63348C}" type="datetime'J''''''un''''''''''''''-''''23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057FFE7-9F54-EBDD-8215-FE17C631267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C55465-164B-41D4-9B0A-6DF43D66C188}" type="datetime'''J''''''ul''''''''''''''''-''''''''''''2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2CE2D9E3-933C-589B-9FDF-AD85A36D3F7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C00DA7-15C4-42C6-8F84-6DBFD930EE50}" type="datetime'''''''''''''''''''''''''A''ug-''''''''''2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905B75A0-9675-8F59-A2F9-EC525ACC9D4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B42695-E4B9-45D4-B727-21BFE21F9303}" type="datetime'S''''e''''''''''''''p''''-''''''''2''''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D9441170-0215-A7D1-2B94-1AA18159DA2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D36FAAD-DD09-4DF2-AD4F-9CF1CEF30AA4}" type="datetime'''''''''Oc''''''''''''''''''''''t''-''2''''''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660EA24-A2FF-39AF-6D53-5A6B463F1F4A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12889C-7A43-4958-A31F-76D769136DDA}" type="datetime'''''''''''N''o''''''''''''''''''''''''''''''''''''''v-2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F99AA82-A56C-0B31-0714-9B89A2D9000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A24706-6760-4FAB-B836-48E6BEB331FB}" type="datetime'D''''''e''c''''''''''''''''''''''''''-''''''''''2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A2B09D6-B9E2-E57B-C9D8-F46E7FE20D5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BAA891-5DFF-4265-B18F-FE28B9EE57FB}" type="datetime'''''''''''''J''''''''a''''''''''''''n-''''2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2F9838F6-DFD8-CCFE-5224-76EEBBD31C1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A0931B-0C34-44E1-AE50-C2225C368EE0}" type="datetime'''''''''''''''''''''''''''''F''''e''''''''''b''-''2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23535B3B-E79F-0E25-8796-C4FD41FB3DB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46EFF0-327F-47BE-8D17-8965BD1516F0}" type="datetime'''''''''''''''''M''''''''''''a''r''''-2''''''''4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11BE7AB-ABC4-5E95-6F46-7BC4CD55E5E3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0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47D335-57DD-4CDA-AF5B-6B39F0407754}" type="datetime'A''''p''''''''''''''''''''''r''''''''''-''''''''''''24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1C16856D-B08F-4789-4715-F1C0C2A661BC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684693897"/>
              </p:ext>
            </p:extLst>
          </p:nvPr>
        </p:nvGraphicFramePr>
        <p:xfrm>
          <a:off x="8170863" y="4260850"/>
          <a:ext cx="3335337" cy="222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577138" y="4594225"/>
            <a:ext cx="590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38975D-480E-4364-96A4-CD705B8D6D02}" type="datetime'''C''''''''''''''''hes''''''''''t ''''P''''a''in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hest Pai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869113" y="4949825"/>
            <a:ext cx="1298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93CA6C-2C7B-4950-8A65-C403F73E01F0}" type="datetime'''''''Sta''''''b''''/''''GS''W/''''P''''en Tr''''''a''''uma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tab/GSW/Pen Trauma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2B38D9F-E0DE-893F-C86F-10A3F1C2BC8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786688" y="5303838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74C56E4-CDA6-4350-9F82-77D434195987}" type="datetime'''''A''''''''''l''''''''a''''''''rm''''''''''''''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978650" y="5659438"/>
            <a:ext cx="1189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B30DB5-8005-4043-ACA8-F0CB4D455723}" type="datetime'U''''nc''''o''n''''s''c''''''i''ous''/''Fain''t''i''n''''g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conscious/Fainting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C5B7AD7-98AB-AC45-8C89-733A6DC5051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416675" y="6013450"/>
            <a:ext cx="1751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D5E2D0E-A4AA-4F0D-B6BE-F80C0BCDCE0D}" type="datetime'''Un''kn''''''''o''wn ''''Pr''''ob''lem (Ma''''n ''Down'')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known Problem (Man Down)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78B81F80-FD88-43AD-B1EA-9D49D321CFA2}"/>
              </a:ext>
            </a:extLst>
          </p:cNvPr>
          <p:cNvSpPr/>
          <p:nvPr/>
        </p:nvSpPr>
        <p:spPr>
          <a:xfrm>
            <a:off x="75834" y="144509"/>
            <a:ext cx="914400" cy="1008380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5C2660-F634-4943-BD78-279946171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938649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908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52" imgH="454" progId="TCLayout.ActiveDocument.1">
                  <p:embed/>
                </p:oleObj>
              </mc:Choice>
              <mc:Fallback>
                <p:oleObj name="think-cell Slide" r:id="rId4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0907C1E6-FC52-1392-2C03-3AAC9D07C0B2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436682" y="1840380"/>
            <a:ext cx="5238750" cy="20764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othills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BE688B86-9305-3EC3-B6CE-CDCCEFDA93E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8038083"/>
              </p:ext>
            </p:extLst>
          </p:nvPr>
        </p:nvGraphicFramePr>
        <p:xfrm>
          <a:off x="477838" y="1716088"/>
          <a:ext cx="5184775" cy="1911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11225" y="1912938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11225" y="2078038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11225" y="2243138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4900" y="1917700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04900" y="2082800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04900" y="2247900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9" name="Chart 58">
            <a:extLst>
              <a:ext uri="{FF2B5EF4-FFF2-40B4-BE49-F238E27FC236}">
                <a16:creationId xmlns:a16="http://schemas.microsoft.com/office/drawing/2014/main" id="{E36F36E6-5332-3B77-B6B7-F2F5CA362A17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956915151"/>
              </p:ext>
            </p:extLst>
          </p:nvPr>
        </p:nvGraphicFramePr>
        <p:xfrm>
          <a:off x="417513" y="4440238"/>
          <a:ext cx="5278437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B9B060A3-E664-8DA1-E53F-1EF5167756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6840A6-C152-482F-885D-5BF5693869B9}" type="datetime'Ma''''''''y''''''-''''''''''''''''2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98A62C7-0861-3196-719C-E48F5560BE4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291D08-FBDA-4C24-BBDB-B21D6E7C454B}" type="datetime'J''''''''''''''u''''''''''''''''''''''''''''''n''''-2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EF95DB07-0B48-150F-2D4A-D46B37A43A3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C22545-D484-4356-885A-74E5CF009B5E}" type="datetime'''''J''u''''''''''''''l''''''''''''''''-''2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BDFBA71-A567-2AC1-EC82-8D2F9B910F5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D8F9BD-6D7F-42C2-B6F7-DB2ACD052274}" type="datetime'''''''A''''u''''''g''''-''''''''''''''''2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AFD339F-1014-4CF8-36BD-B01D83BDA54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74E8A8-A0EC-4DDB-A936-B3D3966666EC}" type="datetime'S''''e''''''''''''p''''''''''''-2''''''''''''''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0420EB-DE56-49B0-A849-5880286E155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4DF2C4-DE13-4B00-A98B-39B636F763E0}" type="datetime'''''Oct''-''''''''''''''''''''''''2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6233669-6C61-F88A-CA74-14C4A4F6BEA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58BF9E-D8D5-49D9-94ED-1F436FD96E2C}" type="datetime'''''''''''''''''N''''''''o''''''''''''''v-''''''''''''2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1756A47-3371-3050-1674-DA5C63D5DA7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1C9ED8-A94A-4E9B-86A4-08AFD9234C3F}" type="datetime'''''''D''e''''''c''-''''2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96F8B877-95CC-EC95-D7ED-C1509F06C96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FEC206-99CE-4B14-BE09-B82040AE441A}" type="datetime'''''''''''''''''J''''''''''''a''''''''''''''n-''''''''2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D9982BA9-8ABD-F151-A1B4-F84D132FC1D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8A1712-C3E1-447E-82B9-7FCB7D1711CC}" type="datetime'''''''''F''''''''''''e''''b''''''''-''''''2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8103A5F0-95D9-711D-A304-DD7A19A2653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B8C5BE-AEF1-49D3-88CF-5AB351F298A0}" type="datetime'''''M''''a''''r''-''''''2''''''''''''''''''''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24066E1B-5A22-0213-0750-152AF696DE5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64118C-FE5E-424D-91DC-35D937574158}" type="datetime'''''''''''''''Ap''''''''r''''''''-''''''2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D026D1C6-3AB4-392D-B0AE-599087203F6B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720004356"/>
              </p:ext>
            </p:extLst>
          </p:nvPr>
        </p:nvGraphicFramePr>
        <p:xfrm>
          <a:off x="8045450" y="4260850"/>
          <a:ext cx="34607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769100" y="4608513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7D2F1B-B50F-4C58-B5DE-7602D56443E6}" type="datetime'''M''o''''t''''''or ''Vehicl''''''e'''' A''c''cide''n''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794625" y="4991100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C331E7-28C0-4F20-9EF6-BE168927EBD4}" type="datetime'''''''F''''''''''''''''''''''''''a''''''''l''''''l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661275" y="5375275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733599-A3DF-4069-80F3-FC6DC27E0E1E}" type="datetime'A''''''la''''''''''r''''''''''''''''''''''m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397751" y="5757863"/>
            <a:ext cx="644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A00A80-C870-4F28-B4A4-88C66428D0FC}" type="datetime'''''''Ve''h''''''''''''i''''''c''''le'' ''Fir''''''''''''e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Vehicle Fir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434137" y="6142038"/>
            <a:ext cx="16081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B8A093-BCDE-42AA-BF57-6AA73D0830C3}" type="datetime'''S''moke'' ''''I''n''vestig''''a''tio''n O''''uts''i''de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moke Investigation Outsid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C2B29D16-5A5D-43B3-B972-0B57287E081A}"/>
              </a:ext>
            </a:extLst>
          </p:cNvPr>
          <p:cNvSpPr/>
          <p:nvPr/>
        </p:nvSpPr>
        <p:spPr>
          <a:xfrm>
            <a:off x="100013" y="162242"/>
            <a:ext cx="914400" cy="1008380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6BB448-665A-4F87-A867-B3E81CDBD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6593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BF57E-C230-1CE8-AB82-872BED7D6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9D2559-42BC-46AC-BFDB-B77F1539C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2176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52" imgH="454" progId="TCLayout.ActiveDocument.1">
                  <p:embed/>
                </p:oleObj>
              </mc:Choice>
              <mc:Fallback>
                <p:oleObj name="think-cell Slide" r:id="rId33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9D2559-42BC-46AC-BFDB-B77F1539C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360A7B40-A9FB-C406-0660-170BAAC8A291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426869" y="1854581"/>
            <a:ext cx="5242560" cy="208026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37144386-4260-17AD-D649-2A9FECFC8E69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r Creek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B10A77B-1D7D-C192-4A0C-D5604924950E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25AE86A7-4081-0BFB-3EAF-014B4DB4151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562420"/>
              </p:ext>
            </p:extLst>
          </p:nvPr>
        </p:nvGraphicFramePr>
        <p:xfrm>
          <a:off x="407988" y="1716088"/>
          <a:ext cx="5254625" cy="1911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87F016-E61D-A5A6-BCE4-6CD0F8DE5D4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0B6EFF4-ECF2-D261-34EF-07D689FDB03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16ACC36-D399-95B2-BCEC-AE9CB99DD50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D140D78-FDD5-695F-4A88-47F0D26CD5E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980E975-E330-68EC-477F-60F48A87FAD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2BBB23C-0446-3CC4-77FA-286CB0F573C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2BF5DC4-7E6B-48A3-B7C3-E226B893962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495921-8928-9A1E-927A-65A293D208C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F683958-5957-5AC8-1047-E26BACAC97A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757F7C-687C-6778-5B80-6F5459DC237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8662C75-372E-3172-0F30-2440B86A6E0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D9142C4-67A0-25E1-D2CF-B2635DF3260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55438EE-F637-2FA3-2C0E-B05EA6D8C1E8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4D0BFA4-5AB2-BBC0-BC0F-1E4C03E222A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11225" y="1912938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0670ED-11A2-E0D0-D7A5-53436D97110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11225" y="2078038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D262B9-E4EE-5C5B-CBBE-842B5C267DD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11225" y="2243138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329C5DC-1864-0128-B1E2-CE87D618F8D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4900" y="1917700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74A3588-4A02-E75B-E640-8244EDF702A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04900" y="2082800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26C9293-A5D0-4EDC-4211-AC7D030AF45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04900" y="2247900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D13A74B-6D89-8AED-C069-E05CCAE360C9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8FEDA0D7-86D6-037C-AA45-9CACF95ED2FC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0222385"/>
              </p:ext>
            </p:extLst>
          </p:nvPr>
        </p:nvGraphicFramePr>
        <p:xfrm>
          <a:off x="347663" y="4440238"/>
          <a:ext cx="5314950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B978AFC-A986-0352-AEF6-422F66617A4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5888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8A1712-C3E1-447E-82B9-7FCB7D1711CC}" type="datetime'''''''''F''''''''''''e''''b''''''''-''''''2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9B0E788-E20C-9C4C-D48E-6BD2D3D7A77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978150" y="6303963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F73FDD-3FE3-4589-B844-1A798069C137}" type="datetime'''''''''''''M''a''''''''r''''''-2''''''''''''''''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95D26D6A-B817-35EB-19BA-05CE5C39AF1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5847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9581A9-9419-4E91-A590-8F937766DDD5}" type="datetime'A''''''pr-''''2''''''''''''''''''4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8C90A5D-A6CB-ABB8-DC63-03278FBCB561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462C443-5638-1A41-C459-2DF66B866EDA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FC258AD-340F-DBAB-C9DB-CAF57178614D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06A0223-A506-3818-5143-A2CA029E3AF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BEDB0ED-D13E-1714-C6F0-A02EF316F132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6800A4A-BF98-F3CF-A472-BC9F58811EF4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08F82E8-4370-7013-71ED-AD9A809467C3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084004484"/>
              </p:ext>
            </p:extLst>
          </p:nvPr>
        </p:nvGraphicFramePr>
        <p:xfrm>
          <a:off x="8034338" y="4260850"/>
          <a:ext cx="3541712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424138A-AB7B-0F7B-15F3-FAA030115E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757988" y="4608513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C255E4-CA5D-4249-8562-43FF8DA8FC3C}" type="datetime'''''M''o''''''tor'' ''Ve''hic''''le ''A''''''''cciden''''''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BA495C2F-E652-0B75-7A16-F6A1F64312B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389813" y="4991100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E204C9-CBF1-460A-8607-4CF803B2F791}" type="datetime'''''''''''Si''''ck'''' ''''P''''''''''''e''''r''''''so''''''n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CB3283BC-69A1-DE36-1760-FDD3588B4CA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386638" y="5375275"/>
            <a:ext cx="644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3417E1-6823-4399-ACB5-BC0F49EFD275}" type="datetime'V''eh''''''''''''''''''''icl''''e'''''''' ''''''''Fi''''''re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Vehicle Fir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E4B79A22-8103-94CD-F875-9827A05F800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650163" y="5757863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3234A9-8AE4-407B-B508-C1AA8EB399EC}" type="datetime'''A''l''''a''''''r''''m''''''''''''''''''''''s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7A7BF95B-537C-2588-A4E4-756592017FC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440613" y="6142038"/>
            <a:ext cx="590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BCADD7-2717-4BE7-A2AF-107E2E5B7097}" type="datetime'''''''''Ch''''''''''e''s''''''t'''''' P''''a''''''i''''n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hest Pai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9FFEEFE7-BA59-B86C-A215-C2885FAFB419}"/>
              </a:ext>
            </a:extLst>
          </p:cNvPr>
          <p:cNvPicPr/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52B70C-7A9D-8F6C-4CE6-D440060FF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3</a:t>
            </a:fld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1FE84FA0-510F-7B5C-864C-30121652B032}"/>
              </a:ext>
            </a:extLst>
          </p:cNvPr>
          <p:cNvSpPr txBox="1"/>
          <p:nvPr/>
        </p:nvSpPr>
        <p:spPr>
          <a:xfrm>
            <a:off x="-8107" y="6597295"/>
            <a:ext cx="10144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: Clear Creek County joined Jeffcom on February 21. Data is shown from this date forward.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954C29C-BCE7-2698-3D0E-771A380884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5" y="290451"/>
            <a:ext cx="1005840" cy="773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11816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4BF57E-C230-1CE8-AB82-872BED7D6F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9D2559-42BC-46AC-BFDB-B77F1539C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4380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52" imgH="454" progId="TCLayout.ActiveDocument.1">
                  <p:embed/>
                </p:oleObj>
              </mc:Choice>
              <mc:Fallback>
                <p:oleObj name="think-cell Slide" r:id="rId33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9D2559-42BC-46AC-BFDB-B77F1539C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732A307-7C77-0B77-006A-DEBE6477D299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433911" y="1852001"/>
            <a:ext cx="5242560" cy="208026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37144386-4260-17AD-D649-2A9FECFC8E69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r Creek EMS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B10A77B-1D7D-C192-4A0C-D5604924950E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64E4A32-97E1-F0B0-ECC3-5754A2A7E9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0165287"/>
              </p:ext>
            </p:extLst>
          </p:nvPr>
        </p:nvGraphicFramePr>
        <p:xfrm>
          <a:off x="407988" y="1716088"/>
          <a:ext cx="5254625" cy="1911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87F016-E61D-A5A6-BCE4-6CD0F8DE5D43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0B6EFF4-ECF2-D261-34EF-07D689FDB03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16ACC36-D399-95B2-BCEC-AE9CB99DD50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D140D78-FDD5-695F-4A88-47F0D26CD5E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14725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980E975-E330-68EC-477F-60F48A87FAD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2BBB23C-0446-3CC4-77FA-286CB0F573C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2BF5DC4-7E6B-48A3-B7C3-E226B893962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5495921-8928-9A1E-927A-65A293D208C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F683958-5957-5AC8-1047-E26BACAC97A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757F7C-687C-6778-5B80-6F5459DC237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8662C75-372E-3172-0F30-2440B86A6E0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D9142C4-67A0-25E1-D2CF-B2635DF3260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14725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55438EE-F637-2FA3-2C0E-B05EA6D8C1E8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4D0BFA4-5AB2-BBC0-BC0F-1E4C03E222A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11225" y="1912938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90670ED-11A2-E0D0-D7A5-53436D971104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911225" y="2078038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FD262B9-E4EE-5C5B-CBBE-842B5C267DD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911225" y="2243138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329C5DC-1864-0128-B1E2-CE87D618F8D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04900" y="1917700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74A3588-4A02-E75B-E640-8244EDF702A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04900" y="2082800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26C9293-A5D0-4EDC-4211-AC7D030AF45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04900" y="2247900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D13A74B-6D89-8AED-C069-E05CCAE360C9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E39186C9-5881-CF93-4F30-15155A8EAEA4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707089634"/>
              </p:ext>
            </p:extLst>
          </p:nvPr>
        </p:nvGraphicFramePr>
        <p:xfrm>
          <a:off x="347663" y="4440238"/>
          <a:ext cx="5314950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B978AFC-A986-0352-AEF6-422F66617A4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85888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8A1712-C3E1-447E-82B9-7FCB7D1711CC}" type="datetime'''''''''F''''''''''''e''''b''''''''-''''''2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9B0E788-E20C-9C4C-D48E-6BD2D3D7A77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978150" y="6303963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F73FDD-3FE3-4589-B844-1A798069C137}" type="datetime'''''''''''''M''a''''''''r''''''-2''''''''''''''''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720A3E6-C9F0-6D4A-6BFC-8F57522E13B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5847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CEB590-4EF0-44D6-A2B1-EA59929EF36E}" type="datetime'''''''''''''''A''p''''''''r''''''''''-''''''''''2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8C90A5D-A6CB-ABB8-DC63-03278FBCB561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6462C443-5638-1A41-C459-2DF66B866EDA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FC258AD-340F-DBAB-C9DB-CAF57178614D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06A0223-A506-3818-5143-A2CA029E3AF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7BEDB0ED-D13E-1714-C6F0-A02EF316F132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6800A4A-BF98-F3CF-A472-BC9F58811EF4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E5EF7063-742F-52B6-AD7A-EB50340C579A}"/>
              </a:ext>
            </a:extLst>
          </p:cNvPr>
          <p:cNvGraphicFramePr/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77944017"/>
              </p:ext>
            </p:extLst>
          </p:nvPr>
        </p:nvGraphicFramePr>
        <p:xfrm>
          <a:off x="7850188" y="4260850"/>
          <a:ext cx="3725862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424138A-AB7B-0F7B-15F3-FAA030115EC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05663" y="4608513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42F8E1-E755-4E13-ADD6-FD6FF0DC4980}" type="datetime'''''Si''''ck ''''Per''''''''s''''o''''n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BA495C2F-E652-0B75-7A16-F6A1F64312BE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573838" y="4991100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11B5B8-1EF8-47E3-943D-CC11BFFF1581}" type="datetime'''Mot''''o''''r'''''''' ''''''''Veh''i''''cle Accide''''''n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CB3283BC-69A1-DE36-1760-FDD3588B4CA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202488" y="5375275"/>
            <a:ext cx="644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46423D-1A8B-4BEA-8CC4-83DA77CBEB81}" type="datetime'V''e''''''''hi''''c''''''''l''''''e ''''Fi''''''''''r''''e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Vehicle Fir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E4B79A22-8103-94CD-F875-9827A05F800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819900" y="5757863"/>
            <a:ext cx="1027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20D83C8-3819-4405-B3DE-50D6A6CBE5F3}" type="datetime'T''raum''''''''at''ic In''''''''j''''ur''i''''''es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raumatic Injurie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7A7BF95B-537C-2588-A4E4-756592017FC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256463" y="6142038"/>
            <a:ext cx="5905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8C4563-B460-4FEC-93F2-07C36561CB54}" type="datetime'C''''''''''''''he''''st ''''''''''P''ain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hest Pai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9FFEEFE7-BA59-B86C-A215-C2885FAFB419}"/>
              </a:ext>
            </a:extLst>
          </p:cNvPr>
          <p:cNvPicPr/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352B70C-7A9D-8F6C-4CE6-D440060FF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4</a:t>
            </a:fld>
            <a:endParaRPr lang="en-US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1FE84FA0-510F-7B5C-864C-30121652B032}"/>
              </a:ext>
            </a:extLst>
          </p:cNvPr>
          <p:cNvSpPr txBox="1"/>
          <p:nvPr/>
        </p:nvSpPr>
        <p:spPr>
          <a:xfrm>
            <a:off x="-8107" y="6597295"/>
            <a:ext cx="10144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: Clear Creek County joined Jeffcom on February 21. Data is shown from this date forward.</a:t>
            </a:r>
          </a:p>
        </p:txBody>
      </p:sp>
      <p:pic>
        <p:nvPicPr>
          <p:cNvPr id="47" name="Picture 2" descr="No photo description available.">
            <a:extLst>
              <a:ext uri="{FF2B5EF4-FFF2-40B4-BE49-F238E27FC236}">
                <a16:creationId xmlns:a16="http://schemas.microsoft.com/office/drawing/2014/main" id="{55FEC4FA-31E0-6ED8-2D89-0BA8BBFD4C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5" y="180046"/>
            <a:ext cx="1005840" cy="1004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535477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332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52" imgH="454" progId="TCLayout.ActiveDocument.1">
                  <p:embed/>
                </p:oleObj>
              </mc:Choice>
              <mc:Fallback>
                <p:oleObj name="think-cell Slide" r:id="rId6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42DBA09-EA9C-A342-7ECD-257CABE68278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6477099" y="1851340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ffco Sheriff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FE729A1-1EF6-B1EF-1891-9097D5E34BE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376053"/>
              </p:ext>
            </p:extLst>
          </p:nvPr>
        </p:nvGraphicFramePr>
        <p:xfrm>
          <a:off x="338138" y="1716088"/>
          <a:ext cx="53244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5" name="Chart 74">
            <a:extLst>
              <a:ext uri="{FF2B5EF4-FFF2-40B4-BE49-F238E27FC236}">
                <a16:creationId xmlns:a16="http://schemas.microsoft.com/office/drawing/2014/main" id="{0E839742-F3DD-EED5-B38A-60C4254160CA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728479181"/>
              </p:ext>
            </p:extLst>
          </p:nvPr>
        </p:nvGraphicFramePr>
        <p:xfrm>
          <a:off x="706438" y="4583113"/>
          <a:ext cx="4956175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19100" y="5969001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EE0851-5043-42C0-94CE-5596E05AE5A2}" type="datetime'''''2''''.''''''''''''''2''k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9100" y="5741989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95A17AA-707A-4522-B58A-AE80E5947DEC}" type="datetime'''''2''''''''.''''''''''4k''''''''''''''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9100" y="5513389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A04BAC-BD52-4D9D-B363-9E01B6E7B538}" type="datetime'''''2.''''''''''''''''''''''''''''''6''''k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19100" y="5286376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6C47CB-8B3D-4709-A326-2796F5473CF8}" type="datetime'''''''''2''.''''''''''8''''''''''''''''''''''k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19100" y="505777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F177F6-F4B8-46F4-A316-40B4D20D9B84}" type="datetime'3''''''''''''''''''''.''0''''''''''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3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19100" y="4830764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9FB16A-0D01-4442-A510-41CCFEE04277}" type="datetime'3''''''''''''''''''''''''.''''''''''''''''''''2''''''''''k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9100" y="4602164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B794EB-E0A9-4083-8640-A483AF7943ED}" type="datetime'''''''''3.4''''''''''''k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19100" y="6197601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B10A8F-CEC3-4D79-90CE-D921DE7E62BE}" type="datetime'2.''''''0''k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15DED5C0-8834-6FCE-242E-76495D4381E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0738" y="511175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3F9CA6-7161-4677-A333-BDB9AD9AA004}" type="datetime'''''''3''.''1''k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DDB8F5E-76BA-9344-5233-A9117AC03BC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C453A8-B54B-41C2-9343-112B3D410C27}" type="datetime'''''''''M''''''''''''a''''''''''''y-''''''2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B485F64-D882-03C4-1207-7FC065D51BB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17588" y="48164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66C2C4-C406-442C-AE8A-E0BF0F8F92F0}" type="datetime'''''3.''''1''''''''''''''''''''''''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5944032-4776-632B-7FEC-F3C2EE42ED4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27113" y="6303964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1EBF7E-6FBE-4733-89A6-BEFEDBE697FE}" type="datetime'''''''''''''J''''''''''u''''''''''''''''n-''''2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AFA856A8-AC0D-8180-7227-C9FAF251C3D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522413" y="45561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3A3448-E1C1-4E43-91DE-8554B83F8464}" type="datetime'''''''''3''''''''.''''3''''''''''k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25C83EAD-5CCA-7A70-4E4D-DAF180D3657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7BD566-1B6E-434A-B5E0-0DBAF690CBDC}" type="datetime'''''''J''u''l''-''2''''''''''''''''''''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0C74CE89-8513-C13D-30DC-F81C311B717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052638" y="484981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1B1851-CA5C-4485-8460-C168602B2DFE}" type="datetime'''''''''''''3''''''''''''''''''''''''''''''''''''''.1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E5519A9A-9BE6-DCEA-87DD-CC3F6748DE8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799D6E-4DE8-4653-B4AC-44FD03A73556}" type="datetime'''''''''''''''''''''''''''A''''''u''''''g-''''2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83FE8E3-E616-6CE3-B656-AF4430FB127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6BD6D7-4218-4456-B4F3-C05B3C1A46B3}" type="datetime'S''''''''''''e''''''''''''''''''p''''''''-2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DD839E76-A267-BB7D-5F18-E1B3B8823A3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2828925" y="51308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5BF5EE-D85A-42EA-ADEE-C7303AAEDF86}" type="datetime'''''''''''''''''''2''.8k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08AA1604-C221-6E9B-740F-41449B8DB0E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771775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95E867-B241-402F-ACC0-0F447C983032}" type="datetime'''''''''''''''O''''''''''''''''c''t''''-''2''''''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7690AA4A-71C2-2257-266C-E805FC265889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433763" y="548481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D2C6CB-5E5B-467D-AE84-1E92A213FF84}" type="datetime'''''''2''''''''''''''''''''''''''''''.''''6''''''''''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B1BBD422-A0F8-8CC0-B23C-8A9CB3A1C6D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A8DA9A-1C79-4CAA-B0EB-8478D8C75430}" type="datetime'''''''''''''''N''''''''''o''''v''''-''''2''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C2B1B1FC-2665-491D-9D8C-8903880B36C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700463" y="58928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3FA8A4-06DC-4AB3-B210-3EDF4F6579B3}" type="datetime'''''''2''''''''''''.''''''''''''''4''''k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51EBDFDB-5209-9250-277A-278A1E76D5CD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8DB987-16F3-4D47-A2F9-EAA6AED39FC7}" type="datetime'De''c''-''''2''''''''''''''''''''''''''''''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8E63D2DC-8A78-99F3-5681-8D0584E6C5DD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35438" y="53752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8E5A59-278C-40A2-80FA-35EF6C4882C4}" type="datetime'''''''''''''''''''2''''''''''''''''.''''6''''''''''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B0D67DD-2C63-A046-707C-1F332B15DC1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AD77C0-7C94-43BD-B344-144C42691074}" type="datetime'''J''''a''''n''''''''''''''''-''''''''''''''''''''2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7B07046-5F63-C964-71CA-C1091F9220B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570413" y="558165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E6940D-7763-4ACD-B2EE-4FFA4F4AFAE9}" type="datetime'''2''''''.''''''''''''''4''''''''k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BA9EDD4-290C-F877-1100-52D636DA2E7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F70D57-FF2F-410B-BC0E-2108C0D5A389}" type="datetime'F''''''eb''''''''''''''''''''''''''''-''''''''''2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BCBF079-994B-4676-4133-C0D4744DBC6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006975" y="55245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D3AA16-6465-485B-AC30-FB61D6FB0330}" type="datetime'''''''''''''''''''''''''''''''2''''.''''''''''5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5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9294354-B8E6-952B-93F0-08CF74B5AE59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77559B-5970-4CC9-BD96-857CEFF0E7B5}" type="datetime'''M''''''ar''''-''2''''''4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D9000AA-6359-3C65-1B48-6691AD0D73C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45ED57-9EB6-496A-B22C-F27924ADEA8A}" type="datetime'''Ap''''''r''''''''''''''''''-''''''2''''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D1145B72-7564-6785-D1E7-A4B8C42A6B9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441950" y="53625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9505A9-E92C-4E66-BDAA-1634CA3C35F1}" type="datetime'2''''''.''''''''''''''''''''''''''''''''6''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41EAF63A-0EB0-1655-3104-FBA53C39289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392363" y="50688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2FF6B2-1EFB-45D5-85CD-0B8E7D91FACD}" type="datetime'2''''''''''''''.''''''''''''''''''9''''''''''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FDA14890-790A-4469-7D41-906EE88F1107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155764597"/>
              </p:ext>
            </p:extLst>
          </p:nvPr>
        </p:nvGraphicFramePr>
        <p:xfrm>
          <a:off x="7708900" y="4260850"/>
          <a:ext cx="39370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159625" y="4608513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C9C3DA-878C-43EE-8EEF-132B268E41A7}" type="datetime'''Fol''''''''l''''''''''o''w ''''Up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900863" y="4991100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A27AC89-4B4E-4FD0-A8DD-D297263F61CB}" type="datetime'''''''W''''''''e''l''fa''''''''''re'''' ''''''''C''he''''c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438900" y="5375275"/>
            <a:ext cx="1266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436C4E-25A6-4F17-9DBF-5BE9D15E2234}" type="datetime'C''it''''''izen'' As''s''i''s''t/S''e''rv C''''''''a''''l''l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 Assist/Serv Cal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919913" y="5757863"/>
            <a:ext cx="785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D4AF19-4D9A-461D-B262-65D14BC8FD45}" type="datetime'''Ver''i''fi''e''''''''d'' ''''''''''''''Ala''''r''''m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Verified Alarm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672263" y="6142038"/>
            <a:ext cx="10334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B12961-F41E-45DE-AD65-137C96B50A19}" type="datetime'Ass''''''i''''''s''''t'' F''''ire''''''/M''''e''''dic''''al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ssist Fire/Medica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5A47B146-1888-48D9-9547-6A3C215BE1D4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1"/>
          <a:stretch>
            <a:fillRect/>
          </a:stretch>
        </p:blipFill>
        <p:spPr>
          <a:xfrm>
            <a:off x="75895" y="194960"/>
            <a:ext cx="938519" cy="933446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99481D-3313-41C1-9238-7B9AB0AAF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0239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73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52" imgH="454" progId="TCLayout.ActiveDocument.1">
                  <p:embed/>
                </p:oleObj>
              </mc:Choice>
              <mc:Fallback>
                <p:oleObj name="think-cell Slide" r:id="rId6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ACDFE4F4-1C46-31FA-E515-C09AD30F4A66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6474542" y="1821303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kewood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6D1A043-3D78-90FA-6742-A8596199C25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1347135"/>
              </p:ext>
            </p:extLst>
          </p:nvPr>
        </p:nvGraphicFramePr>
        <p:xfrm>
          <a:off x="338138" y="1716088"/>
          <a:ext cx="53244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9D5B77CC-2FC8-47F7-1D1B-48B2C69A6DBB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739388844"/>
              </p:ext>
            </p:extLst>
          </p:nvPr>
        </p:nvGraphicFramePr>
        <p:xfrm>
          <a:off x="706438" y="4583113"/>
          <a:ext cx="4956175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19100" y="5969000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98BADF3-947F-4606-A556-C8CA83D7EF8B}" type="datetime'''''''''''''''''''4''''''''''''.''''8''''''''k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9100" y="5741988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6310ED3-17A2-488D-A47B-113184A450D5}" type="datetime'''5''''''''''''''''''''''''''''''''.''''0''''''''k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9100" y="5513388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1408509-2E69-404C-ABE2-4F4ACB3412EB}" type="datetime'''''''''''''''''''''5.''''''''''''2''''''k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19100" y="528637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095F9C-2CFA-4BCD-ADC7-8FB84F223FA5}" type="datetime'''5''.''''''4''''''''''''''''''''''''''''''''''''''k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19100" y="505777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9780B7-7DC4-4AC5-A7A5-D61B91037E40}" type="datetime'''''''''''''''5''''''''''''''''.''6''''k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19100" y="48307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AE4A05D-E250-46CF-BCB0-A93F0CF7141E}" type="datetime'''''''''''''''''''5''''''''''''.''''''''''''8''''''''k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9100" y="46021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FDB727-2DC2-4B03-9BED-061907A097FE}" type="datetime'6''''''''''''.''''''''''''''''''''''''''''0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19100" y="6197601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2CE8E80-4832-421F-A861-996B8D2A8010}" type="datetime'''''''''''''''''''''''''''''''''4''''.''''6''k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DF60D68E-A8E9-4219-0821-2BF8FE4E062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0738" y="45116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85901E-2B45-41E9-AAB9-FFFAA93DE757}" type="datetime'6''''''''''''''''''''.''''''''''''0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6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C2136919-F830-5FA4-4909-5DFDE94744C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689EC2-9F21-43EE-8662-4DECABE33161}" type="datetime'M''''''''''a''''''y''''''''''''''''''''-2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BBFA453A-E525-16C3-8EB6-A14471D632A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85850" y="462915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DAF760-4B9B-4A92-B5B7-D13F059EF36E}" type="datetime'''''''''''''''''''''''''''''''''''''''''''''5.''9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5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AE6E9AE-D620-2F06-1B3B-77AC8647A2C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E0B773-F21B-4CED-9F70-EC004C0ABC7E}" type="datetime'''J''''un''''''''''''''''''''''''''''''''''-2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7E34EA90-F698-215B-99E3-B598F96FF49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522413" y="46196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9B78D8-7181-4661-BDC9-3A279BB6D38A}" type="datetime'''''''''5''''''''''.''''''''''''''''''''''''9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5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DE7D5BF8-193E-8278-7BAE-2D4FE573EB0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42E901-3B4A-4D0C-B90A-8E30AA345E48}" type="datetime'J''''''u''''''''''''''''''l''''-2''''''''''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06AD811-F54D-296F-21A9-ACC2CBDA832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036763" y="481965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6948C3-1155-4067-B4EB-FF634BA3A00E}" type="datetime'''''''''''5''''''''''''''''''''''''.''''''''7''k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.7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B8DB0B0-E1C2-FCF1-CE4E-5AC50FBA3FD7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A3C885-4775-4A3B-9DEB-6D9FEFF81031}" type="datetime'''''''''A''''''''''''''u''''g-2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392910B4-F774-900E-5840-E1F4ADC0F668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5C50DB-E10B-48C7-B71F-4A40A112BDD4}" type="datetime'S''''''''''''ep''''''''''''''''''''-''''''''2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7E2D47E-9249-E731-F2B0-9D4421FC27B7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2828925" y="48387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62926D-3B50-4B97-95D4-4A5FF2264608}" type="datetime'''''''''''''''''5''''.''''''''''''''''7''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5.7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E8E46D7-D2A7-7EA2-D456-4F5AC1475AE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DC0965-1575-4FC0-9DCD-3F419D18D171}" type="datetime'''''O''c''t-''2''''''''''''''''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C9F7A368-91BD-AFB9-D004-F672E6C15DD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170238" y="604361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D45301-747E-4366-94B6-25B54187A96A}" type="datetime'''''''4''''''''''''.''''''''''''''9''''''''''''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B489755F-21EB-39D7-16FB-197494E2C1A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A391B5-8E1E-4AD6-AD3E-4A9F9C5CD1D8}" type="datetime'No''v''''''''''''''''''''''''-''2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5A0C844-F372-941D-CC72-DA0AD120D66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700463" y="546735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13E19A-E406-489A-BADC-109989658327}" type="datetime'''''''''''''''5''''.''1''''''''''k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52EB065-62EB-A990-E2D9-9703B327E3FC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563987-05E4-4BBA-9DAB-26DECF5E6A4B}" type="datetime'''''''''''D''''''''''ec-''''''''2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FB3C4FB-481D-A94A-711B-D751B148E79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35438" y="55626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D1C884-C61D-4F60-A721-1EDFB229D423}" type="datetime'''''''''''''''''''''''''5''''.''''''''0''''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5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541989C-2D24-7D6C-C2DA-7AF85BAB9B4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3F2BB3-1CA8-4B30-800E-03EE56614397}" type="datetime'''''''''Ja''n''''''''''''''-''''''2''''4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9B837B8-0C6A-4C0B-DC88-D4DF05732D64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570413" y="57229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87A73D-3618-4D59-85F0-EE1ACCAB7220}" type="datetime'4''''.''''9''''''''k''''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4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1DFF5D5D-181E-ABF3-623A-26EAF368429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B56B19-BA32-4AC3-831C-626BF94CF4CA}" type="datetime'''''''''''''F''''''''''eb-24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6E9BD3F-3196-C7FB-42C5-10B4F07669D2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006975" y="57927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3DD60A-8671-42A7-901B-147610EB7618}" type="datetime'''''''''''''''''''''''''''5.''''''''1''''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5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D8BB25F-BD9F-9AAE-9C2C-A41E6EB967D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5639F7-418E-4607-9062-4FC154D5AC40}" type="datetime'''''''''''''''''M''''''''''''a''''r-''''''''2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0710932E-747D-6B02-3A15-6173736F114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699DB0-7DD6-4893-8AF8-7195252F3460}" type="datetime'''''''''A''''''''''''''''''p''r''-''2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1B0C805A-09F2-C817-B940-5590A26E0F87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441950" y="50323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12F19E-A47F-43E7-B401-EEB3815E9F49}" type="datetime'''''''5''''''''''''''''.5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5.5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37AF202D-F385-A071-71F3-6171F5A5C5C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392363" y="48974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88AB8B-48EF-4C40-92EC-021934865B17}" type="datetime'''5''''''''.''''''6''''''''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5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8" name="Chart 47">
            <a:extLst>
              <a:ext uri="{FF2B5EF4-FFF2-40B4-BE49-F238E27FC236}">
                <a16:creationId xmlns:a16="http://schemas.microsoft.com/office/drawing/2014/main" id="{35C362D6-B5A4-BB05-A18E-DA6F08CD4714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95055699"/>
              </p:ext>
            </p:extLst>
          </p:nvPr>
        </p:nvGraphicFramePr>
        <p:xfrm>
          <a:off x="7708900" y="4260850"/>
          <a:ext cx="39370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900863" y="4608513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F8B851-D89B-499A-BBDD-D73C281AF7E1}" type="datetime'''''''Welf''a''''re'''''''''''''' ''C''he''''''c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811963" y="4991100"/>
            <a:ext cx="893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84C79CB-A03B-4776-AC61-D89CE4562835}" type="datetime'''U''''''''nw''''an''t''''''ed'''' P''a''rty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wanted Party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159625" y="5375275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4500E43-4843-46DD-BC89-6625FDDB21C5}" type="datetime'''''''''''''Fo''''''''ll''''o''w ''U''''p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040563" y="5757863"/>
            <a:ext cx="665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489187-5A32-469C-97A4-99D51C742250}" type="datetime'''''''''''''''''D''''ist''''''u''r''ban''''''''c''''''e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isturbanc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432550" y="6142038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D5C3A9-1A7A-434B-A9CB-AF158AC9B3B4}" type="datetime'''Motor Ve''hicl''e'''' Ac''cide''n''''''''''''''''''''t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E4075C08-D964-4E5B-A0D4-2971757014BA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240" y="142315"/>
            <a:ext cx="746830" cy="106433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13280EF-7092-46F4-B9C0-9ADB445F5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898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6041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3" imgW="452" imgH="454" progId="TCLayout.ActiveDocument.1">
                  <p:embed/>
                </p:oleObj>
              </mc:Choice>
              <mc:Fallback>
                <p:oleObj name="think-cell Slide" r:id="rId63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8B525A2A-34EF-3F82-098D-350CFDBF8528}"/>
              </a:ext>
            </a:extLst>
          </p:cNvPr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6474851" y="1846571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heat Ridge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4E6CCD8-B9CC-A814-0985-4E2E7016CEC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531840"/>
              </p:ext>
            </p:extLst>
          </p:nvPr>
        </p:nvGraphicFramePr>
        <p:xfrm>
          <a:off x="338138" y="1716088"/>
          <a:ext cx="53244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9" name="Chart 68">
            <a:extLst>
              <a:ext uri="{FF2B5EF4-FFF2-40B4-BE49-F238E27FC236}">
                <a16:creationId xmlns:a16="http://schemas.microsoft.com/office/drawing/2014/main" id="{846ACD07-1B0C-6015-D29E-E441737C6CE3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664086909"/>
              </p:ext>
            </p:extLst>
          </p:nvPr>
        </p:nvGraphicFramePr>
        <p:xfrm>
          <a:off x="788988" y="4583113"/>
          <a:ext cx="4960937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01650" y="6197601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D3575F-D30D-42D2-B726-9896911AD568}" type="datetime'''''1''''''''''''.3''''''''''k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01650" y="5932489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C49F8FE-A33A-449F-A16E-D58043F2F2E7}" type="datetime'''''1''''''''.''''''4''''''''''''k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01650" y="5665788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1C5EC0-6E56-411A-B46D-709A9ADA61DD}" type="datetime'''''''''''''''1''''''''''''''.''''5''''k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5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01650" y="540067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A188FDF-26A7-4B50-A570-460E47FD13AD}" type="datetime'1''''''''''''''.''''''''''6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01650" y="513397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275753-B074-4408-BF26-D1BFF6F2067C}" type="datetime'''1''.''''''''''''7''''''''''''''''k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7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1650" y="48688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B497A07-393B-476A-91E3-AA48C0A92C17}" type="datetime'''''''''''''''''''1''.''''''''''''''''''8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01650" y="46021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450453-E984-4E3C-A089-8454638CB9F1}" type="datetime'''''''''''1''''''''''''''''''''''''.''9k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C4A33F4F-7FD9-EA78-EDDC-D0E322FB303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03288" y="52800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9493D4-8CC4-48D2-8FD2-A3C88F52D327}" type="datetime'''''''''''''''''''''''''1''''''''''.''''''''7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7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8250AA4C-09BD-619E-B000-EF59FF9E835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5881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75F587-51C8-4FAD-9A15-9AB7412E44A7}" type="datetime'''''''''Ma''''''y''''''''''''-''''''''''2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3033D612-1447-43C8-A9AD-7D6333587F77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169988" y="45434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050948-CBD6-44BF-8B4B-65EFA9DD30D7}" type="datetime'''''''''''''''1''''''''''''''''.''''''''''''''''''9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09826AD1-7BA3-F5B7-5AF2-917276777A1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111250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8265B9-2B23-4A8E-AA8B-D6485A4F16D7}" type="datetime'''J''''''''''''u''''''''n''''''''''''''''-''''2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59620921-9E96-B42F-E10D-70C8E9A97CC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604963" y="45640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CC6FD8-B1C8-4442-8CBE-A687B36A1EF5}" type="datetime'''1''''''''''.''9k''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3EF832D-C460-84B8-6136-051E0B95906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56845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744888-0ADF-4644-BA93-1F37D22084A6}" type="datetime'''''''''''''''''''''Jul''''''-2''''''''''''''''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C3836C5-4B8F-D1FF-D868-DEBFC10CBCF3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868488" y="50831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5116E0-DE68-4355-BF8F-DE8086392BB5}" type="datetime'''''''''1''''''''''''''''''.''''8''''''''''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D7C884D-D57C-725C-5AC2-3935B0668B1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971675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6025CB-B0E8-4B06-B431-A2BADA4BD929}" type="datetime'''''''''''''''''''''A''''''''u''''''g''-''''''''''2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ADA19D3-B368-985D-C678-7694097E281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486025" y="53641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5E540C0-5CE3-4FF9-AC3F-40D30589966D}" type="datetime'''''''''''''''''''''''''''1''''''''''''''''''''.7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7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B1C1E6B0-1977-11C6-202F-3E102D4C461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413000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DD4CAA-8BE6-408A-80A0-F45B6CEECF48}" type="datetime'''''''''''S''''''''''''''''e''''''''''''p''''-''2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8F805B2-3D74-F0ED-4C65-55D891954B72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027363" y="53419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027ACE-8ED6-4418-A538-A11EE4AD6AE0}" type="datetime'1''''''''''''''.''''''6''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5449B49A-6F6A-898A-2D6E-3B98A8E86022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855913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FFEFA5-D269-4C7D-86AF-1D0C949835D0}" type="datetime'O''''c''''t-''2''''''''''''''''''''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EC7EE6E-A856-A6AD-4F8A-2BEBB154E0B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516313" y="568801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CF97D11-00F3-44F5-858A-E327843B84E1}" type="datetime'''''''''''''''''''''1''''''.''''''''''''''5''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5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C249A73-3953-259C-3458-D4FAFD8A9D0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281363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1B4708-BC33-4A1D-B578-D624FE9E4BF3}" type="datetime'''''''''''''''N''''o''''''''v''-''2''''''''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BE1E6AE-AB78-C64F-A6DE-9570C6DA172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821113" y="584835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8F351E-DDE5-4496-8336-C85EC07120D3}" type="datetime'''''''''1.''''''''''''''''''''4''''k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817EC5B-9379-1D20-DF3E-54BFCC2A61DC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717925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BCB3B3-F72C-4C54-B690-4CA29E3123C6}" type="datetime'''''''''''D''''''''''''''''e''''''''''''''''''c''''-''''2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6265422-1A09-1EDC-EA11-A10E73964C50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221163" y="582771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BC5593-0041-4547-BBF6-C0841A2E4CED}" type="datetime'''''''1.''''''''''''''''4''''''''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E0459C3-4123-A318-EFC4-EB93D8840E7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165600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D54C7C-BD3B-4E0C-82E6-1F373C344B15}" type="datetime'''''Ja''''''''''''n''''''-2''''''''''4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60D0F41E-5C01-F137-E99D-B9D246AC5A9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657725" y="58245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88E3B6-FE1C-4288-85D3-8B1E2133466D}" type="datetime'''''''1''''''''''.''''''''''''4''k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7309B7F-9064-1EE3-BDEE-E8D418366AA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595813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C21ADB-A48D-48E2-AE65-E01B3B8004A1}" type="datetime'F''''''''''''''''''''''''''''''eb''-''24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F525DBE4-0057-174B-F5BC-F712011610C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092700" y="57372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C27C6C-FFDB-4821-8A59-1858B40BCD29}" type="datetime'''1''''''''''''''.4''''''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6EE1690-E3E9-6350-2322-BDA0204B888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026025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C47709-7F3C-4FEF-B786-0A6291C87A30}" type="datetime'''''''''M''''''ar''''''''''''-2''4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5E67ED42-3F24-FB65-0DD8-77CFAD62BFA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472113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606E03-F247-48D2-8D21-9F7A431A645D}" type="datetime'''''''''''A''''''''''''p''r''-''''2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0E2ADC2C-1A47-DD38-BCE2-EAFED4B98CD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529263" y="56896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0CF082-F7A6-42FE-843F-96F1BB476C77}" type="datetime'''1.''''''''''''''''''''''''''''''4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38A43239-2006-3255-CB1E-BD3492879611}"/>
              </a:ext>
            </a:extLst>
          </p:cNvPr>
          <p:cNvGraphicFramePr/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2728883923"/>
              </p:ext>
            </p:extLst>
          </p:nvPr>
        </p:nvGraphicFramePr>
        <p:xfrm>
          <a:off x="7708900" y="4260850"/>
          <a:ext cx="39370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159625" y="4608513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F9151F0-AE22-4D51-8A61-E9EBF0A68C97}" type="datetime'''''F''''''''o''''''ll''''''''''''''''o''w'' Up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432550" y="4991100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359395-1B88-43F6-9564-8A9982E2CFD1}" type="datetime'M''otor ''Ve''hi''cle'' ''Ac''c''''''i''''''d''e''n''''''t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900863" y="5375275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7558D6-04A9-4540-893F-C81EC221975D}" type="datetime'W''''''e''l''f''''''are ''C''''''''''''''h''e''c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811963" y="5757863"/>
            <a:ext cx="893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8354215-F09D-41B2-8D58-1C17C7F46942}" type="datetime'''''''''U''nwanted Pa''''''r''''''''''''''t''''''''''y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wanted Party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438900" y="6142038"/>
            <a:ext cx="1266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E1EAD14-534E-44A3-9EEC-ACC784FF8489}" type="datetime'Ci''''''''tizen ''''Assi''s''''t/S''''''e''r''v'' ''''C''all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 Assist/Serv Cal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A74F6581-E271-4B10-835E-910483AD7353}"/>
              </a:ext>
            </a:extLst>
          </p:cNvPr>
          <p:cNvSpPr/>
          <p:nvPr/>
        </p:nvSpPr>
        <p:spPr>
          <a:xfrm>
            <a:off x="-145439" y="99219"/>
            <a:ext cx="1282700" cy="1117600"/>
          </a:xfrm>
          <a:prstGeom prst="rect">
            <a:avLst/>
          </a:prstGeom>
          <a:blipFill>
            <a:blip r:embed="rId70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4513B5B-A8C4-4146-9B42-032BB78B0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9615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003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2" imgW="452" imgH="454" progId="TCLayout.ActiveDocument.1">
                  <p:embed/>
                </p:oleObj>
              </mc:Choice>
              <mc:Fallback>
                <p:oleObj name="think-cell Slide" r:id="rId62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B1338FF-0BA5-E283-676C-3699068BB1BF}"/>
              </a:ext>
            </a:extLst>
          </p:cNvPr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6476052" y="1842525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vada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4410023B-F862-22FD-C9D5-30E33D5B722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3146572"/>
              </p:ext>
            </p:extLst>
          </p:nvPr>
        </p:nvGraphicFramePr>
        <p:xfrm>
          <a:off x="338138" y="1716088"/>
          <a:ext cx="53244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5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2" name="Chart 71">
            <a:extLst>
              <a:ext uri="{FF2B5EF4-FFF2-40B4-BE49-F238E27FC236}">
                <a16:creationId xmlns:a16="http://schemas.microsoft.com/office/drawing/2014/main" id="{2CF1E704-9CA4-1358-BBD0-4E208C190BE1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147601665"/>
              </p:ext>
            </p:extLst>
          </p:nvPr>
        </p:nvGraphicFramePr>
        <p:xfrm>
          <a:off x="706438" y="4583113"/>
          <a:ext cx="4956175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19100" y="6197601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750E4F-E0E5-45AA-BBE4-6707E104B470}" type="datetime'''''''2''''''''''''''''.''4''''k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9100" y="587851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3AF6AF0-FCEF-4260-BF51-759232D05C70}" type="datetime'2''''''''''''''''''''''''''.''''''6''''''''''k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9100" y="555942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BC341C-AC21-4B7D-A968-DB1ABAA9D339}" type="datetime'2.''''''8''''''''''''''''''''''k''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19100" y="5240338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EC843C-ED70-499F-928E-5532B85D6002}" type="datetime'''3''''.''0''k''''''''''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3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19100" y="4921250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FF0396-7BAE-4125-B4A7-B6FABA7E6BB8}" type="datetime'''3''''''''''.''''''''2''''''''''''''''''''''k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19100" y="46021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ED3EA34-5F02-4CAB-B230-251668D7E523}" type="datetime'''''3''''.''''''''''''''''''''''''''''4''k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B1366E3F-F395-5537-B661-2D2E6B4B920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20738" y="48529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304CC9-DB17-40EC-BD17-DBAAFD86C898}" type="datetime'3.''''''''''''''''''2''''''''''''k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FE8095F-70AA-80E7-5AB4-793D17F07A1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46C470-2E7C-4DA7-94B5-BC12576CC200}" type="datetime'M''''''''''''''''''''''''''''a''''y-''''''''''''''2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F1368363-5333-B95D-BCFC-162A180EC1E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85850" y="48006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D9BFB4-483E-4245-AA9B-1F7C19880D97}" type="datetime'''''''''''''3''''.''''''2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974FF74-9912-6A62-3246-A52A3C2CFCAD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A38188-A740-4F57-BEFA-673270ADBEA7}" type="datetime'''''''J''''''''u''''''''''''''''n''''''-''''''''2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2BAA32C5-1C92-8614-2678-B94A36FCDC5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522413" y="46021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5C85AF-885F-4F81-B4ED-F3C6E281E1B0}" type="datetime'''''''''''''''''''3''''''''''''''''''''''''''.''3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B5CA9E5-6CAB-32F9-DC0A-F88273FB2B4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C70FAA-BB2F-4FA2-A0CD-B42ECBD16D92}" type="datetime'''''''''''''''''''''J''''u''l-''''''2''''''''''''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7917790-2F42-F887-E684-5C13E341F16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957388" y="4821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32B883-5D34-45AB-AD99-4806B16EC69E}" type="datetime'''''''''3''''''''''''''''''.''''''''''''''2''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07D7408-F4BF-634D-C4A3-6AB144A133E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033B60-FC5B-4E18-A553-45DBE3F3C045}" type="datetime'Au''''''''''''''''''''g''''-2''''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919439C-F2E5-38EE-454C-6197DCE4A0B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392363" y="5376863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F1B89F-718B-419E-91C7-5055A1549238}" type="datetime'''''''3''''''''.''0''''''''''''''''k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D20D0D7-37CC-29AE-8F09-41EE1C3042D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AA7CF-4910-4357-8EA7-A7B95D377978}" type="datetime'''S''''e''''''''''''p''''''''''''''-''''''''''''2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A7F15473-C481-F557-18F4-5334C151E8F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828925" y="50450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41FEFC-8E3D-4224-AD1D-AD940BEAF05B}" type="datetime'''''''''''3.''''''''''''''0''''''''''''''''''''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719655D-B1E7-347B-4560-8C174CD823A0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201F30-5522-4F49-A2AF-89DCB09964D5}" type="datetime'O''c''''t''''-''''''2''3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2C405B0B-A40D-DA13-F823-C48F9BB223C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263900" y="57356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4BF3C1-8C11-457B-A492-3C87CED7107F}" type="datetime'''''''2''''''''.''''''''''''''''''''''''''''''8''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B11A0CB-368B-A60B-EDC1-4AB20B197FE5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BD712-80A2-4341-A504-D1A6C29DB199}" type="datetime'N''''''''''''''''''''''''''o''''''v-2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FDC4214A-9C7D-E50B-B2D6-A8DDC8950E2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700463" y="57562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89D789-0173-4A5E-9C5D-A3AD2AD7734C}" type="datetime'''''''2''''''''''''''''''''''.''8''''''''''''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E3E702C-DACE-F774-74FA-59D2669929E7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12A893-3135-440C-88F7-6ECA7AF99623}" type="datetime'''''''''''''D''''''''''''''''e''c''''-''''2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1FBAC96-1BE5-4DA8-D741-A6923EFB5B1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135438" y="59261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96C270-FC31-4315-B03D-113D9ED3F5C0}" type="datetime'''''''2.''''''''''''''''''6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9B55197-3E95-C76B-28EA-C92C39CE202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23B6B2-69F5-4786-9C8A-C836E39AA28B}" type="datetime'''''J''''''''''''''''''an''''-''''''2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08BBCC9-3F12-9CFB-81E3-A06659BDF559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570413" y="59578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8A0C33-D6EC-4669-957E-A8F0FCB10866}" type="datetime'''2''''''.''''''''''''''''''''''''''''6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BC0E037-21BF-BF4A-687C-480525152A9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65B2CB-2D1A-4213-96C0-1C00617E680C}" type="datetime'''''''''''F''e''''''''''b''''''''''''''''''-2''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B642CE0C-57AA-72C5-417D-5CBB363DC16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006975" y="5456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F308B0-CB37-4447-8DCC-4B30B4C9333E}" type="datetime'''''''''''''2''''''''''''.''''''8''''''''''''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C3C5C1D5-CE05-04AD-6FA1-CD8C07C6647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9995BF-0958-4C32-92BE-D2E0E061C8D0}" type="datetime'''''M''a''r''''''-2''4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2940CA25-AD76-456C-3D39-A6DBC7AECC6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007AAD-92B3-4002-8188-A93864F2E3C7}" type="datetime'''''''''''''A''p''r''''''''''-''''2''''''''4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380F4B25-ABED-858A-AE44-9BCE34CDEE3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441950" y="55133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3993E9-1325-4E9C-AE40-99ED3E72C213}" type="datetime'''2''''''''''''''''.8''''''''''''''''''k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54FD1124-4A2F-700D-0ECF-004126A4F336}"/>
              </a:ext>
            </a:extLst>
          </p:cNvPr>
          <p:cNvGraphicFramePr/>
          <p:nvPr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690405505"/>
              </p:ext>
            </p:extLst>
          </p:nvPr>
        </p:nvGraphicFramePr>
        <p:xfrm>
          <a:off x="7708900" y="4260850"/>
          <a:ext cx="39370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900863" y="4608513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0DBC89-7FBF-4359-B63E-53130448D09F}" type="datetime'''''''''''W''e''''''l''''f''a''r''''e'''' C''hec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7159625" y="4991100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2BCA1C-2166-4681-ACE3-5A83A3D66334}" type="datetime'''F''ol''l''o''''''w ''''''''''U''''''''''''''''''''''p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6438900" y="5375275"/>
            <a:ext cx="1266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912835-923E-4C77-AB69-4468E872F669}" type="datetime'Ci''''t''ize''''n A''s''''si''''''s''t''/Ser''v ''Ca''l''''l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 Assist/Serv Cal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811963" y="5757863"/>
            <a:ext cx="893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C5099F-C431-4159-AA17-8D503EAEB66C}" type="datetime'''''''U''''''n''wa''n''''t''e''d ''''''''''''Pa''rt''''y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wanted Party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432550" y="6142038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8609B3-9FFF-4376-B792-6998AA6E90B8}" type="datetime'''M''o''''t''''or Ve''''h''''i''c''le ''''''Acc''ide''''nt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3415D765-4D00-4167-8446-C78684E6A375}"/>
              </a:ext>
            </a:extLst>
          </p:cNvPr>
          <p:cNvSpPr>
            <a:spLocks noChangeAspect="1"/>
          </p:cNvSpPr>
          <p:nvPr/>
        </p:nvSpPr>
        <p:spPr>
          <a:xfrm>
            <a:off x="203592" y="94932"/>
            <a:ext cx="575871" cy="1025843"/>
          </a:xfrm>
          <a:prstGeom prst="rect">
            <a:avLst/>
          </a:prstGeom>
          <a:blipFill>
            <a:blip r:embed="rId6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BBFF4A-7EEF-43CB-94FA-0BDC45C723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9191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5407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52" imgH="454" progId="TCLayout.ActiveDocument.1">
                  <p:embed/>
                </p:oleObj>
              </mc:Choice>
              <mc:Fallback>
                <p:oleObj name="think-cell Slide" r:id="rId4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F899A158-4A98-BD1B-E4D8-0E5530D400BA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6489700" y="1842525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lden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EC425125-BF76-FA17-21BC-30D0EA3B121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192959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6209B05B-3F44-C76F-17D8-4EB37AF15935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822511408"/>
              </p:ext>
            </p:extLst>
          </p:nvPr>
        </p:nvGraphicFramePr>
        <p:xfrm>
          <a:off x="401638" y="4457700"/>
          <a:ext cx="5383212" cy="2046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30238" y="6321426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8D5E79-3DA8-4B43-943B-F3B74C4E97F5}" type="datetime'M''''''''''a''y''''''''''''''''-2''''''''3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81088" y="6321426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6E115C-B127-40A3-89F1-36117C5576D1}" type="datetime'''''Ju''''''''''''''''n''''''''''''''''-2''''''''''3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539875" y="6321426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6FE978-204C-4459-8485-A8C3F1C81AD1}" type="datetime'J''''''''''''''''''u''''l''''''-''''23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941513" y="6321426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58C343-C5FD-4627-8DCE-B3F5F1B058B4}" type="datetime'''''''''''''''''''''Au''''''''''g''''''''-''''2''3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381250" y="6321426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B82832-487E-491F-9A1F-4A5A99A363C7}" type="datetime'''S''''''''''''''''ep''''''''-2''''''''''''3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825750" y="6321426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246B325-718D-43BE-8ED6-B042430E7022}" type="datetime'''''''''''O''''''c''''''t-''''''''''''''2''''''''''''3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249613" y="6321426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0AD230-28D8-42FF-948F-C56BAAE377E8}" type="datetime'''N''''o''''''''''''''''v''''''''''''''-''''2''''''''''''3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87763" y="6321426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FAC776D-8318-4B0A-AC99-C1E9981EA395}" type="datetime'''D''''''''''e''''''''''''c''-''2''''''''''''''3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133850" y="6321426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FDF12B-4174-4734-9444-66ABAB55EFFA}" type="datetime'''''''J''''''a''n''''''''''''''-''''''''''2''''''''4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62475" y="6321426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9E9C4C3-C939-4CA2-AC83-0F058994B5E7}" type="datetime'Fe''''b-''''''''''''''''''''''''''2''''''''''''''''''''''4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994275" y="6321426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477C604-7FCA-47A5-802A-3B0FAD6C280E}" type="datetime'''''M''''''''''a''''''''''''''''''''r''-''''2''''4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2015122C-2655-6F5C-D07F-48D3C2E7E3E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438775" y="6321426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7F1A33-4DB4-476A-9AD3-025F8AA415DE}" type="datetime'''A''''''''''''''''''''''''''p''''''''''r''''-''''''2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1618C287-D352-7BB1-5386-419791281FF7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09334985"/>
              </p:ext>
            </p:extLst>
          </p:nvPr>
        </p:nvGraphicFramePr>
        <p:xfrm>
          <a:off x="7708900" y="4260850"/>
          <a:ext cx="38671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900863" y="4608513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1192B19-8B5B-49FB-B20B-AC8D6FA3468A}" type="datetime'We''''l''f''''''''''''''are'''''' C''''''''he''c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432550" y="4991100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85F579-D53E-4529-9B94-C9106057DF59}" type="datetime'Moto''''r'' ''Ve''hi''''''''cle'' A''''c''c''id''e''''''''n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811963" y="5375275"/>
            <a:ext cx="893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D38853-8B27-4976-B7E2-533AFF95D0C1}" type="datetime'Unw''''''an''''t''ed Par''''t''''''''''''''''y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wanted Party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438900" y="5757863"/>
            <a:ext cx="1266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1CFC53-2774-4C99-A1B2-D24F8F9F7C8F}" type="datetime'''''Ci''t''iz''''en A''ss''''ist/S''e''r''v'''' Call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 Assist/Serv Cal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159625" y="6142038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7ACF97-1E5B-4CF4-82E5-1F4FB3B5F793}" type="datetime'''F''''''o''''''''''l''''low'''''''' U''''''''''''''''p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E5B40C5A-BDC3-4853-8F1F-9DB30A643AB0}"/>
              </a:ext>
            </a:extLst>
          </p:cNvPr>
          <p:cNvSpPr/>
          <p:nvPr/>
        </p:nvSpPr>
        <p:spPr>
          <a:xfrm>
            <a:off x="196850" y="50007"/>
            <a:ext cx="749300" cy="1117600"/>
          </a:xfrm>
          <a:prstGeom prst="rect">
            <a:avLst/>
          </a:prstGeom>
          <a:blipFill>
            <a:blip r:embed="rId51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34E3642-3BF8-4D50-9A2A-9ADF91017D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601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0D37E-AFD5-48BA-904D-A699E76C0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385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0D37E-AFD5-48BA-904D-A699E76C0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AE22843E-7582-8826-B2C2-5F7CB384A2F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704304" y="4341901"/>
            <a:ext cx="6210300" cy="199644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079D8A1-0470-CDEB-B241-56DC16A77D46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7438" y="1375366"/>
            <a:ext cx="5518848" cy="5130697"/>
          </a:xfrm>
          <a:prstGeom prst="rect">
            <a:avLst/>
          </a:prstGeom>
        </p:spPr>
      </p:pic>
      <p:sp>
        <p:nvSpPr>
          <p:cNvPr id="5" name="Text Box 58">
            <a:extLst>
              <a:ext uri="{FF2B5EF4-FFF2-40B4-BE49-F238E27FC236}">
                <a16:creationId xmlns:a16="http://schemas.microsoft.com/office/drawing/2014/main" id="{7B827F87-784E-46DA-B4AC-26C5F16C015D}"/>
              </a:ext>
            </a:extLst>
          </p:cNvPr>
          <p:cNvSpPr txBox="1"/>
          <p:nvPr/>
        </p:nvSpPr>
        <p:spPr>
          <a:xfrm>
            <a:off x="1084903" y="165505"/>
            <a:ext cx="5779478" cy="1044575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w Stats</a:t>
            </a:r>
          </a:p>
          <a:p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s Received, Processed, and Dispatche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424051C8-1484-8307-5AA2-62B82343101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179020"/>
              </p:ext>
            </p:extLst>
          </p:nvPr>
        </p:nvGraphicFramePr>
        <p:xfrm>
          <a:off x="5832475" y="1654175"/>
          <a:ext cx="6013450" cy="1912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36C341E-36F9-4264-B2D7-4F682FB8508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024563" y="33845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06D200-A569-4F56-A1A6-45AED4439E7B}" type="datetime'0'''''''''':''0''0''''''&#10;''2'':''''''''''0''''''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BCA5092-341C-4B30-A4BC-FE6ECD7FB7C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511925" y="33845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C99B5E-C8AC-4391-94BE-CFED5219D5D8}" type="datetime'''''2'':00''''&#10;''4'''':''''''''''''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3626333-7B89-471A-A9C4-6F324CB5B4B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99288" y="33845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CF03CB-C777-4C7F-91A6-73D81AF14546}" type="datetime'4:''0''''''''''''''''''''''0&#10;''''6:''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C13A223-89D1-473F-AD55-639525653BB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486650" y="33845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EEFC56-9581-4D42-9AEB-FF1F0535DB20}" type="datetime'6'''''':00''''''''&#10;8'''''''''''''''''':''0''''''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F38C3DA-DE57-482B-BB0F-35E06A017D6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939088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924D62-3A3F-42D6-AACE-8652BC595891}" type="datetime'''''8'''''''''''':0''''''''0''&#10;1''0'''''':0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284D4CD-EDF4-493D-A0EC-1942070AAF3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426450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CCFFFC-932A-44DF-9EA0-E570CA18BF97}" type="datetime'''''10:''''00''''''''''''&#10;''''''''''''1''''''2'''''':''''''0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C36372-DE31-4EA3-A34A-B3486B1AA50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913813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36C3FD-C711-49BA-917A-3927D7FBC893}" type="datetime'''1''2:0''''''''0''''''&#10;''1''''''''''''4'''''''''':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65CFDDD-969A-4CA1-A801-863CDBA35FF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401175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B1770-2054-46D6-92E2-345941372331}" type="datetime'1''''4'''''''''''':''0''''''''''''0&#10;''''16'''''''''':''0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8E2651-26AD-42B7-94DE-FBB956D36E2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888538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74D48C-D15E-4759-B376-6A884862CF00}" type="datetime'''''''''1''''''''''''''''6:''0''0''&#10;''1''''''8'''''':0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9969F97-EA3B-4F01-9E1C-9A45CF4B254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375900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166B9B-D0C7-4813-8128-EF3917D3A5E8}" type="datetime'1''''8:0''0''''&#10;2''''0'''''''''''':''0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15AEADC-1253-4633-974F-DCA7C2AB53E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863263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006335-CF64-4175-850F-5519FA30DE98}" type="datetime'2''''0'''''''':''0''''0''&#10;''''22'''''''''''':''''''''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4F80A12-8328-4C76-B1AA-3A6F5F05569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350625" y="33845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C22CA7-F4FB-4E16-9AD6-990CCE97EC26}" type="datetime'''''''''''''22'''''''''''''':''''''00''''&#10;0'':''''''''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52C4211-5F55-4C7B-9C2D-6A96F2218602}"/>
              </a:ext>
            </a:extLst>
          </p:cNvPr>
          <p:cNvSpPr/>
          <p:nvPr/>
        </p:nvSpPr>
        <p:spPr>
          <a:xfrm>
            <a:off x="5710238" y="1600200"/>
            <a:ext cx="6210300" cy="21669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5AE4010-508F-4A3F-85C7-752A1F15F54F}"/>
              </a:ext>
            </a:extLst>
          </p:cNvPr>
          <p:cNvSpPr txBox="1"/>
          <p:nvPr/>
        </p:nvSpPr>
        <p:spPr>
          <a:xfrm>
            <a:off x="5710238" y="1375366"/>
            <a:ext cx="6210300" cy="307975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erage Call Volume Per Time of Day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0DD0C29-43A9-4273-AEB4-F38CBF1A87EB}"/>
              </a:ext>
            </a:extLst>
          </p:cNvPr>
          <p:cNvSpPr txBox="1"/>
          <p:nvPr/>
        </p:nvSpPr>
        <p:spPr>
          <a:xfrm>
            <a:off x="5688623" y="3803650"/>
            <a:ext cx="6216040" cy="307975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tal CAD Dispatched Calls by Day of Week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A9B9B17-F2C5-49D5-8AD7-354733D35B07}"/>
              </a:ext>
            </a:extLst>
          </p:cNvPr>
          <p:cNvSpPr/>
          <p:nvPr/>
        </p:nvSpPr>
        <p:spPr>
          <a:xfrm>
            <a:off x="5691188" y="4111625"/>
            <a:ext cx="6210300" cy="23944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76" name="Picture 4" descr="34,176 BEST Police Badge Vector IMAGES, STOCK PHOTOS &amp;amp; VECTORS | Adobe Stock">
            <a:extLst>
              <a:ext uri="{FF2B5EF4-FFF2-40B4-BE49-F238E27FC236}">
                <a16:creationId xmlns:a16="http://schemas.microsoft.com/office/drawing/2014/main" id="{58DED1F4-1793-425F-B302-8061B71EC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09" y="70293"/>
            <a:ext cx="1139787" cy="1139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C72E1E-661F-4997-A353-2798333F5B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09479" y="6506063"/>
            <a:ext cx="2743200" cy="365125"/>
          </a:xfrm>
        </p:spPr>
        <p:txBody>
          <a:bodyPr/>
          <a:lstStyle/>
          <a:p>
            <a:fld id="{7E42DF0F-B536-4D3B-A493-5032C5E2E097}" type="slidenum">
              <a:rPr lang="en-US" smtClean="0"/>
              <a:t>3</a:t>
            </a:fld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5E2E38E-7332-94FB-F54F-68426F26E1F9}"/>
              </a:ext>
            </a:extLst>
          </p:cNvPr>
          <p:cNvSpPr txBox="1"/>
          <p:nvPr/>
        </p:nvSpPr>
        <p:spPr>
          <a:xfrm>
            <a:off x="0" y="6481920"/>
            <a:ext cx="10144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s: Call received, processed, and dispatched by Jeffcom. Self-initiated activity removed.</a:t>
            </a:r>
          </a:p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Clear Creek County joined Jeffcom on February 21. Data is shown from this date forward.</a:t>
            </a:r>
          </a:p>
        </p:txBody>
      </p:sp>
    </p:spTree>
    <p:extLst>
      <p:ext uri="{BB962C8B-B14F-4D97-AF65-F5344CB8AC3E}">
        <p14:creationId xmlns:p14="http://schemas.microsoft.com/office/powerpoint/2010/main" val="398098993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8875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52" imgH="454" progId="TCLayout.ActiveDocument.1">
                  <p:embed/>
                </p:oleObj>
              </mc:Choice>
              <mc:Fallback>
                <p:oleObj name="think-cell Slide" r:id="rId4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81EA435-53B4-52D1-6698-64BA42D31871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6477562" y="1850096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keside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0A5724D-F587-E7AE-A392-E50A787469F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2012534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7DE4C301-E19D-F5DD-F0CA-ADC137581ED1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09923629"/>
              </p:ext>
            </p:extLst>
          </p:nvPr>
        </p:nvGraphicFramePr>
        <p:xfrm>
          <a:off x="347663" y="4429125"/>
          <a:ext cx="5348287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45994B4-F30C-4D81-862D-D1DEAB11FA5B}" type="datetime'M''''a''''y''''''''''''''''''''''''-''2''3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27113" y="6303964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9987C20-1090-4A73-965D-5B7EF06F06D7}" type="datetime'''''''''''''''''Jun-''''''2''''''''3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485900" y="6303964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3BFE5C6-84DC-4EFC-9A8D-2079C395187A}" type="datetime'''''''''J''u''''l''''''-2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1BC3AF-241D-4126-92D6-D50E7660E0D5}" type="datetime'''''''''''''''A''u''''''''g''-''''''2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3CDFFE8-3FDC-470D-8E07-7613639B08DE}" type="datetime'''''''''''S''e''p''''''''''''''''''''-''''2''''''''''''3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771775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5C50E34-55FC-423A-B910-D74064D5E009}" type="datetime'''O''''''''''''''''''ct''''''-''''''''''''2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21E4E57-18A2-4DC8-B8BF-83014AF1E0F7}" type="datetime'N''o''''''''v''''-''''''''''''''''''''''2''''''''''''''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E71ADC-14D2-4ED0-A057-D8BC5FAFBF31}" type="datetime'''''''D''''''''''''''''''e''c''-''''''''''''''''23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079875" y="6303964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8FF632E-7598-40D9-8EE7-9C8EAE5F4FBC}" type="datetime'''''''J''''''''a''n''''''''-''''''2''''4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78A0E39-F18B-4E11-9A25-B1A0591B12AA}" type="datetime'''''''''''Fe''''''''''b''''''''''-2''''''4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E8B05699-9D2D-AAA6-547E-BF477A243B7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F0469F3-28EC-4A8A-B04D-107081F0973A}" type="datetime'''''''M''''''''''''''''a''''''''r''-''''''''''''''''2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00DAED3-6999-B7BE-8FDE-7156C7D958D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0FFF2C-6B98-41D0-A168-162D8439377A}" type="datetime'''''''''''''''''''''''''''''''''''A''''''p''''r-2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B694DA76-6CAA-02D3-C5D3-36FFAB8BA3AF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993304452"/>
              </p:ext>
            </p:extLst>
          </p:nvPr>
        </p:nvGraphicFramePr>
        <p:xfrm>
          <a:off x="7708900" y="4260850"/>
          <a:ext cx="38671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410450" y="4608513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505E54-E86C-4478-A35F-A5BA5C8FCA89}" type="datetime'Th''''''ef''''''''''''''''t''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hef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811963" y="4991100"/>
            <a:ext cx="893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B7B2F8-A54D-4642-81DC-0E1F8EF4F7B7}" type="datetime'U''''''''''n''w''a''''''''n''''t''''ed P''art''''''y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wanted Party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686550" y="5375275"/>
            <a:ext cx="1019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2D44EC-4F1E-4AC5-BB80-4D88F9FC8050}" type="datetime'''''''S''u''sp''i''ciou''''''''s'' ''''''''''Veh''''icl''e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uspicious Vehicl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432550" y="5757863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30626C-D063-495C-8B39-42064CDC53D8}" type="datetime'M''oto''''''r'' ''V''ehi''cl''e A''''c''c''''''''ide''nt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040563" y="6142038"/>
            <a:ext cx="665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DE38F2B-C0F8-48B8-B88E-88C6764FCFD7}" type="datetime'D''is''t''urb''''''''''a''''''''n''c''''''''e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isturbanc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6B373A51-2057-457B-9DC3-CB9DC534509E}"/>
              </a:ext>
            </a:extLst>
          </p:cNvPr>
          <p:cNvSpPr/>
          <p:nvPr/>
        </p:nvSpPr>
        <p:spPr>
          <a:xfrm>
            <a:off x="168910" y="115886"/>
            <a:ext cx="789940" cy="1117600"/>
          </a:xfrm>
          <a:prstGeom prst="rect">
            <a:avLst/>
          </a:prstGeom>
          <a:blipFill>
            <a:blip r:embed="rId51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7E4C1AF-4B86-49C2-BCE8-3BD8367EC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89731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1617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52" imgH="454" progId="TCLayout.ActiveDocument.1">
                  <p:embed/>
                </p:oleObj>
              </mc:Choice>
              <mc:Fallback>
                <p:oleObj name="think-cell Slide" r:id="rId4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AA0B8E36-805B-6D54-5236-D61C1CCB45DC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6471043" y="1828679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rrison PD Jurisdiction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8F47DFB0-B509-D8A6-1324-D224B395516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6262737"/>
              </p:ext>
            </p:extLst>
          </p:nvPr>
        </p:nvGraphicFramePr>
        <p:xfrm>
          <a:off x="417513" y="4440238"/>
          <a:ext cx="5278437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550E4F3-9753-AC19-5B37-AFDADA6A889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264C89-77C3-4989-B4B3-6F3A094754C7}" type="datetime'''''''''''''''M''a''''y-''''2''''''''''''''''''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41BBFA4-37B5-50C0-7E64-394A960C175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682614-9C77-426B-AD85-C754EF0003B7}" type="datetime'''''''''Jun''''-''''''''23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26AA8C5-BA76-80F7-9C08-4738249D8EC3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C00D7D-1DAD-4A85-826D-9B86AE710D91}" type="datetime'''''Ju''l''''''-''''2''''''''''3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E04F6C7-C5CE-0639-E6EE-4EA6F250108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E739A0-0DFB-4BD8-B7F7-97AB77A6D0BC}" type="datetime'''''''''''A''''''''''u''''g''''''''-''''23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330FDA5-01AA-960D-FADC-74B8E7D526E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4E65AA-D604-4893-9293-58AB0EEC7923}" type="datetime'''''S''e''p-''''''''2''''''''3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494E85D-4F3D-3204-35FB-2E48C65A19C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17B153-304D-4D76-B820-189CBF46DA78}" type="datetime'''''''O''''''''''''c''''t''''-''23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420E5CB-3D9D-458C-56DF-AF279201804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C1055D-45CE-47A8-890C-7623D7BD7EAA}" type="datetime'''''''''''''''''''''''''N''''''o''''''v''''''''''''-''2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40439B0-A678-8AD6-C88E-52118F5A08A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F637C9-E7B2-4F6C-9DBE-1F746F8F7EA2}" type="datetime'''D''''''''''''''''e''''''''''c''''''''''''-''''2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4023B31-D9C1-DAA3-4E90-5B42F38D372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5C6214-71D1-4A88-8700-527DADE10EF1}" type="datetime'J''''''''''a''''''''''''''''''''n''''''-2''''''''''''4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84E5AE1-0CDA-4B7F-EC64-FB8D1F43ECB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44FE2E-EE4A-4268-9DE1-F0CBF6EDC7F7}" type="datetime'F''''eb''''''''''''''''''''''''''-''2''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2104038D-F815-C2E8-FDBB-6EE2838F691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604E06-D973-495E-89ED-7411F6CEF270}" type="datetime'''M''a''r-''''''''''''''''2''4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EDE55C2-D2E5-6F27-2361-2CC909872ED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0C3737-7713-435F-92A3-F44B757705BB}" type="datetime'''''Ap''''''''''''r''''''''''''''''-''24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77825" y="4080891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D0A6BF63-64F9-45B0-B547-257360C71255}"/>
              </a:ext>
            </a:extLst>
          </p:cNvPr>
          <p:cNvSpPr/>
          <p:nvPr/>
        </p:nvSpPr>
        <p:spPr>
          <a:xfrm>
            <a:off x="202414" y="120850"/>
            <a:ext cx="774700" cy="1117600"/>
          </a:xfrm>
          <a:prstGeom prst="rect">
            <a:avLst/>
          </a:prstGeom>
          <a:blipFill>
            <a:blip r:embed="rId4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45E990D-F1AA-419F-97F0-12FFB2CEF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1</a:t>
            </a:fld>
            <a:endParaRPr lang="en-US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84F62D3-9700-BC3F-3456-07839FD39EA2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07094515"/>
              </p:ext>
            </p:extLst>
          </p:nvPr>
        </p:nvGraphicFramePr>
        <p:xfrm>
          <a:off x="477838" y="1716088"/>
          <a:ext cx="51847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E7AC3B77-DEC7-4E18-AAB8-9A5436AB6B8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CE3367-390E-4C8A-B42B-B077B3C1F991}" type="datetime'''''0'''''''''':''''''''0''''''''''0&#10;2'''''':''''''''''''0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D4F1A5AC-B3A9-4F00-AC98-F63B3C21CF7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DBE7BB-974A-45A2-95FC-1A4FBE86C3F0}" type="datetime'2'''':''''''''''''0''0''''''''&#10;''4:''''0''''''0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0F3B2B8B-8F2F-421D-8D81-783AA5B791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1BAE87-6325-469B-9629-4BE24C87DD6E}" type="datetime'''''''''''''''''4'''''''''':''''0''''0''''''''''&#10;''6'':''0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70266BA0-19CD-40A4-95DB-01B71DEABA5D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7381FB-115B-4B45-B966-5B8B03580175}" type="datetime'6'''':''''''00&#10;''''''''8'''''''''''''''''''':''''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7CEF9A4-9996-46F3-8CB8-3E77B3D0BC1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D62727-0476-455A-81F7-E35CAFC007A5}" type="datetime'''''''8'''''':''00''''''''''&#10;''''10'''''':''''0''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6AA284CF-0282-4D8B-B029-064AD508DE0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C79A69-ABC4-4BAB-A27F-374A671A2050}" type="datetime'''''''''10'''''''''':''''00&#10;''''''1''''2:''0''0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C3CAADDE-3858-486E-911E-DCB18905D258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42AF55-189A-4032-BC0C-30540F782A49}" type="datetime'''''1''''''''''''''2:''0''''''''''0''&#10;''''1''''''4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35131D3-F05D-40BC-A20B-0358CA08F6C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F53411E-4E34-4ADE-A6C7-1E0913602CE4}" type="datetime'14:''''''''''''''''''''00''''''&#10;''''''1''6'''''''':''0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0A2A077A-A8FE-47B7-9E12-8E647ED37DB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329473-0822-4830-A953-27B298F480A8}" type="datetime'1''''6'''''''''':''00''&#10;''1''''''8:''0''''''0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BDBD99D1-A235-47B5-8A21-F9CC4F9A4B0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3C8256-CD7C-4E5C-85C9-459D19B04CB4}" type="datetime'''1''8'''''''''''''':00''''''&#10;2''0'''':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79676A25-E50A-483D-A287-CDCA7A029E5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393B9A-53B4-44E6-8ED8-8AB089B7B79E}" type="datetime'2''''0'''':00&#10;''''''''''''''''2''''''2'''':''''''''00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B7EE4BB1-D20B-4AB8-AA7E-B782FE2C9A1D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323AFF-0A4B-4981-96E4-962045318D41}" type="datetime'''''''22:0''''''''''0&#10;0'':''''''''''''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C90AE4E4-983F-4C34-BE3C-415314803BF6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1019175" y="20240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EAF4AC5C-F874-4426-BE14-143AA63D150E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1019175" y="21891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936BC83-6729-452E-B08D-157ACDA2B579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19175" y="23542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E58A8385-8851-472D-B638-54A37A252E06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19175" y="25193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950BFF17-7A2A-46EE-89AB-0EB0F81EF51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212850" y="2028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884CA3-6570-48F4-966F-7EDB85E564E1}" type="datetime'''''''''''''P''''''''0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2865A40A-D0E7-4753-8984-3776B5D1C30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212850" y="21939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29B458-40DE-4912-9A21-FD2EC46A990D}" type="datetime'''''''''''''''''''''''''''''''''''''''''''''''''P''1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56A02B5D-933F-47C9-B56F-095B14124B0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212850" y="23590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7E8796-5388-496C-B80F-6F7F5475D9C3}" type="datetime'''''''P2''''''''''''''''''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4AD9CF3C-C95B-4684-8516-425F54BD055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212850" y="25241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D149633-F5F9-4A95-8016-F367FE1064CF}" type="datetime'''''P''''''''''''''''''''''''''3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D6624650-D979-9070-A12B-C4D3DA1D27A5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76251780"/>
              </p:ext>
            </p:extLst>
          </p:nvPr>
        </p:nvGraphicFramePr>
        <p:xfrm>
          <a:off x="7708900" y="4260850"/>
          <a:ext cx="37973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8195421C-852E-4A90-A9C0-840AF9823B8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26225" y="4608513"/>
            <a:ext cx="1079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2DC2AB4-9A8B-4BB4-99B9-9C8D392BF23C}" type="datetime'''S''u''s''p''''icious'''' ''In''''''''''''c''''id''en''''t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uspicious In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770D0A7B-1ABE-4525-B2F4-B4BC5EC87F48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900863" y="4991100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5D0520-E7C6-43E7-AE30-DFC82C288A4C}" type="datetime'''''We''lf''a''''''''''''r''''''e'''' ''Ch''''''''''''ec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231D5690-DFCE-4FDE-B26A-9807DB989A70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686550" y="5375275"/>
            <a:ext cx="1019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561D609-DA0C-4FA4-9FBB-3A75DB29C4A1}" type="datetime'''''Sus''''pi''c''i''''''o''''u''''s'' Veh''''''icle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uspicious Vehicl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5D1B034F-BD55-41CE-97C1-239CAC2C91C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042150" y="5757863"/>
            <a:ext cx="663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3DCF09D-8C7C-4F4C-80D0-6D342E9FE8D6}" type="datetime'E''''''''''''''''''l''de''r'''' A''bu''''''''s''e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Elder Abus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B934B86-5715-3E83-5B96-BD8EBE06A322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438900" y="6142038"/>
            <a:ext cx="1266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C9299B-A78B-48AC-9225-5A778D65F674}" type="datetime'''C''iti''zen'' A''''''''''ssi''s''t/Se''rv'''''''' C''al''l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 Assist/Serv Cal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11804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0308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52" imgH="454" progId="TCLayout.ActiveDocument.1">
                  <p:embed/>
                </p:oleObj>
              </mc:Choice>
              <mc:Fallback>
                <p:oleObj name="think-cell Slide" r:id="rId4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35">
            <a:extLst>
              <a:ext uri="{FF2B5EF4-FFF2-40B4-BE49-F238E27FC236}">
                <a16:creationId xmlns:a16="http://schemas.microsoft.com/office/drawing/2014/main" id="{A9B9B944-FD70-CFCC-B2E6-F18AF999D1D8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6478588" y="1841886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ountain View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231236C-2460-14D3-0394-BC4D07F667D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173032"/>
              </p:ext>
            </p:extLst>
          </p:nvPr>
        </p:nvGraphicFramePr>
        <p:xfrm>
          <a:off x="477838" y="1716088"/>
          <a:ext cx="51847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108075" y="1912938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108075" y="2078038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108075" y="2243138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108075" y="2408238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01750" y="1917700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01750" y="2082800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01750" y="2247900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01750" y="2413000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39FC68A7-C20C-D284-370E-A2FF71A57936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73057594"/>
              </p:ext>
            </p:extLst>
          </p:nvPr>
        </p:nvGraphicFramePr>
        <p:xfrm>
          <a:off x="417513" y="4440238"/>
          <a:ext cx="5278437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18AF6EF-2351-2312-DDE9-7D78FE15171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ED331B-15A6-4BF0-A695-BA4FA7DC86EA}" type="datetime'''''''''''M''''''''''a''''y''''''''''''-''2''''''''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55B1EF4-73C4-D584-0203-A74707EA08E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992ABA-FE0F-495B-BAC1-031936410971}" type="datetime'Ju''''''n-''''2''''''''''''''''''''''''''''''''''''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FCC1BC0-06CA-CDAD-EEFE-FE2FB52A38E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884DA8-5495-4D9C-A243-637CDA8C1EA0}" type="datetime'''''''''''J''''''''''''''''''ul''''-''''2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B4549873-B512-7DDE-B1A6-410BF7445AA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559F9D-768E-4489-9517-B02348789045}" type="datetime'''''''''''''Au''''''g''-2''''''''''''''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E162DBF-E60F-A83B-56A5-E40D4E5B4D77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9FF403-99B3-4D2A-8423-F89906294CD9}" type="datetime'''''''''''''''''''S''''''''''''''''e''''''p-''''''''2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EC9F26A-A939-514C-7EDB-F425DFFD403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CDF335-396F-4CD2-8B4B-889BCDF677E9}" type="datetime'''Oc''''''''''''t''''''''-''''''''''''''''''''''2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52BD52A-8984-63D8-5FA9-87FE57296EC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AA4B29-D6C7-45DB-8ED6-C5D58B11E5AE}" type="datetime'''''''''''''''''N''''''o''v-''''''''''''''''''23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C96C436-B81F-F984-27FA-D181BC415FF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C0B12F-8D00-4273-A3A9-AA856A08A1FB}" type="datetime'''''''''Dec-''''''2''''''3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1E94C84-A04D-D474-C19C-53F6E4D2989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DCFC42-FE65-450F-9AE3-1A77EEA96A23}" type="datetime'''''''J''''''''a''''''''''n''''''''''''-''2''''''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449B00ED-3776-83CB-F1FD-BD8553FCA5F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BC048F-35CA-42C8-8428-566171ACE7ED}" type="datetime'''''''''F''''''''''''''''''''e''b''''''''''''''''''-2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5068F9AC-303B-0780-2965-4D483BEE31B5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1BEB2E-713C-40E2-8727-F783734E9D07}" type="datetime'''''''''''''M''''''''''''''''''''''''a''''''r-''2''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93D173DE-D1D8-3BB4-7ADC-2134D178F62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7AA096-A4CB-4AC2-B0A6-EC51BB8A5388}" type="datetime'''''''''''''''''''''''''''''Apr''''''''-''''''''''''2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32D5329B-63A0-9B8D-06CA-18C2A770914C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852415375"/>
              </p:ext>
            </p:extLst>
          </p:nvPr>
        </p:nvGraphicFramePr>
        <p:xfrm>
          <a:off x="7570788" y="4260850"/>
          <a:ext cx="3935412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521450" y="4608513"/>
            <a:ext cx="1046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74929A-B3F8-4CCF-BDCF-B11792070F18}" type="datetime'''''''Info'''''''' ''''''Me''di''ca''l'''' ''''''''''(''Law)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Info Medical (Law)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659563" y="4991100"/>
            <a:ext cx="908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944B51-279E-413F-9505-2CD807941AD7}" type="datetime'T''''ra''''ff''ic ''''''''''I''nci''''d''''''en''''''''ts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raffic Incident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557963" y="5375275"/>
            <a:ext cx="1009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6920CB6-28E1-42F5-84CC-0EA17440A828}" type="datetime'N''''''o''''is''e'' ''D''is''''t''ur''''''''''ba''''''''n''ce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ise Disturbanc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673850" y="5757863"/>
            <a:ext cx="8937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194B8B5-94CA-4704-8100-12ED8297E934}" type="datetime'''''Un''w''''a''''nt''''''''''''e''d'''''' ''''''''''Party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wanted Party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497638" y="6142038"/>
            <a:ext cx="10699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84089D-B47A-470D-9A2D-69D016B8CBFF}" type="datetime'''911'' Han''''''''''g''''''''''''up/''Che''''''c''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911 Hangup/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AB5689A7-20F6-4DF1-88AE-FB8557333BFB}"/>
              </a:ext>
            </a:extLst>
          </p:cNvPr>
          <p:cNvSpPr/>
          <p:nvPr/>
        </p:nvSpPr>
        <p:spPr>
          <a:xfrm>
            <a:off x="160504" y="83982"/>
            <a:ext cx="778510" cy="1117600"/>
          </a:xfrm>
          <a:prstGeom prst="rect">
            <a:avLst/>
          </a:prstGeom>
          <a:blipFill>
            <a:blip r:embed="rId51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C2577F-AB16-4713-8FC2-F4589EF3D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984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4831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52" imgH="454" progId="TCLayout.ActiveDocument.1">
                  <p:embed/>
                </p:oleObj>
              </mc:Choice>
              <mc:Fallback>
                <p:oleObj name="think-cell Slide" r:id="rId4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7A0336A4-0C20-FA08-35C5-075688B2E2D2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6478588" y="1829593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40099" y="25685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dgewater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DC3FE0A4-D542-AD0D-0A15-C9B4EA96608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2046422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B3150D6C-C0E9-7644-C15B-2B3F820DABE9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516916321"/>
              </p:ext>
            </p:extLst>
          </p:nvPr>
        </p:nvGraphicFramePr>
        <p:xfrm>
          <a:off x="347663" y="4440238"/>
          <a:ext cx="5383212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5BC6A367-B4D4-6E5E-2078-D86D8BF0E50F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D351D7-7E77-47F3-A994-2F9768FDF13A}" type="datetime'''''''''''''M''''''''a''''y''''''-''''''''''''''''''2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20B27A3-949F-FEDA-9F13-4419FD0BBD6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06AF77-B549-4C4B-A028-ACD20249288E}" type="datetime'''''J''''''un''''''''''''-''''''2''''''''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CAD662BE-DA77-C496-2C1F-D8B2218DD0E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A37291-6897-45CD-AB01-619F0B576905}" type="datetime'''''''''J''u''''''''''l''''-''''2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0678EC5A-40D8-D6EA-5861-4AE5E575DE6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A4FCF2-28FA-4285-A501-8F43F817E90F}" type="datetime'''''''''''''A''''''''''''''''''''''''''''''''ug''-2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C2AC46DF-8DB5-4BF7-F270-6657C4B8CE4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FCC82B-4A7D-4DE6-AD18-126794FA6FC4}" type="datetime'Se''''p''''''''''''''''''''-''''''''''''''''''23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C0BC779-DB08-9C64-2173-28450383989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F95B79-F804-46ED-ACEA-8018FF627686}" type="datetime'''''''O''''''''''''''''''''c''''''t-''''''2''3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A417CFF4-2744-C952-9C9F-69606D981D6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2EE1BC-6A10-4DC3-B2BC-2B95FB356AF9}" type="datetime'''''''''''''''N''''''''''ov''''-2''3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23D31415-4B44-8B3E-05F2-6373D86735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5BC581-8404-4F93-B193-0E3C993DEA3A}" type="datetime'''''D''''''''e''''c''''-''''''''''2''''''3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1A89A7DF-5840-E927-8D60-C325BD6C6D3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B1BD59-5B84-4136-8314-1D0A5AF1154B}" type="datetime'''''''''''''''''''''''''J''''''''a''''n''''''''-''2''4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F9B02F6-DAE6-BC87-0735-690A0C269FE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BCE28D-55FE-4AC5-BA0B-6F6CD2881CEA}" type="datetime'F''''''e''''''''''''''''''''''b-''''''''2''''''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17326811-6623-0C6F-CD08-2B764DF4E600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5B4FBD-736F-44B7-8459-D21DD4B5554D}" type="datetime'''''''''''Mar''''''''''''-''''''''2''''''''''4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92CA77E9-99C7-DBE7-923F-64AAD11CD25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0CB2F2-8FF6-4CB7-99C0-4E5982FF8F32}" type="datetime'Ap''''''''''''''''''''''r''-''''''''''''2''''''''''''4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A6925864-9B69-4B02-1F0B-98B673D1FD57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833863758"/>
              </p:ext>
            </p:extLst>
          </p:nvPr>
        </p:nvGraphicFramePr>
        <p:xfrm>
          <a:off x="7639050" y="4260850"/>
          <a:ext cx="39370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340600" y="4608513"/>
            <a:ext cx="295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308EE9-25B2-446A-ADA4-EDDA190872AD}" type="datetime'''''''''''T''''''h''''''ef''''''''''''''''''''t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hef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727825" y="4991100"/>
            <a:ext cx="908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3545339-F9CB-4C82-A2DA-29EB10DE9A85}" type="datetime'Tra''''''''f''''fic ''Inci''de''''n''t''''s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raffic Incident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089775" y="5375275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C1F70A-874C-4FD9-99E4-B7A29486FAE5}" type="datetime'F''o''l''''''''''l''o''''''''''''w U''''''p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970713" y="5757863"/>
            <a:ext cx="665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FCF0DF-3EE9-424F-B9F6-B030393127B2}" type="datetime'''D''''''''''i''''''''''''s''''''''''''''tur''''b''''ance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isturbanc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831014" y="6142038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4EBAE2-4804-46AB-892C-4B90ABEC3D01}" type="datetime'We''''''l''''''''''''''f''''ar''''''''''''e'''' C''he''c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60" name="Rectangle 59">
            <a:extLst>
              <a:ext uri="{FF2B5EF4-FFF2-40B4-BE49-F238E27FC236}">
                <a16:creationId xmlns:a16="http://schemas.microsoft.com/office/drawing/2014/main" id="{8AFF754E-1785-41DB-892C-A30765DCA565}"/>
              </a:ext>
            </a:extLst>
          </p:cNvPr>
          <p:cNvSpPr/>
          <p:nvPr/>
        </p:nvSpPr>
        <p:spPr>
          <a:xfrm>
            <a:off x="53975" y="173367"/>
            <a:ext cx="1082675" cy="970280"/>
          </a:xfrm>
          <a:prstGeom prst="rect">
            <a:avLst/>
          </a:prstGeom>
          <a:blipFill>
            <a:blip r:embed="rId5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445A78E-5217-4459-B540-57B5B2359A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56374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914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52" imgH="454" progId="TCLayout.ActiveDocument.1">
                  <p:embed/>
                </p:oleObj>
              </mc:Choice>
              <mc:Fallback>
                <p:oleObj name="think-cell Slide" r:id="rId4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84139295-ABD8-FEED-7F8C-DBF675C60948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6484436" y="1825349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7030368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lorado School of Mines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F90C643-EBF8-530C-F1D3-6B878053080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67061"/>
              </p:ext>
            </p:extLst>
          </p:nvPr>
        </p:nvGraphicFramePr>
        <p:xfrm>
          <a:off x="477838" y="1716088"/>
          <a:ext cx="51847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E6D97FF-E2E0-42EA-A83A-C3DF9F3514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5392BC-349C-45B4-8F81-52F83DA74F4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0" name="Chart 59">
            <a:extLst>
              <a:ext uri="{FF2B5EF4-FFF2-40B4-BE49-F238E27FC236}">
                <a16:creationId xmlns:a16="http://schemas.microsoft.com/office/drawing/2014/main" id="{D57716FB-40FF-BA7D-307E-5B2617214694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741899120"/>
              </p:ext>
            </p:extLst>
          </p:nvPr>
        </p:nvGraphicFramePr>
        <p:xfrm>
          <a:off x="417513" y="4440238"/>
          <a:ext cx="5278437" cy="2046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8312A9A-B611-54E0-AD6D-1D2A98468FC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6865DA-7C4E-4236-8552-96F732E09CD6}" type="datetime'''''''M''''''''''''a''''''''''''''y-''''23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99EE3A94-95FB-03C1-2179-11BFF50F2502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27113" y="6303963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303A27-221F-4635-8822-53B905691AB5}" type="datetime'''''''''''''''''''''''''J''''u''''n''''-''''''2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303C9E64-DDAA-B40A-C9BA-080A4CEAFB7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485900" y="6303963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4D5446-EADD-41B8-B26D-FDEA293ED0A8}" type="datetime'''''''''J''''''''u''''''''l''''-''''''''''''''''''2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7A6869B6-C6F2-DDAD-D4B2-6D5DE21E6DC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B4DF92-8338-451C-8EB6-F88BC1F2200D}" type="datetime'''''''A''''''''''''''''u''g''''''''''''-2''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54547EF-AD33-B12C-24C3-BC43A057FE8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F029A4-899B-4EB8-B93E-D8CA8E5BEC02}" type="datetime'''''''''S''''''''''''''''''''''''e''p-2''''''''''''''''''''3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27A91E20-CA24-9C21-342D-ABA565F5471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7717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1D1352-7F07-4FFD-B28F-862AA2222C2F}" type="datetime'''O''''''''''''''c''''''''t''''''''''-''''2''''''''''3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BBEFF6A7-9912-F6A1-9F12-1B2BB6B5B81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34B6DF-1FAF-475C-B9A8-267A6CCBA1E0}" type="datetime'''N''''''''ov''''''-''2''''''''''3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0F395A2-745A-564E-6009-C9A72EA00DA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F9F35F-EE7E-49F5-81FF-BA9783F112DE}" type="datetime'''''''D''''''''''''e''c''''''''''''''''-''2''3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B5C8FD5-055D-6A27-CF2F-C337C198975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079875" y="6303963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538962-714C-487C-9CBD-9702749A59E0}" type="datetime'''J''''''''''''''''''''''a''n''''''''''''''-''''2''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69784E3-14C3-52CF-6613-6D8ECE4E8A6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5E4DAE-53E8-434D-849A-B1CC53129623}" type="datetime'''''''F''e''b-2''''''''''''''''''''''4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701738F-C238-836B-D9DE-4987A0F33EE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515740-8E97-4877-AE5D-118E96786624}" type="datetime'''''M''''''''''a''''r-''''''''2''''''''''''4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AB652CCA-FD67-8777-6FAD-9A937FE3AA5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3848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113BC7-C170-46B4-89A0-111D2D9A0302}" type="datetime'''''''''''''''''''A''p''''''r-''''''''''2''''''''''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08F5A27F-87F9-FA81-43A5-8147EC890C00}"/>
              </a:ext>
            </a:extLst>
          </p:cNvPr>
          <p:cNvGraphicFramePr/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2289347891"/>
              </p:ext>
            </p:extLst>
          </p:nvPr>
        </p:nvGraphicFramePr>
        <p:xfrm>
          <a:off x="7708900" y="4260850"/>
          <a:ext cx="37973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35750" y="4608513"/>
            <a:ext cx="10699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D8CA12-B0FF-4439-9779-D4FE9AA7E940}" type="datetime'9''''11'''' ''Ha''n''gu''''p''''/''''''C''''''h''''e''''c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911 Hangup/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078663" y="4991100"/>
            <a:ext cx="6270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18A75B5-E899-433B-8DEF-E7D9699F34E3}" type="datetime'''''''''A''''''''''d''v''''i''s''e''''d'''''' ''''''''P''D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dvised P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659563" y="5375275"/>
            <a:ext cx="1046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5B0C79-27D4-452D-98F8-C626D61F6210}" type="datetime'''Info'''''''' ''''''M''e''''d''ic''a''''''l'' ''''(La''w)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Info Medical (Law)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900863" y="5757863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9AE90D-B454-48CD-8E5C-584F2A11BF8F}" type="datetime'''W''''''''''''el''fa''re ''''''''''''''''''Che''''c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6672263" y="6142038"/>
            <a:ext cx="10334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B23B218-2A1F-4AA9-A7AB-C05B1FDD5A7C}" type="datetime'Assi''''''st ''F''ir''e/''''''''''Med''ic''''''a''''''l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ssist Fire/Medical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97" name="Rectangle 96">
            <a:extLst>
              <a:ext uri="{FF2B5EF4-FFF2-40B4-BE49-F238E27FC236}">
                <a16:creationId xmlns:a16="http://schemas.microsoft.com/office/drawing/2014/main" id="{94FCD840-DE69-4964-9879-0FEDA2A47E0F}"/>
              </a:ext>
            </a:extLst>
          </p:cNvPr>
          <p:cNvSpPr/>
          <p:nvPr/>
        </p:nvSpPr>
        <p:spPr>
          <a:xfrm>
            <a:off x="190818" y="90794"/>
            <a:ext cx="721995" cy="1117600"/>
          </a:xfrm>
          <a:prstGeom prst="rect">
            <a:avLst/>
          </a:prstGeom>
          <a:blipFill>
            <a:blip r:embed="rId5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03BD9AC-C420-4F19-B1D1-731DE7D9A5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39365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4A36BD-0C44-8B13-A406-EE7219304E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C9F69D-41F0-D32D-122C-78EE4AFF09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626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52" imgH="454" progId="TCLayout.ActiveDocument.1">
                  <p:embed/>
                </p:oleObj>
              </mc:Choice>
              <mc:Fallback>
                <p:oleObj name="think-cell Slide" r:id="rId35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C9F69D-41F0-D32D-122C-78EE4AFF09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EEB4144C-C6B3-957D-97C2-328CD48120E9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477812" y="1860870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DE41C5D9-5F86-503E-31CB-2261C660FBA8}"/>
              </a:ext>
            </a:extLst>
          </p:cNvPr>
          <p:cNvSpPr txBox="1"/>
          <p:nvPr/>
        </p:nvSpPr>
        <p:spPr>
          <a:xfrm>
            <a:off x="1066067" y="26991"/>
            <a:ext cx="7030368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r Creek Sheriff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EA446E6-71BC-F03A-3657-B927AE22D5A7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0F34D18-7169-AF8E-E69A-8F21221D06F7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1119921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6A22A32-B4BE-8C31-E1A5-E7423618FC1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9F0AB18-292A-D369-16B8-2E76E14CD1B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5F9EB3F-3A35-4028-E594-42ACA739D3C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7D6763B-6469-7EB9-E8DE-188261B2C2F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1A79201-80C7-A139-796A-12F76E5104A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6371AA9-0691-90E2-6053-C44FB7BF3E3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A016300-C2A3-5479-F7F1-63A6DBB1977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85CAE6F-7A3A-8BE3-BB6F-B363C5AFCDB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277DDC2-2A2D-0029-DB25-F54866371E0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C7D336D-1BB9-ECF2-415F-E023A3BBBD9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14ED558-5334-C19F-A5B8-7140010B521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C150717-5D5C-4095-A24C-D6EF84446D4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F60CB9C-34D1-36D2-F94C-15F4FC22092D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22AFD2E-1619-5918-9AA4-D04FE2AB012B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6500181-4670-B49A-7AC3-2A82E53C2CA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9055051-95C0-892B-B496-84640681B51B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AD6EC7-2E4C-2B24-5137-99C38A66101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F96CED9D-6367-A924-0F54-E35B745F0FA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51A0C91-4CAD-F515-546F-3A2437891C9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5389E45-B188-8E55-F9BF-97020DFCC80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894C8FA-0E16-209B-5808-A9F27224B33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CC97171-2B19-F184-EC98-7749012F6DB5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5E4605C4-52CD-FECA-6A17-7DB8343CB345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581770848"/>
              </p:ext>
            </p:extLst>
          </p:nvPr>
        </p:nvGraphicFramePr>
        <p:xfrm>
          <a:off x="347663" y="4418013"/>
          <a:ext cx="5314950" cy="206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385888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D6A2C3-E40F-44D0-88E8-9B54FF291EF3}" type="datetime'''''''F''e''b-2''''''''''''''''''''''4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F12BCDE-46A6-1720-1A9F-697D1F086EC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978150" y="6303963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0D09DE-0E74-4EE9-8913-4CB17E6863AB}" type="datetime'M''''''''''''''a''''''''''''''''''''''r''-2''''''''''4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3324F089-CAE3-CB12-37AA-BF4A94A0CB6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5847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790A32F-07AC-4727-A387-8DE52BB87033}" type="datetime'''''''''''''A''''''p''r''''''-''''''''2''''''''''''''4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3BC39856-0E2A-9CBF-43C2-36FB3A102F41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49D6D66-16FF-BB70-1B5C-19C4966EBD0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C88E22AA-0092-05BA-BF9A-6365A03D7FBE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E4FE43B-AF0C-26EE-FD35-8E5FA1F48181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813D763F-3392-5CD1-36BE-251DFFE419CF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DE9DB01-62E8-9DCE-9D32-2702FF3872FC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02D05555-94C4-B74A-6834-2E67B275F8FB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356519282"/>
              </p:ext>
            </p:extLst>
          </p:nvPr>
        </p:nvGraphicFramePr>
        <p:xfrm>
          <a:off x="7708900" y="4260850"/>
          <a:ext cx="38671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583DBFB2-F20D-7A4D-EA94-53532A11B39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432550" y="4608513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288F92-D8FA-424E-B63A-AF6F68BAAABD}" type="datetime'M''oto''''''r Ve''h''''''ic''''l''''e ''''''A''cci''dent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A26C4806-21AA-E022-6B28-DAABDCD9493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797675" y="4991100"/>
            <a:ext cx="908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09B764-EE47-43BD-9DAB-176E142CB74C}" type="datetime'''''''T''''''ra''f''''fic'''' ''''I''nc''i''d''''ent''''''''s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raffic Incident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5FA91760-C05A-676F-A929-95FF39F7B02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313613" y="5375275"/>
            <a:ext cx="392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E336FE8-B6B7-476D-854B-32B6CE34E023}" type="datetime'''Ha''''z''a''''''''r''''''d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Hazar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473D045B-F2FA-ED54-96E1-5AF9FDD0A52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159625" y="5757863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4B9600-106F-4B05-8A04-2AACEBFFE5E1}" type="datetime'''''''''''''''Fo''l''l''''''''ow'''' U''''''''''p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59321C7D-64CF-E6EC-A954-708C21127E0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900863" y="6142038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5B35EB-E9E7-4EC4-A966-A65CE4C664DC}" type="datetime'''W''''''''e''lfa''''''r''''''''''''e Che''''''c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7F94EC9E-13C7-B044-38AE-C9111050B406}"/>
              </a:ext>
            </a:extLst>
          </p:cNvPr>
          <p:cNvPicPr/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ED69946-FBC9-508C-7A76-E57B5F06DB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5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385F7A-0D5E-BAA8-F542-D726F01E82AF}"/>
              </a:ext>
            </a:extLst>
          </p:cNvPr>
          <p:cNvSpPr txBox="1"/>
          <p:nvPr/>
        </p:nvSpPr>
        <p:spPr>
          <a:xfrm>
            <a:off x="-8107" y="6597295"/>
            <a:ext cx="10144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: Clear Creek County joined Jeffcom on February 21. Data is shown from this date forward.</a:t>
            </a:r>
          </a:p>
        </p:txBody>
      </p:sp>
      <p:pic>
        <p:nvPicPr>
          <p:cNvPr id="2050" name="Picture 2" descr="Undersheriff's Page | Clear Creek County, CO - Official Website">
            <a:extLst>
              <a:ext uri="{FF2B5EF4-FFF2-40B4-BE49-F238E27FC236}">
                <a16:creationId xmlns:a16="http://schemas.microsoft.com/office/drawing/2014/main" id="{AE3D7468-37A1-3C28-8B8E-A27B162D7C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00" y="174151"/>
            <a:ext cx="1005840" cy="1005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800587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4D595C-EA63-312B-0682-BE948AD13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C2E1CE-EA94-6389-63BB-78C59C5B6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0215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52" imgH="454" progId="TCLayout.ActiveDocument.1">
                  <p:embed/>
                </p:oleObj>
              </mc:Choice>
              <mc:Fallback>
                <p:oleObj name="think-cell Slide" r:id="rId35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C2E1CE-EA94-6389-63BB-78C59C5B6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BDE406EB-556F-EF10-EF58-0167009F0A37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478189" y="1829866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0EAC578E-89F1-9012-7CFE-E394FA03D5BB}"/>
              </a:ext>
            </a:extLst>
          </p:cNvPr>
          <p:cNvSpPr txBox="1"/>
          <p:nvPr/>
        </p:nvSpPr>
        <p:spPr>
          <a:xfrm>
            <a:off x="1066067" y="26991"/>
            <a:ext cx="7030368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aho Springs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5B8DD7-1E59-E820-439B-D5FD08121ECB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23ECD5F-7BE7-A635-EE7A-670B44C9508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766704"/>
              </p:ext>
            </p:extLst>
          </p:nvPr>
        </p:nvGraphicFramePr>
        <p:xfrm>
          <a:off x="407988" y="1716088"/>
          <a:ext cx="525462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1488B66-9E2B-C289-21D2-6006FA4EB02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DB922C-D286-DBF0-0AE7-25DDB51ED93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F91471B-672D-6CC5-CF57-DA4811B3775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3D9A990-B724-217A-59C0-550353D722B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AF5C985-33B7-C144-D7D4-2F545640EB6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74F232F-4C99-6217-DB6E-798BC722C2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2B603EF-478D-0AD6-4D23-7FCAC6C5B3A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1AF8F52-A343-80A2-1AAE-C847B4EC1C2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67B8F2C-387B-9309-6C26-DA14E7C7F2B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356996F-09E8-7E5E-06AD-FCA01C53425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99DEEA5-7788-7892-8278-B8A15BEE72B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C83DFED-CC12-B82A-CF88-46DCE7A285D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88B9762-8B62-238C-4DAE-371D743789A7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100E2E-9AB7-93B9-D1F1-FCEDBF8C64D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D99868-DFC5-7B57-ACE9-F10209C62F1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E2212A-1DA5-F563-809B-F4152E79D85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93D1401-ECA9-770C-685D-A99936A6729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4F5B4CA8-2D45-2165-F89C-2248C44244D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6E8C33-3094-B90B-55D8-884C7965846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566499B-08B1-834D-908F-AE1A9393F26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A55B08D-DC70-EE69-55AD-11598C1C9B1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1A67B0-6455-465A-3588-978AE8BFE3CD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FEBED6BD-2CDF-FFAF-05DA-838B4849F229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763349323"/>
              </p:ext>
            </p:extLst>
          </p:nvPr>
        </p:nvGraphicFramePr>
        <p:xfrm>
          <a:off x="347663" y="4341813"/>
          <a:ext cx="5314950" cy="2144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F5D06544-7B30-6FE8-2DD3-B45FB77A3FD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385888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D6A2C3-E40F-44D0-88E8-9B54FF291EF3}" type="datetime'''''''F''e''b-2''''''''''''''''''''''4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AB3036D-6C58-106A-186C-AB3727D062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978150" y="6303963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A1A9CA-34E0-4B08-8C12-C6A36FFC9240}" type="datetime'''''''''''''''''''M''a''''''''''''r''''''''''-''''2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AB2FEB-1079-808F-A444-E3CB7581C10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5847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46F4C62-B018-477D-9F4E-5CEF2A5E02D5}" type="datetime'A''''''''''''p''''''''''''''r''-''''''''2''''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693DA61-5E71-53E1-FED7-C350F1EBFA04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510167D-D2B4-E764-EE5A-59C5D61DA230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20504F-761A-2575-33E3-0FF9244E605B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21D14B1-19CF-8F2B-4831-0B9DB368403B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DDDEF1A-CB37-9452-AFDD-EBD68254CF6B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956C2F4-5A3A-F475-4541-EC71F2A97D96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BA93BF6E-DA68-4123-4682-10160F0558A1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836431341"/>
              </p:ext>
            </p:extLst>
          </p:nvPr>
        </p:nvGraphicFramePr>
        <p:xfrm>
          <a:off x="7708900" y="4260850"/>
          <a:ext cx="386715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D4931E33-6B1D-945A-5828-575D87F4068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797675" y="4608513"/>
            <a:ext cx="908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6526F4-D33C-48C6-B7B9-97D40673B92E}" type="datetime'''''T''''''''r''a''''ffic ''I''''nci''''''d''''''''e''n''''ts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raffic Incident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5FC73E24-09AD-53E2-EC84-3C23A090452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886575" y="4991100"/>
            <a:ext cx="819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46BF9A9-DAD3-4817-B794-43E08B631BE5}" type="datetime'B''''''uil''di''''''ng'''' ''C''he''''c''''''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Building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8A4E297-043C-9254-6E7C-8739BFAAE38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32550" y="5375275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9FC32B4-7ADF-4799-A31A-C38001FEB2EE}" type="datetime'''''M''otor ''''Veh''''i''c''le'' Ac''c''iden''''''''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12B01CFB-6682-78F2-C567-C22FB948077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659563" y="5757863"/>
            <a:ext cx="1046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B9D5F81-B982-4B2F-B2A7-9B7650180871}" type="datetime'I''''n''fo'' ''Me''''''di''cal'''' (''''''L''''''''aw'')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Info Medical (Law)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2AE8B7E1-91CF-3DBA-E84B-F08CBB3B3A0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313613" y="6142038"/>
            <a:ext cx="392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D62609-206B-4A09-86B8-24EA8982E617}" type="datetime'H''''''''''''''''''''''''''''''a''''''''''za''''''r''''d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Hazar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4FBF27C0-F642-0AEF-665E-15710A187E9A}"/>
              </a:ext>
            </a:extLst>
          </p:cNvPr>
          <p:cNvPicPr/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8AECD7-F227-7661-1D74-C87CD0D40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6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7550CE-28D5-31FC-DA06-EE3C8CEEBAC4}"/>
              </a:ext>
            </a:extLst>
          </p:cNvPr>
          <p:cNvSpPr txBox="1"/>
          <p:nvPr/>
        </p:nvSpPr>
        <p:spPr>
          <a:xfrm>
            <a:off x="-8107" y="6597295"/>
            <a:ext cx="10144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: Clear Creek County joined Jeffcom on February 21. Data is shown from this date forward.</a:t>
            </a:r>
          </a:p>
        </p:txBody>
      </p:sp>
      <p:pic>
        <p:nvPicPr>
          <p:cNvPr id="3074" name="Picture 2" descr="IDAHO SPRINGS POLICE DEPARTMENT">
            <a:extLst>
              <a:ext uri="{FF2B5EF4-FFF2-40B4-BE49-F238E27FC236}">
                <a16:creationId xmlns:a16="http://schemas.microsoft.com/office/drawing/2014/main" id="{C2BC9611-4625-A8D6-284C-17C9AD224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7" y="307455"/>
            <a:ext cx="1005840" cy="739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746939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4D595C-EA63-312B-0682-BE948AD13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C2E1CE-EA94-6389-63BB-78C59C5B6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937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52" imgH="454" progId="TCLayout.ActiveDocument.1">
                  <p:embed/>
                </p:oleObj>
              </mc:Choice>
              <mc:Fallback>
                <p:oleObj name="think-cell Slide" r:id="rId35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C2E1CE-EA94-6389-63BB-78C59C5B6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Picture 33">
            <a:extLst>
              <a:ext uri="{FF2B5EF4-FFF2-40B4-BE49-F238E27FC236}">
                <a16:creationId xmlns:a16="http://schemas.microsoft.com/office/drawing/2014/main" id="{E9F842AC-3EE3-F139-8A36-5B8412F88FB8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6486989" y="1834433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0EAC578E-89F1-9012-7CFE-E394FA03D5BB}"/>
              </a:ext>
            </a:extLst>
          </p:cNvPr>
          <p:cNvSpPr txBox="1"/>
          <p:nvPr/>
        </p:nvSpPr>
        <p:spPr>
          <a:xfrm>
            <a:off x="1066067" y="26991"/>
            <a:ext cx="7030368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orgetown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5B8DD7-1E59-E820-439B-D5FD08121ECB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799B5C98-73BE-E374-8187-B06004105D9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765904"/>
              </p:ext>
            </p:extLst>
          </p:nvPr>
        </p:nvGraphicFramePr>
        <p:xfrm>
          <a:off x="388938" y="1741488"/>
          <a:ext cx="51847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1488B66-9E2B-C289-21D2-6006FA4EB02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57213" y="35353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DB922C-D286-DBF0-0AE7-25DDB51ED93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93775" y="35353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F91471B-672D-6CC5-CF57-DA4811B3775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430338" y="35353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3D9A990-B724-217A-59C0-550353D722B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66900" y="35353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AF5C985-33B7-C144-D7D4-2F545640EB6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268538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74F232F-4C99-6217-DB6E-798BC722C2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05100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2B603EF-478D-0AD6-4D23-7FCAC6C5B3A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140075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1AF8F52-A343-80A2-1AAE-C847B4EC1C2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576638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67B8F2C-387B-9309-6C26-DA14E7C7F2B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013200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356996F-09E8-7E5E-06AD-FCA01C53425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449763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99DEEA5-7788-7892-8278-B8A15BEE72B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886325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C83DFED-CC12-B82A-CF88-46DCE7A285D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322888" y="35353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88B9762-8B62-238C-4DAE-371D743789A7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100E2E-9AB7-93B9-D1F1-FCEDBF8C64D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D99868-DFC5-7B57-ACE9-F10209C62F1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E2212A-1DA5-F563-809B-F4152E79D85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93D1401-ECA9-770C-685D-A99936A6729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4F5B4CA8-2D45-2165-F89C-2248C44244D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6E8C33-3094-B90B-55D8-884C7965846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566499B-08B1-834D-908F-AE1A9393F26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A55B08D-DC70-EE69-55AD-11598C1C9B1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1A67B0-6455-465A-3588-978AE8BFE3CD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A82EC392-9FC0-B569-C11F-EB99880CFD83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161409333"/>
              </p:ext>
            </p:extLst>
          </p:nvPr>
        </p:nvGraphicFramePr>
        <p:xfrm>
          <a:off x="417513" y="4387850"/>
          <a:ext cx="5156200" cy="2098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F5D06544-7B30-6FE8-2DD3-B45FB77A3FD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3716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D6A2C3-E40F-44D0-88E8-9B54FF291EF3}" type="datetime'''''''F''e''b-2''''''''''''''''''''''4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AB3036D-6C58-106A-186C-AB3727D062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933700" y="6303963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A1A9CA-34E0-4B08-8C12-C6A36FFC9240}" type="datetime'''''''''''''''''''M''a''''''''''''r''''''''''-''''2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5835490-83B8-C79D-B856-73EB6117AC6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511675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5C94404-D62B-48F6-90D0-DA3394BEE3C4}" type="datetime'''''''''''''''''A''''''''''''''''''p''''''r''''''-''''24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693DA61-5E71-53E1-FED7-C350F1EBFA04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510167D-D2B4-E764-EE5A-59C5D61DA230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20504F-761A-2575-33E3-0FF9244E605B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21D14B1-19CF-8F2B-4831-0B9DB368403B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DDDEF1A-CB37-9452-AFDD-EBD68254CF6B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956C2F4-5A3A-F475-4541-EC71F2A97D96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D52A4CE3-53A7-1C1D-2F0B-0302230ACCFA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11799190"/>
              </p:ext>
            </p:extLst>
          </p:nvPr>
        </p:nvGraphicFramePr>
        <p:xfrm>
          <a:off x="7778750" y="4232275"/>
          <a:ext cx="3748088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D4931E33-6B1D-945A-5828-575D87F40680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989763" y="4579938"/>
            <a:ext cx="7858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4A997B-1453-4C8B-AE6F-25DB396F1217}" type="datetime'V''''''''''er''''''''''''''''if''''ie''d ''Al''a''''''r''m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Verified Alarm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5FC73E24-09AD-53E2-EC84-3C23A090452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229475" y="4962525"/>
            <a:ext cx="5461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0694E70-4EF1-42EB-AAC3-E906219EFE43}" type="datetime'F''''''''''''''''''''o''''l''l''o''''''w'' ''''U''''''p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ollow Up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8A4E297-043C-9254-6E7C-8739BFAAE38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57950" y="5346700"/>
            <a:ext cx="1317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4248E0-79FA-434B-88CE-37054D1B1123}" type="datetime'''''''''''''''''Su''''ici''d''''al Pers''on''/T''''''hrea''ts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uicidal Person/Threat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12B01CFB-6682-78F2-C567-C22FB948077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765925" y="5729288"/>
            <a:ext cx="1009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B2CCA2-F569-4CD4-B8A6-2C5EB4423356}" type="datetime'''''Noise Dis''''t''''''urban''''''ce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Noise Disturbance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2AE8B7E1-91CF-3DBA-E84B-F08CBB3B3A09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867525" y="6113463"/>
            <a:ext cx="9080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53DF1F-A362-419D-8E23-3BC932D89829}" type="datetime'''''''''''''Tr''a''ff''i''''''''''c ''Incide''''nts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Traffic Incident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4FBF27C0-F642-0AEF-665E-15710A187E9A}"/>
              </a:ext>
            </a:extLst>
          </p:cNvPr>
          <p:cNvPicPr/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8AECD7-F227-7661-1D74-C87CD0D40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7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7550CE-28D5-31FC-DA06-EE3C8CEEBAC4}"/>
              </a:ext>
            </a:extLst>
          </p:cNvPr>
          <p:cNvSpPr txBox="1"/>
          <p:nvPr/>
        </p:nvSpPr>
        <p:spPr>
          <a:xfrm>
            <a:off x="-8107" y="6597295"/>
            <a:ext cx="10144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: Clear Creek County joined Jeffcom on February 21. Data is shown from this date forward.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95BEF66-B9C6-B134-257B-5D7486CB36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33" y="114793"/>
            <a:ext cx="1073021" cy="1051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29641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4D595C-EA63-312B-0682-BE948AD13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C2E1CE-EA94-6389-63BB-78C59C5B66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737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52" imgH="454" progId="TCLayout.ActiveDocument.1">
                  <p:embed/>
                </p:oleObj>
              </mc:Choice>
              <mc:Fallback>
                <p:oleObj name="think-cell Slide" r:id="rId36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C2E1CE-EA94-6389-63BB-78C59C5B6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Picture 49">
            <a:extLst>
              <a:ext uri="{FF2B5EF4-FFF2-40B4-BE49-F238E27FC236}">
                <a16:creationId xmlns:a16="http://schemas.microsoft.com/office/drawing/2014/main" id="{3ECFAF3C-4A8C-1815-6437-FEBC7D2FEABE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6470805" y="1818858"/>
            <a:ext cx="5149850" cy="2051050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0EAC578E-89F1-9012-7CFE-E394FA03D5BB}"/>
              </a:ext>
            </a:extLst>
          </p:cNvPr>
          <p:cNvSpPr txBox="1"/>
          <p:nvPr/>
        </p:nvSpPr>
        <p:spPr>
          <a:xfrm>
            <a:off x="1083537" y="23971"/>
            <a:ext cx="7030368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ire PD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25B8DD7-1E59-E820-439B-D5FD08121ECB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71036DF3-2CDC-8CD3-F2A4-3D8906BC137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497917"/>
              </p:ext>
            </p:extLst>
          </p:nvPr>
        </p:nvGraphicFramePr>
        <p:xfrm>
          <a:off x="477838" y="1716088"/>
          <a:ext cx="51847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1488B66-9E2B-C289-21D2-6006FA4EB02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DB922C-D286-DBF0-0AE7-25DDB51ED93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F91471B-672D-6CC5-CF57-DA4811B3775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3D9A990-B724-217A-59C0-550353D722B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AF5C985-33B7-C144-D7D4-2F545640EB6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74F232F-4C99-6217-DB6E-798BC722C29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2B603EF-478D-0AD6-4D23-7FCAC6C5B3A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1AF8F52-A343-80A2-1AAE-C847B4EC1C2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67B8F2C-387B-9309-6C26-DA14E7C7F2B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356996F-09E8-7E5E-06AD-FCA01C53425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99DEEA5-7788-7892-8278-B8A15BEE72BF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CC83DFED-CC12-B82A-CF88-46DCE7A285D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88B9762-8B62-238C-4DAE-371D743789A7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F100E2E-9AB7-93B9-D1F1-FCEDBF8C64D5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201738" y="2036763"/>
            <a:ext cx="142875" cy="106363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8D99868-DFC5-7B57-ACE9-F10209C62F18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201738" y="220186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AE2212A-1DA5-F563-809B-F4152E79D85E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201738" y="236696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93D1401-ECA9-770C-685D-A99936A67292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201738" y="253206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4F5B4CA8-2D45-2165-F89C-2248C44244D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395413" y="20415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7F163C-AE00-4BFE-A041-059ABD3F0635}" type="datetime'''P''''''''0'''''''''''''''">
              <a:rPr lang="en-US" altLang="en-US" sz="800" b="1" smtClean="0"/>
              <a:pPr/>
              <a:t>P0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F6E8C33-3094-B90B-55D8-884C7965846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95413" y="22066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5215CB-BA85-471D-9931-6ED3C6DD4DED}" type="datetime'''''''''P1'''''''''''''''''''''''''''''''''''''''''">
              <a:rPr lang="en-US" altLang="en-US" sz="800" b="1" smtClean="0"/>
              <a:pPr/>
              <a:t>P1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566499B-08B1-834D-908F-AE1A9393F26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95413" y="23717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B0EDA-F7BC-4207-AAC6-0A7AA907D91A}" type="datetime'''''''P''''''''''''''2'''''''''''''''''''''''''''''''''''">
              <a:rPr lang="en-US" altLang="en-US" sz="800" b="1" smtClean="0"/>
              <a:pPr/>
              <a:t>P2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A55B08D-DC70-EE69-55AD-11598C1C9B1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395413" y="2536825"/>
            <a:ext cx="1047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DBD231-2413-4DAE-8AD5-AFE3B93A6D3D}" type="datetime'''P''''''''3'''''''''''''''''''''''''''''''''''''''''''''">
              <a:rPr lang="en-US" altLang="en-US" sz="800" b="1" smtClean="0"/>
              <a:pPr/>
              <a:t>P3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91A67B0-6455-465A-3588-978AE8BFE3CD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C2378545-367E-5282-2A5A-AF3509EAFE36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443518182"/>
              </p:ext>
            </p:extLst>
          </p:nvPr>
        </p:nvGraphicFramePr>
        <p:xfrm>
          <a:off x="417513" y="4341813"/>
          <a:ext cx="5245100" cy="2144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F5D06544-7B30-6FE8-2DD3-B45FB77A3FD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385888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5D6A2C3-E40F-44D0-88E8-9B54FF291EF3}" type="datetime'''''''F''e''b-2''''''''''''''''''''''4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AB3036D-6C58-106A-186C-AB3727D062D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978150" y="6303963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A1A9CA-34E0-4B08-8C12-C6A36FFC9240}" type="datetime'''''''''''''''''''M''a''''''''''''r''''''''''-''''2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533525" y="6099176"/>
            <a:ext cx="1047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C27FCA-DD50-4429-B2D9-121B2962278F}" type="datetime'''''''''''''''''''''''0''''''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8C30472D-64F3-41CA-E455-FDF3EEB3C80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4584700" y="6303963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03A82FB-79AD-4BAD-8F76-4EDF56596311}" type="datetime'''''''''''''''''''A''pr''''-2''''''''''''''4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693DA61-5E71-53E1-FED7-C350F1EBFA04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2510167D-D2B4-E764-EE5A-59C5D61DA230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020504F-761A-2575-33E3-0FF9244E605B}"/>
              </a:ext>
            </a:extLst>
          </p:cNvPr>
          <p:cNvSpPr txBox="1">
            <a:spLocks/>
          </p:cNvSpPr>
          <p:nvPr/>
        </p:nvSpPr>
        <p:spPr>
          <a:xfrm>
            <a:off x="6127750" y="4100094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D21D14B1-19CF-8F2B-4831-0B9DB368403B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DDDEF1A-CB37-9452-AFDD-EBD68254CF6B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956C2F4-5A3A-F475-4541-EC71F2A97D96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id="{9309E15A-FA3C-1907-D8AD-C5DB473DF92C}"/>
              </a:ext>
            </a:extLst>
          </p:cNvPr>
          <p:cNvGraphicFramePr/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62429579"/>
              </p:ext>
            </p:extLst>
          </p:nvPr>
        </p:nvGraphicFramePr>
        <p:xfrm>
          <a:off x="7708900" y="4260850"/>
          <a:ext cx="3797300" cy="2225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D4931E33-6B1D-945A-5828-575D87F4068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886575" y="4594225"/>
            <a:ext cx="819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7D1A7A-6D5A-443B-83B7-B87B5A55F59D}" type="datetime'''B''''''u''''''i''l''d''ing Che''''''c''''''''k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Building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5FC73E24-09AD-53E2-EC84-3C23A090452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900863" y="4949825"/>
            <a:ext cx="8048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9EB2AD2-973F-4097-88BA-43C5DAC1C42B}" type="datetime'''''''''''W''el''''f''''''''ar''''e ''C''''''''''''he''''c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lfare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1BFD0FF-A9F1-47AE-BFA1-4ACF93E644D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073900" y="5303838"/>
            <a:ext cx="6318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15E078-F424-4C4D-BA05-15C4959DE958}" type="datetime'''''Ar''e''a'''''''' C''''''''''''''''h''ec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rea Chec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491D49C-C0F2-6BD9-0C16-A3A906A48BE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894513" y="5659438"/>
            <a:ext cx="8112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641071-0817-4480-9E71-8DE330B14086}" type="datetime'Mo''''t''''''''''''''o''ri''s''''t'''' ''''A''''s''sis''''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ist Assis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BCA5BA9-1767-4AAE-3FEB-6BA5D5B87DF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078663" y="6013450"/>
            <a:ext cx="6270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DF3B8B2-ED17-466C-8C44-20730D88B64E}" type="datetime'Ad''''v''''''''i''''s''''''e''''d ''P''''''''''D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dvised PD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4FBF27C0-F642-0AEF-665E-15710A187E9A}"/>
              </a:ext>
            </a:extLst>
          </p:cNvPr>
          <p:cNvPicPr/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98AECD7-F227-7661-1D74-C87CD0D40C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38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7550CE-28D5-31FC-DA06-EE3C8CEEBAC4}"/>
              </a:ext>
            </a:extLst>
          </p:cNvPr>
          <p:cNvSpPr txBox="1"/>
          <p:nvPr/>
        </p:nvSpPr>
        <p:spPr>
          <a:xfrm>
            <a:off x="-8107" y="6597295"/>
            <a:ext cx="10144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: Clear Creek County joined Jeffcom on February 21. Data is shown from this date forward.</a:t>
            </a:r>
          </a:p>
        </p:txBody>
      </p:sp>
      <p:pic>
        <p:nvPicPr>
          <p:cNvPr id="1028" name="Picture 4" descr="No photo description available.">
            <a:extLst>
              <a:ext uri="{FF2B5EF4-FFF2-40B4-BE49-F238E27FC236}">
                <a16:creationId xmlns:a16="http://schemas.microsoft.com/office/drawing/2014/main" id="{C972FDE0-A6CB-5FFF-4B39-39E437F22B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780" y="95258"/>
            <a:ext cx="790956" cy="109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7840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0D37E-AFD5-48BA-904D-A699E76C0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61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0D37E-AFD5-48BA-904D-A699E76C0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0CC08C96-4E2A-D36C-F4F5-3B772B79ACF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828442" y="4153853"/>
            <a:ext cx="5905500" cy="199644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6134F01-BE5D-7BF3-D789-DB0EDC9CDF6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3820" y="1570922"/>
            <a:ext cx="5454806" cy="468224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B11BCD5-BEF9-2061-41CD-8FEE02DFC75B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889442" y="4148138"/>
            <a:ext cx="5899150" cy="1987550"/>
          </a:xfrm>
          <a:prstGeom prst="rect">
            <a:avLst/>
          </a:prstGeom>
        </p:spPr>
      </p:pic>
      <p:sp>
        <p:nvSpPr>
          <p:cNvPr id="5" name="Text Box 58">
            <a:extLst>
              <a:ext uri="{FF2B5EF4-FFF2-40B4-BE49-F238E27FC236}">
                <a16:creationId xmlns:a16="http://schemas.microsoft.com/office/drawing/2014/main" id="{7B827F87-784E-46DA-B4AC-26C5F16C015D}"/>
              </a:ext>
            </a:extLst>
          </p:cNvPr>
          <p:cNvSpPr txBox="1"/>
          <p:nvPr/>
        </p:nvSpPr>
        <p:spPr>
          <a:xfrm>
            <a:off x="1078522" y="165505"/>
            <a:ext cx="5779478" cy="1044575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ire Stats</a:t>
            </a:r>
          </a:p>
          <a:p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s Received, Processed, and Dispatched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FD45BE2B-1F47-9FDE-F6A2-74815928DAC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231823"/>
              </p:ext>
            </p:extLst>
          </p:nvPr>
        </p:nvGraphicFramePr>
        <p:xfrm>
          <a:off x="5813425" y="1809750"/>
          <a:ext cx="5965825" cy="1719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36C341E-36F9-4264-B2D7-4F682FB8508D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003925" y="33464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06D200-A569-4F56-A1A6-45AED4439E7B}" type="datetime'0'''''''''':''0''0''''''&#10;''2'':''''''''''0''''''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BCA5092-341C-4B30-A4BC-FE6ECD7FB7C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486525" y="33464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C99B5E-C8AC-4391-94BE-CFED5219D5D8}" type="datetime'''''2'':00''''&#10;''4'''':''''''''''''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3626333-7B89-471A-A9C4-6F324CB5B4B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970713" y="33464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CF03CB-C777-4C7F-91A6-73D81AF14546}" type="datetime'4:''0''''''''''''''''''''''0&#10;''''6:''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C13A223-89D1-473F-AD55-639525653BB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453313" y="3346450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EEFC56-9581-4D42-9AEB-FF1F0535DB20}" type="datetime'6'''''':00''''''''&#10;8'''''''''''''''''':''0''''''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FF38C3DA-DE57-482B-BB0F-35E06A017D6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902575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924D62-3A3F-42D6-AACE-8652BC595891}" type="datetime'''''8'''''''''''':0''''''''0''&#10;1''0'''''':0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284D4CD-EDF4-493D-A0EC-1942070AAF3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85175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CCFFFC-932A-44DF-9EA0-E570CA18BF97}" type="datetime'''''10:''''00''''''''''''&#10;''''''''''''1''''''2'''''':''''''0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C36372-DE31-4EA3-A34A-B3486B1AA50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869363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36C3FD-C711-49BA-917A-3927D7FBC893}" type="datetime'''1''2:0''''''''0''''''&#10;''1''''''''''''4'''''''''':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465CFDDD-969A-4CA1-A801-863CDBA35FF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351963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B1770-2054-46D6-92E2-345941372331}" type="datetime'1''''4'''''''''''':''0''''''''''''0&#10;''''16'''''''''':''0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8E2651-26AD-42B7-94DE-FBB956D36E2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836150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74D48C-D15E-4759-B376-6A884862CF00}" type="datetime'''''''''1''''''''''''''''6:''0''0''&#10;''1''''''8'''''':0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99969F97-EA3B-4F01-9E1C-9A45CF4B254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318750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166B9B-D0C7-4813-8128-EF3917D3A5E8}" type="datetime'1''''8:0''0''''&#10;2''''0'''''''''''':''0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15AEADC-1253-4633-974F-DCA7C2AB53E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802938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006335-CF64-4175-850F-5519FA30DE98}" type="datetime'2''''0'''''''':''0''''0''&#10;''''22'''''''''''':''''''''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4F80A12-8328-4C76-B1AA-3A6F5F05569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285538" y="3346450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C22CA7-F4FB-4E16-9AD6-990CCE97EC26}" type="datetime'''''''''''''22'''''''''''''':''''''00''''&#10;0'':''''''''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52C4211-5F55-4C7B-9C2D-6A96F2218602}"/>
              </a:ext>
            </a:extLst>
          </p:cNvPr>
          <p:cNvSpPr/>
          <p:nvPr/>
        </p:nvSpPr>
        <p:spPr>
          <a:xfrm>
            <a:off x="5710238" y="1562100"/>
            <a:ext cx="6210300" cy="21669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5AE4010-508F-4A3F-85C7-752A1F15F54F}"/>
              </a:ext>
            </a:extLst>
          </p:cNvPr>
          <p:cNvSpPr txBox="1"/>
          <p:nvPr/>
        </p:nvSpPr>
        <p:spPr>
          <a:xfrm>
            <a:off x="5710238" y="1555750"/>
            <a:ext cx="6210300" cy="307975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erage Call Volume Per Time of Day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0DD0C29-43A9-4273-AEB4-F38CBF1A87EB}"/>
              </a:ext>
            </a:extLst>
          </p:cNvPr>
          <p:cNvSpPr txBox="1"/>
          <p:nvPr/>
        </p:nvSpPr>
        <p:spPr>
          <a:xfrm>
            <a:off x="5694363" y="3778250"/>
            <a:ext cx="6210300" cy="307975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tal CAD Dispatched Calls by Day of Week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A9B9B17-F2C5-49D5-8AD7-354733D35B07}"/>
              </a:ext>
            </a:extLst>
          </p:cNvPr>
          <p:cNvSpPr/>
          <p:nvPr/>
        </p:nvSpPr>
        <p:spPr>
          <a:xfrm>
            <a:off x="5691188" y="4086225"/>
            <a:ext cx="6210300" cy="216693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2" name="Picture 6" descr="Emergency Medical Dispatch (EMD) Codes – Thomas W. P. Slatin">
            <a:extLst>
              <a:ext uri="{FF2B5EF4-FFF2-40B4-BE49-F238E27FC236}">
                <a16:creationId xmlns:a16="http://schemas.microsoft.com/office/drawing/2014/main" id="{F65C5540-5DEB-43C2-92ED-6CE11E735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5" y="144867"/>
            <a:ext cx="1000910" cy="100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1E014B2-1FBF-48C6-9093-6CFE20AFFC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4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65A035-FE13-20EE-FA55-3EF1907FA676}"/>
              </a:ext>
            </a:extLst>
          </p:cNvPr>
          <p:cNvSpPr txBox="1"/>
          <p:nvPr/>
        </p:nvSpPr>
        <p:spPr>
          <a:xfrm>
            <a:off x="0" y="6410896"/>
            <a:ext cx="101444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s: Call received, processed, and dispatched by Jeffcom. Self-initiated activity removed.</a:t>
            </a:r>
          </a:p>
          <a:p>
            <a:r>
              <a:rPr lang="en-US" sz="1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Clear Creek County joined Jeffcom on February 21. Data is shown from this date forward.</a:t>
            </a:r>
          </a:p>
        </p:txBody>
      </p:sp>
    </p:spTree>
    <p:extLst>
      <p:ext uri="{BB962C8B-B14F-4D97-AF65-F5344CB8AC3E}">
        <p14:creationId xmlns:p14="http://schemas.microsoft.com/office/powerpoint/2010/main" val="4143996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002BB9-6A96-46E0-8F49-3B17732807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18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3" imgH="423" progId="TCLayout.ActiveDocument.1">
                  <p:embed/>
                </p:oleObj>
              </mc:Choice>
              <mc:Fallback>
                <p:oleObj name="think-cell Slide" r:id="rId4" imgW="423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002BB9-6A96-46E0-8F49-3B1773280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58">
            <a:extLst>
              <a:ext uri="{FF2B5EF4-FFF2-40B4-BE49-F238E27FC236}">
                <a16:creationId xmlns:a16="http://schemas.microsoft.com/office/drawing/2014/main" id="{EDE4E6BF-C55A-4645-8638-25FFDC64DB88}"/>
              </a:ext>
            </a:extLst>
          </p:cNvPr>
          <p:cNvSpPr txBox="1"/>
          <p:nvPr/>
        </p:nvSpPr>
        <p:spPr>
          <a:xfrm>
            <a:off x="1078522" y="165505"/>
            <a:ext cx="5779478" cy="1044575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ice Level Agreement</a:t>
            </a:r>
          </a:p>
          <a:p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 Processing</a:t>
            </a:r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DFF90B-581A-4BDA-A5FB-B90195D4DEBC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B38C59C-9143-4E76-89FE-C7368627C97C}"/>
              </a:ext>
            </a:extLst>
          </p:cNvPr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14BDBD2-3470-4BAD-922F-6D5773E4B9DD}"/>
              </a:ext>
            </a:extLst>
          </p:cNvPr>
          <p:cNvGrpSpPr/>
          <p:nvPr/>
        </p:nvGrpSpPr>
        <p:grpSpPr>
          <a:xfrm>
            <a:off x="6706962" y="1560989"/>
            <a:ext cx="5437414" cy="5137667"/>
            <a:chOff x="-6345269" y="1705875"/>
            <a:chExt cx="9214067" cy="1285225"/>
          </a:xfrm>
        </p:grpSpPr>
        <p:sp>
          <p:nvSpPr>
            <p:cNvPr id="11" name="Text Box 160">
              <a:extLst>
                <a:ext uri="{FF2B5EF4-FFF2-40B4-BE49-F238E27FC236}">
                  <a16:creationId xmlns:a16="http://schemas.microsoft.com/office/drawing/2014/main" id="{CC7E7235-D3EE-4235-96C4-5D12A099E3A6}"/>
                </a:ext>
              </a:extLst>
            </p:cNvPr>
            <p:cNvSpPr txBox="1"/>
            <p:nvPr/>
          </p:nvSpPr>
          <p:spPr>
            <a:xfrm>
              <a:off x="-6345269" y="1844083"/>
              <a:ext cx="9214067" cy="1147017"/>
            </a:xfrm>
            <a:prstGeom prst="rect">
              <a:avLst/>
            </a:prstGeom>
            <a:solidFill>
              <a:schemeClr val="lt1"/>
            </a:solidFill>
            <a:ln w="3175">
              <a:solidFill>
                <a:schemeClr val="tx1"/>
              </a:solidFill>
            </a:ln>
          </p:spPr>
          <p:txBody>
            <a:bodyPr rot="0" spcFirstLastPara="0" vert="horz" wrap="square" lIns="91439" tIns="45720" rIns="91439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1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oot Cause: Call Answering Time</a:t>
              </a:r>
            </a:p>
            <a:p>
              <a:r>
                <a:rPr lang="en-US" sz="1100" dirty="0">
                  <a:solidFill>
                    <a:srgbClr val="21212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Jeffcom has recovered in overall staffing strength, however, training required for rapid upstaffing will continue to be a capacity inhibitor until final qualifications are achieved for ECS hired in the previous months. In addition, month-over-month emergency call volume increased by 6% while administrative volume increased 3%.</a:t>
              </a:r>
              <a:endParaRPr lang="en-US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endParaRPr lang="en-US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en-US" sz="11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mediation: Call Answering Time </a:t>
              </a:r>
              <a:endParaRPr lang="en-US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90% of 911 calls answered within 15 seconds SLA was missed in April in large part due to the extremely high volume of calls that were received on April 6</a:t>
              </a:r>
              <a:r>
                <a:rPr lang="en-US" sz="1100" baseline="30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</a:t>
              </a:r>
              <a:r>
                <a: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and April 7</a:t>
              </a:r>
              <a:r>
                <a:rPr lang="en-US" sz="1100" baseline="300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</a:t>
              </a:r>
              <a:r>
                <a: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regarding the windstorm. Without the inclusion of those two days, the 15 second metric would have been met at 91.5%, and the 40 second metric would have been 98.3%. Additionally, Jeffcom has 12 personnel training on the floor with expected qualification attained in May. Jeffcom has also initiated a hiring process for a May academy to continue to add depth in call-taking and radio dispatch operations.</a:t>
              </a:r>
            </a:p>
            <a:p>
              <a:endParaRPr lang="en-US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en-US" sz="11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oot Cause: Call Processing Time </a:t>
              </a:r>
              <a:endParaRPr lang="en-US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Jeffcom has analyzed and concluded that the call processing goal of 60 seconds is not feasible due to the amount of time it takes to double-verify the address and phone number of wireless callers.</a:t>
              </a:r>
            </a:p>
            <a:p>
              <a:endParaRPr lang="en-US" sz="11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en-US" sz="11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emediation: Call Processing Time </a:t>
              </a:r>
              <a:endParaRPr lang="en-US" sz="11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r>
                <a: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team continues to analyze different operational methods in which processing times can be reduced to improve the metric goal. Currently, the 90th percentile is 01:42 minutes to process a wireless call from when the ANI/ALI is populated to Dispatcher queue.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DE9D7D4-043F-421C-996B-B25E20B44D97}"/>
                </a:ext>
              </a:extLst>
            </p:cNvPr>
            <p:cNvSpPr/>
            <p:nvPr/>
          </p:nvSpPr>
          <p:spPr>
            <a:xfrm>
              <a:off x="-6345269" y="1705875"/>
              <a:ext cx="9214065" cy="138208"/>
            </a:xfrm>
            <a:prstGeom prst="rect">
              <a:avLst/>
            </a:prstGeom>
            <a:solidFill>
              <a:srgbClr val="00206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39" tIns="45720" rIns="91439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1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Analysis</a:t>
              </a:r>
            </a:p>
          </p:txBody>
        </p:sp>
      </p:grpSp>
      <p:pic>
        <p:nvPicPr>
          <p:cNvPr id="13" name="Picture 2" descr="VSO Communications Center Earns 1st Ever National Accreditation | VSO">
            <a:extLst>
              <a:ext uri="{FF2B5EF4-FFF2-40B4-BE49-F238E27FC236}">
                <a16:creationId xmlns:a16="http://schemas.microsoft.com/office/drawing/2014/main" id="{A01C1FCB-FAC5-42E9-8B0A-9D0E0A1F2D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60" y="106291"/>
            <a:ext cx="1021362" cy="1044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6F77E0-370B-4C38-9700-547C414D2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96676" y="6606670"/>
            <a:ext cx="412296" cy="365125"/>
          </a:xfrm>
        </p:spPr>
        <p:txBody>
          <a:bodyPr/>
          <a:lstStyle/>
          <a:p>
            <a:fld id="{7E42DF0F-B536-4D3B-A493-5032C5E2E097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05BC271-E889-994E-096D-1E278F23A9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8653763"/>
              </p:ext>
            </p:extLst>
          </p:nvPr>
        </p:nvGraphicFramePr>
        <p:xfrm>
          <a:off x="189176" y="1567151"/>
          <a:ext cx="6405588" cy="5125345"/>
        </p:xfrm>
        <a:graphic>
          <a:graphicData uri="http://schemas.openxmlformats.org/drawingml/2006/table">
            <a:tbl>
              <a:tblPr/>
              <a:tblGrid>
                <a:gridCol w="1515764">
                  <a:extLst>
                    <a:ext uri="{9D8B030D-6E8A-4147-A177-3AD203B41FA5}">
                      <a16:colId xmlns:a16="http://schemas.microsoft.com/office/drawing/2014/main" val="1209428249"/>
                    </a:ext>
                  </a:extLst>
                </a:gridCol>
                <a:gridCol w="2226758">
                  <a:extLst>
                    <a:ext uri="{9D8B030D-6E8A-4147-A177-3AD203B41FA5}">
                      <a16:colId xmlns:a16="http://schemas.microsoft.com/office/drawing/2014/main" val="658739912"/>
                    </a:ext>
                  </a:extLst>
                </a:gridCol>
                <a:gridCol w="850224">
                  <a:extLst>
                    <a:ext uri="{9D8B030D-6E8A-4147-A177-3AD203B41FA5}">
                      <a16:colId xmlns:a16="http://schemas.microsoft.com/office/drawing/2014/main" val="594378783"/>
                    </a:ext>
                  </a:extLst>
                </a:gridCol>
                <a:gridCol w="1812842">
                  <a:extLst>
                    <a:ext uri="{9D8B030D-6E8A-4147-A177-3AD203B41FA5}">
                      <a16:colId xmlns:a16="http://schemas.microsoft.com/office/drawing/2014/main" val="1222302865"/>
                    </a:ext>
                  </a:extLst>
                </a:gridCol>
              </a:tblGrid>
              <a:tr h="56205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cess</a:t>
                      </a:r>
                    </a:p>
                  </a:txBody>
                  <a:tcPr marL="3766" marR="3766" marT="37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LA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Result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5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rget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8077719"/>
                  </a:ext>
                </a:extLst>
              </a:tr>
              <a:tr h="565575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all Answering and Processing</a:t>
                      </a:r>
                    </a:p>
                  </a:txBody>
                  <a:tcPr marL="3766" marR="3766" marT="37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 of 911 calls answered within 15 seconds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9.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% of 911 calls answered within 15 Second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8243765"/>
                  </a:ext>
                </a:extLst>
              </a:tr>
              <a:tr h="5655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9% of 911 calls answered within 40 seconds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7.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9% of 911 calls answered within 40 Second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984388"/>
                  </a:ext>
                </a:extLst>
              </a:tr>
              <a:tr h="5655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 of Priority 1 and 2 calls processed within 60 seconds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7.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310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% of 911 calls processed within 60 Second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5171276"/>
                  </a:ext>
                </a:extLst>
              </a:tr>
              <a:tr h="49548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(Included as a reference only)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1.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% of 911 calls processed within 106 Second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0123639"/>
                  </a:ext>
                </a:extLst>
              </a:tr>
              <a:tr h="71145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verage Admin Call Initial Hold Time</a:t>
                      </a:r>
                    </a:p>
                  </a:txBody>
                  <a:tcPr marL="3766" marR="3766" marT="37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% of all non-emergency calls for service are put on hold for 60 seconds or less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.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o more than 10% of all non-emergency calls are put on hold for 60 seconds or les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0780082"/>
                  </a:ext>
                </a:extLst>
              </a:tr>
              <a:tr h="61237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Quality Assurance Scores         </a:t>
                      </a:r>
                    </a:p>
                  </a:txBody>
                  <a:tcPr marL="3766" marR="3766" marT="376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MD; Target average of 75%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6.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rget average of 95% with a minimum of 8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2549139"/>
                  </a:ext>
                </a:extLst>
              </a:tr>
              <a:tr h="5517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FD; Target average of 75%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.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rget average of 95% with a minimum of 8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8150358"/>
                  </a:ext>
                </a:extLst>
              </a:tr>
              <a:tr h="49548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AW; Target average of 75%</a:t>
                      </a:r>
                    </a:p>
                  </a:txBody>
                  <a:tcPr marL="3766" marR="3766" marT="376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5.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rget average of 95% with a minimum of 8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402353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BB30BE9-479D-E193-6F63-D5096624A2D4}"/>
              </a:ext>
            </a:extLst>
          </p:cNvPr>
          <p:cNvSpPr txBox="1"/>
          <p:nvPr/>
        </p:nvSpPr>
        <p:spPr>
          <a:xfrm>
            <a:off x="0" y="6661850"/>
            <a:ext cx="101444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te: Records stats are currently unavailable as we transition into a new reporting system from the new helpdesk.</a:t>
            </a:r>
          </a:p>
        </p:txBody>
      </p:sp>
    </p:spTree>
    <p:extLst>
      <p:ext uri="{BB962C8B-B14F-4D97-AF65-F5344CB8AC3E}">
        <p14:creationId xmlns:p14="http://schemas.microsoft.com/office/powerpoint/2010/main" val="38396140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0D37E-AFD5-48BA-904D-A699E76C0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30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383" imgH="384" progId="TCLayout.ActiveDocument.1">
                  <p:embed/>
                </p:oleObj>
              </mc:Choice>
              <mc:Fallback>
                <p:oleObj name="think-cell Slide" r:id="rId79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0D37E-AFD5-48BA-904D-A699E76C0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Picture 61">
            <a:extLst>
              <a:ext uri="{FF2B5EF4-FFF2-40B4-BE49-F238E27FC236}">
                <a16:creationId xmlns:a16="http://schemas.microsoft.com/office/drawing/2014/main" id="{9E014B37-87FC-DB17-DABB-92AC5BE4CCEE}"/>
              </a:ext>
            </a:extLst>
          </p:cNvPr>
          <p:cNvPicPr>
            <a:picLocks noChangeAspect="1"/>
          </p:cNvPicPr>
          <p:nvPr/>
        </p:nvPicPr>
        <p:blipFill>
          <a:blip r:embed="rId81"/>
          <a:stretch>
            <a:fillRect/>
          </a:stretch>
        </p:blipFill>
        <p:spPr>
          <a:xfrm>
            <a:off x="6389289" y="1892852"/>
            <a:ext cx="5692140" cy="2324100"/>
          </a:xfrm>
          <a:prstGeom prst="rect">
            <a:avLst/>
          </a:prstGeom>
        </p:spPr>
      </p:pic>
      <p:sp>
        <p:nvSpPr>
          <p:cNvPr id="5" name="Text Box 58">
            <a:extLst>
              <a:ext uri="{FF2B5EF4-FFF2-40B4-BE49-F238E27FC236}">
                <a16:creationId xmlns:a16="http://schemas.microsoft.com/office/drawing/2014/main" id="{7B827F87-784E-46DA-B4AC-26C5F16C015D}"/>
              </a:ext>
            </a:extLst>
          </p:cNvPr>
          <p:cNvSpPr txBox="1"/>
          <p:nvPr/>
        </p:nvSpPr>
        <p:spPr>
          <a:xfrm>
            <a:off x="1078522" y="165505"/>
            <a:ext cx="9305316" cy="1044575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rvice Level Agreement and Volume Trends</a:t>
            </a:r>
          </a:p>
          <a:p>
            <a:pPr>
              <a:spcBef>
                <a:spcPts val="1200"/>
              </a:spcBef>
            </a:pP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58013157-8B72-4777-A1DA-B9BACD5A28D4}"/>
              </a:ext>
            </a:extLst>
          </p:cNvPr>
          <p:cNvSpPr txBox="1"/>
          <p:nvPr/>
        </p:nvSpPr>
        <p:spPr>
          <a:xfrm>
            <a:off x="164150" y="1501757"/>
            <a:ext cx="5584983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 Volumes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4B0DAF-6DD7-4B10-8D9C-0B8AAD6563B0}"/>
              </a:ext>
            </a:extLst>
          </p:cNvPr>
          <p:cNvPicPr>
            <a:picLocks noChangeAspect="1"/>
          </p:cNvPicPr>
          <p:nvPr/>
        </p:nvPicPr>
        <p:blipFill>
          <a:blip r:embed="rId82"/>
          <a:stretch>
            <a:fillRect/>
          </a:stretch>
        </p:blipFill>
        <p:spPr>
          <a:xfrm>
            <a:off x="130031" y="354555"/>
            <a:ext cx="942331" cy="654302"/>
          </a:xfrm>
          <a:prstGeom prst="rect">
            <a:avLst/>
          </a:prstGeom>
        </p:spPr>
      </p:pic>
      <p:sp>
        <p:nvSpPr>
          <p:cNvPr id="96" name="TextBox 95">
            <a:extLst>
              <a:ext uri="{FF2B5EF4-FFF2-40B4-BE49-F238E27FC236}">
                <a16:creationId xmlns:a16="http://schemas.microsoft.com/office/drawing/2014/main" id="{13AC7CFA-23AF-445A-96F6-EA0D2FF657A3}"/>
              </a:ext>
            </a:extLst>
          </p:cNvPr>
          <p:cNvSpPr txBox="1"/>
          <p:nvPr/>
        </p:nvSpPr>
        <p:spPr>
          <a:xfrm>
            <a:off x="149069" y="4416407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11 Calls Answered within 15 Seconds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4B2B8D7-E8A8-4757-99A4-69F1EAA48321}"/>
              </a:ext>
            </a:extLst>
          </p:cNvPr>
          <p:cNvSpPr txBox="1"/>
          <p:nvPr/>
        </p:nvSpPr>
        <p:spPr>
          <a:xfrm>
            <a:off x="6442868" y="1501756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end Table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0" name="Slide Number Placeholder 209">
            <a:extLst>
              <a:ext uri="{FF2B5EF4-FFF2-40B4-BE49-F238E27FC236}">
                <a16:creationId xmlns:a16="http://schemas.microsoft.com/office/drawing/2014/main" id="{2DBE4665-8B4A-4508-AC03-BDBC6AA30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4953" y="6502400"/>
            <a:ext cx="2743200" cy="365125"/>
          </a:xfrm>
        </p:spPr>
        <p:txBody>
          <a:bodyPr/>
          <a:lstStyle/>
          <a:p>
            <a:fld id="{7E42DF0F-B536-4D3B-A493-5032C5E2E097}" type="slidenum">
              <a:rPr lang="en-US" smtClean="0"/>
              <a:t>6</a:t>
            </a:fld>
            <a:endParaRPr lang="en-US"/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F28D6A5C-A51D-EDD5-2E7B-1C4C589CD8C0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0260676"/>
              </p:ext>
            </p:extLst>
          </p:nvPr>
        </p:nvGraphicFramePr>
        <p:xfrm>
          <a:off x="631825" y="1930400"/>
          <a:ext cx="5018088" cy="1889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14338" y="3659188"/>
            <a:ext cx="14763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0401D5-DB40-4C7D-86FD-925914DCC410}" type="datetime'''''''''''5''''''''''''''''''''''''k'''''''''''''">
              <a:rPr lang="en-US" altLang="en-US" sz="1200" smtClean="0">
                <a:effectLst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k</a:t>
            </a:fld>
            <a:endParaRPr lang="en-US" sz="1200" dirty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6550" y="3371850"/>
            <a:ext cx="225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382C0E-39B3-4810-89C7-59B6C2440092}" type="datetime'1''''''''''''''''''''''''''''''''''0''''''''''k'''''''">
              <a:rPr lang="en-US" altLang="en-US" sz="1200" smtClean="0"/>
              <a:pPr/>
              <a:t>10k</a:t>
            </a:fld>
            <a:endParaRPr lang="en-US" sz="12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6550" y="3084513"/>
            <a:ext cx="225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D64EF7-84C6-4FDC-936B-368CBE94010C}" type="datetime'''''''''''''''''''''''''''''1''5''''''''''k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k</a:t>
            </a:fld>
            <a:endParaRPr lang="en-US" sz="120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6550" y="2797175"/>
            <a:ext cx="225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8AA0CE-EEC4-420C-AB6C-0272102090ED}" type="datetime'''''''''''''''''''''''''''''''''''''20''''''''k'''''''">
              <a:rPr lang="en-US" altLang="en-US" sz="1200" smtClean="0"/>
              <a:pPr/>
              <a:t>20k</a:t>
            </a:fld>
            <a:endParaRPr lang="en-US" sz="12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6550" y="2509838"/>
            <a:ext cx="225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3F25C4-4486-4149-B19A-13E1FADF1B0E}" type="datetime'2''''''''''''''''''''''''''''''''5''''k''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k</a:t>
            </a:fld>
            <a:endParaRPr lang="en-US" sz="1200" dirty="0"/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6550" y="2222500"/>
            <a:ext cx="225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28B0B2-D5AC-4B04-8351-694A8B653D84}" type="datetime'''''''''''''''''''''3''''''''''''''0''''''k'''''''''''''''''''">
              <a:rPr lang="en-US" altLang="en-US" sz="1200" smtClean="0"/>
              <a:pPr/>
              <a:t>30k</a:t>
            </a:fld>
            <a:endParaRPr lang="en-US" sz="12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6550" y="1935163"/>
            <a:ext cx="22542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3727D4-E1AB-4EFD-8A62-65E6B8061CC4}" type="datetime'''''3''''''''''''''5''''''''''''''''''k'''''''''''''''''''">
              <a:rPr lang="en-US" altLang="en-US" sz="1200" smtClean="0">
                <a:effectLst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k</a:t>
            </a:fld>
            <a:endParaRPr lang="en-US" sz="12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C248985-01B4-CD8C-E025-DF4D3560391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11175" y="3779839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55A1A6-77AB-4726-A844-58C74920D47C}" type="datetime'''''''Ma''''''''y-23'''''''''''''''''''''''''''''''''">
              <a:rPr lang="en-US" altLang="en-US" sz="1000" smtClean="0"/>
              <a:pPr/>
              <a:t>May-23</a:t>
            </a:fld>
            <a:endParaRPr lang="en-US" sz="10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21229FB-0801-C7EF-5E13-8F0309A61A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77900" y="3779839"/>
            <a:ext cx="3556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8F2082-7B8E-4375-BEC2-31B6A2B064C2}" type="datetime'''''J''''''''''''''''''''''''''u''''''''''n''-2''3'''''''">
              <a:rPr lang="en-US" altLang="en-US" sz="1000" smtClean="0"/>
              <a:pPr/>
              <a:t>Jun-23</a:t>
            </a:fld>
            <a:endParaRPr lang="en-US" sz="10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D142ECA-E2D8-9285-6C24-1D82A203882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438275" y="3779839"/>
            <a:ext cx="317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BAF896-8092-4B3A-9549-27FEDBF300A7}" type="datetime'''''''''''J''''u''''l''''''-''''''2''''''''''''''''3'''''''''">
              <a:rPr lang="en-US" altLang="en-US" sz="1000" smtClean="0"/>
              <a:pPr/>
              <a:t>Jul-23</a:t>
            </a:fld>
            <a:endParaRPr lang="en-US" sz="1000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B920F75-31B6-8B4B-7E2C-665E8C04F04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847850" y="3779839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983E8A-7B95-4B83-A699-9463134F0970}" type="datetime'''''''A''''''''''u''''''g-''''''''''''''''''2''3'''''">
              <a:rPr lang="en-US" altLang="en-US" sz="1000" smtClean="0"/>
              <a:pPr/>
              <a:t>Aug-23</a:t>
            </a:fld>
            <a:endParaRPr lang="en-US" sz="10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559295F-1CFC-FC07-C117-44F0566C941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295525" y="3779839"/>
            <a:ext cx="3698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187147-6EAC-4BAB-92B6-E697DF3B1253}" type="datetime'''''S''''''''''''''e''''''''''p''''''-''''2''3'">
              <a:rPr lang="en-US" altLang="en-US" sz="1000" smtClean="0"/>
              <a:pPr/>
              <a:t>Sep-23</a:t>
            </a:fld>
            <a:endParaRPr lang="en-US" sz="10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9AAF5F5-7487-DDF7-D317-1B4F799ACEB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740025" y="3779839"/>
            <a:ext cx="361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463BE7-83FE-4914-B72C-C1C17EA7A3FB}" type="datetime'''''''O''c''''''''''t''''''''''-''''''''2''''3'''''''''''''''">
              <a:rPr lang="en-US" altLang="en-US" sz="1000" smtClean="0"/>
              <a:pPr/>
              <a:t>Oct-23</a:t>
            </a:fld>
            <a:endParaRPr lang="en-US" sz="1000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794817C-34B2-68B8-0BC6-DDDED5C0059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67063" y="3779839"/>
            <a:ext cx="387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B0FFAF-582D-48C2-9B1B-B2FD57F2936F}" type="datetime'N''''o''v''''''''-''2''''''''''''''''''''''''''3'''''''''''''">
              <a:rPr lang="en-US" altLang="en-US" sz="1000" smtClean="0"/>
              <a:pPr/>
              <a:t>Nov-23</a:t>
            </a:fld>
            <a:endParaRPr lang="en-US" sz="10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06F2968-42A3-483A-337A-D0AE86BE93F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614738" y="3779839"/>
            <a:ext cx="3762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AB2FDA-B141-464C-B118-9BED9ABD513C}" type="datetime'''''D''''''''''e''''c''-''''''''''''''2''''3'''''">
              <a:rPr lang="en-US" altLang="en-US" sz="1000" smtClean="0"/>
              <a:pPr/>
              <a:t>Dec-23</a:t>
            </a:fld>
            <a:endParaRPr lang="en-US" sz="1000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C8E4B72-72C6-60A2-4BA2-FBC70AE3CCF2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68763" y="3779838"/>
            <a:ext cx="349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9AEFCE-FBB9-42D9-B548-5736E4B4111D}" type="datetime'''''''''''''Ja''n''''''''''-''''2''''''''''''''''''4'''''">
              <a:rPr lang="en-US" altLang="en-US" sz="1000" smtClean="0"/>
              <a:pPr/>
              <a:t>Jan-24</a:t>
            </a:fld>
            <a:endParaRPr lang="en-US" sz="10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532CFC3-942F-0097-1AFF-537E14B8E55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500563" y="3779838"/>
            <a:ext cx="3698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0F327D-3A3F-4F96-B154-47CB6DE5E4EA}" type="datetime'F''''''''''''''''e''''''''''''''b-''''''''''24'''">
              <a:rPr lang="en-US" altLang="en-US" sz="1000" smtClean="0"/>
              <a:pPr/>
              <a:t>Feb-24</a:t>
            </a:fld>
            <a:endParaRPr lang="en-US" sz="10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00F32F0-5773-0038-DB6B-BB38F63C4BE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929188" y="3779838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3FB74E-A257-4F68-B7AD-6C16216D45ED}" type="datetime'M''''''''''''''''''''''''''''''''''a''''''''''r''''''-2''''4'">
              <a:rPr lang="en-US" altLang="en-US" sz="1000" smtClean="0"/>
              <a:pPr/>
              <a:t>Mar-24</a:t>
            </a:fld>
            <a:endParaRPr lang="en-US" sz="10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15473B1-9B22-FEDD-2EEF-F33677C946A7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384801" y="3779838"/>
            <a:ext cx="365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FE7FE5-586C-459E-B9F9-86788C3C9C62}" type="datetime'''A''''p''''''''''''''r''-''''''''''''''2''''''''4'''''">
              <a:rPr lang="en-US" altLang="en-US" sz="1000" smtClean="0"/>
              <a:pPr/>
              <a:t>Apr-24</a:t>
            </a:fld>
            <a:endParaRPr lang="en-US" sz="1000" dirty="0"/>
          </a:p>
        </p:txBody>
      </p: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3D3296BC-9AB3-234C-0AE4-6544791C5AF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1133475" y="3413125"/>
            <a:ext cx="246063" cy="0"/>
          </a:xfrm>
          <a:prstGeom prst="line">
            <a:avLst/>
          </a:prstGeom>
          <a:ln w="19050" cap="rnd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B0242375-DCF5-EEB1-36F4-886FE8DA838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1133475" y="3608388"/>
            <a:ext cx="246063" cy="0"/>
          </a:xfrm>
          <a:prstGeom prst="line">
            <a:avLst/>
          </a:prstGeom>
          <a:ln w="1905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51922AE3-06CB-0402-685E-85DCC99B0D2A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3513138" y="3413125"/>
            <a:ext cx="246063" cy="0"/>
          </a:xfrm>
          <a:prstGeom prst="line">
            <a:avLst/>
          </a:prstGeom>
          <a:ln w="19050" cap="rnd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9" name="Straight Connector 498">
            <a:extLst>
              <a:ext uri="{FF2B5EF4-FFF2-40B4-BE49-F238E27FC236}">
                <a16:creationId xmlns:a16="http://schemas.microsoft.com/office/drawing/2014/main" id="{03F78B4F-B1A0-4DEB-C1BE-2365D8B94D05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3513138" y="3608388"/>
            <a:ext cx="246063" cy="0"/>
          </a:xfrm>
          <a:prstGeom prst="line">
            <a:avLst/>
          </a:prstGeom>
          <a:ln w="19050" cap="rnd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5" name="Diamond 484">
            <a:extLst>
              <a:ext uri="{FF2B5EF4-FFF2-40B4-BE49-F238E27FC236}">
                <a16:creationId xmlns:a16="http://schemas.microsoft.com/office/drawing/2014/main" id="{0E817BE1-E587-06E4-D9FC-07EC7C45C787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217613" y="3375025"/>
            <a:ext cx="76200" cy="76200"/>
          </a:xfrm>
          <a:prstGeom prst="diamond">
            <a:avLst/>
          </a:prstGeom>
          <a:solidFill>
            <a:srgbClr val="C00000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2" name="Diamond 481">
            <a:extLst>
              <a:ext uri="{FF2B5EF4-FFF2-40B4-BE49-F238E27FC236}">
                <a16:creationId xmlns:a16="http://schemas.microsoft.com/office/drawing/2014/main" id="{854873FF-C6BF-E63E-44B3-C219F3458EB4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217613" y="3570288"/>
            <a:ext cx="76200" cy="76200"/>
          </a:xfrm>
          <a:prstGeom prst="diamond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0" name="Diamond 489">
            <a:extLst>
              <a:ext uri="{FF2B5EF4-FFF2-40B4-BE49-F238E27FC236}">
                <a16:creationId xmlns:a16="http://schemas.microsoft.com/office/drawing/2014/main" id="{9C81118A-E471-58E2-D54E-14C43A3A7D15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597275" y="3375025"/>
            <a:ext cx="76200" cy="76200"/>
          </a:xfrm>
          <a:prstGeom prst="diamond">
            <a:avLst/>
          </a:prstGeom>
          <a:solidFill>
            <a:schemeClr val="accent3"/>
          </a:solidFill>
          <a:ln w="9525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0" name="Diamond 499">
            <a:extLst>
              <a:ext uri="{FF2B5EF4-FFF2-40B4-BE49-F238E27FC236}">
                <a16:creationId xmlns:a16="http://schemas.microsoft.com/office/drawing/2014/main" id="{EB9BAD37-7BDE-5D6A-2B4E-2B5A74E8D6D7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3597275" y="3570288"/>
            <a:ext cx="76200" cy="76200"/>
          </a:xfrm>
          <a:prstGeom prst="diamond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439863" y="3354388"/>
            <a:ext cx="195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4D5008-92E9-44E2-BC4D-55F33EBB47DD}" type="datetime'''''''''''''''9''''''''''''''''''1''1'''''''''''''''''''''''">
              <a:rPr lang="en-US" altLang="en-US" sz="1000" smtClean="0"/>
              <a:pPr/>
              <a:t>911</a:t>
            </a:fld>
            <a:endParaRPr lang="en-US" sz="1000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439863" y="3549650"/>
            <a:ext cx="19621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8C4EAA-88CC-478A-8E09-D291C3E3583A}" type="datetime'''No''n-E''me''rg''ency ''Pr''o''ce''ssed ''''''by Jeffcom'''">
              <a:rPr lang="en-US" altLang="en-US" sz="1000" smtClean="0"/>
              <a:pPr/>
              <a:t>Non-Emergency Processed by Jeffcom</a:t>
            </a:fld>
            <a:endParaRPr lang="en-US" sz="10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32B7D8C-DAE5-D336-7D31-9ECFB1F6E20C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819525" y="3354388"/>
            <a:ext cx="4762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36D370-4BF3-4B50-9C43-CF3F9556A54F}" type="datetime'''''''''''O''''''''u''''t''''''''g''''''''oin''''''''g'''''''">
              <a:rPr lang="en-US" altLang="en-US" sz="1000" smtClean="0"/>
              <a:pPr/>
              <a:t>Outgoing</a:t>
            </a:fld>
            <a:endParaRPr lang="en-US" sz="1000" dirty="0"/>
          </a:p>
        </p:txBody>
      </p:sp>
      <p:sp>
        <p:nvSpPr>
          <p:cNvPr id="496" name="Text Placeholder 2">
            <a:extLst>
              <a:ext uri="{FF2B5EF4-FFF2-40B4-BE49-F238E27FC236}">
                <a16:creationId xmlns:a16="http://schemas.microsoft.com/office/drawing/2014/main" id="{FB24F7D5-26C6-DCA1-D822-BCC9573069E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819526" y="3549650"/>
            <a:ext cx="16811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8614421-6078-4028-9222-B9F598FBBEA0}" type="datetime'N''on-E''m''erg''en''''cy Receive''d'''''' ''''''''b''y Bot'''">
              <a:rPr lang="en-US" altLang="en-US" sz="1000" smtClean="0"/>
              <a:pPr/>
              <a:t>Non-Emergency Received by Bot</a:t>
            </a:fld>
            <a:endParaRPr lang="en-US" sz="1000" dirty="0"/>
          </a:p>
        </p:txBody>
      </p:sp>
      <p:sp>
        <p:nvSpPr>
          <p:cNvPr id="268" name="TextBox 267">
            <a:extLst>
              <a:ext uri="{FF2B5EF4-FFF2-40B4-BE49-F238E27FC236}">
                <a16:creationId xmlns:a16="http://schemas.microsoft.com/office/drawing/2014/main" id="{FEB4A815-DBE2-D6C5-F756-F5E3A343D865}"/>
              </a:ext>
            </a:extLst>
          </p:cNvPr>
          <p:cNvSpPr txBox="1"/>
          <p:nvPr/>
        </p:nvSpPr>
        <p:spPr>
          <a:xfrm>
            <a:off x="6442868" y="4416407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11 Calls Answered within 40 seconds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A4D2D58-26B4-6C5A-57AF-073BF51A44F9}"/>
              </a:ext>
            </a:extLst>
          </p:cNvPr>
          <p:cNvGraphicFramePr/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396840791"/>
              </p:ext>
            </p:extLst>
          </p:nvPr>
        </p:nvGraphicFramePr>
        <p:xfrm>
          <a:off x="104775" y="4751388"/>
          <a:ext cx="5641975" cy="182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1B8BCA2-A4F6-C735-D36D-75C40207794D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>
            <a:off x="2038350" y="556101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8C42382-38B1-D345-71C3-07D8FF8437EA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5567363" y="5580063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3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68325" y="5313363"/>
            <a:ext cx="309563" cy="165100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5DBD6E0-1D44-4F8D-ABAF-03CB9B5B9FC3}" type="datetime'''''''''''''''''''''9''''2''''''''''%'''''''''''''''''">
              <a:rPr lang="en-US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92%</a:t>
            </a:fld>
            <a:endParaRPr lang="en-US" sz="1200" dirty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61975" y="6359526"/>
            <a:ext cx="30480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F82A227-10B8-456C-A66C-D5953A1DD4B6}" type="datetime'''M''''''a''y''''''''-''''''''2''''''''''''''''''''3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3</a:t>
            </a:fld>
            <a:endParaRPr lang="en-US" sz="11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62025" y="6359526"/>
            <a:ext cx="3889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8713FCA-BD1E-4DFF-8124-D5922FBD05F2}" type="datetime'''''J''''''''''u''''''''n''''''''''''-''2''''3''''''''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3</a:t>
            </a:fld>
            <a:endParaRPr lang="en-US" sz="1100" dirty="0"/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423988" y="6359526"/>
            <a:ext cx="3476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D7D321-7318-48A6-9C86-7297940AD3D4}" type="datetime'''''''''J''''''u''''''''''''''''l''''''''''-''''23''''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-23</a:t>
            </a:fld>
            <a:endParaRPr lang="en-US" sz="1100" dirty="0"/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830388" y="6359525"/>
            <a:ext cx="417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345F19-F4BF-4A0B-A21D-EFC5F1049AF7}" type="datetime'''''''''A''''u''''''''''''''g''''''''''''''''-2''''3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-23</a:t>
            </a:fld>
            <a:endParaRPr lang="en-US" sz="1100" dirty="0"/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278063" y="6359525"/>
            <a:ext cx="4048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F3C06B8-4070-41FB-8815-2982E871A9EE}" type="datetime'''''''''''''''''''Se''''''''p-''2''''''''''''''''''3''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-23</a:t>
            </a:fld>
            <a:endParaRPr lang="en-US" sz="1100" dirty="0"/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724150" y="6359526"/>
            <a:ext cx="3952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0053DC9-7C19-416E-9A45-F3062A7BAD3B}" type="datetime'''''O''ct''''-''''''''''''''''''''''''23''''''''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-23</a:t>
            </a:fld>
            <a:endParaRPr lang="en-US" sz="1100" dirty="0"/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148012" y="6359525"/>
            <a:ext cx="425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EA7822D-9EA7-4670-BD44-D3A5CED0834E}" type="datetime'''N''''''''''''''''''''''''o''''''v''''''''''''-''2''''3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-23</a:t>
            </a:fld>
            <a:endParaRPr lang="en-US" sz="11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595687" y="6359525"/>
            <a:ext cx="4127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E56646-773C-45FD-9D53-210A16F2FC87}" type="datetime'D''''''''''''''''''''''''''''''e''c''-''2''''''''''3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-23</a:t>
            </a:fld>
            <a:endParaRPr lang="en-US" sz="1100" dirty="0"/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052888" y="6359526"/>
            <a:ext cx="3825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F7559EC-704B-4243-B557-87A889D9E087}" type="datetime'''''''J''''''''a''n''''-''''2''''''''''''''''''''''4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24</a:t>
            </a:fld>
            <a:endParaRPr lang="en-US" sz="1100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483100" y="6359525"/>
            <a:ext cx="4048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60BCBFD-3440-48A7-8620-6E7F9F18F05A}" type="datetime'F''e''''''''''''b-''''''''''2''''''''''''''''''''''''4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100" dirty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910137" y="6359525"/>
            <a:ext cx="4333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33FAC1-4F51-4321-92D3-F71B7C1A8E29}" type="datetime'''''''''''M''''''''''''''a''r''-''''''''''''''2''''''4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24</a:t>
            </a:fld>
            <a:endParaRPr lang="en-US" sz="11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6FA05BB-4AA6-26A3-36DC-780DB005060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367338" y="6359525"/>
            <a:ext cx="4016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1C7FE9-8AF2-4B2B-A807-5D931F5C9289}" type="datetime'''''''''''''A''''p''''''''''''''r''''''''''''''''-2''''4'">
              <a:rPr lang="en-US" altLang="en-US" sz="1100" smtClean="0"/>
              <a:pPr/>
              <a:t>Apr-24</a:t>
            </a:fld>
            <a:endParaRPr lang="en-US" sz="1100" dirty="0"/>
          </a:p>
        </p:txBody>
      </p: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C6EB0D86-DE8B-D318-63C1-FA851B007481}"/>
              </a:ext>
            </a:extLst>
          </p:cNvPr>
          <p:cNvCxnSpPr/>
          <p:nvPr>
            <p:custDataLst>
              <p:tags r:id="rId50"/>
            </p:custDataLst>
          </p:nvPr>
        </p:nvCxnSpPr>
        <p:spPr bwMode="gray">
          <a:xfrm>
            <a:off x="2509838" y="5962650"/>
            <a:ext cx="280988" cy="0"/>
          </a:xfrm>
          <a:prstGeom prst="line">
            <a:avLst/>
          </a:prstGeom>
          <a:ln w="19050" cap="rnd" cmpd="sng" algn="ctr">
            <a:solidFill>
              <a:srgbClr val="0077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BB9010BF-82D1-0D9E-544E-63F704C535EB}"/>
              </a:ext>
            </a:extLst>
          </p:cNvPr>
          <p:cNvCxnSpPr/>
          <p:nvPr>
            <p:custDataLst>
              <p:tags r:id="rId51"/>
            </p:custDataLst>
          </p:nvPr>
        </p:nvCxnSpPr>
        <p:spPr bwMode="gray">
          <a:xfrm>
            <a:off x="3343275" y="5962650"/>
            <a:ext cx="280988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4" name="Diamond 503">
            <a:extLst>
              <a:ext uri="{FF2B5EF4-FFF2-40B4-BE49-F238E27FC236}">
                <a16:creationId xmlns:a16="http://schemas.microsoft.com/office/drawing/2014/main" id="{C36E8BD6-8022-E319-F497-214FADCFA676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2611438" y="5924550"/>
            <a:ext cx="76200" cy="76200"/>
          </a:xfrm>
          <a:prstGeom prst="diamond">
            <a:avLst/>
          </a:prstGeom>
          <a:solidFill>
            <a:srgbClr val="007770"/>
          </a:solidFill>
          <a:ln w="9525" cap="flat" cmpd="sng" algn="ctr">
            <a:solidFill>
              <a:srgbClr val="0077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3" name="Text Placeholder 2">
            <a:extLst>
              <a:ext uri="{FF2B5EF4-FFF2-40B4-BE49-F238E27FC236}">
                <a16:creationId xmlns:a16="http://schemas.microsoft.com/office/drawing/2014/main" id="{D09F60A6-F070-7F83-ACD1-22C8C2C85F1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851150" y="5891213"/>
            <a:ext cx="381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02A010C-6409-4E48-9603-6764F03A294F}" type="datetime'R''''''''''''es''''''''''''''ul''''''''''''''''t'''''">
              <a:rPr lang="en-US" altLang="en-US" sz="1200" smtClean="0"/>
              <a:pPr/>
              <a:t>Result</a:t>
            </a:fld>
            <a:endParaRPr lang="en-US" sz="1200" dirty="0"/>
          </a:p>
        </p:txBody>
      </p:sp>
      <p:sp>
        <p:nvSpPr>
          <p:cNvPr id="335" name="Text Placeholder 2">
            <a:extLst>
              <a:ext uri="{FF2B5EF4-FFF2-40B4-BE49-F238E27FC236}">
                <a16:creationId xmlns:a16="http://schemas.microsoft.com/office/drawing/2014/main" id="{8BFA9EE3-5E75-1256-F784-A4C8394BE524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684588" y="5891213"/>
            <a:ext cx="382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EFD54E-8225-4F40-88A5-64FC089F19C6}" type="datetime'''''''T''''''''''''''''''''ar''g''''e''''''''''''t'">
              <a:rPr lang="en-US" altLang="en-US" sz="1200" smtClean="0"/>
              <a:pPr/>
              <a:t>Target</a:t>
            </a:fld>
            <a:endParaRPr lang="en-US" sz="1200" dirty="0"/>
          </a:p>
        </p:txBody>
      </p:sp>
      <p:graphicFrame>
        <p:nvGraphicFramePr>
          <p:cNvPr id="61" name="Chart 60">
            <a:extLst>
              <a:ext uri="{FF2B5EF4-FFF2-40B4-BE49-F238E27FC236}">
                <a16:creationId xmlns:a16="http://schemas.microsoft.com/office/drawing/2014/main" id="{147F25CC-7425-50BD-6035-151FD805615A}"/>
              </a:ext>
            </a:extLst>
          </p:cNvPr>
          <p:cNvGraphicFramePr/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672227828"/>
              </p:ext>
            </p:extLst>
          </p:nvPr>
        </p:nvGraphicFramePr>
        <p:xfrm>
          <a:off x="6345238" y="4564063"/>
          <a:ext cx="5641975" cy="2016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5"/>
          </a:graphicData>
        </a:graphic>
      </p:graphicFrame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58CF815-822B-0DAD-FC7E-B81C1E2D1D16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 flipH="1" flipV="1">
            <a:off x="6985000" y="5365750"/>
            <a:ext cx="74613" cy="1635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A9880E77-89B4-FAF6-9F4F-4692C63B345B}"/>
              </a:ext>
            </a:extLst>
          </p:cNvPr>
          <p:cNvCxnSpPr>
            <a:cxnSpLocks/>
          </p:cNvCxnSpPr>
          <p:nvPr>
            <p:custDataLst>
              <p:tags r:id="rId57"/>
            </p:custDataLst>
          </p:nvPr>
        </p:nvCxnSpPr>
        <p:spPr bwMode="auto">
          <a:xfrm flipH="1" flipV="1">
            <a:off x="8745538" y="5213350"/>
            <a:ext cx="12700" cy="33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1" name="Straight Connector 450">
            <a:extLst>
              <a:ext uri="{FF2B5EF4-FFF2-40B4-BE49-F238E27FC236}">
                <a16:creationId xmlns:a16="http://schemas.microsoft.com/office/drawing/2014/main" id="{7A172D71-A9C3-9431-7EB5-BE9F63E67BCD}"/>
              </a:ext>
            </a:extLst>
          </p:cNvPr>
          <p:cNvCxnSpPr>
            <a:cxnSpLocks/>
          </p:cNvCxnSpPr>
          <p:nvPr>
            <p:custDataLst>
              <p:tags r:id="rId58"/>
            </p:custDataLst>
          </p:nvPr>
        </p:nvCxnSpPr>
        <p:spPr bwMode="auto">
          <a:xfrm flipV="1">
            <a:off x="9601200" y="52165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4" name="Straight Connector 463">
            <a:extLst>
              <a:ext uri="{FF2B5EF4-FFF2-40B4-BE49-F238E27FC236}">
                <a16:creationId xmlns:a16="http://schemas.microsoft.com/office/drawing/2014/main" id="{8B0C8772-9A41-2CE0-E710-52E090E563DE}"/>
              </a:ext>
            </a:extLst>
          </p:cNvPr>
          <p:cNvCxnSpPr>
            <a:cxnSpLocks/>
          </p:cNvCxnSpPr>
          <p:nvPr>
            <p:custDataLst>
              <p:tags r:id="rId59"/>
            </p:custDataLst>
          </p:nvPr>
        </p:nvCxnSpPr>
        <p:spPr bwMode="auto">
          <a:xfrm flipV="1">
            <a:off x="10925175" y="5216525"/>
            <a:ext cx="0" cy="254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802438" y="6359526"/>
            <a:ext cx="304800" cy="30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AC50BC-9BA7-458F-AC59-E63443A11222}" type="datetime'''''''''''M''a''''''''''''''''''''y''''-''''''''23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3</a:t>
            </a:fld>
            <a:endParaRPr lang="en-US" sz="11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7202488" y="6359526"/>
            <a:ext cx="3889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602A92-215D-444B-861C-AFFA4E3EF310}" type="datetime'''''''''''''''''J''''''''''''''''''u''n''-''''''23''''''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3</a:t>
            </a:fld>
            <a:endParaRPr lang="en-US" sz="1100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7664450" y="6359526"/>
            <a:ext cx="34766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806518-D307-4146-A595-D986C69C0694}" type="datetime'J''''u''''''''''''''''''''''''''l''''''''-''''''''''''2''3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-23</a:t>
            </a:fld>
            <a:endParaRPr lang="en-US" sz="11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070850" y="6359525"/>
            <a:ext cx="4175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0AB2F5F-A7F7-490B-A4A7-CC837394CC90}" type="datetime'''A''u''''g''''''-''''2''''''''''''''''''''3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-23</a:t>
            </a:fld>
            <a:endParaRPr lang="en-US" sz="11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8518525" y="6359525"/>
            <a:ext cx="4048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93A2CD-6C4B-4F0B-91B2-7086726A15EC}" type="datetime'''''''''Se''''''''p''-2''''''''''''''3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-23</a:t>
            </a:fld>
            <a:endParaRPr lang="en-US" sz="11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964613" y="6359526"/>
            <a:ext cx="3952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3FDD7F-4F65-4668-AD7E-16CCF20B1DCC}" type="datetime'O''c''''''''''''''''''''''''''''''''''''''''t-''''''''''23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-23</a:t>
            </a:fld>
            <a:endParaRPr lang="en-US" sz="110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9388474" y="6359525"/>
            <a:ext cx="4254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03A679A-2668-49B4-BF48-F9AEA9A43C6D}" type="datetime'''''''N''o''''''''v''''''''''''-''''''''''''''2''3''''''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-23</a:t>
            </a:fld>
            <a:endParaRPr lang="en-US" sz="11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9836149" y="6359525"/>
            <a:ext cx="4127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25D4A5F-FA84-48CA-92EF-AEC9FE881A96}" type="datetime'''''''''''''D''''''''''''''ec-''2''''''''''''''3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-23</a:t>
            </a:fld>
            <a:endParaRPr lang="en-US" sz="1100" dirty="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10293350" y="6359526"/>
            <a:ext cx="3825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A87D3C-36CF-4C0D-A36B-28412FD73670}" type="datetime'''J''''''''''''''''a''''''''''''n''''-''''2''''''''''4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24</a:t>
            </a:fld>
            <a:endParaRPr lang="en-US" sz="11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0723563" y="6359525"/>
            <a:ext cx="404813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20B11B-6C11-498A-A4D2-A59E29E6475C}" type="datetime'''F''''e''''''''''b''''''-''''''''''''''''''24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10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1150599" y="6359525"/>
            <a:ext cx="4333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05BF15-0B54-4997-857C-8D0AD2EACDEF}" type="datetime'M''''''''''a''''''''''''r-2''''''4'''''''''''''''''''''''''">
              <a:rPr lang="en-US" altLang="en-US" sz="11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24</a:t>
            </a:fld>
            <a:endParaRPr lang="en-US" sz="11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B9423F85-1B3A-2939-475C-C076921FF7D9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1607799" y="6359525"/>
            <a:ext cx="40163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E61382E-96B8-4A82-8EB0-BBE3FA83B742}" type="datetime'''''''A''p''r-''''''''''24'''''''''''''''''''''''''''">
              <a:rPr lang="en-US" altLang="en-US" sz="1100" smtClean="0"/>
              <a:pPr/>
              <a:t>Apr-24</a:t>
            </a:fld>
            <a:endParaRPr lang="en-US" sz="1100" dirty="0"/>
          </a:p>
        </p:txBody>
      </p:sp>
      <p:cxnSp>
        <p:nvCxnSpPr>
          <p:cNvPr id="399" name="Straight Connector 398">
            <a:extLst>
              <a:ext uri="{FF2B5EF4-FFF2-40B4-BE49-F238E27FC236}">
                <a16:creationId xmlns:a16="http://schemas.microsoft.com/office/drawing/2014/main" id="{7FFC5505-D3B9-CE59-A4CE-70DDF1463E8D}"/>
              </a:ext>
            </a:extLst>
          </p:cNvPr>
          <p:cNvCxnSpPr/>
          <p:nvPr>
            <p:custDataLst>
              <p:tags r:id="rId72"/>
            </p:custDataLst>
          </p:nvPr>
        </p:nvCxnSpPr>
        <p:spPr bwMode="gray">
          <a:xfrm>
            <a:off x="8766175" y="5962650"/>
            <a:ext cx="280988" cy="0"/>
          </a:xfrm>
          <a:prstGeom prst="line">
            <a:avLst/>
          </a:prstGeom>
          <a:ln w="19050" cap="rnd" cmpd="sng" algn="ctr">
            <a:solidFill>
              <a:srgbClr val="0077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0" name="Straight Connector 399">
            <a:extLst>
              <a:ext uri="{FF2B5EF4-FFF2-40B4-BE49-F238E27FC236}">
                <a16:creationId xmlns:a16="http://schemas.microsoft.com/office/drawing/2014/main" id="{104028CF-B0A1-3776-0A9E-B2FBBA4E10EC}"/>
              </a:ext>
            </a:extLst>
          </p:cNvPr>
          <p:cNvCxnSpPr/>
          <p:nvPr>
            <p:custDataLst>
              <p:tags r:id="rId73"/>
            </p:custDataLst>
          </p:nvPr>
        </p:nvCxnSpPr>
        <p:spPr bwMode="gray">
          <a:xfrm>
            <a:off x="9599613" y="5962650"/>
            <a:ext cx="280988" cy="0"/>
          </a:xfrm>
          <a:prstGeom prst="line">
            <a:avLst/>
          </a:prstGeom>
          <a:ln w="19050" cap="rnd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8" name="Diamond 507">
            <a:extLst>
              <a:ext uri="{FF2B5EF4-FFF2-40B4-BE49-F238E27FC236}">
                <a16:creationId xmlns:a16="http://schemas.microsoft.com/office/drawing/2014/main" id="{1A0CE076-C63A-CB72-E6B9-5523E3C2C4DF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8867775" y="5924550"/>
            <a:ext cx="76200" cy="76200"/>
          </a:xfrm>
          <a:prstGeom prst="diamond">
            <a:avLst/>
          </a:prstGeom>
          <a:solidFill>
            <a:srgbClr val="007770"/>
          </a:solidFill>
          <a:ln w="9525" cap="flat" cmpd="sng" algn="ctr">
            <a:solidFill>
              <a:srgbClr val="00777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1" name="Text Placeholder 2">
            <a:extLst>
              <a:ext uri="{FF2B5EF4-FFF2-40B4-BE49-F238E27FC236}">
                <a16:creationId xmlns:a16="http://schemas.microsoft.com/office/drawing/2014/main" id="{937504AD-2806-B8F4-5782-910F20FF8B22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9107488" y="5891213"/>
            <a:ext cx="381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BB59180-367A-4069-9E0C-FD0C832E5B82}" type="datetime'R''''''''e''''''s''u''''''''''l''''''''t'''''''''">
              <a:rPr lang="en-US" altLang="en-US" sz="1200" smtClean="0"/>
              <a:pPr/>
              <a:t>Result</a:t>
            </a:fld>
            <a:endParaRPr lang="en-US" sz="1200" dirty="0"/>
          </a:p>
        </p:txBody>
      </p:sp>
      <p:sp>
        <p:nvSpPr>
          <p:cNvPr id="402" name="Text Placeholder 2">
            <a:extLst>
              <a:ext uri="{FF2B5EF4-FFF2-40B4-BE49-F238E27FC236}">
                <a16:creationId xmlns:a16="http://schemas.microsoft.com/office/drawing/2014/main" id="{54A50511-8137-91F0-6AA8-1D657EEE3E68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9940925" y="5891213"/>
            <a:ext cx="3825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EEB5AA-3184-4BDD-B7C9-882CC272B213}" type="datetime'''''''''''''''''''''''T''a''''''''r''''''ge''''''t'''''">
              <a:rPr lang="en-US" altLang="en-US" sz="1200" smtClean="0"/>
              <a:pPr/>
              <a:t>Target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76603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0D37E-AFD5-48BA-904D-A699E76C0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33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0" imgW="383" imgH="384" progId="TCLayout.ActiveDocument.1">
                  <p:embed/>
                </p:oleObj>
              </mc:Choice>
              <mc:Fallback>
                <p:oleObj name="think-cell Slide" r:id="rId120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0D37E-AFD5-48BA-904D-A699E76C0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EF1B623F-1F0C-20F2-422E-1623C173AF08}"/>
              </a:ext>
            </a:extLst>
          </p:cNvPr>
          <p:cNvPicPr>
            <a:picLocks noChangeAspect="1"/>
          </p:cNvPicPr>
          <p:nvPr/>
        </p:nvPicPr>
        <p:blipFill>
          <a:blip r:embed="rId122"/>
          <a:stretch>
            <a:fillRect/>
          </a:stretch>
        </p:blipFill>
        <p:spPr>
          <a:xfrm>
            <a:off x="124355" y="5018371"/>
            <a:ext cx="5661660" cy="1219200"/>
          </a:xfrm>
          <a:prstGeom prst="rect">
            <a:avLst/>
          </a:prstGeom>
        </p:spPr>
      </p:pic>
      <p:sp>
        <p:nvSpPr>
          <p:cNvPr id="5" name="Text Box 58">
            <a:extLst>
              <a:ext uri="{FF2B5EF4-FFF2-40B4-BE49-F238E27FC236}">
                <a16:creationId xmlns:a16="http://schemas.microsoft.com/office/drawing/2014/main" id="{7B827F87-784E-46DA-B4AC-26C5F16C015D}"/>
              </a:ext>
            </a:extLst>
          </p:cNvPr>
          <p:cNvSpPr txBox="1"/>
          <p:nvPr/>
        </p:nvSpPr>
        <p:spPr>
          <a:xfrm>
            <a:off x="1078522" y="165505"/>
            <a:ext cx="9305316" cy="1044575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 Volume/Agency Specific Inquiries</a:t>
            </a:r>
          </a:p>
          <a:p>
            <a:pPr>
              <a:spcBef>
                <a:spcPts val="1200"/>
              </a:spcBef>
            </a:pP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FFCOM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58013157-8B72-4777-A1DA-B9BACD5A28D4}"/>
              </a:ext>
            </a:extLst>
          </p:cNvPr>
          <p:cNvSpPr txBox="1"/>
          <p:nvPr/>
        </p:nvSpPr>
        <p:spPr>
          <a:xfrm>
            <a:off x="164150" y="1501757"/>
            <a:ext cx="11863701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 Month Trends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D4B0DAF-6DD7-4B10-8D9C-0B8AAD6563B0}"/>
              </a:ext>
            </a:extLst>
          </p:cNvPr>
          <p:cNvPicPr>
            <a:picLocks noChangeAspect="1"/>
          </p:cNvPicPr>
          <p:nvPr/>
        </p:nvPicPr>
        <p:blipFill>
          <a:blip r:embed="rId123"/>
          <a:stretch>
            <a:fillRect/>
          </a:stretch>
        </p:blipFill>
        <p:spPr>
          <a:xfrm>
            <a:off x="130031" y="354555"/>
            <a:ext cx="942331" cy="654302"/>
          </a:xfrm>
          <a:prstGeom prst="rect">
            <a:avLst/>
          </a:prstGeom>
        </p:spPr>
      </p:pic>
      <p:graphicFrame>
        <p:nvGraphicFramePr>
          <p:cNvPr id="173" name="Chart 172">
            <a:extLst>
              <a:ext uri="{FF2B5EF4-FFF2-40B4-BE49-F238E27FC236}">
                <a16:creationId xmlns:a16="http://schemas.microsoft.com/office/drawing/2014/main" id="{346D626E-3996-2D3A-E0FE-3CBBC3DFB72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0802455"/>
              </p:ext>
            </p:extLst>
          </p:nvPr>
        </p:nvGraphicFramePr>
        <p:xfrm>
          <a:off x="3065463" y="2649538"/>
          <a:ext cx="2938462" cy="1258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4"/>
          </a:graphicData>
        </a:graphic>
      </p:graphicFrame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9FC9ABE-CB0B-D725-FEDA-1AFF3FC3AE2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181350" y="3876674"/>
            <a:ext cx="1651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3F323E-208D-40DA-88E0-44D00A3A16DD}" type="datetime'''''M''''''''''''''''a''''''''''''''''''''''''y''''-''2''3'''">
              <a:rPr lang="en-US" altLang="en-US" sz="1200" smtClean="0"/>
              <a:pPr/>
              <a:t>May-23</a:t>
            </a:fld>
            <a:endParaRPr lang="en-US" sz="12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87244ECD-ECFD-D89D-761C-DA74EBCF346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411538" y="3876676"/>
            <a:ext cx="1651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756101-2ED0-4ADE-AA41-90BE6BE288D4}" type="datetime'''''''''''''''J''''u''''''n-''''2''''3'''''">
              <a:rPr lang="en-US" altLang="en-US" sz="1200" smtClean="0"/>
              <a:pPr/>
              <a:t>Jun-23</a:t>
            </a:fld>
            <a:endParaRPr lang="en-US" sz="1200" dirty="0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0E9FC4C8-8568-8E89-A3E0-BD97D0B207C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643313" y="3876675"/>
            <a:ext cx="1651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7A4F78D-0286-43A2-BAB9-50A9ADE5242B}" type="datetime'''''''''''''''''''''J''''''''''''u''''l-''''''2''''''''3'''">
              <a:rPr lang="en-US" altLang="en-US" sz="1200" smtClean="0"/>
              <a:pPr/>
              <a:t>Jul-23</a:t>
            </a:fld>
            <a:endParaRPr lang="en-US" sz="1200" dirty="0"/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82F554A9-08CC-6620-02ED-77323B513A8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873500" y="3876675"/>
            <a:ext cx="165100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8F18B7-31D0-46AB-8C02-9B3B77FE7412}" type="datetime'''A''''''u''''''''''g-''''''''''''''''''''''2''''''''''3'''''">
              <a:rPr lang="en-US" altLang="en-US" sz="1200" smtClean="0"/>
              <a:pPr/>
              <a:t>Aug-23</a:t>
            </a:fld>
            <a:endParaRPr lang="en-US" sz="1200" dirty="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3D7E089F-9664-F836-3178-72CAB009D5F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05275" y="3876675"/>
            <a:ext cx="165100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A29E89-B96A-46B5-B11F-BA205452A9CA}" type="datetime'''''S''''''''''e''''''''''''''p''''''''''''''''''-''''''2''3'">
              <a:rPr lang="en-US" altLang="en-US" sz="1200" smtClean="0"/>
              <a:pPr/>
              <a:t>Sep-23</a:t>
            </a:fld>
            <a:endParaRPr lang="en-US" sz="12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D64FB34-D8B2-66AB-BCB4-DA6A0216CA2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337050" y="3876675"/>
            <a:ext cx="165100" cy="41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74E2231-0CC9-4941-B552-62D51D3D47AA}" type="datetime'''''''''Oc''''''''t''''''''''-''''2''''''''''''''''''''3'">
              <a:rPr lang="en-US" altLang="en-US" sz="1200" smtClean="0"/>
              <a:pPr/>
              <a:t>Oct-23</a:t>
            </a:fld>
            <a:endParaRPr lang="en-US" sz="12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5D53381-936F-04EC-A4BF-61AC62630B7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567238" y="3876675"/>
            <a:ext cx="165100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3F61A7-D849-4634-85AD-85728A2B7911}" type="datetime'N''''''''''''''o''v-''''2''''''''''''''''''''3'''''''''">
              <a:rPr lang="en-US" altLang="en-US" sz="1200" smtClean="0"/>
              <a:pPr/>
              <a:t>Nov-23</a:t>
            </a:fld>
            <a:endParaRPr lang="en-US" sz="12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D93C115D-D127-7D81-3796-9889DB2B061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799013" y="3876675"/>
            <a:ext cx="165100" cy="436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D46100D-026A-467D-8562-817605CC5AB1}" type="datetime'D''''''''''e''''''''''''''''''''''''c''-''2''''3'''''''''''''">
              <a:rPr lang="en-US" altLang="en-US" sz="1200" smtClean="0"/>
              <a:pPr/>
              <a:t>Dec-23</a:t>
            </a:fld>
            <a:endParaRPr lang="en-US" sz="1200" dirty="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8B53093-42EB-7465-F3DF-B254169B7CA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029200" y="3876675"/>
            <a:ext cx="1651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C95AEFC-960B-415D-9463-C29A5ED522DA}" type="datetime'''''J''''''''''''''a''n''''''''''''-''''''''''''''2''4'">
              <a:rPr lang="en-US" altLang="en-US" sz="1200" smtClean="0"/>
              <a:pPr/>
              <a:t>Jan-24</a:t>
            </a:fld>
            <a:endParaRPr lang="en-US" sz="12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2C1F74C-6393-C0BE-3E25-A442CC66BD8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260975" y="3876674"/>
            <a:ext cx="1651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F1D616-95A0-4264-920F-489052DAE168}" type="datetime'''''''Fe''''''''''b''''''''-''''2''''4'''''''''''''''">
              <a:rPr lang="en-US" altLang="en-US" sz="1200" smtClean="0"/>
              <a:pPr/>
              <a:t>Feb-24</a:t>
            </a:fld>
            <a:endParaRPr lang="en-US" sz="12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061B8C24-862E-39F3-377B-84A1D620961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91163" y="3876675"/>
            <a:ext cx="1651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9667BC3-6025-4754-8231-90AC53F957D8}" type="datetime'''''Ma''''''''''''''''''''''''''''''r-''24'''''''''''">
              <a:rPr lang="en-US" altLang="en-US" sz="1200" smtClean="0"/>
              <a:pPr/>
              <a:t>Mar-24</a:t>
            </a:fld>
            <a:endParaRPr lang="en-US" sz="120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8B86A84A-17AF-C0BB-9688-007EFA1F104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181350" y="24225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622BAF-2C54-45F4-A90E-AAC39F5D0322}" type="datetime'''''''''''2''''''''''5''''''''''''.''0''''''''''''k'''''">
              <a:rPr lang="en-US" altLang="en-US" sz="1200" smtClean="0"/>
              <a:pPr/>
              <a:t>25.0k</a:t>
            </a:fld>
            <a:endParaRPr lang="en-US" sz="1200" dirty="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6ECADB09-7F96-4E09-271A-74E976547B4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411538" y="237648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7C0C5A-33A0-4DB6-8A41-E8C7DE9176EC}" type="datetime'''''2''''''''''''''6''''''''''''''''.''''''''2k'''''''">
              <a:rPr lang="en-US" altLang="en-US" sz="1200" smtClean="0"/>
              <a:pPr/>
              <a:t>26.2k</a:t>
            </a:fld>
            <a:endParaRPr lang="en-US" sz="1200" dirty="0"/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3E9DFF71-BC3D-F5AB-9F34-2E7EB64B1AD3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643313" y="23209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AB9B4B-AC1F-4097-BD65-8510D34CEA62}" type="datetime'''''''''''''27''''''''''''''''.''''''6''''''''''''''''k'">
              <a:rPr lang="en-US" altLang="en-US" sz="1200" smtClean="0"/>
              <a:pPr/>
              <a:t>27.6k</a:t>
            </a:fld>
            <a:endParaRPr lang="en-US" sz="1200" dirty="0"/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00B6D0BA-C100-DD7D-65CA-BA24D0FAE49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873500" y="23907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A8D1C7-18E5-4A4E-9F8F-65875F5E969C}" type="datetime'''''''''''25''''''''''''''''''''''''''.9''k'''''''''''">
              <a:rPr lang="en-US" altLang="en-US" sz="1200" smtClean="0"/>
              <a:pPr/>
              <a:t>25.9k</a:t>
            </a:fld>
            <a:endParaRPr lang="en-US" sz="1200" dirty="0"/>
          </a:p>
        </p:txBody>
      </p:sp>
      <p:sp>
        <p:nvSpPr>
          <p:cNvPr id="130" name="Text Placeholder 2">
            <a:extLst>
              <a:ext uri="{FF2B5EF4-FFF2-40B4-BE49-F238E27FC236}">
                <a16:creationId xmlns:a16="http://schemas.microsoft.com/office/drawing/2014/main" id="{DB0A6969-9BE6-DD88-9511-7F8FD934DA1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105275" y="246221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699340-1B50-4D0C-A251-779F17533D67}" type="datetime'''''''''''''''''''''24''''''''''''''''''''.''0k'''''''''">
              <a:rPr lang="en-US" altLang="en-US" sz="1200" smtClean="0"/>
              <a:pPr/>
              <a:t>24.0k</a:t>
            </a:fld>
            <a:endParaRPr lang="en-US" sz="12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998C3F37-48B7-D5CB-D2DD-2BF1FE08D1D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337050" y="248920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E9D6BD7-3F27-45D2-AB3E-77D8B05BF591}" type="datetime'''''''''''''2''3.''''''''''''''''''''''''''''4''''''''k'''''''">
              <a:rPr lang="en-US" altLang="en-US" sz="1200" smtClean="0"/>
              <a:pPr/>
              <a:t>23.4k</a:t>
            </a:fld>
            <a:endParaRPr lang="en-US" sz="12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C902FB1-9C72-CCD9-9F28-79FEEA1EBE9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567238" y="25939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BC2F8D-160A-42DE-A600-A4FA5B35F984}" type="datetime'''''''''''''''''''''''''''''''''2''''''''''''''0''''.7''k'">
              <a:rPr lang="en-US" altLang="en-US" sz="1200" smtClean="0"/>
              <a:pPr/>
              <a:t>20.7k</a:t>
            </a:fld>
            <a:endParaRPr lang="en-US" sz="12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522E8E80-2D36-FBB2-D9BA-CCEAD36B44D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799013" y="261778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61D74C0-1877-4CE8-893E-B656ED757D00}" type="datetime'''''2''''''''''0''''''''.''''1''k'''">
              <a:rPr lang="en-US" altLang="en-US" sz="1200" smtClean="0"/>
              <a:pPr/>
              <a:t>20.1k</a:t>
            </a:fld>
            <a:endParaRPr lang="en-US" sz="12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0123679F-CC40-E7DD-5F47-C9F2E6E5136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029200" y="256063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FFA3E9B-0076-4426-B83A-8FAA3A57B8CE}" type="datetime'2''''1''''''''''''''''''.''''''''''''''''6''''''''''k'''''''''">
              <a:rPr lang="en-US" altLang="en-US" sz="1200" smtClean="0"/>
              <a:pPr/>
              <a:t>21.6k</a:t>
            </a:fld>
            <a:endParaRPr lang="en-US" sz="1200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D921D1B-5A18-FD5E-8FE7-0CE90EC79A5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260975" y="255746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5BB1FF7-09CD-4CFF-B5E8-A433F3460E5D}" type="datetime'''2''1''''''.6''''''''''''''''k'''''''''">
              <a:rPr lang="en-US" altLang="en-US" sz="1200" smtClean="0"/>
              <a:pPr/>
              <a:t>21.6k</a:t>
            </a:fld>
            <a:endParaRPr lang="en-US" sz="120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73C74AE1-D0FF-BCEF-47C0-9B723DC459AB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491163" y="252571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5621200-2B8E-419F-959E-A75D9E12BC54}" type="datetime'''''2''''''''2''''''''''.''''''''''''''''''5''''''''k'''">
              <a:rPr lang="en-US" altLang="en-US" sz="1200" smtClean="0"/>
              <a:pPr/>
              <a:t>22.5k</a:t>
            </a:fld>
            <a:endParaRPr lang="en-US" sz="1200" dirty="0"/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D3078392-342B-4A14-965B-E53779660EB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722938" y="3876676"/>
            <a:ext cx="1651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C5298D3-7A84-4236-8875-4E63D3D58A06}" type="datetime'A''''''''''''''''pr''''''''-''24'''''''''''''''''''">
              <a:rPr lang="en-US" altLang="en-US" sz="1200" smtClean="0"/>
              <a:pPr/>
              <a:t>Apr-24</a:t>
            </a:fld>
            <a:endParaRPr lang="en-US" sz="1200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02521747-4EA7-EBA7-60B9-46E34230839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722938" y="247015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5A60D8-CB73-42DF-A62A-9891B3C4D492}" type="datetime'''''''''2''''''''''''''3''''''.''''''''9''''''''''''''k'''">
              <a:rPr lang="en-US" altLang="en-US" sz="1200" smtClean="0"/>
              <a:pPr/>
              <a:t>23.9k</a:t>
            </a:fld>
            <a:endParaRPr lang="en-US" sz="1200" dirty="0"/>
          </a:p>
        </p:txBody>
      </p:sp>
      <p:graphicFrame>
        <p:nvGraphicFramePr>
          <p:cNvPr id="187" name="Chart 186">
            <a:extLst>
              <a:ext uri="{FF2B5EF4-FFF2-40B4-BE49-F238E27FC236}">
                <a16:creationId xmlns:a16="http://schemas.microsoft.com/office/drawing/2014/main" id="{F56DA7B4-07FF-66E6-3922-6B85A449D368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488617629"/>
              </p:ext>
            </p:extLst>
          </p:nvPr>
        </p:nvGraphicFramePr>
        <p:xfrm>
          <a:off x="9104313" y="2649538"/>
          <a:ext cx="2938462" cy="1258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5"/>
          </a:graphicData>
        </a:graphic>
      </p:graphicFrame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6190254C-63EA-3137-CA9E-EDEF286647D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220200" y="3876674"/>
            <a:ext cx="1651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1D2424-C642-4E56-8E56-05F6BD44BA57}" type="datetime'''''M''''''''''''''''''''''''a''''y''''-''2''''''''''''3'''''">
              <a:rPr lang="en-US" altLang="en-US" sz="1200" smtClean="0"/>
              <a:pPr/>
              <a:t>May-23</a:t>
            </a:fld>
            <a:endParaRPr lang="en-US" sz="12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E29C0612-0AFE-B996-B33A-B76C1FA88F23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450388" y="3876676"/>
            <a:ext cx="1651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2939A2-C390-4E06-97DE-1092A6F04170}" type="datetime'''Ju''''''''''''''''''n''''''''''''''-''''''2''''''3'''">
              <a:rPr lang="en-US" altLang="en-US" sz="1200" smtClean="0"/>
              <a:pPr/>
              <a:t>Jun-23</a:t>
            </a:fld>
            <a:endParaRPr lang="en-US" sz="12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90D6C27A-2B60-467B-C5C7-9CCE4396404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682163" y="3876675"/>
            <a:ext cx="1651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95D499-A70E-4623-ABFE-E4B07300D170}" type="datetime'''''''''''J''''ul-''''''2''''''3'''''''''''''''">
              <a:rPr lang="en-US" altLang="en-US" sz="1200" smtClean="0"/>
              <a:pPr/>
              <a:t>Jul-23</a:t>
            </a:fld>
            <a:endParaRPr lang="en-US" sz="1200" dirty="0"/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59183E0F-2F9E-0EB4-0583-D09B06FA12E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912350" y="3876675"/>
            <a:ext cx="165100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B988CC-E08F-4D69-BBA9-FBE6C3FE7724}" type="datetime'A''''''''''u''''g''''''''''''-2''''3'''''">
              <a:rPr lang="en-US" altLang="en-US" sz="1200" smtClean="0"/>
              <a:pPr/>
              <a:t>Aug-23</a:t>
            </a:fld>
            <a:endParaRPr lang="en-US" sz="1200" dirty="0"/>
          </a:p>
        </p:txBody>
      </p: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A61E4EE9-FC3E-9FF2-7995-0C75440B927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0144125" y="3876675"/>
            <a:ext cx="165100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BD5222E-9627-4EA9-91DF-292274F38FB9}" type="datetime'''''''S''''''''''''''''e''''''''p-''''2''''''3'''''''">
              <a:rPr lang="en-US" altLang="en-US" sz="1200" smtClean="0"/>
              <a:pPr/>
              <a:t>Sep-23</a:t>
            </a:fld>
            <a:endParaRPr lang="en-US" sz="1200" dirty="0"/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6333F09A-AE56-74E1-7B04-F4A5E3860BA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375900" y="3876675"/>
            <a:ext cx="165100" cy="41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DF4C0D-C810-4D25-BF28-3D8A52F1A569}" type="datetime'''''''''''''''''O''''''ct''''''-2''''3'''''''''''''''">
              <a:rPr lang="en-US" altLang="en-US" sz="1200" smtClean="0"/>
              <a:pPr/>
              <a:t>Oct-23</a:t>
            </a:fld>
            <a:endParaRPr lang="en-US" sz="12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41685772-BE3E-26B1-D464-B2AD278CB65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0606088" y="3876675"/>
            <a:ext cx="165100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55BAAD-B2F1-4DA2-9BA1-06B2C3407A56}" type="datetime'''''''''''''Nov-''''''''2''''3'''''''''''''''''''''''''''''">
              <a:rPr lang="en-US" altLang="en-US" sz="1200" smtClean="0"/>
              <a:pPr/>
              <a:t>Nov-23</a:t>
            </a:fld>
            <a:endParaRPr lang="en-US" sz="120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EE58AE63-B2BC-C11A-1802-02E107E1999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837863" y="3876675"/>
            <a:ext cx="165100" cy="436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71FA0A5-07B6-4BE5-9B87-1A4FE8EEF276}" type="datetime'''D''e''''''''''''''''c''''''''''-2''''''''''3'''''''''''">
              <a:rPr lang="en-US" altLang="en-US" sz="1200" smtClean="0"/>
              <a:pPr/>
              <a:t>Dec-23</a:t>
            </a:fld>
            <a:endParaRPr lang="en-US" sz="1200" dirty="0"/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EE29A4AC-9FCC-452F-30B4-8245793C249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068050" y="3876675"/>
            <a:ext cx="1651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FD5D29-7F45-41AD-A448-E59219D728CC}" type="datetime'''''''''''''''''''J''an-''''24'''''">
              <a:rPr lang="en-US" altLang="en-US" sz="1200" smtClean="0"/>
              <a:pPr/>
              <a:t>Jan-24</a:t>
            </a:fld>
            <a:endParaRPr lang="en-US" sz="1200" dirty="0"/>
          </a:p>
        </p:txBody>
      </p:sp>
      <p:sp>
        <p:nvSpPr>
          <p:cNvPr id="128" name="Text Placeholder 2">
            <a:extLst>
              <a:ext uri="{FF2B5EF4-FFF2-40B4-BE49-F238E27FC236}">
                <a16:creationId xmlns:a16="http://schemas.microsoft.com/office/drawing/2014/main" id="{004E9F0D-3290-4792-0B4B-DA40262DC992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1299825" y="3876674"/>
            <a:ext cx="1651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F428C7-2776-4C99-98EB-E0BEF1384E5D}" type="datetime'''''''''''''''''''''F''e''''''''''''''''b''''-''''''24'''''">
              <a:rPr lang="en-US" altLang="en-US" sz="1200" smtClean="0"/>
              <a:pPr/>
              <a:t>Feb-24</a:t>
            </a:fld>
            <a:endParaRPr lang="en-US" sz="120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6FF540B-4AA0-5FD5-6506-AFD24C2D1BB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11530013" y="3876675"/>
            <a:ext cx="1651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89B3F6-5741-4D4B-9A90-DD402B62D9F2}" type="datetime'M''''a''''r''''''''''''-''''''''''''''''''2''4'''''''''''''">
              <a:rPr lang="en-US" altLang="en-US" sz="1200" smtClean="0"/>
              <a:pPr/>
              <a:t>Mar-24</a:t>
            </a:fld>
            <a:endParaRPr lang="en-US" sz="1200" dirty="0"/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345D71C8-6CA8-CC84-D4E5-408E5C14405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220200" y="239395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97C990-1DC8-4E47-AEED-52DC14AFB5B0}" type="datetime'2''''''''''''''''''''''''0''''''.''''''''''''''''''''7k'">
              <a:rPr lang="en-US" altLang="en-US" sz="1200" smtClean="0"/>
              <a:pPr/>
              <a:t>20.7k</a:t>
            </a:fld>
            <a:endParaRPr lang="en-US" sz="1200" dirty="0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2CF9A986-1E95-AE1A-FD0F-F8AD045E458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9450388" y="237013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F97D20-D477-4144-A98B-35EA4A792DE3}" type="datetime'2''''''''''''1''''''''''''''''''''''''''''''''''''''''.2k'''''">
              <a:rPr lang="en-US" altLang="en-US" sz="1200" smtClean="0"/>
              <a:pPr/>
              <a:t>21.2k</a:t>
            </a:fld>
            <a:endParaRPr lang="en-US" sz="1200" dirty="0"/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8B4F9978-6CBD-ADA8-09AB-786FD14471F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9682163" y="23209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C018FF8-9D16-4B09-8F55-6ED312070924}" type="datetime'2''''''''''2''''''.2''''''''''''''''''''''k'">
              <a:rPr lang="en-US" altLang="en-US" sz="1200" smtClean="0"/>
              <a:pPr/>
              <a:t>22.2k</a:t>
            </a:fld>
            <a:endParaRPr lang="en-US" sz="1200" dirty="0"/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5B6F19F9-65BC-D043-328A-0D4F8864468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912350" y="256381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B87BC5-35F8-40DC-BCF5-8D7C3A468707}" type="datetime'1''''''''''''''''''''''''7.2k'''''''''''''''''''">
              <a:rPr lang="en-US" altLang="en-US" sz="1200" smtClean="0"/>
              <a:pPr/>
              <a:t>17.2k</a:t>
            </a:fld>
            <a:endParaRPr lang="en-US" sz="12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B4BF5702-9B69-493D-938D-23FA87022A8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0144125" y="260826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52579A-0675-4153-A43F-E80E286CED27}" type="datetime'1''''''''''''''''''''''''''''''''6''''''''''''''.''4''''k'''">
              <a:rPr lang="en-US" altLang="en-US" sz="1200" smtClean="0"/>
              <a:pPr/>
              <a:t>16.4k</a:t>
            </a:fld>
            <a:endParaRPr lang="en-US" sz="1200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64C7D22E-FE71-8346-6A8B-BCCE734C030C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0375900" y="260985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319D6E-D3EB-476F-8B4C-540E77CBC8DE}" type="datetime'1''''''''6''''''''''''''''.''''''3''''''k'''''''''''">
              <a:rPr lang="en-US" altLang="en-US" sz="1200" smtClean="0"/>
              <a:pPr/>
              <a:t>16.3k</a:t>
            </a:fld>
            <a:endParaRPr lang="en-US" sz="1200" dirty="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5A262282-AA4F-2691-1334-7CF06DA0EFE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606088" y="269240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EBE8B4-8B7D-42B5-B7AD-97FB0F8C8969}" type="datetime'1''''''4''''''''''''.''''''''''''''''''7''''''k'''''''''''''''">
              <a:rPr lang="en-US" altLang="en-US" sz="1200" smtClean="0"/>
              <a:pPr/>
              <a:t>14.7k</a:t>
            </a:fld>
            <a:endParaRPr lang="en-US" sz="1200" dirty="0"/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1E95563A-161A-F388-D6A8-05A22880937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0837863" y="26955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44768B-162F-4D77-8D3A-0637F1EBA553}" type="datetime'''''''''''''''''''''''1''''''''4''.''6''''''''k'''''''''''''''">
              <a:rPr lang="en-US" altLang="en-US" sz="1200" smtClean="0"/>
              <a:pPr/>
              <a:t>14.6k</a:t>
            </a:fld>
            <a:endParaRPr lang="en-US" sz="1200" dirty="0"/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3CBA50EC-8157-24B9-3AC1-20A64EE1A3BF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1068050" y="269240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AA35C1-244A-4835-B4C3-152C9AF5CA00}" type="datetime'1''''''''4''''.''''''''''''''''''''''''''''''''''''7''k'''">
              <a:rPr lang="en-US" altLang="en-US" sz="1200" smtClean="0"/>
              <a:pPr/>
              <a:t>14.7k</a:t>
            </a:fld>
            <a:endParaRPr lang="en-US" sz="12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68675877-AA6B-0EB2-4A7A-588E2212467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1299825" y="269081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D2BC87-68E2-4CE0-9EBA-566D0B2DEC18}" type="datetime'1''''''''4''''''.''''''7''''''''''''''''''''''k'''">
              <a:rPr lang="en-US" altLang="en-US" sz="1200" smtClean="0"/>
              <a:pPr/>
              <a:t>14.7k</a:t>
            </a:fld>
            <a:endParaRPr lang="en-US" sz="12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CB151498-0B36-0FF7-49DB-790ACE461047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1530013" y="257810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C33299-4FC3-453B-B9A7-ADBF4AEBF85B}" type="datetime'''1''''''''''7''''''.''''''''''''0''''''k'''''''''''''">
              <a:rPr lang="en-US" altLang="en-US" sz="1200" smtClean="0"/>
              <a:pPr/>
              <a:t>17.0k</a:t>
            </a:fld>
            <a:endParaRPr lang="en-US" sz="1200" dirty="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3A6E87AF-E1F2-C08E-CB33-9D8ADE173A9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11761788" y="3876675"/>
            <a:ext cx="1651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94160FA-FE3D-4C93-A2FA-B07C8F5B7352}" type="datetime'''A''''''''''''''p''''''''r''''''''-''2''''''''''4'''">
              <a:rPr lang="en-US" altLang="en-US" sz="1200" smtClean="0"/>
              <a:pPr/>
              <a:t>Apr-24</a:t>
            </a:fld>
            <a:endParaRPr lang="en-US" sz="1200" dirty="0"/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7A6F50F3-F84B-08E1-E393-88A2EBADD77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1761788" y="255746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F1A972-6E7F-43F6-99E8-96B3EBFC7883}" type="datetime'''''1''7''''''''''''''''''''.''''''''''4''''k'">
              <a:rPr lang="en-US" altLang="en-US" sz="1200" smtClean="0"/>
              <a:pPr/>
              <a:t>17.4k</a:t>
            </a:fld>
            <a:endParaRPr lang="en-US" sz="1200" dirty="0"/>
          </a:p>
        </p:txBody>
      </p:sp>
      <p:graphicFrame>
        <p:nvGraphicFramePr>
          <p:cNvPr id="164" name="Chart 163">
            <a:extLst>
              <a:ext uri="{FF2B5EF4-FFF2-40B4-BE49-F238E27FC236}">
                <a16:creationId xmlns:a16="http://schemas.microsoft.com/office/drawing/2014/main" id="{6628D721-0EDC-D26E-20E8-EB4E2E99CD28}"/>
              </a:ext>
            </a:extLst>
          </p:cNvPr>
          <p:cNvGraphicFramePr/>
          <p:nvPr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2728325036"/>
              </p:ext>
            </p:extLst>
          </p:nvPr>
        </p:nvGraphicFramePr>
        <p:xfrm>
          <a:off x="109538" y="2649538"/>
          <a:ext cx="2938462" cy="1258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6"/>
          </a:graphicData>
        </a:graphic>
      </p:graphicFrame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A321323-2C4C-2167-68A7-B60C766BB3D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25425" y="3876674"/>
            <a:ext cx="1651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9D6D8F-FB38-4C1A-831A-7FA396D759A5}" type="datetime'''M''''''''a''''''y-2''3'''''''''''''''''">
              <a:rPr lang="en-US" altLang="en-US" sz="1200" smtClean="0"/>
              <a:pPr/>
              <a:t>May-23</a:t>
            </a:fld>
            <a:endParaRPr lang="en-US" sz="12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28F9CDB-79D1-9419-42CA-EBC66895D4A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55613" y="3876676"/>
            <a:ext cx="1651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4897A3-3A6A-4F3E-B668-6A35C9E35B0E}" type="datetime'''J''''''''u''''''''''''''n''-''''''''2''''3'''''''''''''">
              <a:rPr lang="en-US" altLang="en-US" sz="1200" smtClean="0"/>
              <a:pPr/>
              <a:t>Jun-23</a:t>
            </a:fld>
            <a:endParaRPr lang="en-US" sz="12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FE9258F-A945-F4FF-832B-478FD9BAC76D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687388" y="3876675"/>
            <a:ext cx="1651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C10A10-5E7B-4BCD-B623-3F8880614D13}" type="datetime'J''''''''u''''''''l''''''''''-''''''''''2''''''''''''3'''">
              <a:rPr lang="en-US" altLang="en-US" sz="1200" smtClean="0"/>
              <a:pPr/>
              <a:t>Jul-23</a:t>
            </a:fld>
            <a:endParaRPr lang="en-US" sz="1200" dirty="0"/>
          </a:p>
        </p:txBody>
      </p:sp>
      <p:sp>
        <p:nvSpPr>
          <p:cNvPr id="134" name="Text Placeholder 2">
            <a:extLst>
              <a:ext uri="{FF2B5EF4-FFF2-40B4-BE49-F238E27FC236}">
                <a16:creationId xmlns:a16="http://schemas.microsoft.com/office/drawing/2014/main" id="{4B21D98E-CBDB-7AFB-94BD-6B7A23D60EC2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17575" y="3876675"/>
            <a:ext cx="165100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D5DFA1-3F79-4B60-95BD-5CA485D4BA59}" type="datetime'''''''''''Au''''''''''g''''''''''''''''''''''''''-2''3'">
              <a:rPr lang="en-US" altLang="en-US" sz="1200" smtClean="0"/>
              <a:pPr/>
              <a:t>Aug-23</a:t>
            </a:fld>
            <a:endParaRPr lang="en-US" sz="12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E57A07F-6746-6404-6ACC-31B88A8A6B3A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149350" y="3876675"/>
            <a:ext cx="165100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6B8338-F3F0-44CE-B8E6-D418292D6CBE}" type="datetime'''''''''Se''p''''''''''''''''''-''2''3'''''''''''''''''">
              <a:rPr lang="en-US" altLang="en-US" sz="1200" smtClean="0"/>
              <a:pPr/>
              <a:t>Sep-23</a:t>
            </a:fld>
            <a:endParaRPr lang="en-US" sz="1200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34BD6AF-79B7-0201-A9E6-DEFEE9B380F3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381125" y="3876675"/>
            <a:ext cx="165100" cy="41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A874167-3E37-4BD0-83E9-24A33E2F19F6}" type="datetime'O''''''''''''c''t''''''''''''''''''''-''''''2''''3'''''''''''">
              <a:rPr lang="en-US" altLang="en-US" sz="1200" smtClean="0"/>
              <a:pPr/>
              <a:t>Oct-23</a:t>
            </a:fld>
            <a:endParaRPr lang="en-US" sz="12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8B78C31-BB5C-89ED-34D3-7C1F9D71DB92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611313" y="3876675"/>
            <a:ext cx="165100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C945CF9-31E7-44EB-AF77-9CCA53E41010}" type="datetime'N''''''''''''''''''''''''''ov''''''''''''-2''''3'''''''">
              <a:rPr lang="en-US" altLang="en-US" sz="1200" smtClean="0"/>
              <a:pPr/>
              <a:t>Nov-23</a:t>
            </a:fld>
            <a:endParaRPr lang="en-US" sz="12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4041F47-DFC6-9E3F-6F9D-DC51588D95FB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843088" y="3876675"/>
            <a:ext cx="165100" cy="436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30D0E2-C2D0-4E1E-8228-6B08E68253C4}" type="datetime'''''''D''''''''''''''''''''e''''''c''-''''''''''2''''''3'">
              <a:rPr lang="en-US" altLang="en-US" sz="1200" smtClean="0"/>
              <a:pPr/>
              <a:t>Dec-23</a:t>
            </a:fld>
            <a:endParaRPr lang="en-US" sz="1200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9E51F57-4F87-30DB-F9BB-D534DA6D388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2073275" y="3876675"/>
            <a:ext cx="1651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0A9988-ACA5-486F-9C99-47726567D79A}" type="datetime'''J''''a''''''''''''n''''''''''-''''24'''''''''''">
              <a:rPr lang="en-US" altLang="en-US" sz="1200" smtClean="0"/>
              <a:pPr/>
              <a:t>Jan-24</a:t>
            </a:fld>
            <a:endParaRPr lang="en-US" sz="12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BD2C9D2-45AB-B0EE-41F5-E56B76D40A0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305050" y="3876674"/>
            <a:ext cx="1651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F237AC-4018-40FF-8A82-12E9E96B8FF2}" type="datetime'F''''''''''e''''''''b''''-''''''''''''''''''''''''''2''4'">
              <a:rPr lang="en-US" altLang="en-US" sz="1200" smtClean="0"/>
              <a:pPr/>
              <a:t>Feb-24</a:t>
            </a:fld>
            <a:endParaRPr lang="en-US" sz="12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B2F615D-61D1-3EE6-4C63-ABEC5F01E6F7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2535238" y="3876675"/>
            <a:ext cx="1651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DC40183-C7BB-4307-8127-A51FCA4CA24B}" type="datetime'''''M''''''''''''''''''''''''''''''a''''''''r''''-2''''''''4'">
              <a:rPr lang="en-US" altLang="en-US" sz="1200" smtClean="0"/>
              <a:pPr/>
              <a:t>Mar-24</a:t>
            </a:fld>
            <a:endParaRPr lang="en-US" sz="1200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F4881349-7857-4045-CB14-ED7B5F3DF7AB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225425" y="243205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96B84E-BE72-45C5-B18E-D66DC52E148E}" type="datetime'''''''''''23.''''''''''''''''''''''''''''''6k'''''''''''''''">
              <a:rPr lang="en-US" altLang="en-US" sz="1200" smtClean="0"/>
              <a:pPr/>
              <a:t>23.6k</a:t>
            </a:fld>
            <a:endParaRPr lang="en-US" sz="1200" dirty="0"/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32634C8-6FE7-6BB1-8251-847A1565A477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55613" y="23717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9E4E03-41A1-46F5-B230-E1A8456EEDB0}" type="datetime'''''''''''2''''5''''''''''''.''''''1''''k'''''''''''''''''''">
              <a:rPr lang="en-US" altLang="en-US" sz="1200" smtClean="0"/>
              <a:pPr/>
              <a:t>25.1k</a:t>
            </a:fld>
            <a:endParaRPr lang="en-US" sz="1200" dirty="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06946997-7AFB-6327-F61E-B25533F6C115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87388" y="23209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56B5266-5FF5-4BD4-9CAA-A08E26B0BC78}" type="datetime'''''''''''''2''6''''''''''''.''''''''''''''''''3''''k'">
              <a:rPr lang="en-US" altLang="en-US" sz="1200" smtClean="0"/>
              <a:pPr/>
              <a:t>26.3k</a:t>
            </a:fld>
            <a:endParaRPr lang="en-US" sz="12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E36F4C8D-EC2C-AF10-792A-6324A776E04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917575" y="250983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7E55FC-6A14-4E47-B19D-252C164B683F}" type="datetime'2''''''''1''''''''''''''''''''''''.''''''''7''''''''''k'''''">
              <a:rPr lang="en-US" altLang="en-US" sz="1200" smtClean="0"/>
              <a:pPr/>
              <a:t>21.7k</a:t>
            </a:fld>
            <a:endParaRPr lang="en-US" sz="1200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466AA20-EB86-7A1C-8579-3543FFC14509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1149350" y="259556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76A319-907E-4D3B-8962-39EF23CB22C1}" type="datetime'''''''''''''19''''''.''''''''''7''''''''''''''k'''''''''''">
              <a:rPr lang="en-US" altLang="en-US" sz="1200" smtClean="0"/>
              <a:pPr/>
              <a:t>19.7k</a:t>
            </a:fld>
            <a:endParaRPr lang="en-US" sz="12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CE85BCC-DA74-38B9-C409-63F89574AA2B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1381125" y="25812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5AB91B-FD07-418B-81BF-225A8DFCF2A4}" type="datetime'''''''''2''''''0''''''.''''''''0''''k'">
              <a:rPr lang="en-US" altLang="en-US" sz="1200" smtClean="0"/>
              <a:pPr/>
              <a:t>20.0k</a:t>
            </a:fld>
            <a:endParaRPr lang="en-US" sz="120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8323779-3C77-06EC-7E74-E6B35BABC75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1611313" y="264001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4F7BC3-1DC9-45C3-B76C-506D91249ABB}" type="datetime'''''''''''''''''''1''''''8''.6''''''''''''''''k'''''''">
              <a:rPr lang="en-US" altLang="en-US" sz="1200" smtClean="0"/>
              <a:pPr/>
              <a:t>18.6k</a:t>
            </a:fld>
            <a:endParaRPr lang="en-US" sz="12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63BB7A4-7E0B-7C45-80AE-587ED115AADD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1843088" y="26765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5F5E03-FE2E-48B8-A6AF-17F6C85F5228}" type="datetime'''1''7.''''''''''''''''''''''7''''''''k'''''''''''''''''''''''">
              <a:rPr lang="en-US" altLang="en-US" sz="1200" smtClean="0"/>
              <a:pPr/>
              <a:t>17.7k</a:t>
            </a:fld>
            <a:endParaRPr lang="en-US" sz="1200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BE79AA66-A658-FB5E-FB38-1F294A52589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2073275" y="270668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B610BA-4BDB-448F-AC03-CC69DE5BDEDF}" type="datetime'''''1''''''''7''''.''''''''''''0''''''''k'''">
              <a:rPr lang="en-US" altLang="en-US" sz="1200" smtClean="0"/>
              <a:pPr/>
              <a:t>17.0k</a:t>
            </a:fld>
            <a:endParaRPr lang="en-US" sz="12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F070BDA-EC70-8B53-0816-3E05697FB1EF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2305050" y="27209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68B47D-D946-4C19-B149-3A3CCBD0DF14}" type="datetime'''''''''''''''1''''''''6''''''''''''''''.7''k'''">
              <a:rPr lang="en-US" altLang="en-US" sz="1200" smtClean="0"/>
              <a:pPr/>
              <a:t>16.7k</a:t>
            </a:fld>
            <a:endParaRPr lang="en-US" sz="12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8099BDDE-97A2-D2F0-D81B-420C034F20A3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2535238" y="262413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ACC0D18-6153-46CE-9BF4-36966379B589}" type="datetime'''''''''''''''''''''''1''''9''''.''''''''''0''''''k'''">
              <a:rPr lang="en-US" altLang="en-US" sz="1200" smtClean="0"/>
              <a:pPr/>
              <a:t>19.0k</a:t>
            </a:fld>
            <a:endParaRPr lang="en-US" sz="1200" dirty="0"/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8C0FF730-4E3E-41D5-C213-7111241771AA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2767013" y="3876676"/>
            <a:ext cx="1651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22AA73B-E2B5-47B1-A2D3-ED828B89B856}" type="datetime'''''A''pr-''2''''4'''''''''''''''">
              <a:rPr lang="en-US" altLang="en-US" sz="1200" smtClean="0"/>
              <a:pPr/>
              <a:t>Apr-24</a:t>
            </a:fld>
            <a:endParaRPr lang="en-US" sz="1200" dirty="0"/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902C2402-C4BD-8EDF-25C8-90ADD0A03FD0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2767013" y="259715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0B5698-0BA4-4C46-AC30-BC5856B35AF5}" type="datetime'''19.''''6''''''''''''''''''k'''''''''''''">
              <a:rPr lang="en-US" altLang="en-US" sz="1200" smtClean="0"/>
              <a:pPr/>
              <a:t>19.6k</a:t>
            </a:fld>
            <a:endParaRPr lang="en-US" sz="12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CF60A65-2FA0-41C4-8F42-71E3769BFB68}"/>
              </a:ext>
            </a:extLst>
          </p:cNvPr>
          <p:cNvSpPr txBox="1"/>
          <p:nvPr/>
        </p:nvSpPr>
        <p:spPr>
          <a:xfrm>
            <a:off x="658019" y="1939702"/>
            <a:ext cx="19065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ysClr val="windowText" lastClr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ergency Calls</a:t>
            </a:r>
            <a:endParaRPr lang="en-US" sz="1200" dirty="0">
              <a:solidFill>
                <a:sysClr val="windowText" lastClr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A66769F-384C-4E4C-8EC8-419111D9428D}"/>
              </a:ext>
            </a:extLst>
          </p:cNvPr>
          <p:cNvSpPr txBox="1"/>
          <p:nvPr/>
        </p:nvSpPr>
        <p:spPr>
          <a:xfrm>
            <a:off x="3502818" y="1856730"/>
            <a:ext cx="19065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ysClr val="windowText" lastClr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n-Emergency Calls Processed by Jeffcom</a:t>
            </a:r>
            <a:endParaRPr lang="en-US" sz="1200" dirty="0">
              <a:solidFill>
                <a:sysClr val="windowText" lastClr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9815E26-2ABF-4A16-94FE-6C4A68E6FBBD}"/>
              </a:ext>
            </a:extLst>
          </p:cNvPr>
          <p:cNvSpPr txBox="1"/>
          <p:nvPr/>
        </p:nvSpPr>
        <p:spPr>
          <a:xfrm>
            <a:off x="9615488" y="1885723"/>
            <a:ext cx="190658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ysClr val="windowText" lastClr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going Calls</a:t>
            </a:r>
            <a:endParaRPr lang="en-US" sz="1200" dirty="0">
              <a:solidFill>
                <a:sysClr val="windowText" lastClr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3AC7CFA-23AF-445A-96F6-EA0D2FF657A3}"/>
              </a:ext>
            </a:extLst>
          </p:cNvPr>
          <p:cNvSpPr txBox="1"/>
          <p:nvPr/>
        </p:nvSpPr>
        <p:spPr>
          <a:xfrm>
            <a:off x="149069" y="4416407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 Volume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64B2B8D7-E8A8-4757-99A4-69F1EAA48321}"/>
              </a:ext>
            </a:extLst>
          </p:cNvPr>
          <p:cNvSpPr txBox="1"/>
          <p:nvPr/>
        </p:nvSpPr>
        <p:spPr>
          <a:xfrm>
            <a:off x="6343650" y="4416407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pril </a:t>
            </a: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quiries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45" name="Chart 144">
            <a:extLst>
              <a:ext uri="{FF2B5EF4-FFF2-40B4-BE49-F238E27FC236}">
                <a16:creationId xmlns:a16="http://schemas.microsoft.com/office/drawing/2014/main" id="{E9933C81-45F4-841D-3D21-FC1077F6A9BF}"/>
              </a:ext>
            </a:extLst>
          </p:cNvPr>
          <p:cNvGraphicFramePr/>
          <p:nvPr>
            <p:custDataLst>
              <p:tags r:id="rId77"/>
            </p:custDataLst>
            <p:extLst>
              <p:ext uri="{D42A27DB-BD31-4B8C-83A1-F6EECF244321}">
                <p14:modId xmlns:p14="http://schemas.microsoft.com/office/powerpoint/2010/main" val="4033748867"/>
              </p:ext>
            </p:extLst>
          </p:nvPr>
        </p:nvGraphicFramePr>
        <p:xfrm>
          <a:off x="6261100" y="4746625"/>
          <a:ext cx="5621338" cy="180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16ED222C-BE37-1D08-BF7E-D131AE2BBE04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6464300" y="6337300"/>
            <a:ext cx="668338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D482A1-7CEC-4D8A-957E-92471962A002}" type="datetime'Ot''h''er'' (''''''Serv''ic''''''e ''Agenc''i''e''s)''''''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Other (Service Agencies)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B0880886-62C0-5AA0-11B4-1A12280C6771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7261225" y="6337300"/>
            <a:ext cx="8921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6C24EC-C4E8-43B9-BA49-41D42922A6E4}" type="datetime'J''''ef''fc''''''o ''S''''''''''h''''''''er''if''''f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Jeffco Sheriff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3B65F91C-54C4-0316-82DB-2CB3454E70EC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10085388" y="6337300"/>
            <a:ext cx="69850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F3AB01-7ACE-4DA3-AE9E-C22ACF6B7912}" type="datetime'W''''''e''''''s''''''''''''t'''''''' Metro'''''''' Fi''''re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est Metro Fire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786C259-6C1E-237B-24A0-B980E0283E5D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8304213" y="6337300"/>
            <a:ext cx="627063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2604F9-49EB-41F5-9481-0C5B02CAC354}" type="datetime'Whe''''''''''a''''''''''''t R''i''''''dg''e'''''' P''D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Wheat Ridge PD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8BB98B9-3195-BC71-0830-E8C7C89B36E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0996613" y="6337300"/>
            <a:ext cx="695325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D694BE-3704-41F5-92A9-93C8E9FC777A}" type="datetime'Ev''''''er''g''r''''''''een ''F''''''''ir''e''''''''''''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Evergreen Fire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6734175" y="4822825"/>
            <a:ext cx="127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BCB066F-14A1-4924-AD63-D09BC2F8EE06}" type="datetime'''''''''''''''''''''''''''4'''''''''''''''''''''''''">
              <a:rPr lang="en-US" altLang="en-US" sz="12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7643813" y="5141913"/>
            <a:ext cx="127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215468-9966-4064-876E-42A3FCB25CB8}" type="datetime'''''''''''''''''''''3''''''''''''''''''''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3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0C1764A-69A2-F04A-957F-0289083BC6B4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9170988" y="6337300"/>
            <a:ext cx="7112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4AF1B4-787D-4116-9C02-CE92D29E052F}" type="datetime'''''Ar''''''v''a''''d''a ''''''''''''P''''''''''''''D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rvada PD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8553450" y="5459413"/>
            <a:ext cx="1270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E92B214-D3D3-4790-BC44-187405EE1388}" type="datetime'''''''''''''''''''''''''''''''''2'''''''''''''''''''''''''''''">
              <a:rPr lang="en-US" altLang="en-US" sz="12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B1E326C2-2EEE-43D5-A109-95DDFA51B73B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10390188" y="4784725"/>
            <a:ext cx="214313" cy="160338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5181FAC4-6DC3-041D-2CC1-374608CD8D5F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10390188" y="500856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F83DE65-1B4F-815C-7155-32FC819C40A5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10390188" y="5232400"/>
            <a:ext cx="214313" cy="160338"/>
          </a:xfrm>
          <a:prstGeom prst="rect">
            <a:avLst/>
          </a:prstGeom>
          <a:solidFill>
            <a:srgbClr val="00777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F83AC835-A6EF-4A7F-8442-CDE1F97238F5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10655300" y="4792663"/>
            <a:ext cx="4889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E9C5BB-5008-4720-B3EF-0F565930BC5F}" type="datetime'''''''''Ag''''''''''''e''''''n''''''c''''''''''y''''''''''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Agency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005E4CB4-2A31-DB1F-88CB-2FBBBD0C091B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10655300" y="5016500"/>
            <a:ext cx="4476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31BC26C-DF80-4CCF-8804-692CA2CB141D}" type="datetime'''''''''''''''''''C''''it''''i''''''''''''''''''''z''''''''en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itizen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A162EB60-F907-7F32-BE30-A5DD5012E9B2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10655300" y="5240338"/>
            <a:ext cx="108426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EC913B-06C9-4443-9A5D-6316DDD80E41}" type="datetime'C''o''''m''m''e''''''''''nda''''''''ti''''o''''n''s'">
              <a:rPr lang="en-US" altLang="en-US" sz="12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Commendations</a:t>
            </a:fld>
            <a:endParaRPr lang="en-US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0" name="Slide Number Placeholder 209">
            <a:extLst>
              <a:ext uri="{FF2B5EF4-FFF2-40B4-BE49-F238E27FC236}">
                <a16:creationId xmlns:a16="http://schemas.microsoft.com/office/drawing/2014/main" id="{2DBE4665-8B4A-4508-AC03-BDBC6AA30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4953" y="6502400"/>
            <a:ext cx="2743200" cy="365125"/>
          </a:xfrm>
        </p:spPr>
        <p:txBody>
          <a:bodyPr/>
          <a:lstStyle/>
          <a:p>
            <a:fld id="{7E42DF0F-B536-4D3B-A493-5032C5E2E097}" type="slidenum">
              <a:rPr lang="en-US" smtClean="0"/>
              <a:t>7</a:t>
            </a:fld>
            <a:endParaRPr lang="en-US"/>
          </a:p>
        </p:txBody>
      </p:sp>
      <p:graphicFrame>
        <p:nvGraphicFramePr>
          <p:cNvPr id="180" name="Chart 179">
            <a:extLst>
              <a:ext uri="{FF2B5EF4-FFF2-40B4-BE49-F238E27FC236}">
                <a16:creationId xmlns:a16="http://schemas.microsoft.com/office/drawing/2014/main" id="{6E5B6ACB-65B2-7217-1E2A-2B6B717FD616}"/>
              </a:ext>
            </a:extLst>
          </p:cNvPr>
          <p:cNvGraphicFramePr/>
          <p:nvPr>
            <p:custDataLst>
              <p:tags r:id="rId93"/>
            </p:custDataLst>
            <p:extLst>
              <p:ext uri="{D42A27DB-BD31-4B8C-83A1-F6EECF244321}">
                <p14:modId xmlns:p14="http://schemas.microsoft.com/office/powerpoint/2010/main" val="2351600449"/>
              </p:ext>
            </p:extLst>
          </p:nvPr>
        </p:nvGraphicFramePr>
        <p:xfrm>
          <a:off x="6081713" y="2649538"/>
          <a:ext cx="2938462" cy="1258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CC94F927-3930-8FBB-F700-00F80B097138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6197600" y="3876674"/>
            <a:ext cx="165100" cy="46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2FB4751-D6AA-4132-939D-72F3FC1534F7}" type="datetime'''M''a''''''''''''''y''-''''''''''''''''''''''2''''3'''''''''">
              <a:rPr lang="en-US" altLang="en-US" sz="1200" smtClean="0"/>
              <a:pPr/>
              <a:t>May-23</a:t>
            </a:fld>
            <a:endParaRPr lang="en-US" sz="1200" dirty="0"/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6F17E07D-B1C5-FB93-9E06-748C948F3B84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6427788" y="3876676"/>
            <a:ext cx="165100" cy="40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55D328-DB3D-4B88-8A25-E35C44E20399}" type="datetime'''''J''u''''''''n''''''-''''2''''''''''''''3'''''''''">
              <a:rPr lang="en-US" altLang="en-US" sz="1200" smtClean="0"/>
              <a:pPr/>
              <a:t>Jun-23</a:t>
            </a:fld>
            <a:endParaRPr lang="en-US" sz="120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7946676C-3436-BEA2-4ED0-A4B3DECD2026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6659563" y="3876675"/>
            <a:ext cx="1651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5B2A58-96F5-4230-9AE1-FB510505A3F4}" type="datetime'Ju''''''''l-''2''''''''''''''''''''''''''3'''''''''''''">
              <a:rPr lang="en-US" altLang="en-US" sz="1200" smtClean="0"/>
              <a:pPr/>
              <a:t>Jul-23</a:t>
            </a:fld>
            <a:endParaRPr lang="en-US" sz="1200" dirty="0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7AD10AD6-42C2-4283-AA98-7E6D620D7841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6889750" y="3876675"/>
            <a:ext cx="165100" cy="44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DDEFDD-A6FE-4743-BE0A-007A4CC3C8B9}" type="datetime'Au''''g''''''''''''''''-''''''''''''''23'''''''''''''''''''''">
              <a:rPr lang="en-US" altLang="en-US" sz="1200" smtClean="0"/>
              <a:pPr/>
              <a:t>Aug-23</a:t>
            </a:fld>
            <a:endParaRPr lang="en-US" sz="120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DA86F810-5DF9-CBB1-F1F5-C2AD168769DF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7121525" y="3876675"/>
            <a:ext cx="165100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CE1627-096E-4C7C-A8EC-159183100E72}" type="datetime'''''''S''''''''e''''''''''''p''-''''2''''''''''3'">
              <a:rPr lang="en-US" altLang="en-US" sz="1200" smtClean="0"/>
              <a:pPr/>
              <a:t>Sep-23</a:t>
            </a:fld>
            <a:endParaRPr lang="en-US" sz="1200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083CFBB9-44A9-ECE4-4C8E-DC2ED54DB4C5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7353300" y="3876675"/>
            <a:ext cx="165100" cy="41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30AD68-2048-4A67-A341-5C9080B37D3D}" type="datetime'''''''O''''''''c''''t''''''''''-''''''2''''''''''''''''''3'">
              <a:rPr lang="en-US" altLang="en-US" sz="1200" smtClean="0"/>
              <a:pPr/>
              <a:t>Oct-23</a:t>
            </a:fld>
            <a:endParaRPr lang="en-US" sz="1200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13EDC3FB-EAD9-A2B2-8DFB-9D4FBEC4B5A3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7583488" y="3876675"/>
            <a:ext cx="165100" cy="449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7D29CA-760A-4266-A8D8-5BDC00D1962F}" type="datetime'''''N''''''''''''o''''''''''''''''''''v-''23'''''''''''''''">
              <a:rPr lang="en-US" altLang="en-US" sz="1200" smtClean="0"/>
              <a:pPr/>
              <a:t>Nov-23</a:t>
            </a:fld>
            <a:endParaRPr lang="en-US" sz="1200" dirty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04EED9C4-BB27-D966-447B-295E7E5DB4D0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7815263" y="3876675"/>
            <a:ext cx="165100" cy="436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CF3C5C4-9CD3-4F05-94B3-99344CE57CEE}" type="datetime'D''''''''''''''''''''''''''''''''e''''c''''''''-''''23'''">
              <a:rPr lang="en-US" altLang="en-US" sz="1200" smtClean="0"/>
              <a:pPr/>
              <a:t>Dec-23</a:t>
            </a:fld>
            <a:endParaRPr lang="en-US" sz="12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0A10125-A1F9-AD63-5CE4-891EE0CF5D36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8045450" y="3876675"/>
            <a:ext cx="165100" cy="40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D39A07-A96B-470F-ACAF-2A066D0AE568}" type="datetime'''J''''''''''''''''''''''''''''''an''''''''-''''2''''4'''">
              <a:rPr lang="en-US" altLang="en-US" sz="1200" smtClean="0"/>
              <a:pPr/>
              <a:t>Jan-24</a:t>
            </a:fld>
            <a:endParaRPr lang="en-US" sz="12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A77E1D9-03F8-D6DC-BE8C-492B2DB70EB0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8277225" y="3876674"/>
            <a:ext cx="16510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B78BCF-5B55-4F76-A80E-EA3F38D90525}" type="datetime'''''''Fe''b''''''''''''''''-''''2''4'''''''''''''''''''''''''">
              <a:rPr lang="en-US" altLang="en-US" sz="1200" smtClean="0"/>
              <a:pPr/>
              <a:t>Feb-24</a:t>
            </a:fld>
            <a:endParaRPr lang="en-US" sz="1200" dirty="0"/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CFD4D196-473C-340C-8B94-2E623BCF43C9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8507413" y="3876675"/>
            <a:ext cx="1651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E3C94F7-9F18-4826-9D2C-8F3761D70B8E}" type="datetime'''''M''''''''''''a''r-24'''''''">
              <a:rPr lang="en-US" altLang="en-US" sz="1200" smtClean="0"/>
              <a:pPr/>
              <a:t>Mar-24</a:t>
            </a:fld>
            <a:endParaRPr lang="en-US" sz="1200" dirty="0"/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32CB703-5963-C57B-5D4D-6A2C18AD0509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6197600" y="236220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010D1E-DF97-4B70-AD99-CCBAA418EDD2}" type="datetime'''''''''''3''''''''''''''''''''''''''2.''''''''''4k'">
              <a:rPr lang="en-US" altLang="en-US" sz="1200" smtClean="0"/>
              <a:pPr/>
              <a:t>32.4k</a:t>
            </a:fld>
            <a:endParaRPr lang="en-US" sz="1200" dirty="0"/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E6B2D068-E691-A10D-15D8-F8578EFD4C29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6427788" y="23272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5DC9480-7BD8-48C6-AC30-8EC9B1973658}" type="datetime'''''''3''3''''''.''''5''''''''''''''''k'">
              <a:rPr lang="en-US" altLang="en-US" sz="1200" smtClean="0"/>
              <a:pPr/>
              <a:t>33.5k</a:t>
            </a:fld>
            <a:endParaRPr lang="en-US" sz="1200" dirty="0"/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8E856E10-A2C3-3BD4-C02F-F3D2D343989C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6659563" y="23209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FD4BC9-9206-4288-8945-252389DBD8AB}" type="datetime'''''''''''''''''''3''''''3.''''''''''''''''''''''''7k'''''">
              <a:rPr lang="en-US" altLang="en-US" sz="1200" smtClean="0"/>
              <a:pPr/>
              <a:t>33.7k</a:t>
            </a:fld>
            <a:endParaRPr lang="en-US" sz="1200" dirty="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F4E87B54-979D-3FF4-CD65-15E354C7960B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6889750" y="2363788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72154A-EEF6-4CCA-8EFD-8BFEC339F0AA}" type="datetime'''3''''''''''''''''''''''''''2''''''.''''''''''''4k'''''''">
              <a:rPr lang="en-US" altLang="en-US" sz="1200" smtClean="0"/>
              <a:pPr/>
              <a:t>32.4k</a:t>
            </a:fld>
            <a:endParaRPr lang="en-US" sz="1200" dirty="0"/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6414DE83-49A9-C649-08EC-1FB84B54E2EA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7121525" y="24415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74A6AA-8C24-43C0-B04B-9D13EA3356D2}" type="datetime'''''''29''''''''''''''''.''9''''''k'''''''''''''''''''">
              <a:rPr lang="en-US" altLang="en-US" sz="1200" smtClean="0"/>
              <a:pPr/>
              <a:t>29.9k</a:t>
            </a:fld>
            <a:endParaRPr lang="en-US" sz="1200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A21D7036-40FA-BB0C-4CA6-E61688467FC8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7353300" y="246221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1C283F-2D6A-4390-BB71-11365F5456D5}" type="datetime'2''''''''''''''''''''''''9.''''''3''''''''''''''''k'''''''">
              <a:rPr lang="en-US" altLang="en-US" sz="1200" smtClean="0"/>
              <a:pPr/>
              <a:t>29.3k</a:t>
            </a:fld>
            <a:endParaRPr lang="en-US" sz="12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3BEFDDE-D63B-813D-AA9B-DD3758088EEA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7583488" y="259715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7FB0362-089F-4F4E-A438-B12276F01B8F}" type="datetime'''''''''''''''2''''''''5''''''''''''''''''''''''.2''''''k'''">
              <a:rPr lang="en-US" altLang="en-US" sz="1200" smtClean="0"/>
              <a:pPr/>
              <a:t>25.2k</a:t>
            </a:fld>
            <a:endParaRPr lang="en-US" sz="12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68A51B41-5F1C-51E6-B7D6-26BE9B80F9FE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7815263" y="2628900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E99F49-1CCD-4343-B595-A122BFBF4F78}" type="datetime'''''2''''4''''''.''2''''''''''''''''''''''''''''''''k'''">
              <a:rPr lang="en-US" altLang="en-US" sz="1200" smtClean="0"/>
              <a:pPr/>
              <a:t>24.2k</a:t>
            </a:fld>
            <a:endParaRPr lang="en-US" sz="1200" dirty="0"/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47D2C780-DDE5-CAE0-5CF8-3918C5739A3C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8045450" y="26384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4DDA8E3-406E-4EB2-A605-7AD67E329296}" type="datetime'''2''''''''''''''''''3.''''''9''''''''''''''k'''''''''''''''''">
              <a:rPr lang="en-US" altLang="en-US" sz="1200" smtClean="0"/>
              <a:pPr/>
              <a:t>23.9k</a:t>
            </a:fld>
            <a:endParaRPr lang="en-US" sz="1200" dirty="0"/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C28B988E-6795-274F-9B01-EC3956E8C7D3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8277225" y="258762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C929AB-249C-47D8-9CC5-ADE43CFABEEF}" type="datetime'2''''''''''''''''''5''''''''.''''''''''''''''''4''''''''k'''">
              <a:rPr lang="en-US" altLang="en-US" sz="1200" smtClean="0"/>
              <a:pPr/>
              <a:t>25.4k</a:t>
            </a:fld>
            <a:endParaRPr lang="en-US" sz="12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181377DE-B62A-6CF8-5F69-D447D7A4EA46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8507413" y="2519363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C0EB1B-879A-454D-9DBB-B3B767AC4538}" type="datetime'''''''''''2''''''''''''''''''''''''''''''''''''7.5''''k'">
              <a:rPr lang="en-US" altLang="en-US" sz="1200" smtClean="0"/>
              <a:pPr/>
              <a:t>27.5k</a:t>
            </a:fld>
            <a:endParaRPr lang="en-US" sz="1200" dirty="0"/>
          </a:p>
        </p:txBody>
      </p:sp>
      <p:sp>
        <p:nvSpPr>
          <p:cNvPr id="174" name="Text Placeholder 2">
            <a:extLst>
              <a:ext uri="{FF2B5EF4-FFF2-40B4-BE49-F238E27FC236}">
                <a16:creationId xmlns:a16="http://schemas.microsoft.com/office/drawing/2014/main" id="{BE7D369D-FE1F-F329-EF37-274393F404C7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8739188" y="3876676"/>
            <a:ext cx="165100" cy="422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A280CF-3A0B-4334-B3FD-E86F89577C49}" type="datetime'''A''''''''''''''pr''''''''''-''''''''''''24'''''''''''''">
              <a:rPr lang="en-US" altLang="en-US" sz="1200" smtClean="0"/>
              <a:pPr/>
              <a:t>Apr-24</a:t>
            </a:fld>
            <a:endParaRPr lang="en-US" sz="1200" dirty="0"/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3FCC73A5-96F5-4123-9A4F-494A345ED1CA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8739188" y="2466975"/>
            <a:ext cx="165100" cy="385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vert270" wrap="none" lIns="0" tIns="22225" rIns="0" bIns="2222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CF6BE6-5BAE-4910-9DFA-BC2B5041D79D}" type="datetime'''''''''2''''''''''''''''9''''''''''''''.''''''''''2''k'''''''">
              <a:rPr lang="en-US" altLang="en-US" sz="1200" smtClean="0"/>
              <a:pPr/>
              <a:t>29.2k</a:t>
            </a:fld>
            <a:endParaRPr lang="en-US" sz="1200" dirty="0"/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9B0722AF-3DCB-CD84-F2F6-AA0AE2D38159}"/>
              </a:ext>
            </a:extLst>
          </p:cNvPr>
          <p:cNvSpPr txBox="1"/>
          <p:nvPr/>
        </p:nvSpPr>
        <p:spPr>
          <a:xfrm>
            <a:off x="6636544" y="1864852"/>
            <a:ext cx="19065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>
                <a:solidFill>
                  <a:sysClr val="windowText" lastClr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n-Emergency Calls Received </a:t>
            </a:r>
            <a:r>
              <a:rPr lang="en-US" sz="1200" b="1" dirty="0">
                <a:solidFill>
                  <a:sysClr val="windowText" lastClr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y</a:t>
            </a:r>
            <a:r>
              <a:rPr lang="en-US" sz="1200" b="1" dirty="0">
                <a:solidFill>
                  <a:sysClr val="windowText" lastClr="00000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ot</a:t>
            </a:r>
            <a:endParaRPr lang="en-US" sz="1200" dirty="0">
              <a:solidFill>
                <a:sysClr val="windowText" lastClr="000000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04469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3A0D37E-AFD5-48BA-904D-A699E76C0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22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83" imgH="384" progId="TCLayout.ActiveDocument.1">
                  <p:embed/>
                </p:oleObj>
              </mc:Choice>
              <mc:Fallback>
                <p:oleObj name="think-cell Slide" r:id="rId10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3A0D37E-AFD5-48BA-904D-A699E76C0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58">
            <a:extLst>
              <a:ext uri="{FF2B5EF4-FFF2-40B4-BE49-F238E27FC236}">
                <a16:creationId xmlns:a16="http://schemas.microsoft.com/office/drawing/2014/main" id="{7B827F87-784E-46DA-B4AC-26C5F16C015D}"/>
              </a:ext>
            </a:extLst>
          </p:cNvPr>
          <p:cNvSpPr txBox="1"/>
          <p:nvPr/>
        </p:nvSpPr>
        <p:spPr>
          <a:xfrm>
            <a:off x="1078522" y="165505"/>
            <a:ext cx="9305316" cy="1044575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werEngage Survey Results</a:t>
            </a:r>
          </a:p>
          <a:p>
            <a:pPr>
              <a:spcBef>
                <a:spcPts val="1200"/>
              </a:spcBef>
            </a:pP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FFCOM 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3AC7CFA-23AF-445A-96F6-EA0D2FF657A3}"/>
              </a:ext>
            </a:extLst>
          </p:cNvPr>
          <p:cNvSpPr txBox="1"/>
          <p:nvPr/>
        </p:nvSpPr>
        <p:spPr>
          <a:xfrm>
            <a:off x="149069" y="4044175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rvey Response Rate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0" name="Slide Number Placeholder 209">
            <a:extLst>
              <a:ext uri="{FF2B5EF4-FFF2-40B4-BE49-F238E27FC236}">
                <a16:creationId xmlns:a16="http://schemas.microsoft.com/office/drawing/2014/main" id="{2DBE4665-8B4A-4508-AC03-BDBC6AA30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14953" y="6502400"/>
            <a:ext cx="2743200" cy="365125"/>
          </a:xfrm>
        </p:spPr>
        <p:txBody>
          <a:bodyPr/>
          <a:lstStyle/>
          <a:p>
            <a:fld id="{7E42DF0F-B536-4D3B-A493-5032C5E2E097}" type="slidenum">
              <a:rPr lang="en-US" smtClean="0"/>
              <a:t>8</a:t>
            </a:fld>
            <a:endParaRPr lang="en-US"/>
          </a:p>
        </p:txBody>
      </p:sp>
      <p:pic>
        <p:nvPicPr>
          <p:cNvPr id="1026" name="Picture 2" descr="PowerEngage (Formerly CueHit) logo">
            <a:extLst>
              <a:ext uri="{FF2B5EF4-FFF2-40B4-BE49-F238E27FC236}">
                <a16:creationId xmlns:a16="http://schemas.microsoft.com/office/drawing/2014/main" id="{A81E4029-9E9C-E6AC-16A9-5E0666C1E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1" y="120499"/>
            <a:ext cx="1009783" cy="1009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6D6AA5F-2727-5417-09CB-42026894EFF8}"/>
              </a:ext>
            </a:extLst>
          </p:cNvPr>
          <p:cNvSpPr txBox="1"/>
          <p:nvPr/>
        </p:nvSpPr>
        <p:spPr>
          <a:xfrm>
            <a:off x="149069" y="1429420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itizen Positive Satisfaction Score (CPSS)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5CB710-EFB8-7D57-0F83-AB63CD63F5E0}"/>
              </a:ext>
            </a:extLst>
          </p:cNvPr>
          <p:cNvSpPr txBox="1"/>
          <p:nvPr/>
        </p:nvSpPr>
        <p:spPr>
          <a:xfrm>
            <a:off x="6343650" y="1429420"/>
            <a:ext cx="5584982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rvey Responses</a:t>
            </a:r>
            <a:endParaRPr lang="en-US" sz="1400" dirty="0">
              <a:solidFill>
                <a:schemeClr val="bg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279A25D7-A8D5-B1B9-E2EC-1A6B83B4B1D4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7929571"/>
              </p:ext>
            </p:extLst>
          </p:nvPr>
        </p:nvGraphicFramePr>
        <p:xfrm>
          <a:off x="1620838" y="4244975"/>
          <a:ext cx="2443162" cy="2646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727450" y="4960938"/>
            <a:ext cx="8096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E55C3F6-1511-4FE6-8BE3-BAAAD611499B}" type="datetime'''''''R''e''''sp''''''''''''onde''''''''''''d'''''''''''''''''">
              <a:rPr lang="en-US" altLang="en-US" sz="1400" smtClean="0"/>
              <a:pPr/>
              <a:t>Responded</a:t>
            </a:fld>
            <a:endParaRPr lang="en-US" sz="1400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CBE2952-1408-2663-AB1D-8F843E822072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14413" y="5983288"/>
            <a:ext cx="9398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DA1685-7AB8-49C3-9117-8E8A62D7417C}" type="datetime'N''o R''''''''''''''e''''s''p''on''''se'''''''">
              <a:rPr lang="en-US" altLang="en-US" sz="1400" smtClean="0"/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No Response</a:t>
            </a:fld>
            <a:endParaRPr lang="en-US" sz="140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F98C636-EF27-FEB4-FBF6-CD76FF11F78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6605044"/>
              </p:ext>
            </p:extLst>
          </p:nvPr>
        </p:nvGraphicFramePr>
        <p:xfrm>
          <a:off x="407988" y="1704975"/>
          <a:ext cx="4708525" cy="235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062" name="Rectangle 1061">
            <a:extLst>
              <a:ext uri="{FF2B5EF4-FFF2-40B4-BE49-F238E27FC236}">
                <a16:creationId xmlns:a16="http://schemas.microsoft.com/office/drawing/2014/main" id="{AAB4FE2D-13B1-774A-33CC-02765FFAA2DA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839913" y="2082800"/>
            <a:ext cx="250825" cy="187325"/>
          </a:xfrm>
          <a:prstGeom prst="rect">
            <a:avLst/>
          </a:prstGeom>
          <a:solidFill>
            <a:srgbClr val="00777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0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141538" y="2093913"/>
            <a:ext cx="16002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effectLst/>
              </a:rPr>
              <a:t>Positive CPSS Answers</a:t>
            </a:r>
            <a:endParaRPr lang="en-US" sz="1400" dirty="0"/>
          </a:p>
        </p:txBody>
      </p:sp>
      <p:sp>
        <p:nvSpPr>
          <p:cNvPr id="1065" name="TextBox 1064">
            <a:extLst>
              <a:ext uri="{FF2B5EF4-FFF2-40B4-BE49-F238E27FC236}">
                <a16:creationId xmlns:a16="http://schemas.microsoft.com/office/drawing/2014/main" id="{D8CB5779-D0CF-D5F7-B11D-0A8746941D75}"/>
              </a:ext>
            </a:extLst>
          </p:cNvPr>
          <p:cNvSpPr txBox="1"/>
          <p:nvPr/>
        </p:nvSpPr>
        <p:spPr>
          <a:xfrm>
            <a:off x="6343650" y="1905674"/>
            <a:ext cx="555164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Everyone I interacted with handled the situation perfectly, and I definitely felt more confident in my local team after this situation.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Very professional. Very patient with my difficulty hearing her voice, with all the traffic noise around me.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She was thorough in her questioning. Made sure there were no serious injuries so she didn't send an ambulance when it was not needed.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Made me feel comfortable while asking the important questions.  Very humble and non-judgmental!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“The 911 operator was calm, clear, professional, respectful, asked important questions, and repeated some questions in order for me to provide more complete responses. She also did a great job assuring me that help was on the way. She was excellent.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43212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6B547BD-D5B0-4162-8AC1-23C66C4D55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6963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52" imgH="454" progId="TCLayout.ActiveDocument.1">
                  <p:embed/>
                </p:oleObj>
              </mc:Choice>
              <mc:Fallback>
                <p:oleObj name="think-cell Slide" r:id="rId64" imgW="452" imgH="4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6B547BD-D5B0-4162-8AC1-23C66C4D5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Picture 31">
            <a:extLst>
              <a:ext uri="{FF2B5EF4-FFF2-40B4-BE49-F238E27FC236}">
                <a16:creationId xmlns:a16="http://schemas.microsoft.com/office/drawing/2014/main" id="{DA403D48-FEFF-89A4-CB02-86B5ABECB9C8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6433801" y="1836333"/>
            <a:ext cx="5242560" cy="208026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F4A2CF4-0CF3-47E4-B23B-AC49D50CFFA1}"/>
              </a:ext>
            </a:extLst>
          </p:cNvPr>
          <p:cNvPicPr/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653"/>
            <a:ext cx="1219200" cy="1294765"/>
          </a:xfrm>
          <a:prstGeom prst="rect">
            <a:avLst/>
          </a:prstGeom>
        </p:spPr>
      </p:pic>
      <p:sp>
        <p:nvSpPr>
          <p:cNvPr id="6" name="Text Box 58">
            <a:extLst>
              <a:ext uri="{FF2B5EF4-FFF2-40B4-BE49-F238E27FC236}">
                <a16:creationId xmlns:a16="http://schemas.microsoft.com/office/drawing/2014/main" id="{B47CE71D-7819-4857-B121-737A3BD39B4D}"/>
              </a:ext>
            </a:extLst>
          </p:cNvPr>
          <p:cNvSpPr txBox="1"/>
          <p:nvPr/>
        </p:nvSpPr>
        <p:spPr>
          <a:xfrm>
            <a:off x="1066067" y="26991"/>
            <a:ext cx="5697416" cy="130016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3501" b="1" kern="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est Metro Fire</a:t>
            </a:r>
            <a:endParaRPr lang="en-US" sz="1600" b="1" kern="0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1C3ADD2-FBA2-4990-9325-1C3084F656B8}"/>
              </a:ext>
            </a:extLst>
          </p:cNvPr>
          <p:cNvCxnSpPr>
            <a:cxnSpLocks/>
          </p:cNvCxnSpPr>
          <p:nvPr/>
        </p:nvCxnSpPr>
        <p:spPr>
          <a:xfrm flipV="1">
            <a:off x="0" y="1301750"/>
            <a:ext cx="12192000" cy="6668"/>
          </a:xfrm>
          <a:prstGeom prst="line">
            <a:avLst/>
          </a:prstGeom>
          <a:ln w="38100">
            <a:gradFill flip="none" rotWithShape="1">
              <a:gsLst>
                <a:gs pos="0">
                  <a:schemeClr val="tx1"/>
                </a:gs>
                <a:gs pos="46000">
                  <a:schemeClr val="accent3">
                    <a:lumMod val="95000"/>
                    <a:lumOff val="5000"/>
                  </a:schemeClr>
                </a:gs>
                <a:gs pos="100000">
                  <a:schemeClr val="accent3">
                    <a:lumMod val="60000"/>
                  </a:schemeClr>
                </a:gs>
              </a:gsLst>
              <a:lin ang="0" scaled="1"/>
              <a:tileRect/>
            </a:gra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3FFAAE3-4831-09D9-5919-56072C1B60B1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744492"/>
              </p:ext>
            </p:extLst>
          </p:nvPr>
        </p:nvGraphicFramePr>
        <p:xfrm>
          <a:off x="338138" y="1716088"/>
          <a:ext cx="5324475" cy="1906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25AC75A-3DBA-4ABE-AC86-1CE5256F61BE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46113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6E701-918D-4A1B-97F4-36E75122DEBD}" type="datetime'''''0'''''''''':''''''''''''''00&#10;''2'''':''''0''''''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0:00
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DF3224-EFE6-477E-A4FE-BC72536000D5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082675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BBCFF5-170F-4C3C-BD37-0694FDAAC1BF}" type="datetime'''''''''''''''''''''''''2'''''':''0''0&#10;4'''':0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:00
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F57F73A-899F-4994-9FFE-52D028C366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19238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8E005-BA4A-4DF2-A360-11BCFFBEE8F7}" type="datetime'''''4'''':0''''''''''''0''''''''''&#10;''''''''6:''''0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4:00
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10CBB17-3761-4288-BCC5-43E8A3E9B8A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55800" y="3509963"/>
            <a:ext cx="26670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3BA4A-FC66-4054-BC9E-12F7F1DD0424}" type="datetime'6'''''':''''''''''''''''''''''''00''''''&#10;''''''''''8:''0''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6:00
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86D1D7DB-75DF-4EB5-BF12-3B0F914F060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574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AC2EAE-FB54-4C17-9BC6-CBC01BF736B3}" type="datetime'8:''0''''''''''''0''&#10;''''''1''0'''''':''''0''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8:00
1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8BD6F20-E5C6-442A-81AC-2DDF2B0EA25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7940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99A7D3-06B9-4463-B8AC-D44E03B38197}" type="datetime'1''''''''''''''''''''''''0'':''0''0''''&#10;12'''''':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0:00
1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AF2E4BE3-825E-4943-AF85-F410BBE02D9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22897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FDFA8B-9CC7-4538-B4DB-235F18DCD7F6}" type="datetime'''12'''''''':00''&#10;1''4'''''''':''''''0''''''0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2:00
14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82C3FA9-B102-49A3-9ABE-767C053A560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6553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ECB8EA-97B8-4C6D-A508-CEDB0B017DB4}" type="datetime'''1''''''''''''''''''''''''4'''':00&#10;''''16'''':''''''''0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4:00
16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F21DD55-4A60-49A9-A66B-FDD64EEF924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102100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DF81E2-1377-4241-8E77-5DCC33AB2573}" type="datetime'1''''''''''''''''''6:''0''''''0''''''&#10;''''18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6:00
18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EEE7103-5AE1-47C4-9BB2-5692F40A0C7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38663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F4755-3D18-4A5B-B30D-7AD27D175D79}" type="datetime'''''''18:0''''''''''''''0''''''&#10;20'''''''''':0''''''''''''''0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18:00
2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B9D02C9-95E6-498A-95D4-E2FC18135B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975225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D3A56-7C9D-4396-9D94-C9F5E11B1089}" type="datetime'''''''''''''2''''''''''''0:0''0''''&#10;2''''2'''''':0''''0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0:00
22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F076BF07-A2E5-4626-88CC-FB14E1A0A72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11788" y="3509963"/>
            <a:ext cx="3365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BBE4A-07B7-44A0-BC9A-80F05BB2B6AB}" type="datetime'''''''''2''''''''''''''''2'''':0''''''''''0&#10;0'''''':''00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22:00
0:00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F66D543-1212-4042-AA81-691C8D2FF42C}"/>
              </a:ext>
            </a:extLst>
          </p:cNvPr>
          <p:cNvSpPr txBox="1"/>
          <p:nvPr/>
        </p:nvSpPr>
        <p:spPr>
          <a:xfrm>
            <a:off x="103188" y="1513863"/>
            <a:ext cx="6042025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483">
              <a:defRPr sz="2000" b="0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sng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iority Dispatched Calls Per Time of D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266CB46-9FEF-4BCD-8922-A745A5B58C1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820738" y="2055813"/>
            <a:ext cx="142875" cy="10636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C9484DF-536D-4C88-9E3B-A9F578479DAC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820738" y="2220913"/>
            <a:ext cx="142875" cy="106363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412C1A-18FA-4771-9810-3062F008A625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820738" y="2386013"/>
            <a:ext cx="142875" cy="106363"/>
          </a:xfrm>
          <a:prstGeom prst="rect">
            <a:avLst/>
          </a:prstGeom>
          <a:solidFill>
            <a:srgbClr val="7F7F7F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BC3CB169-FB0F-4DFA-B618-5D28FED99F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14413" y="2060575"/>
            <a:ext cx="6000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FAA62D-9C6D-4A99-ABE8-59AB275E5C8B}" type="datetime'P''''''''''1 -'' ''''E''ch''o C''''''''''a''l''''''''''l''s'">
              <a:rPr lang="en-US" altLang="en-US" sz="800" b="1" smtClean="0"/>
              <a:pPr/>
              <a:t>P1 - Ech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B043A74-191B-4682-B7D2-B6CF3A3E1A6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14413" y="2225675"/>
            <a:ext cx="10382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11D1596-2FD5-4861-8A84-FB48D527424F}" type="datetime'P''2'''' - ''''Charl''ie ''&amp;'''' ''''D''''elta Ca''ll''s'">
              <a:rPr lang="en-US" altLang="en-US" sz="800" b="1" smtClean="0"/>
              <a:pPr/>
              <a:t>P2 - Charlie &amp; Delta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D9C87F4B-14A5-4B23-A3FF-70EC9F35E94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14413" y="2390775"/>
            <a:ext cx="100806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99F64E-A579-4FA5-A048-DD93A0CBE74A}" type="datetime'P''3 - ''Alpha'' ''''''''''&amp; Bravo'' ''C''''a''''ll''''s'''''">
              <a:rPr lang="en-US" altLang="en-US" sz="800" b="1" smtClean="0"/>
              <a:pPr/>
              <a:t>P3 - Alpha &amp; Bravo Calls</a:t>
            </a:fld>
            <a:endParaRPr lang="en-US" sz="800" b="1" dirty="0">
              <a:sym typeface="Tahoma" panose="020B060403050404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21A2A89-FB4E-4B9A-840D-28523B0B457F}"/>
              </a:ext>
            </a:extLst>
          </p:cNvPr>
          <p:cNvSpPr/>
          <p:nvPr/>
        </p:nvSpPr>
        <p:spPr>
          <a:xfrm>
            <a:off x="350838" y="1476375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DEDE4E3C-AAB6-EDBF-C2C3-1C27961CA41B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194509231"/>
              </p:ext>
            </p:extLst>
          </p:nvPr>
        </p:nvGraphicFramePr>
        <p:xfrm>
          <a:off x="706438" y="4583113"/>
          <a:ext cx="4956175" cy="176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8A2F2B85-E777-410E-A4B2-06361A0E5B8F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19100" y="6019800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FCFCD7C-1FA3-4C46-917A-00B74108EF6C}" type="datetime'''''''''''''''2''''''''''.''''''''''''''''''''''''6k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6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19100" y="5843589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C0FD464-00F2-4A31-BC1D-601C6539914D}" type="datetime'''''''''''''''''''''''''''2''''.''''''''7''''''''''''''k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7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E621A99F-79E6-44D1-808B-D950A3930E7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19100" y="5665788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0A2BCC-A994-4E21-9076-BE40E3795356}" type="datetime'''''''''''''2''''''''.''''''''''''''8''''''''''''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8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19100" y="5487989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5FB1E30-82B6-4FC8-97DD-B664B7982DEF}" type="datetime'''2.''''''''''''''''''''''9''''k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28987B1A-D33C-4BEB-B42D-5DE09D6199E9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9100" y="531177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8E76CAE-3A8B-4ECC-B0CA-89A69E013113}" type="datetime'''''''''''''''''''''''''3''''''''.''''''''''0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19100" y="5133976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5832F24-D645-49CF-8970-205B28635396}" type="datetime'''''''''''''''''''''3''''''''''.1''''''k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420A3C3-1A1B-41EB-AFAA-911B5CDBCB4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19100" y="4956175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61BD31-2383-4BAB-B166-10F4DCD49442}" type="datetime'''3''.''''''''2''''''''''k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19100" y="4779964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19C8F942-CB71-4E11-9BD5-72BCFDEA0858}" type="datetime'''''''''''3''''''.''''''''''''''3''''k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9100" y="4602163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E3E245-0B82-4DCB-8D7D-D44F27CC583D}" type="datetime'''''''''''''''''3''''''''''.4''''''''k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.4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19100" y="6197601"/>
            <a:ext cx="2413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3354914-27B3-4D5D-B1AE-256D72E21F95}" type="datetime'2''''''''''''''''''''.''''''5''''k''''''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5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ACE69F8-F1AC-EF80-230F-4DB2F50E9D3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0738" y="4978400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6783D1-A100-42E9-B803-A9C793E06019}" type="datetime'''3.''''''''''''1''''''k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76263" y="6303964"/>
            <a:ext cx="427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D390A4-E973-4130-AE80-0AF31A98B84B}" type="datetime'''Ma''''''y''''''''''''''''''''''-''''''''''''''2''3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y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AEA4991-6EDC-4585-53B3-43FCB8287F4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85850" y="53673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361EAE-F084-48F8-9989-2EDFA85FDE56}" type="datetime'''''''''''''''''3''''''''''''''''''''''.''''''0''''''''''k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27113" y="6303964"/>
            <a:ext cx="3937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B6641E-B674-497D-BC23-37F5C98409A8}" type="datetime'''''''''J''''''u''''''''''''''''''n''-''2''''3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n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3EAC238-37CE-FE97-F754-1E4E04FB6278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522413" y="45688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153FED-D609-4917-950A-2EC259826148}" type="datetime'''''''''''''''''''''''''''''''''''''''3''''.3''''''k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485900" y="6303964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F8E3119-F0DF-4F68-8E24-56C5D5B0FDAF}" type="datetime'''''''''''''J''u''''''''''l''''''''''''''''''-''''2''3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ul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D8EE27B5-3F46-02AD-6192-2B83C625A7E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957388" y="46323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0624D7-4E52-451F-8F6E-F7263DE93FF3}" type="datetime'''''''3''''''''.3''''k''''''''''''''''''''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02AD7D81-8D13-B15E-2594-BD31882D675C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392363" y="47974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FEA241-099B-423C-A682-8B76C1B6A3D7}" type="datetime'''''''''''''3''''''''''''''''''''''''.2''''''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327275" y="6303964"/>
            <a:ext cx="4064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065E29-EDA9-4723-97C1-E5960611595A}" type="datetime'''''''''''''''Sep''-''''''''''''''''''23''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p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4D13DFD-8B8D-47B0-DF09-93358F670D14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2828925" y="46640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00D25D-3E42-4AE7-9741-489B07E599E2}" type="datetime'''''''''''''''''''''3''''''''''''.''''''''3''k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771775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3379A53-3BFB-4F31-9209-51EEC5777588}" type="datetime'''''''O''''''''c''''''t''-''''''''''''2''''''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Oct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FC0B19CE-D222-373E-7B18-A491724F2CF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333750" y="48910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7A0268-2747-4ABD-8CF2-517AD4436F84}" type="datetime'''''''''''''''''3''.''''''''''''''''1''''''''''''''''''k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195638" y="6303964"/>
            <a:ext cx="4143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0E1858D-C883-49FD-9E1C-8CD1F31D1AD5}" type="datetime'''''No''''''''''''''''v-''''''''''''''''''''''''''''''2''''3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9FDD95CB-347D-31C2-8C7C-8885536C377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700463" y="534828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E6F347-0B9E-4402-9767-98604BAB11F8}" type="datetime'''''''''''''''''''3''''''''''''.''''''''0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0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633788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E24A8F-6FEC-4E35-8926-0BAB5200AB00}" type="datetime'D''''e''''''''''''''''''''''c''-''''''''''''''2''''3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E6B65AFA-ED65-790E-FD9D-900AB5F10F7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35438" y="4694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DFA334-FE46-423F-B237-5FC8634911CE}" type="datetime'''''''''''3.''''''''''''''''''''3''''''''''''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3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079875" y="6303964"/>
            <a:ext cx="3889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F5A2E5-62A5-4785-AA11-6AD031FCD7B5}" type="datetime'J''''a''''''''''''''''''''''''''''n''''''''''''''-2''''''4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n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0DD75451-1FE2-C8B1-4E2C-E9CB46E6123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570413" y="5583238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t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6A20D4-FCE3-41A4-B946-9A9ACD57112C}" type="datetime'2''''''''.''''''9''''''''''''''k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2.9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508500" y="6303964"/>
            <a:ext cx="401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B81C90-4684-4E4F-A969-74555DC7B368}" type="datetime'''F''''''e''''''''''''''''''b''-2''''''''''''''''''''''''''4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eb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1A4620F-C4D0-90F3-EA10-F65E2F65665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006975" y="496252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1B9DA2-8484-4ED0-9FEE-88AE4E404579}" type="datetime'''''''''''''''3.''''''''1''''''''''''k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1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940300" y="6303964"/>
            <a:ext cx="409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576195C-6266-4353-8185-412AB114D32F}" type="datetime'''M''a''r-''''2''''''''''''''4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A57A6B4-A47C-F48E-F4FB-B5045CD7D5D3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441950" y="4841875"/>
            <a:ext cx="2762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7464" tIns="0" rIns="17464" bIns="0" numCol="1" spcCol="0" rtlCol="0" anchor="b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FB190E-19A9-4249-91D3-0627D33DC137}" type="datetime'''''''3''''''''.''''2''''''''''''''k''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/>
              <a:t>3.2k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B341A37-AF80-1B81-094A-228262E1C609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384801" y="6303964"/>
            <a:ext cx="3905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67998A8-CC8C-4B0B-BD7E-D487493D8D3A}" type="datetime'''''''''''Ap''''r''''-''''''''''''''''''''''''''2''4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pr-24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887538" y="6303964"/>
            <a:ext cx="415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34D3668-B3FC-4776-BB3A-F6326999761E}" type="datetime'A''''''''''u''''g''''-''''2''''''3'''''''''''''''''''''''''">
              <a:rPr lang="en-US" altLang="en-US" sz="100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ug-23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4C71B650-5C52-48B0-85D7-82C22FA4B22B}"/>
              </a:ext>
            </a:extLst>
          </p:cNvPr>
          <p:cNvSpPr txBox="1">
            <a:spLocks/>
          </p:cNvSpPr>
          <p:nvPr/>
        </p:nvSpPr>
        <p:spPr>
          <a:xfrm>
            <a:off x="1727200" y="4119562"/>
            <a:ext cx="2601913" cy="33813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Monthly Call Volume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1476AC4-694B-4D83-BFD8-8DCAA4BB1923}"/>
              </a:ext>
            </a:extLst>
          </p:cNvPr>
          <p:cNvSpPr/>
          <p:nvPr/>
        </p:nvSpPr>
        <p:spPr>
          <a:xfrm>
            <a:off x="360363" y="4081463"/>
            <a:ext cx="5505450" cy="248761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8B5667AB-609C-4AEA-83B3-24E395C8F420}"/>
              </a:ext>
            </a:extLst>
          </p:cNvPr>
          <p:cNvSpPr txBox="1">
            <a:spLocks/>
          </p:cNvSpPr>
          <p:nvPr/>
        </p:nvSpPr>
        <p:spPr>
          <a:xfrm>
            <a:off x="6116638" y="4100669"/>
            <a:ext cx="58737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Top Five Problem Natures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A8A86972-DB82-4414-B38B-651BFA59AAA2}"/>
              </a:ext>
            </a:extLst>
          </p:cNvPr>
          <p:cNvSpPr/>
          <p:nvPr/>
        </p:nvSpPr>
        <p:spPr>
          <a:xfrm>
            <a:off x="6284913" y="4080891"/>
            <a:ext cx="5513387" cy="24871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37BCFFE-2E8D-4926-BEE8-0720DF26B068}"/>
              </a:ext>
            </a:extLst>
          </p:cNvPr>
          <p:cNvSpPr txBox="1">
            <a:spLocks/>
          </p:cNvSpPr>
          <p:nvPr/>
        </p:nvSpPr>
        <p:spPr>
          <a:xfrm>
            <a:off x="6361113" y="1513655"/>
            <a:ext cx="53848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1" i="0" u="sng" strike="noStrike" spc="0" baseline="0">
                <a:solidFill>
                  <a:srgbClr val="002060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Daily Priority Call Volume and Entry to Assignment </a:t>
            </a: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76D5A471-E342-4112-9B61-678EA0C3F282}"/>
              </a:ext>
            </a:extLst>
          </p:cNvPr>
          <p:cNvSpPr/>
          <p:nvPr/>
        </p:nvSpPr>
        <p:spPr>
          <a:xfrm>
            <a:off x="6284913" y="1476374"/>
            <a:ext cx="5505450" cy="24836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6488E171-08F8-8600-F42D-C4DFB438D63B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313671839"/>
              </p:ext>
            </p:extLst>
          </p:nvPr>
        </p:nvGraphicFramePr>
        <p:xfrm>
          <a:off x="7815263" y="4232275"/>
          <a:ext cx="3810000" cy="236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170738" y="4579938"/>
            <a:ext cx="6413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907BE2-8D2F-4D9A-AD0F-9D71B4FCE830}" type="datetime'''''Si''c''k ''P''''e''rso''''''''''''''''n''''''''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Sick Person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5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564438" y="4962525"/>
            <a:ext cx="2476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F4F6DA-DA3B-45C5-BD7A-3F0AF77B226D}" type="datetime'''''''''''''''''Fal''''''''l''''''s''''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Fall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7CAA3B95-4C78-4122-BECA-B5FB0F3F3764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431088" y="5346700"/>
            <a:ext cx="3810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2B5D53-A655-45F8-9F90-AC5081A49000}" type="datetime'''''''''''''A''l''''a''''''''''''r''''m''''''''''''s''''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Alarms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4F9902D-9DA4-4582-A398-B08CDE8E08EE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538913" y="5729288"/>
            <a:ext cx="12731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F15B53-19AE-44C6-AA3E-0429C403B016}" type="datetime'Mo''''''to''r V''e''''h''icl''e'''' ''Ac''''ci''d''''''''ent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Motor Vehicle Accident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158" name="Text Placeholder 2">
            <a:extLst>
              <a:ext uri="{FF2B5EF4-FFF2-40B4-BE49-F238E27FC236}">
                <a16:creationId xmlns:a16="http://schemas.microsoft.com/office/drawing/2014/main" id="{B1AC5405-1559-48F8-921F-C742186F445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623050" y="6113463"/>
            <a:ext cx="1189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270228-965F-4F5E-A4EE-CDF9A6FFB869}" type="datetime'''U''n''''''c''o''''nscio''''u''s/F''''''''a''i''nt''in''''g'">
              <a:rPr lang="en-US" altLang="en-US" sz="1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/>
              <a:t>Unconscious/Fainting</a:t>
            </a:fld>
            <a:endParaRPr lang="en-US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185" name="Picture 184">
            <a:extLst>
              <a:ext uri="{FF2B5EF4-FFF2-40B4-BE49-F238E27FC236}">
                <a16:creationId xmlns:a16="http://schemas.microsoft.com/office/drawing/2014/main" id="{521BCF3D-3304-4E84-9641-6001CEF0FB52}"/>
              </a:ext>
            </a:extLst>
          </p:cNvPr>
          <p:cNvPicPr/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90325" y="68767"/>
            <a:ext cx="559435" cy="1143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EDF2A74-9587-4C1D-91CA-8D21248ED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42DF0F-B536-4D3B-A493-5032C5E2E09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1645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5.10483790000000059450E+00&quot;&gt;&lt;m_msothmcolidx val=&quot;0&quot;/&gt;&lt;m_rgb r=&quot;00&quot; g=&quot;20&quot; b=&quot;60&quot;/&gt;&lt;/elem&gt;&lt;elem m_fUsage=&quot;5.90490000000000181402E-01&quot;&gt;&lt;m_msothmcolidx val=&quot;0&quot;/&gt;&lt;m_rgb r=&quot;C0&quot; g=&quot;00&quot; b=&quot;0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N51_5GZvX94DtpWm52M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ENUyIlSdV7EFiwJHoJJ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jE.u8fUGkaRsmMpGz.b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0PNAi95aYkxsn5Bj6M9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DIqPmkaphiYARukUohw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tXwInUim4mhl2hy9J_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WSVVLHay7Nzy3EDosOj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I6dEHgu5qlvCmpCuyguA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nG2dwgzQdetdF7mqDFf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RNDaYTeu9NrRN.83vgyw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8FAMkowqYv3O7ikpBa4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kX.uR2IIunmqpiE9qR5A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93oujvCFNVgDaS4nl5PG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MIn2kt6Gmt1VbljvBOO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PMmQaK3kpZUVqlN6hQ2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9aTDe.XELVUL977a4P1A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beRjPfWLYtlMTr_RoBb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H21YJMSVKJzvM5kNPxa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WFUXEKnlezOkDcm4S9X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wrztiqjvmXLhU5_VoCO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i0T6modwP_pFxEFuQNj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DC92k12KrM4AOIyj5k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g6xPAcb7zych7vaXCmTQ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ct4swcRUjaeUN4TJ6lW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TigvcO8nglZIh1YATh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gABJWfolN9I2Xey8lRD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eolA0NSEls.D89Pqxfw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5FfWas.rgvOk1s0VtnI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WjEixCApedj3nbVsfYQ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S.Ig6YmnKGyvLieAMog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xqEztVPRhAnw9gOUKvw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p4FBusCaRtNoIE62Fw_w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fX7kg5rzHsw_LJAfOin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YV2jmqTTkjjsVRXOkiog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VWqOoi36gxpvqVcg.J3Q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ZFUWUdjKMCFrxgO1p4o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BooLrWdD6XBBAeBT3s2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6Vc_zB.lQVwsBWhz9J0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O5g4hQdNJOLT8aldEHY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JkDgT6fwdJy7WVHRqkGA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oqef5HI.0TVgH0HktyZ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E0UP8yIToPsLPl4mMv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UzW6.Xnx9Hp3qC3OdCW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Jsmbyxhorb8II9N.JF0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ZsP0GcumztcXRUzrczP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XmTA4xLPWm74VpV9HeF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15EgprQlUh9Ur2ovijY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BRTsrnWTiY7arZtxV3j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M7ZkbALDpFYxqgEqUMc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CuPM.pXUUe4EMXG2T6.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n2CNds_n7oZYnyLA4xmg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JRu_qdD4aQUB.7manJxw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20s6y8O.Ty7maacfNqU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rWoKsnfVCPcHQ_ftlDw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WYopTgqpZ9nRkUX0Hc2A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hwPKdsuB6jnk2IVJP83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N.nSxDgSuQJP5CPwzmN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csw8Seakk3KMMBPayXN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YSGzwpbG28gH68lTQZ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fhOOE.pLL_II5jX4g_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JxGotdWxpwt7R4_58mvw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dmYbzX9rZUPMp4cC6j7Q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At.vNYSI17hF7v_trFr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sONwrMjKKiyNEI4LvIUw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0zPdKcLRuwAz7RpWZ1A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WT8ahXbi6ZKkweMhQiA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gWZ4uqn5Vj4YWAjaD0kw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e1HBqONFgRnHJoL.M8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rvewascJrz2Aw_QOLxX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PPLGUQU5NhbBu9mH37L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U19zIbRsC.6asZCm61Y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LriJWxUBMglc8u8S9jN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k5n27OLFu1DNSOyTHhzw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JhiCZabxCEKPNXibouLA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sQPWQOiVCRaEXfWmRp8w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5ywryRa9.lFFHx8_qco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eV9KILAFWIoapm7TC2bA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83pse066EMR_G65xTt5Q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qRBUUIFObJ4x.76ifgZg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NEn5LwHi6T1wnV552AB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TpKvrlq3UT2N4Ru3_4gg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VcCKNHi76Z5Ft9t800zw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4_rnRtYwThmMM9bSaMO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WPRJ0SCpQz_ZacgI1kDA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4XruMrOzNLBceg4YBp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XInUVEpIro2hyYzHliA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CSWMsTFvH6Ep37OA3pa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He1QG5Nt74kTfiIua00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_ovBCzRgJbWiVrsN8MOg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9d0sm5TrmbmwB5duhLtQ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wuVlNIE.RJZ0.iSmFx0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MtMa0sbsi.POeE1ac0T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HJ5kUjfBCpwbEPhX39BA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GHZMC8ivyq83DnH9vA0g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hbY9TpjAMWEvgV8Y3z.w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7wLZ6R4wTym2vSNgOtQ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wL8JeQwnb.sMFRucOxt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Ww.ynFdU87t8BEPBdDsw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MKAoMh34.bCek0BHAFk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.sNBLQDqw5KgRrcnCuD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lFA_LVzjWkVPRcxZWh6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yhpM9IJunuYSl1fAzWvg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htuibEM1yjN1prOMs8Dg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ic1fttcq7CSwnNjwumw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9HMYxeIz1mhSQpJiyXE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TOTY92J07v88UrX5t3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WAZBTufkQeF8vec1GoY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HiJ6TcNkjXBCOKEC30m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NlAxvvro72mePe5Gzkk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6bbf4jrWJvpf6xa8SS0g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tTkl45K.RFT.Yf0AZ8h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yOA6J03hU1MA6nsXDN_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8Y9fwmSxCAtnUdkOiq3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S5yeIHWOByqIkf3sLK1g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6Nmr4TNbqUVI9KR5M0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pwLjxjWGUhPSe1Hb7oiw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jlGrZ4U4F1NGZJsihVvg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puU9QlndAbzxaCLhukb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Dwb2XwDa87kAW9KJsQgg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QX4PjKilFzYkaZJmvGqg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49gBOvPuUKyBn.z0jdD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Nl9dDfA6nptwcZMaVy4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bChReB94.y0.1M_FW5UQ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bxkf0CFZRtRSlCJZjiA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FnVzCVp9fDNmtuiStDN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hpXY8MIHR8qpwUvIrvZ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e3k.iiqKFP0LWoQyWWbA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GjnnpInChpCJsFYbpkPA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gkj8fE2l9pU1zGj8GhQ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wNE.MujFxV1GOrBXZtQ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vk1ZcG_GPvJFd3QUqvng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QWBgNax82WS7C76gRmV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3NWoceKE19pmZChstHbA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6BlhUL.1lqhvy.2CcVV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vL_xYw4ag.RJ2misNIs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O8s8NjjdPNKu_P5TlEx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rTV4yxpdyJHAMPQoctR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jyvYtZN4XqxWr3z.bH4Q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ddt8.K0Uf7dG.OgUolg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Cf9jMNQgO8154OgJM93w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YRgIWtTWpXIy1gHcKOfA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_gC6xPDwtyVCFHBwyOBQ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UVeJ7wsET8gBVXYpahv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330kpSKPzERFwvGEIe0A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dlM.Uin0gQlwO.BGnKHA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GhkNium3Jc0FkGVRQW1w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ByHn8vkrughPWGNemD_Q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U7xdCobmgvRMwKO0UUx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IJu8NI_7kqJoWMXGOuMQ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kKfYL493KXXtSL36BaqQ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UmPp.lLsuj5GTf1XwhVQ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nE49KpDaMH_m0JL09Nxg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sCnMUFN3dzb_o8jVbQaw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QLdFwrqNCgZU9WS1Zpaw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7TyD0xfzu34j1WjbtEeA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d6T1XoPgiJWSl1rSgFUg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CEIjnxbUqCQnkRzleXIg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nOLBJ9It6c.DFfH3AU7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UjR26XA8KLM5q5QgcOgg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izUrI4GEwj9XQxh4l.P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5Fz3eNAfJ1KNqSi9WAxA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xYtT2XmRBZNtAdEmdGqA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VoLjwVrJl34oCTbWd8xg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WGP8J_cJjD0ETdcJ8BA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r42waISS4Ap75ZzUzfD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EYbB9VV2mxg8O4Gnvv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eDg6Hp1AQTCSx0d3Sx2A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HXe5I_BMq4Bx_XAi71kg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eoekYMjXmbIphxusn9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bCpSINIoFEFSsoMnpTUA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CpcTKJJWzvmTCW6_k_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9QefNVXQro7_3rQivK3Q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v1x6BaBd0vizlE9irkgQ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1hpdUqtwQAjuBSM7s0Z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Q.oJAb5v5MfhEWEAcBC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12QZ1vIsPKiFU4oFqilA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5Tj3Kj9MlEsJeqT3itmA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h4Ako9ZMnrosruQsYTdQ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v58aEGfyGp564vLi3iTg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x9808l.KB..vj4CBl2ag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wcT2bIo.MVc.Wm2ZmNiw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gPLlG9OOsGeTxS.FqU_Q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bvITqRBg3yVj7goc1RLQ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FWCqRibV2ihv.aaukdtw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YYTO.CCog9ZiibQBg92Q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MA8pPL_P5JfG0Mai5Rpw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QHn5Kn.WYYLfPcYXLrSg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2_v28Tu6YahiKXcqt.Ew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eiTUntDFs3TCC1ByHMB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nMALmaxYdj3xCfE78uA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Vg.e20DMCHfdSKlNwvHg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40IxmQu8QWFIsxuGKQog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WVjcdAIc094zRwsZZ9kA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FO6zxn_Vs8lpI1d0eK4Q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yzCefOZ6LcgKFkgCl5YA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8x4ypvyta.8JtI5AOSrA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BOWIkn_d9eA2YvQSlszQ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59.LVGLwHG6FK851gifw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pbyHmXP8ZEiI.rloq7dw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OtqvyWEyI4AuMXxs_yhQ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S0jYsZQ48HrmGmbnNPeg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vtEL_mw.pbjRbvzgx1Gw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JmL8qMdLDqEBWGj_lHw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qmBgtBC4D2_jZOOLkAV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gbrmOmkh7iCICvzMHnbA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EmYz46WZZ0AGjc0545dQ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TSMXykr9UQYgnIfpYWZ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.0DveG6wFKRRl9htPMIQ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Q1xPzYGzYjG9id.LO4tA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gpnjhyKc013eujOITWHA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JmL8qMdLDqEBWGj_lHw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tJJPsi6lH7Motzwp5SLg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DCZcfUqrS84kjE.XozOQ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u269lBQ37dTrx4dqWU7w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uNi6ZI5Oj7jjuBgxqvdw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6idtl.eBvZF.E8JXVHZg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JmL8qMdLDqEBWGj_lHw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tJJPsi6lH7Motzwp5SLg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kjb4z.su1cCXkSQLPJWg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MkTU3sy5kxQAn7.rYwxA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whDsw.kVv8izI2uY_IoQ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ZJSv3lbhINGYj2mwkOEg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fJmL8qMdLDqEBWGj_lHw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tJJPsi6lH7Motzwp5SLg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Y9FhOuxC7J1G6R6Wwdkw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ZoUbkB7_ZYq5nbQqJ.QQ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AVU0W1d_YeMnxH3NLcg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jw1gH0fV14LpugWTaQ6w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KXaU32NBLsheMrU6lToA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S0cZR61t_hwULG.FvO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75uZwu8Egw_aVWw4ghV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2dxR1dxBLVIOxde_aDC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iD0QqJcWgtJx5qHZAg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yvVqwvq3PcVVqNeWfE9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eDVtBboLnA88bBt9.Z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uPgfjbLq2q_lDbfFC1k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Af96LTmBCajjRkNPOY8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6l0Zcz8FBNBNjm9HwyS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ZIxi6qCWrR2h6e7ek39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BcuqNchW3xw.DVRAiNn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oopowHeyY89COO4hs3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XSORjq68pDWjd3JvlxS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WmcLwH8Y2zxhqwy18xS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fhFba.W7FSqhwS4.911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sRbS5I_b4xb_IY_pRaS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3FDFPPaiLME6uWDcnpM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J._5Z8WN8GrZmmEAhGB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LpfPUc04.lnZw0JxbR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H35j4EXAzlBVN8EBq4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8NRpOjOmIhC6i.1TLge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20iX7ESYoddTo2E9Kna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qwWRjuI8FgJgPe1mid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o5iWt_G1IG3diyWkinb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T9G61cWxel0eqqi4Fcs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NMVapbfyekn52gXu99y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KC4LgQjUtHRzUhAVXw7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ej1D3fjDke5sygscPyV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CZvRab1TyUFjdzVWeB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WatRog6NF33N3XZVXvu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jXY8PPvFMM12Vk2pe30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hl5dSLR8PNUtOabzgSk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izrT6jq03QYVcZufUK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DHbeUKAEXnYW8iFc26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NdxF8ZZwSMmX_aVTe0r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RdrA4x7uf.BUGcki4v4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ZSGOGDAVunBsYd3KafD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hD8RkMRFVdcSiENr.Ut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qzvtmpZYI56KFiAF.zD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CzzoHWymdFIJ.7pqAh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MJevimkONydb1GDRke2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tBe5JQAOy67HHxG_A6V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V7VC0cuVvw08WrnAtQh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Cq9DUAE_SzlgB6pV00j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G.RqQNxbinCYuP92pr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N460azQRucOypS9G6bK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S8NBIEDBJZKavtcs5b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xsvFw2DhD_SJsWpgSQ5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9c3r7lHiO7Nj2fV9vJ_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E0LZMLaXSm7qdrjddXs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3BMKnoS.4IRy0RNndxk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zlqJz9XHwzYoFxByKNS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vBCOiaht8J1WMfXaKum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hApK3I45fh2_Tbry.UP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s7ETdEsk2KN.iJmF_l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R3x85qVrX3WUWB5cvyX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YdEN6YbKMk7eDD8BoRT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3a7nd1YzgVi8sqlVbmb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RwAaLszRkUHJeUgNDFj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9__fdv5Vg6zXrj8uthb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Ql8K4smSBHan0DW4I_Z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_3az0XjSYzD21p7bVjr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Pu.D6UsM1lnz7HzsT4U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ZFmQy11kV91GCTwB84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aJsgoozVJ_0AzIy5bV0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uCPwN5ekO_Tl5gc_4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6b5ur4D3NNHDw7S1UU9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rcL3B7mTcUWfgNefN5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GPnEHb7ItdnqBQGmgnc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_9vMklFKb7uGJzThBxG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d63Q1coqqMADa4pBPWc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JEEsZqtTzogqhkwwNvJ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LNII1mhwCCWPZILxD29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.Jc1dLEMFf3Za1JNe1s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AaqApz4Lc0AeY3cMbo_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t2th9K3cvr47vB.qrY6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A_1FIeMkz0Vm68l2Nd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4wwuSmyz4dVCl8oqvMt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TX6O6vdF8meROmX8mC7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O3cGg3aVGbgWTcdYkGl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U45Zetu_X5Lguld.l8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q6CIqG4B2Alq9._uCze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ExqenbMEj4KzhQcUdfV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Ux32G1nBOBom3ci3Ogu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KX9ENtQK4YPFG0KLoUg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GcleQQfMciFuPe3zYZS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6OFyIxnIF.KP7niHaU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SCZ5LgEtK7NyFSU3XhU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33mW3z4KZIFMV8Xsy6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ouYjCzWYP6lqNH.dgyK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SWrHYx7iW8BzuAr9dOk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5x5a_yOkHws2KJaswBw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N51_5GZvX94DtpWm52M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fhOOE.pLL_II5jX4g_O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nLfiPBlClsfrnzI8qM1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f1NFEiyTeyMbQE6MjGl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MjNHfI80hImW0dA1xdz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X8G_BJtPgH2P7rPUnF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kVoODFD1cCpsgK0W9x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WAZBTufkQeF8vec1GoY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2N3XJiddobS4fGmHy1W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9vg.ZM5VL9htUVfgmc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tsyUO5Bwvp7U9y.oXA3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XBlndkLwybtZa8_Iv1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pngncqRUXMRprSthRRQ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9FaqaRJPWArfGuRW6Yc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ehsg7Y.tvcuoThkKAMz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.73aMxMWCaj.11RNrz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uzzQcFrftLtLBfdTvRI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cl8Bg_DQFWmt4SU5IB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8eoekYMjXmbIphxusn9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WTroF9ceTSnzeW4wDZd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wHqWkMnF6zXnd7Que4A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tSHY7Fk2R2glCVmoeSG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dwGEcNcK6Mr.yTAhwgs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Ssgr2zcMUQf_yh3B3vR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d0YzCQIRpA0mf4J2Jul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ZBrh2z6z9PSAfkunAaH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RduMLPSkR5CRd18dTrR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XkT5TtKy8uVq7Aus24a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DqRCYidcvjBR7t7a6k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TSMXykr9UQYgnIfpYWZ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h75DvRF1Tec2C6ZtGF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B6.fUNXFuJ7rAe2u8bp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ufH3jkX5oepwaB3C1D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HMVPEjOANRK3YFnkqmF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BO2J2fEu4idizdbODv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ThJmg9CCMrglaku0i4e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XAGv7ePcXsj_lyC_juR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ZW9phb3e4uTRdkw2SSD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z429s_GLrJL863MJ.Lp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75uZwu8Egw_aVWw4ghV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XSORjq68pDWjd3JvlxS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o5iWt_G1IG3diyWkinb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8uSJeHT0zThZ9ahY2.c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PZIW8lQ7DD8iA0r6ps5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FHW3gPll1zG0AZO2TvU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K4tt5gOTJi8Dj0UlGQ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NdxF8ZZwSMmX_aVTe0r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.Q3YG6LkuvlZnAU8U2K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szyAcpLGZc83YjDjLie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NCmiz6nKL2qZ8qPwjEg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oNRE8kWvBB0QTz.HoEO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8GhQEwcJhiyeoNKKxqI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VmuvFzXypFZ0BVXJvew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2RXM9kgZJPduF9_koyp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zEgnwFBfhFFphiZDk0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ZvfeGebHmuW_GIMkgup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fPO1czNl_wYOA2Yd0UJ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4n_xZHJW7MjG.RQdDrC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rPURdTFOW5aiHKlEvAB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0kEuv56Fpa4_5LrNLT3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g1FFz4kq4419qKJJzM4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WZacxGKFo9ccQiIwyk5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0Q7BLfk1NiVSKN1dr_4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RtWKOeB4R3pFKboVMks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AyLKucGvsZyt9UK8Xaz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8chY.A6WilA8F_VWFOZ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RE9bUilHKw_3rbAmm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dkTiCgVLKKhct83IOHS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4npNo4.SJ8Qk1vJ0HTh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RMYgHaAHOZihyX0fVSn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ZRNmusweky6IVZLyNjj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cfpkr74g_jBTq1PB_mE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gGPniKMpuGtOLuBCjH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CsUdKoDVb_ZeiHPzU6A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IR8liwDJXsaQHiJNjdv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c4hDII_vF.3wLJ772h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GceOnRGoYpSuCoUgJVr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xYa3ieh.xapOv.CxI4k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lXY5XJXLfSGw4uLN6T8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zlrvAg2Z5L33ru075TH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TqLrbvr4HOiu_YHzZj_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YmuPCQOqfivl4_CqKkX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_SCkA0DpKtfOTKmc5Xu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PRAKhXD5vogwnEAUCKA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qjmgRFBNQycvp7A8o.P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DH1xfRcX5P_caTTZUIb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G8v3tp9Qnk0FFSFoYTW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oLqEBPs7n_EGDXwu82E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F3zY.z5Rv5Uzul5t4eP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RRL.Y_NNr9ar8yODLEl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wttjWUxf08s4iwinViB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AO3ksMJFUKCiTVxjLaQ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ZgSVFFqqkwxNEHGgx2D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CZTCJSUQUuMijQamJaW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ay491.zqPgDp0Ng5.vK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914OwAVZA4wavg1CAup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6u2iYZJEBCluE08aKCY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5RWAUFGUsgLG3P.wCVw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TmMfvNJ7NUzZCbP.OcP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usFMj_uSz9NbH909eb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qZl9iPywIG7lbDP.v9W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tfqaFiYkkr8uU49ESt4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UXzft4Gth4gF2gSCiy3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PAUkG_dFmjZf6nVXy83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YiV1.BKEA1BvQIMrbiH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cOtddrZ9tQxbbNiGRvg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5DR0K4332JOofA4ZQSW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ajXhjx4T5b4J1dQ8zO.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FV0E3j3FELMCXd2NrVV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N2ChqMunx2OBMW9SsoE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Oe62VYL9.J54ERMgXqP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fRQB.sUua.0AJpCIdu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NEbYtL2ZOFiQwHRkdRJ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2AQltLyv8iV5fvqD73i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j9fMtiVg.Vnty2JCey9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SLejKQJdvdExeIYiOgJ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nmFgcMpCxmuw4zQwrMO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SkG0kCpXAwoUVgcYJN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IRNMqhDKeMj8bHI2.1r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QYICL2UeFBDALbrYrUE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juEq83I9u4JmJ_5Bhqv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gYbH4OVwjS.O2D.ztJt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bB2MRHPs2TFiLdhI0CS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HlTsNUDyS6_fzgys8He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RyVk359g0yABmJrimXn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JwQ302SRG.W_UbaNpjU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aKhsqqMp6malK00fM7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Y7B8wq7CjhSaLm0UJHI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vI1zwp1sVxE0gIYAfoj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JhDNWrR2Fh3z9Ai7Z_E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ZLuhun1f0MPvVRRxfcC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cWAO5EW2wnJbOsYxKEF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5xqCY7f2KljN0dx11jA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vn6k8lsiV.wk.l7igZ4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IqkZJdr7LHasUz4Fhbw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snGQkGEIplo5VTGSfW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QZ52GyN_UHV9naCKJGe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iKldHS6buReNKuIIkGL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I905KyBBdXyom99zXA3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AI2sg0r8JPMWsA9xOmZ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hiLkXVKphftbFIDjS6E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qfsJmVKvznBaNDSc1AP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sWnZ2LSWqiJeRk1YaW6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ExvGUp7go2Ci36sMnRU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_g7To3GIk6L90qrBQLf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ZaOKTZ6ZAsalsaYpys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1t1K8btT.8YLktK4w8G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AYBLT0hEIVxhjHm_2Hi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dONBuWZOs02UHLh3kmZ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OtWP.mxp1kANca8BCec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H3.hUsOWhwREI6T4UVE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SBCmFuoyYSDdKmVg75M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uN01svW7fEfNOiA..4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CPZ0rtLseYerJONJ_nZ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3o8Ms.G0r56Yq.VenD6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hBpoaH_vjU4bnCP3oid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0BRRQr.H.kMFlyQAOap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LEYxDsHLv8YUnuQf2Mv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Sc8qi1bYMImueVKMOid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FRMO_U6VMqRQvydScLl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k7FlMfV9.wHG8Lrg3y5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o7DWr2eDZlPVrUTVoKD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bDlfRGSAW9xp4oYZYc5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kMjUpOoX.THJ2c.ePDL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4WHxZMsL43LmwOJO6yQ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Ij87_bawB5nPfxmVyHG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p68AMYO.lJPn1lCkSdu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R8ZMFmZK0406FCoIRrg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AtEJzMGB1bGgvcfrKpW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aceeMC.gkEkDA7r4xdr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xiunopDiK7lWqNVe9zG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p9E6LQu_NzMeFv1HqG1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NSjnjd1wmOIebzqE_7c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gOSxScA2tYhYa0_OMWH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R3x85qVrX3WUWB5cvy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FvQn7dQiY79HnazXgOo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5rOCfGA2J4B4.kfNQZv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OMmOoAEiQdL3g7V4G2s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0SIOuZEol0aQ.RBfQWa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8X8c0XvcYpYC9ZpQ95F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uu3GcQ.ETkxckr.Gfco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xRV_0fJhJGRket6cbdq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hSL3lZSiX4pCjE68iCJ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kPsgDgtZYNqU_UEfftL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WmbMZT96sSIY_SWKuyC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KyphjB1aTj4zdlBEAFv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a2d1L4iLbd3QfgwgBVp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apyp73FhWQVQEZafwtT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AKpebEw10XB.DEChjnP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SpJ0IiYpHoHGCwQ82ZX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QVhl.xcN6SIi9_NzlJP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6HficIS4QSDS_XWx0db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B6kaiYRyogM4cGVXwZB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OjiFzcjUiHqzO103OJ9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czCYdsaiXarzDSnQo9q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HDsTHHx49x122Sx1miD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IVi24erfj_fS3EtoT5Y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DwQD7bLUtAInijnSVle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v3AZRk1G3p5sHksZZAI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noFLlnOsTUYWWueaDkYw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SFza1nBihgAAHdxyC8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_MqnFL25GaBzWcYAwSG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VAGSUd8NYm1olg0qOM2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0MbWtCVLzyvRpWypnATw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8czYtLJQF_LmWKYxvFK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ghgDBuQWEigf9cWhBwO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Hy40VrEHLfZatu.ojac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CGDcqGHzHdhSSnU8RA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xcbcSFTv0jrK5wPnkxb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feeCBm59PhOv.36rHtW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LMhChUVIK46kPo1kwy2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2TezhGffFAvo3LznQTDQ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5bOb7KAewp5w9CCwqX_g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1Hgmva730HToT8MF8uH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v4nvypm.qGQChBxGE_QQ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SzVA54PfE.BNm05RAdx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4wtSl9e_Nu1bL8e9yTY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bHrMq1v1p8C3xjcDmm.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fz5Rb87wtL0o6dvdh.lQ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vxnDFZk_3AlfywTD1O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DCb8XFlzX.uo1DZSAQ0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mClP.6BemnJ11o9fLBX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S_VY5fvwyQVZJmDCjqK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tz5sdH9f4zlgzjqXG5d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cXfEwy04YbFCS.1OeZS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OiFciLt4xkTMKzihHxaQ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6b5ur4D3NNHDw7S1UU9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vLs.fo6O_4kAO9HwfO0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nVnB1osOexdGkU.fmezg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rLSK3lRFDZ5moGTlLra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0bkNoHh9ysFdFdzqTbAA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pPcyEvK38pbUBb9zYBdw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74ADezYRgCzRHd1JQB9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QXRtP5EgDdEwiomdDta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lUj8AtD0Cp14XHb6eSN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_tTHVzLXtWAupQZAf60w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qnSJ5wy2S5ryB7pbMGa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12HE_Pe3D8H1BXoqGSW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yMe1NDzMyla20fAivq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3RhgGUmmZZEiYLa.qBW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0Y23Er.muOhVhvPcFuL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HZZ3O6uhxKwqyDF9pM8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ICXeIMM06tqmLV6zO3yQ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8X0gTqq0bZ.Tz8XodB9w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1CXQ3fPGJQA7TzbHTBR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UYHeuxLaG8a6_X9u5S4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iFHHGHsOWXEk9731Lpw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Yi7dJMp7aGlqQW11e9J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Fq8bVdHCMGdM0vmDiew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NG0jn686Gjz_h2y.xuR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_rCuzKzJSOsuGr1p6lH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57jt5eUc.3RnU7UrOP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bGJamL8Kfxi2l4Iqx8D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lnxUCyJC.pKW83240THg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.9DLMER0gk_EM2wlJ_s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g9qSeVFRx1Gd9j7A9gt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7HQmEntb11msRzOjgwP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IeuPKBp3BAMBVleyGxq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s8qLoKGKM0LbRWqWohB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kKEsBzh46GjlJjYZ4B0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Lz.K6iRqHPI_agKbVPl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ZmvKALzexrTnxVWqt4g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NO.D_VLuiNEYM9vjj4H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0XpezGQ7BiTwUl.Vh2Ig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4wwuSmyz4dVCl8oqvMt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IeN3TmYkxRYaBpvv0OI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NRh0ZbLAEL9s7b4n_dHg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1dC6HohQI30bAZ.s_jg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V6toAJhJweQ75IKprjb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95orFi4O3DQ9_i0x9cI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OTicfwzsqTMuUYTckSS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G87ir.KiRvgvH9xNP7g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B57K3gLrYqyEGGaDyq9A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K857gK6E8oDri8pAkL3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1pOXVnYdgIsKQnK8qbJ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jvYhOopteRBKjn5fsr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0Ck1nyQca9p2bA300Y_A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1sG9pqwVtUTJn0HQPSA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xrVJFbbIk_zI4SBKqrk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JZ0z5kaYPu0pj7NScyM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tXEPKecP4vpp6cQm8i3w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jvYhOopteRBKjn5fsr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xLB_1zt7EO.UM6sX0f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haTYAAQZUIfr9ibtG3z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H3_zrIR.X0.kBxPdGBL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Qp6enRnijQKU7BtjZPy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0ACiGie1pgYInj0trqSQ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jvYhOopteRBKjn5fsrq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im546zSx51mof4prYrR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haTYAAQZUIfr9ibtG3zg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_Bou9jSrEoIbFvPYfomw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sK7qdi3T_.dAf4OK5cx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A2yP1LwSMgxqDFa_aTz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SCZ5LgEtK7NyFSU3XhU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cEqyKbJkTvKMav0oTzo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.XaV4H0ek1_4BnHUTk_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NAhl0e_nee1hxOMzpCI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Y3PM6Ise2MlwNYCu2qK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NVKslzTEOw6NlqU2ITA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ZsP0GcumztcXRUzrczPw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iuciS5Zbc8k4KlZ4ZsIg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lNU.Uai2Q52qhLVoIJI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dU2d9gQlPXi18hXar4w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vuQfAMftx2x3k1P5k.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yfLEKgMYfGbWuuMgMFa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TRZ3rHsyxIgn6i0iBtK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DmEvvc4eSiyLfS4x4FG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sMGj3LiDdY6OA4Q1jyO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VtotmSPaQTnpDp2sd2Y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Qe5_Pz0EtC6URHPmHds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WM_UX5EafnsPz.H.Ka0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Sky8bYyDbTIb99XRZnX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x6jWaFSdfE0ylAE4BWn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S033NKmOgfqgWHgO7F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aL4RQ4yTD.a3yMA2drm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Iq.HHp1woa9Y_PXSiggQ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mNsB35w4Z7zcrjua0iW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DmFcQWCCXK2B1tox9Bc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xxVoeanGURU5MF5rZzb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ybmdRSuY0EB7GjLWgGaw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_Tepd00eUd.dalf6XGwg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Kb27OAz9OJnKnV7S7k5w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JiDVu6wHDJOKh_bP0WKw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FQY0AkwN5X5dpRM3.cz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ulu2ecxa0.3bLygajTP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EIhtPerCorSTApdxb4K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MDPbTqq9esBBWaM7OD7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j_xLBm214C5dPGS.Ecn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Xlh_MD8FXIo9PD9RGlw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XziegI6xCWbuU.2PRkB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CKy1b27fnRyoogRRk1Vw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QbpJaGeMODvQEfdXHgg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2BAOc8LPMPbjOHaf28KA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l3.gWr2VO1Y2MesmXapg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xBtWdWUNg7c4XrpgXZ4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HTgLKMEpjiFE8OPrDEp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2hY1Awsnym_SU.g_.b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lErypxezeHDi8uhvpcM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C5..DBR6afTtjtXTydg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Irsqetq4qIJ0Iy.yRo7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SaI8PdhMZSU4a6b64Fc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k4pfK1QqSgECOMRIfRng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x1M6lpMbN1ZOmuYHbJ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oy.qoEu5WCxnumKRFPG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gcGoDvpfhu3X116MzZW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cMLBEYxgjh9LaPY3GV8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5Vns3h6qjKY_ABGd6X_w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haRgTMKVD4NfMOv_RIX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LvuyNaXve3e6BVZAQ0r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TdWhI2hMaaIeX7J.oiVw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ywvZRsceM1BCTjP2EyH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zNew7rZgIEoBq7YKPu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1OrkM2QPDQS0jseyap8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JyONb2TBWBWfeLDTOou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ATtc2Qk7lqc_5MLBhV9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TpeFMpcDdLYl7vnb9.0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VI3bgFTL7Caf1s3nP5cQ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jtL1h3TPZQ8.1p0GS62Q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w4vvgVrxGH.Mcf2eZY0g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Jj8Zhw.ghjEcqZYQYji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WLmnUvGMgNBjRMl_SlN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CQrSgGMZUvBR0fzFlDVQ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.OUEy3gTPxCUN.CKHfA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XAgi4qMCFRR5VxfFDQLQ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xmNjT1WIsBFrQjCByDV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HZeJCzCYHmS0xYKEC6e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R6WdtfdHhDGnptEM9bng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iR50W1wt36rucgvRUI_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BDBeXycr1EFplWF6XCHA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4jo4olx7dv10OVyIquz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I78KM2Mfqt4gVaiKAQg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4uk7ZJQxjTcj0as3VlJ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.kJQsn40X.Ngcq6GHQA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TGwpZv1amQE.wZmIhup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7QJdycz0i4fMMecWjYh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HOw448VH2mFrFNgHRc4Q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KVhWdfOLWXT.SdFLElSg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krH6XPhfp9IkHosUI8ow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PlziNnnpS1RwuvAFOE1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RXuBTI2rXvK4aBzkFPXw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tvKtPPTR7G3ghnEZpdOw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uy7.1WWHRDKfenAWjdx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afZTnU_teis3iu2fvEAw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X_Him_v3wq3xm58ofYB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ZHBVhbzgG5hCOgHaCg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kJ9T4lU_ZQGv.y6bOM7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fgkpepcNVPTJpg1JxBN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Q7ahIpN9Ygs9N0uB_BA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T8eCJLNG84h1bUhrH3u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5QX3x_OKlfi4ZIORzhZ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56Sz8oEHreEAs59rv3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axz2VAjniZX_WmrG2UOQ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07skF.2YU.XpBtgkm1l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Zq7tC8jX9QjfwRDjQfG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hNTI9JYxPP1dm7HEsrX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QX9UULA4B7QfDDZsiA4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014</TotalTime>
  <Words>3192</Words>
  <Application>Microsoft Office PowerPoint</Application>
  <PresentationFormat>Widescreen</PresentationFormat>
  <Paragraphs>1635</Paragraphs>
  <Slides>38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4" baseType="lpstr">
      <vt:lpstr>Arial</vt:lpstr>
      <vt:lpstr>Calibri</vt:lpstr>
      <vt:lpstr>Calibri Light</vt:lpstr>
      <vt:lpstr>Tahoma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elle Brehm</dc:creator>
  <cp:lastModifiedBy>Joelle Brehm</cp:lastModifiedBy>
  <cp:revision>3</cp:revision>
  <cp:lastPrinted>2022-02-08T21:47:39Z</cp:lastPrinted>
  <dcterms:created xsi:type="dcterms:W3CDTF">2021-12-22T22:06:46Z</dcterms:created>
  <dcterms:modified xsi:type="dcterms:W3CDTF">2024-05-09T19:33:37Z</dcterms:modified>
</cp:coreProperties>
</file>